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xls" ContentType="application/vnd.ms-excel"/>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tiff" ContentType="image/tif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theme/theme3.xml" ContentType="application/vnd.openxmlformats-officedocument.theme+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slideLayouts/slideLayout21.xml" ContentType="application/vnd.openxmlformats-officedocument.presentationml.slideLayout+xml"/>
  <Override PartName="/ppt/theme/theme6.xml" ContentType="application/vnd.openxmlformats-officedocument.theme+xml"/>
  <Override PartName="/ppt/slideLayouts/slideLayout22.xml" ContentType="application/vnd.openxmlformats-officedocument.presentationml.slideLayout+xml"/>
  <Override PartName="/ppt/theme/theme7.xml" ContentType="application/vnd.openxmlformats-officedocument.theme+xml"/>
  <Override PartName="/ppt/slideLayouts/slideLayout23.xml" ContentType="application/vnd.openxmlformats-officedocument.presentationml.slideLayout+xml"/>
  <Override PartName="/ppt/theme/theme8.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9.xml" ContentType="application/vnd.openxmlformats-officedocument.theme+xml"/>
  <Override PartName="/ppt/slideLayouts/slideLayout29.xml" ContentType="application/vnd.openxmlformats-officedocument.presentationml.slideLayout+xml"/>
  <Override PartName="/ppt/theme/theme10.xml" ContentType="application/vnd.openxmlformats-officedocument.theme+xml"/>
  <Override PartName="/ppt/slideLayouts/slideLayout30.xml" ContentType="application/vnd.openxmlformats-officedocument.presentationml.slideLayout+xml"/>
  <Override PartName="/ppt/theme/theme11.xml" ContentType="application/vnd.openxmlformats-officedocument.theme+xml"/>
  <Override PartName="/ppt/slideLayouts/slideLayout31.xml" ContentType="application/vnd.openxmlformats-officedocument.presentationml.slideLayout+xml"/>
  <Override PartName="/ppt/theme/theme12.xml" ContentType="application/vnd.openxmlformats-officedocument.theme+xml"/>
  <Override PartName="/ppt/slideLayouts/slideLayout32.xml" ContentType="application/vnd.openxmlformats-officedocument.presentationml.slideLayout+xml"/>
  <Override PartName="/ppt/theme/theme1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14.xml" ContentType="application/vnd.openxmlformats-officedocument.theme+xml"/>
  <Override PartName="/ppt/slideLayouts/slideLayout35.xml" ContentType="application/vnd.openxmlformats-officedocument.presentationml.slideLayout+xml"/>
  <Override PartName="/ppt/theme/theme15.xml" ContentType="application/vnd.openxmlformats-officedocument.theme+xml"/>
  <Override PartName="/ppt/slideLayouts/slideLayout36.xml" ContentType="application/vnd.openxmlformats-officedocument.presentationml.slideLayout+xml"/>
  <Override PartName="/ppt/theme/theme16.xml" ContentType="application/vnd.openxmlformats-officedocument.theme+xml"/>
  <Override PartName="/ppt/slideLayouts/slideLayout37.xml" ContentType="application/vnd.openxmlformats-officedocument.presentationml.slideLayout+xml"/>
  <Override PartName="/ppt/theme/theme17.xml" ContentType="application/vnd.openxmlformats-officedocument.theme+xml"/>
  <Override PartName="/ppt/slideLayouts/slideLayout38.xml" ContentType="application/vnd.openxmlformats-officedocument.presentationml.slideLayout+xml"/>
  <Override PartName="/ppt/theme/theme18.xml" ContentType="application/vnd.openxmlformats-officedocument.theme+xml"/>
  <Override PartName="/ppt/slideLayouts/slideLayout39.xml" ContentType="application/vnd.openxmlformats-officedocument.presentationml.slideLayout+xml"/>
  <Override PartName="/ppt/theme/theme19.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slideLayouts/slideLayout40.xml" ContentType="application/vnd.openxmlformats-officedocument.presentationml.slideLayout+xml"/>
  <Override PartName="/ppt/theme/theme20.xml" ContentType="application/vnd.openxmlformats-officedocument.them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slideLayouts/slideLayout41.xml" ContentType="application/vnd.openxmlformats-officedocument.presentationml.slideLayout+xml"/>
  <Override PartName="/ppt/theme/theme21.xml" ContentType="application/vnd.openxmlformats-officedocument.theme+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slideLayouts/slideLayout42.xml" ContentType="application/vnd.openxmlformats-officedocument.presentationml.slideLayout+xml"/>
  <Override PartName="/ppt/theme/theme22.xml" ContentType="application/vnd.openxmlformats-officedocument.them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slideLayouts/slideLayout43.xml" ContentType="application/vnd.openxmlformats-officedocument.presentationml.slideLayout+xml"/>
  <Override PartName="/ppt/theme/theme23.xml" ContentType="application/vnd.openxmlformats-officedocument.theme+xml"/>
  <Override PartName="/ppt/slideLayouts/slideLayout44.xml" ContentType="application/vnd.openxmlformats-officedocument.presentationml.slideLayout+xml"/>
  <Override PartName="/ppt/theme/theme24.xml" ContentType="application/vnd.openxmlformats-officedocument.theme+xml"/>
  <Override PartName="/ppt/theme/theme2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09.xml" ContentType="application/vnd.openxmlformats-officedocument.presentationml.tags+xml"/>
  <Override PartName="/ppt/tags/tag110.xml" ContentType="application/vnd.openxmlformats-officedocument.presentationml.tags+xml"/>
  <Override PartName="/ppt/notesSlides/notesSlide3.xml" ContentType="application/vnd.openxmlformats-officedocument.presentationml.notesSlid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notesSlides/notesSlide4.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notesSlides/notesSlide5.xml" ContentType="application/vnd.openxmlformats-officedocument.presentationml.notesSlide+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drawings/drawing1.xml" ContentType="application/vnd.openxmlformats-officedocument.drawingml.chartshape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notesSlides/notesSlide12.xml" ContentType="application/vnd.openxmlformats-officedocument.presentationml.notesSlide+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tl="1" saveSubsetFonts="1">
  <p:sldMasterIdLst>
    <p:sldMasterId id="2147483816" r:id="rId1"/>
    <p:sldMasterId id="2147483877" r:id="rId2"/>
    <p:sldMasterId id="2147483879" r:id="rId3"/>
    <p:sldMasterId id="2147483881" r:id="rId4"/>
    <p:sldMasterId id="2147483884" r:id="rId5"/>
    <p:sldMasterId id="2147483887" r:id="rId6"/>
    <p:sldMasterId id="2147483889" r:id="rId7"/>
    <p:sldMasterId id="2147483891" r:id="rId8"/>
    <p:sldMasterId id="2147483897" r:id="rId9"/>
    <p:sldMasterId id="2147483907" r:id="rId10"/>
    <p:sldMasterId id="2147483909" r:id="rId11"/>
    <p:sldMasterId id="2147483911" r:id="rId12"/>
    <p:sldMasterId id="2147483913" r:id="rId13"/>
    <p:sldMasterId id="2147483915" r:id="rId14"/>
    <p:sldMasterId id="2147483918" r:id="rId15"/>
    <p:sldMasterId id="2147483920" r:id="rId16"/>
    <p:sldMasterId id="2147483922" r:id="rId17"/>
    <p:sldMasterId id="2147483924" r:id="rId18"/>
    <p:sldMasterId id="2147483926" r:id="rId19"/>
    <p:sldMasterId id="2147483928" r:id="rId20"/>
    <p:sldMasterId id="2147483930" r:id="rId21"/>
    <p:sldMasterId id="2147483932" r:id="rId22"/>
    <p:sldMasterId id="2147483934" r:id="rId23"/>
    <p:sldMasterId id="2147483936" r:id="rId24"/>
  </p:sldMasterIdLst>
  <p:notesMasterIdLst>
    <p:notesMasterId r:id="rId83"/>
  </p:notesMasterIdLst>
  <p:sldIdLst>
    <p:sldId id="420" r:id="rId25"/>
    <p:sldId id="256" r:id="rId26"/>
    <p:sldId id="361" r:id="rId27"/>
    <p:sldId id="332" r:id="rId28"/>
    <p:sldId id="413" r:id="rId29"/>
    <p:sldId id="414" r:id="rId30"/>
    <p:sldId id="415" r:id="rId31"/>
    <p:sldId id="416" r:id="rId32"/>
    <p:sldId id="417" r:id="rId33"/>
    <p:sldId id="333" r:id="rId34"/>
    <p:sldId id="411" r:id="rId35"/>
    <p:sldId id="334" r:id="rId36"/>
    <p:sldId id="343" r:id="rId37"/>
    <p:sldId id="345" r:id="rId38"/>
    <p:sldId id="346" r:id="rId39"/>
    <p:sldId id="342" r:id="rId40"/>
    <p:sldId id="362" r:id="rId41"/>
    <p:sldId id="301" r:id="rId42"/>
    <p:sldId id="302" r:id="rId43"/>
    <p:sldId id="363" r:id="rId44"/>
    <p:sldId id="325" r:id="rId45"/>
    <p:sldId id="312" r:id="rId46"/>
    <p:sldId id="354" r:id="rId47"/>
    <p:sldId id="329" r:id="rId48"/>
    <p:sldId id="395" r:id="rId49"/>
    <p:sldId id="396" r:id="rId50"/>
    <p:sldId id="397" r:id="rId51"/>
    <p:sldId id="398" r:id="rId52"/>
    <p:sldId id="399" r:id="rId53"/>
    <p:sldId id="400" r:id="rId54"/>
    <p:sldId id="402" r:id="rId55"/>
    <p:sldId id="403" r:id="rId56"/>
    <p:sldId id="404" r:id="rId57"/>
    <p:sldId id="405" r:id="rId58"/>
    <p:sldId id="283" r:id="rId59"/>
    <p:sldId id="322" r:id="rId60"/>
    <p:sldId id="299" r:id="rId61"/>
    <p:sldId id="313" r:id="rId62"/>
    <p:sldId id="314" r:id="rId63"/>
    <p:sldId id="300" r:id="rId64"/>
    <p:sldId id="406" r:id="rId65"/>
    <p:sldId id="407" r:id="rId66"/>
    <p:sldId id="408" r:id="rId67"/>
    <p:sldId id="409" r:id="rId68"/>
    <p:sldId id="410" r:id="rId69"/>
    <p:sldId id="297" r:id="rId70"/>
    <p:sldId id="364" r:id="rId71"/>
    <p:sldId id="388" r:id="rId72"/>
    <p:sldId id="391" r:id="rId73"/>
    <p:sldId id="390" r:id="rId74"/>
    <p:sldId id="389" r:id="rId75"/>
    <p:sldId id="392" r:id="rId76"/>
    <p:sldId id="285" r:id="rId77"/>
    <p:sldId id="418" r:id="rId78"/>
    <p:sldId id="419" r:id="rId79"/>
    <p:sldId id="278" r:id="rId80"/>
    <p:sldId id="280" r:id="rId81"/>
    <p:sldId id="412" r:id="rId82"/>
  </p:sldIdLst>
  <p:sldSz cx="9144000" cy="6858000" type="screen4x3"/>
  <p:notesSz cx="6858000" cy="9144000"/>
  <p:defaultTextStyle>
    <a:defPPr>
      <a:defRPr lang="ar-EG"/>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r" defTabSz="914400" rtl="1" eaLnBrk="1" latinLnBrk="0" hangingPunct="1">
      <a:defRPr kern="1200">
        <a:solidFill>
          <a:schemeClr val="tx1"/>
        </a:solidFill>
        <a:latin typeface="Arial" pitchFamily="34" charset="0"/>
        <a:ea typeface="+mn-ea"/>
        <a:cs typeface="Arial" pitchFamily="34" charset="0"/>
      </a:defRPr>
    </a:lvl6pPr>
    <a:lvl7pPr marL="2743200" algn="r" defTabSz="914400" rtl="1" eaLnBrk="1" latinLnBrk="0" hangingPunct="1">
      <a:defRPr kern="1200">
        <a:solidFill>
          <a:schemeClr val="tx1"/>
        </a:solidFill>
        <a:latin typeface="Arial" pitchFamily="34" charset="0"/>
        <a:ea typeface="+mn-ea"/>
        <a:cs typeface="Arial" pitchFamily="34" charset="0"/>
      </a:defRPr>
    </a:lvl7pPr>
    <a:lvl8pPr marL="3200400" algn="r" defTabSz="914400" rtl="1" eaLnBrk="1" latinLnBrk="0" hangingPunct="1">
      <a:defRPr kern="1200">
        <a:solidFill>
          <a:schemeClr val="tx1"/>
        </a:solidFill>
        <a:latin typeface="Arial" pitchFamily="34" charset="0"/>
        <a:ea typeface="+mn-ea"/>
        <a:cs typeface="Arial" pitchFamily="34" charset="0"/>
      </a:defRPr>
    </a:lvl8pPr>
    <a:lvl9pPr marL="3657600" algn="r" defTabSz="914400" rtl="1"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D73A29"/>
    <a:srgbClr val="FF0000"/>
    <a:srgbClr val="FF5050"/>
    <a:srgbClr val="0F5EA5"/>
    <a:srgbClr val="A7D1F7"/>
    <a:srgbClr val="F7D09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82999" autoAdjust="0"/>
    <p:restoredTop sz="93300" autoAdjust="0"/>
  </p:normalViewPr>
  <p:slideViewPr>
    <p:cSldViewPr>
      <p:cViewPr varScale="1">
        <p:scale>
          <a:sx n="72" d="100"/>
          <a:sy n="72" d="100"/>
        </p:scale>
        <p:origin x="1266" y="60"/>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2.xml"/><Relationship Id="rId39" Type="http://schemas.openxmlformats.org/officeDocument/2006/relationships/slide" Target="slides/slide15.xml"/><Relationship Id="rId21" Type="http://schemas.openxmlformats.org/officeDocument/2006/relationships/slideMaster" Target="slideMasters/slideMaster21.xml"/><Relationship Id="rId34" Type="http://schemas.openxmlformats.org/officeDocument/2006/relationships/slide" Target="slides/slide10.xml"/><Relationship Id="rId42" Type="http://schemas.openxmlformats.org/officeDocument/2006/relationships/slide" Target="slides/slide18.xml"/><Relationship Id="rId47" Type="http://schemas.openxmlformats.org/officeDocument/2006/relationships/slide" Target="slides/slide23.xml"/><Relationship Id="rId50" Type="http://schemas.openxmlformats.org/officeDocument/2006/relationships/slide" Target="slides/slide26.xml"/><Relationship Id="rId55" Type="http://schemas.openxmlformats.org/officeDocument/2006/relationships/slide" Target="slides/slide31.xml"/><Relationship Id="rId63" Type="http://schemas.openxmlformats.org/officeDocument/2006/relationships/slide" Target="slides/slide39.xml"/><Relationship Id="rId68" Type="http://schemas.openxmlformats.org/officeDocument/2006/relationships/slide" Target="slides/slide44.xml"/><Relationship Id="rId76" Type="http://schemas.openxmlformats.org/officeDocument/2006/relationships/slide" Target="slides/slide52.xml"/><Relationship Id="rId84" Type="http://schemas.openxmlformats.org/officeDocument/2006/relationships/presProps" Target="presProps.xml"/><Relationship Id="rId7" Type="http://schemas.openxmlformats.org/officeDocument/2006/relationships/slideMaster" Target="slideMasters/slideMaster7.xml"/><Relationship Id="rId71" Type="http://schemas.openxmlformats.org/officeDocument/2006/relationships/slide" Target="slides/slide4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5.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 Target="slides/slide8.xml"/><Relationship Id="rId37" Type="http://schemas.openxmlformats.org/officeDocument/2006/relationships/slide" Target="slides/slide13.xml"/><Relationship Id="rId40" Type="http://schemas.openxmlformats.org/officeDocument/2006/relationships/slide" Target="slides/slide16.xml"/><Relationship Id="rId45" Type="http://schemas.openxmlformats.org/officeDocument/2006/relationships/slide" Target="slides/slide21.xml"/><Relationship Id="rId53" Type="http://schemas.openxmlformats.org/officeDocument/2006/relationships/slide" Target="slides/slide29.xml"/><Relationship Id="rId58" Type="http://schemas.openxmlformats.org/officeDocument/2006/relationships/slide" Target="slides/slide34.xml"/><Relationship Id="rId66" Type="http://schemas.openxmlformats.org/officeDocument/2006/relationships/slide" Target="slides/slide42.xml"/><Relationship Id="rId74" Type="http://schemas.openxmlformats.org/officeDocument/2006/relationships/slide" Target="slides/slide50.xml"/><Relationship Id="rId79" Type="http://schemas.openxmlformats.org/officeDocument/2006/relationships/slide" Target="slides/slide55.xml"/><Relationship Id="rId87"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37.xml"/><Relationship Id="rId82" Type="http://schemas.openxmlformats.org/officeDocument/2006/relationships/slide" Target="slides/slide58.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3.xml"/><Relationship Id="rId30" Type="http://schemas.openxmlformats.org/officeDocument/2006/relationships/slide" Target="slides/slide6.xml"/><Relationship Id="rId35" Type="http://schemas.openxmlformats.org/officeDocument/2006/relationships/slide" Target="slides/slide11.xml"/><Relationship Id="rId43" Type="http://schemas.openxmlformats.org/officeDocument/2006/relationships/slide" Target="slides/slide19.xml"/><Relationship Id="rId48" Type="http://schemas.openxmlformats.org/officeDocument/2006/relationships/slide" Target="slides/slide24.xml"/><Relationship Id="rId56" Type="http://schemas.openxmlformats.org/officeDocument/2006/relationships/slide" Target="slides/slide32.xml"/><Relationship Id="rId64" Type="http://schemas.openxmlformats.org/officeDocument/2006/relationships/slide" Target="slides/slide40.xml"/><Relationship Id="rId69" Type="http://schemas.openxmlformats.org/officeDocument/2006/relationships/slide" Target="slides/slide45.xml"/><Relationship Id="rId77" Type="http://schemas.openxmlformats.org/officeDocument/2006/relationships/slide" Target="slides/slide53.xml"/><Relationship Id="rId8" Type="http://schemas.openxmlformats.org/officeDocument/2006/relationships/slideMaster" Target="slideMasters/slideMaster8.xml"/><Relationship Id="rId51" Type="http://schemas.openxmlformats.org/officeDocument/2006/relationships/slide" Target="slides/slide27.xml"/><Relationship Id="rId72" Type="http://schemas.openxmlformats.org/officeDocument/2006/relationships/slide" Target="slides/slide48.xml"/><Relationship Id="rId80" Type="http://schemas.openxmlformats.org/officeDocument/2006/relationships/slide" Target="slides/slide56.xml"/><Relationship Id="rId85" Type="http://schemas.openxmlformats.org/officeDocument/2006/relationships/viewProps" Target="view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1.xml"/><Relationship Id="rId33" Type="http://schemas.openxmlformats.org/officeDocument/2006/relationships/slide" Target="slides/slide9.xml"/><Relationship Id="rId38" Type="http://schemas.openxmlformats.org/officeDocument/2006/relationships/slide" Target="slides/slide14.xml"/><Relationship Id="rId46" Type="http://schemas.openxmlformats.org/officeDocument/2006/relationships/slide" Target="slides/slide22.xml"/><Relationship Id="rId59" Type="http://schemas.openxmlformats.org/officeDocument/2006/relationships/slide" Target="slides/slide35.xml"/><Relationship Id="rId67" Type="http://schemas.openxmlformats.org/officeDocument/2006/relationships/slide" Target="slides/slide43.xml"/><Relationship Id="rId20" Type="http://schemas.openxmlformats.org/officeDocument/2006/relationships/slideMaster" Target="slideMasters/slideMaster20.xml"/><Relationship Id="rId41" Type="http://schemas.openxmlformats.org/officeDocument/2006/relationships/slide" Target="slides/slide17.xml"/><Relationship Id="rId54" Type="http://schemas.openxmlformats.org/officeDocument/2006/relationships/slide" Target="slides/slide30.xml"/><Relationship Id="rId62" Type="http://schemas.openxmlformats.org/officeDocument/2006/relationships/slide" Target="slides/slide38.xml"/><Relationship Id="rId70" Type="http://schemas.openxmlformats.org/officeDocument/2006/relationships/slide" Target="slides/slide46.xml"/><Relationship Id="rId75" Type="http://schemas.openxmlformats.org/officeDocument/2006/relationships/slide" Target="slides/slide51.xml"/><Relationship Id="rId83"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 Target="slides/slide4.xml"/><Relationship Id="rId36" Type="http://schemas.openxmlformats.org/officeDocument/2006/relationships/slide" Target="slides/slide12.xml"/><Relationship Id="rId49" Type="http://schemas.openxmlformats.org/officeDocument/2006/relationships/slide" Target="slides/slide25.xml"/><Relationship Id="rId57" Type="http://schemas.openxmlformats.org/officeDocument/2006/relationships/slide" Target="slides/slide33.xml"/><Relationship Id="rId10" Type="http://schemas.openxmlformats.org/officeDocument/2006/relationships/slideMaster" Target="slideMasters/slideMaster10.xml"/><Relationship Id="rId31" Type="http://schemas.openxmlformats.org/officeDocument/2006/relationships/slide" Target="slides/slide7.xml"/><Relationship Id="rId44" Type="http://schemas.openxmlformats.org/officeDocument/2006/relationships/slide" Target="slides/slide20.xml"/><Relationship Id="rId52" Type="http://schemas.openxmlformats.org/officeDocument/2006/relationships/slide" Target="slides/slide28.xml"/><Relationship Id="rId60" Type="http://schemas.openxmlformats.org/officeDocument/2006/relationships/slide" Target="slides/slide36.xml"/><Relationship Id="rId65" Type="http://schemas.openxmlformats.org/officeDocument/2006/relationships/slide" Target="slides/slide41.xml"/><Relationship Id="rId73" Type="http://schemas.openxmlformats.org/officeDocument/2006/relationships/slide" Target="slides/slide49.xml"/><Relationship Id="rId78" Type="http://schemas.openxmlformats.org/officeDocument/2006/relationships/slide" Target="slides/slide54.xml"/><Relationship Id="rId81" Type="http://schemas.openxmlformats.org/officeDocument/2006/relationships/slide" Target="slides/slide57.xml"/><Relationship Id="rId86"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a:pPr>
            <a:r>
              <a:rPr lang="en-US" dirty="0">
                <a:latin typeface="Arial" pitchFamily="34" charset="0"/>
                <a:cs typeface="Arial" pitchFamily="34" charset="0"/>
              </a:rPr>
              <a:t>Number of </a:t>
            </a:r>
            <a:r>
              <a:rPr lang="en-US" dirty="0" smtClean="0">
                <a:latin typeface="Arial" pitchFamily="34" charset="0"/>
                <a:cs typeface="Arial" pitchFamily="34" charset="0"/>
              </a:rPr>
              <a:t>Applications </a:t>
            </a:r>
            <a:r>
              <a:rPr lang="en-US" dirty="0">
                <a:latin typeface="Arial" pitchFamily="34" charset="0"/>
                <a:cs typeface="Arial" pitchFamily="34" charset="0"/>
              </a:rPr>
              <a:t>(Egyptians - </a:t>
            </a:r>
            <a:r>
              <a:rPr lang="en-US" dirty="0" smtClean="0">
                <a:latin typeface="Arial" pitchFamily="34" charset="0"/>
                <a:cs typeface="Arial" pitchFamily="34" charset="0"/>
              </a:rPr>
              <a:t>Foreigners</a:t>
            </a:r>
            <a:r>
              <a:rPr lang="en-US" dirty="0">
                <a:latin typeface="Arial" pitchFamily="34" charset="0"/>
                <a:cs typeface="Arial" pitchFamily="34" charset="0"/>
              </a:rPr>
              <a:t>)</a:t>
            </a:r>
          </a:p>
          <a:p>
            <a:pPr>
              <a:defRPr/>
            </a:pPr>
            <a:r>
              <a:rPr lang="en-US" dirty="0">
                <a:latin typeface="Arial" pitchFamily="34" charset="0"/>
                <a:cs typeface="Arial" pitchFamily="34" charset="0"/>
              </a:rPr>
              <a:t> 2009 – 2012</a:t>
            </a:r>
          </a:p>
        </c:rich>
      </c:tx>
      <c:layout>
        <c:manualLayout>
          <c:xMode val="edge"/>
          <c:yMode val="edge"/>
          <c:x val="0.25544794400699877"/>
          <c:y val="3.7037037037037077E-2"/>
        </c:manualLayout>
      </c:layout>
      <c:overlay val="0"/>
    </c:title>
    <c:autoTitleDeleted val="0"/>
    <c:view3D>
      <c:rotX val="15"/>
      <c:rotY val="20"/>
      <c:rAngAx val="1"/>
    </c:view3D>
    <c:floor>
      <c:thickness val="0"/>
    </c:floor>
    <c:sideWall>
      <c:thickness val="0"/>
    </c:sideWall>
    <c:backWall>
      <c:thickness val="0"/>
    </c:backWall>
    <c:plotArea>
      <c:layout/>
      <c:bar3DChart>
        <c:barDir val="col"/>
        <c:grouping val="clustered"/>
        <c:varyColors val="0"/>
        <c:ser>
          <c:idx val="2"/>
          <c:order val="0"/>
          <c:tx>
            <c:strRef>
              <c:f>Sheet1!$A$4</c:f>
              <c:strCache>
                <c:ptCount val="1"/>
                <c:pt idx="0">
                  <c:v>Total</c:v>
                </c:pt>
              </c:strCache>
            </c:strRef>
          </c:tx>
          <c:invertIfNegative val="0"/>
          <c:dPt>
            <c:idx val="0"/>
            <c:invertIfNegative val="1"/>
            <c:bubble3D val="0"/>
          </c:dPt>
          <c:cat>
            <c:strRef>
              <c:f>Sheet1!$B$1:$E$1</c:f>
              <c:strCache>
                <c:ptCount val="4"/>
                <c:pt idx="0">
                  <c:v>2009</c:v>
                </c:pt>
                <c:pt idx="1">
                  <c:v>2010</c:v>
                </c:pt>
                <c:pt idx="2">
                  <c:v>2011</c:v>
                </c:pt>
                <c:pt idx="3">
                  <c:v>2012</c:v>
                </c:pt>
              </c:strCache>
            </c:strRef>
          </c:cat>
          <c:val>
            <c:numRef>
              <c:f>Sheet1!$B$4:$E$4</c:f>
              <c:numCache>
                <c:formatCode>General</c:formatCode>
                <c:ptCount val="4"/>
                <c:pt idx="0">
                  <c:v>1942</c:v>
                </c:pt>
                <c:pt idx="1">
                  <c:v>2230</c:v>
                </c:pt>
                <c:pt idx="2">
                  <c:v>2209</c:v>
                </c:pt>
                <c:pt idx="3">
                  <c:v>2544</c:v>
                </c:pt>
              </c:numCache>
            </c:numRef>
          </c:val>
        </c:ser>
        <c:ser>
          <c:idx val="1"/>
          <c:order val="1"/>
          <c:tx>
            <c:strRef>
              <c:f>Sheet1!$A$3</c:f>
              <c:strCache>
                <c:ptCount val="1"/>
                <c:pt idx="0">
                  <c:v>Foreigners</c:v>
                </c:pt>
              </c:strCache>
            </c:strRef>
          </c:tx>
          <c:spPr>
            <a:solidFill>
              <a:srgbClr val="0070C0"/>
            </a:solidFill>
          </c:spPr>
          <c:invertIfNegative val="0"/>
          <c:cat>
            <c:strRef>
              <c:f>Sheet1!$B$1:$E$1</c:f>
              <c:strCache>
                <c:ptCount val="4"/>
                <c:pt idx="0">
                  <c:v>2009</c:v>
                </c:pt>
                <c:pt idx="1">
                  <c:v>2010</c:v>
                </c:pt>
                <c:pt idx="2">
                  <c:v>2011</c:v>
                </c:pt>
                <c:pt idx="3">
                  <c:v>2012</c:v>
                </c:pt>
              </c:strCache>
            </c:strRef>
          </c:cat>
          <c:val>
            <c:numRef>
              <c:f>Sheet1!$B$3:$E$3</c:f>
              <c:numCache>
                <c:formatCode>General</c:formatCode>
                <c:ptCount val="4"/>
                <c:pt idx="0">
                  <c:v>1455</c:v>
                </c:pt>
                <c:pt idx="1">
                  <c:v>1626</c:v>
                </c:pt>
                <c:pt idx="2">
                  <c:v>1591</c:v>
                </c:pt>
                <c:pt idx="3">
                  <c:v>1654</c:v>
                </c:pt>
              </c:numCache>
            </c:numRef>
          </c:val>
        </c:ser>
        <c:ser>
          <c:idx val="0"/>
          <c:order val="2"/>
          <c:tx>
            <c:strRef>
              <c:f>Sheet1!$A$2</c:f>
              <c:strCache>
                <c:ptCount val="1"/>
                <c:pt idx="0">
                  <c:v>Egyptians</c:v>
                </c:pt>
              </c:strCache>
            </c:strRef>
          </c:tx>
          <c:invertIfNegative val="0"/>
          <c:cat>
            <c:strRef>
              <c:f>Sheet1!$B$1:$E$1</c:f>
              <c:strCache>
                <c:ptCount val="4"/>
                <c:pt idx="0">
                  <c:v>2009</c:v>
                </c:pt>
                <c:pt idx="1">
                  <c:v>2010</c:v>
                </c:pt>
                <c:pt idx="2">
                  <c:v>2011</c:v>
                </c:pt>
                <c:pt idx="3">
                  <c:v>2012</c:v>
                </c:pt>
              </c:strCache>
            </c:strRef>
          </c:cat>
          <c:val>
            <c:numRef>
              <c:f>Sheet1!$B$2:$E$2</c:f>
              <c:numCache>
                <c:formatCode>General</c:formatCode>
                <c:ptCount val="4"/>
                <c:pt idx="0">
                  <c:v>487</c:v>
                </c:pt>
                <c:pt idx="1">
                  <c:v>604</c:v>
                </c:pt>
                <c:pt idx="2">
                  <c:v>618</c:v>
                </c:pt>
                <c:pt idx="3">
                  <c:v>890</c:v>
                </c:pt>
              </c:numCache>
            </c:numRef>
          </c:val>
        </c:ser>
        <c:dLbls>
          <c:showLegendKey val="0"/>
          <c:showVal val="0"/>
          <c:showCatName val="0"/>
          <c:showSerName val="0"/>
          <c:showPercent val="0"/>
          <c:showBubbleSize val="0"/>
        </c:dLbls>
        <c:gapWidth val="150"/>
        <c:shape val="box"/>
        <c:axId val="182324400"/>
        <c:axId val="182326360"/>
        <c:axId val="0"/>
      </c:bar3DChart>
      <c:catAx>
        <c:axId val="182324400"/>
        <c:scaling>
          <c:orientation val="minMax"/>
        </c:scaling>
        <c:delete val="0"/>
        <c:axPos val="b"/>
        <c:numFmt formatCode="General" sourceLinked="0"/>
        <c:majorTickMark val="none"/>
        <c:minorTickMark val="none"/>
        <c:tickLblPos val="nextTo"/>
        <c:crossAx val="182326360"/>
        <c:crosses val="autoZero"/>
        <c:auto val="1"/>
        <c:lblAlgn val="ctr"/>
        <c:lblOffset val="100"/>
        <c:noMultiLvlLbl val="0"/>
      </c:catAx>
      <c:valAx>
        <c:axId val="182326360"/>
        <c:scaling>
          <c:orientation val="minMax"/>
        </c:scaling>
        <c:delete val="0"/>
        <c:axPos val="l"/>
        <c:majorGridlines/>
        <c:title>
          <c:tx>
            <c:rich>
              <a:bodyPr/>
              <a:lstStyle/>
              <a:p>
                <a:pPr>
                  <a:defRPr/>
                </a:pPr>
                <a:r>
                  <a:rPr lang="en-US" dirty="0" smtClean="0"/>
                  <a:t>No. Applications</a:t>
                </a:r>
                <a:endParaRPr lang="en-US" dirty="0"/>
              </a:p>
            </c:rich>
          </c:tx>
          <c:overlay val="0"/>
        </c:title>
        <c:numFmt formatCode="General" sourceLinked="1"/>
        <c:majorTickMark val="none"/>
        <c:minorTickMark val="none"/>
        <c:tickLblPos val="nextTo"/>
        <c:crossAx val="182324400"/>
        <c:crosses val="autoZero"/>
        <c:crossBetween val="between"/>
      </c:valAx>
      <c:dTable>
        <c:showHorzBorder val="1"/>
        <c:showVertBorder val="1"/>
        <c:showOutline val="1"/>
        <c:showKeys val="1"/>
      </c:dTable>
    </c:plotArea>
    <c:plotVisOnly val="1"/>
    <c:dispBlanksAs val="gap"/>
    <c:showDLblsOverMax val="0"/>
  </c:chart>
  <c:txPr>
    <a:bodyPr/>
    <a:lstStyle/>
    <a:p>
      <a:pPr>
        <a:defRPr sz="1840" b="1" i="0" baseline="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15"/>
      <c:rotY val="20"/>
      <c:rAngAx val="1"/>
    </c:view3D>
    <c:floor>
      <c:thickness val="0"/>
    </c:floor>
    <c:sideWall>
      <c:thickness val="0"/>
    </c:sideWall>
    <c:backWall>
      <c:thickness val="0"/>
    </c:backWall>
    <c:plotArea>
      <c:layout/>
      <c:bar3DChart>
        <c:barDir val="col"/>
        <c:grouping val="clustered"/>
        <c:varyColors val="0"/>
        <c:ser>
          <c:idx val="2"/>
          <c:order val="0"/>
          <c:tx>
            <c:strRef>
              <c:f>Sheet1!$A$4</c:f>
              <c:strCache>
                <c:ptCount val="1"/>
                <c:pt idx="0">
                  <c:v>Total</c:v>
                </c:pt>
              </c:strCache>
            </c:strRef>
          </c:tx>
          <c:invertIfNegative val="0"/>
          <c:dLbls>
            <c:dLbl>
              <c:idx val="2"/>
              <c:layout>
                <c:manualLayout>
                  <c:x val="1.6666666666666684E-2"/>
                  <c:y val="-9.2592592592592778E-3"/>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2000" b="1" i="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2010</c:v>
                </c:pt>
                <c:pt idx="1">
                  <c:v>2011</c:v>
                </c:pt>
                <c:pt idx="2">
                  <c:v>2012</c:v>
                </c:pt>
              </c:strCache>
            </c:strRef>
          </c:cat>
          <c:val>
            <c:numRef>
              <c:f>Sheet1!$B$4:$D$4</c:f>
              <c:numCache>
                <c:formatCode>General</c:formatCode>
                <c:ptCount val="3"/>
                <c:pt idx="0">
                  <c:v>359</c:v>
                </c:pt>
                <c:pt idx="1">
                  <c:v>484</c:v>
                </c:pt>
                <c:pt idx="2">
                  <c:v>727</c:v>
                </c:pt>
              </c:numCache>
            </c:numRef>
          </c:val>
        </c:ser>
        <c:ser>
          <c:idx val="1"/>
          <c:order val="1"/>
          <c:tx>
            <c:strRef>
              <c:f>Sheet1!$A$3</c:f>
              <c:strCache>
                <c:ptCount val="1"/>
                <c:pt idx="0">
                  <c:v>Foreigners</c:v>
                </c:pt>
              </c:strCache>
            </c:strRef>
          </c:tx>
          <c:spPr>
            <a:solidFill>
              <a:srgbClr val="0070C0"/>
            </a:solidFill>
          </c:spPr>
          <c:invertIfNegative val="0"/>
          <c:dLbls>
            <c:dLbl>
              <c:idx val="0"/>
              <c:layout>
                <c:manualLayout>
                  <c:x val="1.150393700787402E-2"/>
                  <c:y val="-1.6666666666666684E-2"/>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1.9915901137357847E-2"/>
                  <c:y val="-5.5555555555555558E-3"/>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1.9994422253409534E-2"/>
                  <c:y val="-2.5925925925925956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2000" b="1" i="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2010</c:v>
                </c:pt>
                <c:pt idx="1">
                  <c:v>2011</c:v>
                </c:pt>
                <c:pt idx="2">
                  <c:v>2012</c:v>
                </c:pt>
              </c:strCache>
            </c:strRef>
          </c:cat>
          <c:val>
            <c:numRef>
              <c:f>Sheet1!$B$3:$D$3</c:f>
              <c:numCache>
                <c:formatCode>General</c:formatCode>
                <c:ptCount val="3"/>
                <c:pt idx="0">
                  <c:v>321</c:v>
                </c:pt>
                <c:pt idx="1">
                  <c:v>423</c:v>
                </c:pt>
                <c:pt idx="2">
                  <c:v>634</c:v>
                </c:pt>
              </c:numCache>
            </c:numRef>
          </c:val>
        </c:ser>
        <c:ser>
          <c:idx val="0"/>
          <c:order val="2"/>
          <c:tx>
            <c:strRef>
              <c:f>Sheet1!$A$2</c:f>
              <c:strCache>
                <c:ptCount val="1"/>
                <c:pt idx="0">
                  <c:v>Egyptians</c:v>
                </c:pt>
              </c:strCache>
            </c:strRef>
          </c:tx>
          <c:spPr>
            <a:solidFill>
              <a:schemeClr val="accent1"/>
            </a:solidFill>
          </c:spPr>
          <c:invertIfNegative val="0"/>
          <c:dLbls>
            <c:dLbl>
              <c:idx val="0"/>
              <c:layout>
                <c:manualLayout>
                  <c:x val="1.7817147856517941E-3"/>
                  <c:y val="-9.2592592592592778E-3"/>
                </c:manualLayout>
              </c:layout>
              <c:showLegendKey val="0"/>
              <c:showVal val="1"/>
              <c:showCatName val="0"/>
              <c:showSerName val="0"/>
              <c:showPercent val="0"/>
              <c:showBubbleSize val="0"/>
              <c:extLst>
                <c:ext xmlns:c15="http://schemas.microsoft.com/office/drawing/2012/chart" uri="{CE6537A1-D6FC-4f65-9D91-7224C49458BB}"/>
              </c:extLst>
            </c:dLbl>
            <c:dLbl>
              <c:idx val="1"/>
              <c:layout>
                <c:manualLayout>
                  <c:x val="1.713807621720826E-2"/>
                  <c:y val="-1.1111111111111124E-2"/>
                </c:manualLayout>
              </c:layout>
              <c:showLegendKey val="0"/>
              <c:showVal val="1"/>
              <c:showCatName val="0"/>
              <c:showSerName val="0"/>
              <c:showPercent val="0"/>
              <c:showBubbleSize val="0"/>
              <c:extLst>
                <c:ext xmlns:c15="http://schemas.microsoft.com/office/drawing/2012/chart" uri="{CE6537A1-D6FC-4f65-9D91-7224C49458BB}"/>
              </c:extLst>
            </c:dLbl>
            <c:dLbl>
              <c:idx val="2"/>
              <c:layout>
                <c:manualLayout>
                  <c:x val="1.2853557162906301E-2"/>
                  <c:y val="-1.2962962962962963E-2"/>
                </c:manualLayout>
              </c:layout>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a:lstStyle/>
              <a:p>
                <a:pPr>
                  <a:defRPr sz="2000" b="1" i="0" baseline="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2010</c:v>
                </c:pt>
                <c:pt idx="1">
                  <c:v>2011</c:v>
                </c:pt>
                <c:pt idx="2">
                  <c:v>2012</c:v>
                </c:pt>
              </c:strCache>
            </c:strRef>
          </c:cat>
          <c:val>
            <c:numRef>
              <c:f>Sheet1!$B$2:$D$2</c:f>
              <c:numCache>
                <c:formatCode>General</c:formatCode>
                <c:ptCount val="3"/>
                <c:pt idx="0">
                  <c:v>38</c:v>
                </c:pt>
                <c:pt idx="1">
                  <c:v>61</c:v>
                </c:pt>
                <c:pt idx="2">
                  <c:v>93</c:v>
                </c:pt>
              </c:numCache>
            </c:numRef>
          </c:val>
        </c:ser>
        <c:dLbls>
          <c:showLegendKey val="0"/>
          <c:showVal val="1"/>
          <c:showCatName val="0"/>
          <c:showSerName val="0"/>
          <c:showPercent val="0"/>
          <c:showBubbleSize val="0"/>
        </c:dLbls>
        <c:gapWidth val="150"/>
        <c:shape val="cylinder"/>
        <c:axId val="182329104"/>
        <c:axId val="182321656"/>
        <c:axId val="0"/>
      </c:bar3DChart>
      <c:catAx>
        <c:axId val="182329104"/>
        <c:scaling>
          <c:orientation val="minMax"/>
        </c:scaling>
        <c:delete val="0"/>
        <c:axPos val="b"/>
        <c:numFmt formatCode="General" sourceLinked="0"/>
        <c:majorTickMark val="none"/>
        <c:minorTickMark val="none"/>
        <c:tickLblPos val="nextTo"/>
        <c:txPr>
          <a:bodyPr/>
          <a:lstStyle/>
          <a:p>
            <a:pPr>
              <a:defRPr sz="2000" b="1" i="0" baseline="0"/>
            </a:pPr>
            <a:endParaRPr lang="en-US"/>
          </a:p>
        </c:txPr>
        <c:crossAx val="182321656"/>
        <c:crosses val="autoZero"/>
        <c:auto val="1"/>
        <c:lblAlgn val="ctr"/>
        <c:lblOffset val="100"/>
        <c:noMultiLvlLbl val="0"/>
      </c:catAx>
      <c:valAx>
        <c:axId val="182321656"/>
        <c:scaling>
          <c:orientation val="minMax"/>
        </c:scaling>
        <c:delete val="1"/>
        <c:axPos val="l"/>
        <c:numFmt formatCode="General" sourceLinked="1"/>
        <c:majorTickMark val="none"/>
        <c:minorTickMark val="none"/>
        <c:tickLblPos val="none"/>
        <c:crossAx val="182329104"/>
        <c:crosses val="autoZero"/>
        <c:crossBetween val="between"/>
      </c:valAx>
    </c:plotArea>
    <c:legend>
      <c:legendPos val="t"/>
      <c:layout>
        <c:manualLayout>
          <c:xMode val="edge"/>
          <c:yMode val="edge"/>
          <c:x val="2.8537729658792633E-2"/>
          <c:y val="0.1518518518518519"/>
          <c:w val="0.40729024496937877"/>
          <c:h val="5.3131087780694065E-2"/>
        </c:manualLayout>
      </c:layout>
      <c:overlay val="0"/>
      <c:txPr>
        <a:bodyPr/>
        <a:lstStyle/>
        <a:p>
          <a:pPr>
            <a:defRPr sz="2000" b="1" i="0" baseline="0"/>
          </a:pPr>
          <a:endParaRPr lang="en-US"/>
        </a:p>
      </c:txPr>
    </c:legend>
    <c:plotVisOnly val="1"/>
    <c:dispBlanksAs val="gap"/>
    <c:showDLblsOverMax val="0"/>
  </c:chart>
  <c:txPr>
    <a:bodyPr/>
    <a:lstStyle/>
    <a:p>
      <a:pPr>
        <a:defRPr sz="1800"/>
      </a:pPr>
      <a:endParaRPr lang="en-US"/>
    </a:p>
  </c:txPr>
  <c:externalData r:id="rId1">
    <c:autoUpdate val="0"/>
  </c:externalData>
  <c:userShapes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2.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5.emf"/></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drawings/drawing1.xml><?xml version="1.0" encoding="utf-8"?>
<c:userShapes xmlns:c="http://schemas.openxmlformats.org/drawingml/2006/chart">
  <cdr:relSizeAnchor xmlns:cdr="http://schemas.openxmlformats.org/drawingml/2006/chartDrawing">
    <cdr:from>
      <cdr:x>0.17404</cdr:x>
      <cdr:y>0</cdr:y>
    </cdr:from>
    <cdr:to>
      <cdr:x>0.93522</cdr:x>
      <cdr:y>0.08001</cdr:y>
    </cdr:to>
    <cdr:sp macro="" textlink="">
      <cdr:nvSpPr>
        <cdr:cNvPr id="2" name="TextBox 1"/>
        <cdr:cNvSpPr txBox="1"/>
      </cdr:nvSpPr>
      <cdr:spPr>
        <a:xfrm xmlns:a="http://schemas.openxmlformats.org/drawingml/2006/main">
          <a:off x="1547664" y="0"/>
          <a:ext cx="6768752" cy="54868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cdr:x>
      <cdr:y>0.02751</cdr:y>
    </cdr:from>
    <cdr:to>
      <cdr:x>1</cdr:x>
      <cdr:y>0.09051</cdr:y>
    </cdr:to>
    <cdr:sp macro="" textlink="">
      <cdr:nvSpPr>
        <cdr:cNvPr id="4" name="TextBox 3"/>
        <cdr:cNvSpPr txBox="1"/>
      </cdr:nvSpPr>
      <cdr:spPr>
        <a:xfrm xmlns:a="http://schemas.openxmlformats.org/drawingml/2006/main">
          <a:off x="0" y="188640"/>
          <a:ext cx="9144000" cy="43204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rtl="0"/>
          <a:r>
            <a:rPr lang="en-US" sz="2000" b="1" dirty="0">
              <a:effectLst>
                <a:outerShdw blurRad="38100" dist="38100" dir="2700000" algn="tl">
                  <a:srgbClr val="000000">
                    <a:alpha val="43137"/>
                  </a:srgbClr>
                </a:outerShdw>
              </a:effectLst>
              <a:latin typeface="Arial" pitchFamily="34" charset="0"/>
              <a:cs typeface="Arial" pitchFamily="34" charset="0"/>
            </a:rPr>
            <a:t>Number of patents issued (Egyptians - </a:t>
          </a:r>
          <a:r>
            <a:rPr lang="en-US" sz="2000" b="1" dirty="0" smtClean="0">
              <a:effectLst>
                <a:outerShdw blurRad="38100" dist="38100" dir="2700000" algn="tl">
                  <a:srgbClr val="000000">
                    <a:alpha val="43137"/>
                  </a:srgbClr>
                </a:outerShdw>
              </a:effectLst>
              <a:latin typeface="Arial" pitchFamily="34" charset="0"/>
              <a:cs typeface="Arial" pitchFamily="34" charset="0"/>
            </a:rPr>
            <a:t>Foreigners) 2010 </a:t>
          </a:r>
          <a:r>
            <a:rPr lang="en-US" sz="2000" b="1" dirty="0">
              <a:effectLst>
                <a:outerShdw blurRad="38100" dist="38100" dir="2700000" algn="tl">
                  <a:srgbClr val="000000">
                    <a:alpha val="43137"/>
                  </a:srgbClr>
                </a:outerShdw>
              </a:effectLst>
              <a:latin typeface="Arial" pitchFamily="34" charset="0"/>
              <a:cs typeface="Arial" pitchFamily="34" charset="0"/>
            </a:rPr>
            <a:t>– 2012</a:t>
          </a:r>
        </a:p>
        <a:p xmlns:a="http://schemas.openxmlformats.org/drawingml/2006/main">
          <a:pPr algn="ctr"/>
          <a:endParaRPr lang="en-US" sz="11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886200" y="0"/>
            <a:ext cx="2971800" cy="457200"/>
          </a:xfrm>
          <a:prstGeom prst="rect">
            <a:avLst/>
          </a:prstGeom>
        </p:spPr>
        <p:txBody>
          <a:bodyPr vert="horz" lIns="91440" tIns="45720" rIns="91440" bIns="45720" rtlCol="1"/>
          <a:lstStyle>
            <a:lvl1pPr algn="r" rtl="1" fontAlgn="auto">
              <a:spcBef>
                <a:spcPts val="0"/>
              </a:spcBef>
              <a:spcAft>
                <a:spcPts val="0"/>
              </a:spcAft>
              <a:defRPr sz="1200">
                <a:latin typeface="+mn-lt"/>
                <a:cs typeface="+mn-cs"/>
              </a:defRPr>
            </a:lvl1pPr>
          </a:lstStyle>
          <a:p>
            <a:pPr>
              <a:defRPr/>
            </a:pPr>
            <a:endParaRPr lang="ar-EG"/>
          </a:p>
        </p:txBody>
      </p:sp>
      <p:sp>
        <p:nvSpPr>
          <p:cNvPr id="3" name="Date Placeholder 2"/>
          <p:cNvSpPr>
            <a:spLocks noGrp="1"/>
          </p:cNvSpPr>
          <p:nvPr>
            <p:ph type="dt" idx="1"/>
          </p:nvPr>
        </p:nvSpPr>
        <p:spPr>
          <a:xfrm>
            <a:off x="1588" y="0"/>
            <a:ext cx="2971800" cy="457200"/>
          </a:xfrm>
          <a:prstGeom prst="rect">
            <a:avLst/>
          </a:prstGeom>
        </p:spPr>
        <p:txBody>
          <a:bodyPr vert="horz" lIns="91440" tIns="45720" rIns="91440" bIns="45720" rtlCol="1"/>
          <a:lstStyle>
            <a:lvl1pPr algn="l" rtl="1" fontAlgn="auto">
              <a:spcBef>
                <a:spcPts val="0"/>
              </a:spcBef>
              <a:spcAft>
                <a:spcPts val="0"/>
              </a:spcAft>
              <a:defRPr sz="1200">
                <a:latin typeface="+mn-lt"/>
                <a:cs typeface="+mn-cs"/>
              </a:defRPr>
            </a:lvl1pPr>
          </a:lstStyle>
          <a:p>
            <a:pPr>
              <a:defRPr/>
            </a:pPr>
            <a:fld id="{485A2AA4-1AC2-446A-885B-D696E0271792}" type="datetimeFigureOut">
              <a:rPr lang="ar-EG"/>
              <a:pPr>
                <a:defRPr/>
              </a:pPr>
              <a:t>26/06/1434</a:t>
            </a:fld>
            <a:endParaRPr lang="ar-EG"/>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1" anchor="ctr"/>
          <a:lstStyle/>
          <a:p>
            <a:pPr lvl="0"/>
            <a:endParaRPr lang="ar-EG"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 name="Footer Placeholder 5"/>
          <p:cNvSpPr>
            <a:spLocks noGrp="1"/>
          </p:cNvSpPr>
          <p:nvPr>
            <p:ph type="ftr" sz="quarter" idx="4"/>
          </p:nvPr>
        </p:nvSpPr>
        <p:spPr>
          <a:xfrm>
            <a:off x="3886200" y="8685213"/>
            <a:ext cx="2971800" cy="457200"/>
          </a:xfrm>
          <a:prstGeom prst="rect">
            <a:avLst/>
          </a:prstGeom>
        </p:spPr>
        <p:txBody>
          <a:bodyPr vert="horz" lIns="91440" tIns="45720" rIns="91440" bIns="45720" rtlCol="1" anchor="b"/>
          <a:lstStyle>
            <a:lvl1pPr algn="r" rtl="1" fontAlgn="auto">
              <a:spcBef>
                <a:spcPts val="0"/>
              </a:spcBef>
              <a:spcAft>
                <a:spcPts val="0"/>
              </a:spcAft>
              <a:defRPr sz="1200">
                <a:latin typeface="+mn-lt"/>
                <a:cs typeface="+mn-cs"/>
              </a:defRPr>
            </a:lvl1pPr>
          </a:lstStyle>
          <a:p>
            <a:pPr>
              <a:defRPr/>
            </a:pPr>
            <a:endParaRPr lang="ar-EG"/>
          </a:p>
        </p:txBody>
      </p:sp>
      <p:sp>
        <p:nvSpPr>
          <p:cNvPr id="7" name="Slide Number Placeholder 6"/>
          <p:cNvSpPr>
            <a:spLocks noGrp="1"/>
          </p:cNvSpPr>
          <p:nvPr>
            <p:ph type="sldNum" sz="quarter" idx="5"/>
          </p:nvPr>
        </p:nvSpPr>
        <p:spPr>
          <a:xfrm>
            <a:off x="1588" y="8685213"/>
            <a:ext cx="2971800" cy="457200"/>
          </a:xfrm>
          <a:prstGeom prst="rect">
            <a:avLst/>
          </a:prstGeom>
        </p:spPr>
        <p:txBody>
          <a:bodyPr vert="horz" lIns="91440" tIns="45720" rIns="91440" bIns="45720" rtlCol="1" anchor="b"/>
          <a:lstStyle>
            <a:lvl1pPr algn="l" rtl="1" fontAlgn="auto">
              <a:spcBef>
                <a:spcPts val="0"/>
              </a:spcBef>
              <a:spcAft>
                <a:spcPts val="0"/>
              </a:spcAft>
              <a:defRPr sz="1200">
                <a:latin typeface="+mn-lt"/>
                <a:cs typeface="+mn-cs"/>
              </a:defRPr>
            </a:lvl1pPr>
          </a:lstStyle>
          <a:p>
            <a:pPr>
              <a:defRPr/>
            </a:pPr>
            <a:fld id="{77FA30BF-F9BE-437E-921C-996E797E4283}" type="slidenum">
              <a:rPr lang="ar-EG"/>
              <a:pPr>
                <a:defRPr/>
              </a:pPr>
              <a:t>‹#›</a:t>
            </a:fld>
            <a:endParaRPr lang="ar-EG"/>
          </a:p>
        </p:txBody>
      </p:sp>
    </p:spTree>
    <p:extLst>
      <p:ext uri="{BB962C8B-B14F-4D97-AF65-F5344CB8AC3E}">
        <p14:creationId xmlns:p14="http://schemas.microsoft.com/office/powerpoint/2010/main" val="2334899620"/>
      </p:ext>
    </p:extLst>
  </p:cSld>
  <p:clrMap bg1="lt1" tx1="dk1" bg2="lt2" tx2="dk2" accent1="accent1" accent2="accent2" accent3="accent3" accent4="accent4" accent5="accent5" accent6="accent6" hlink="hlink" folHlink="folHlink"/>
  <p:notesStyle>
    <a:lvl1pPr algn="r" rtl="1" eaLnBrk="0" fontAlgn="base" hangingPunct="0">
      <a:spcBef>
        <a:spcPct val="30000"/>
      </a:spcBef>
      <a:spcAft>
        <a:spcPct val="0"/>
      </a:spcAft>
      <a:defRPr sz="1200" kern="1200">
        <a:solidFill>
          <a:schemeClr val="tx1"/>
        </a:solidFill>
        <a:latin typeface="+mn-lt"/>
        <a:ea typeface="+mn-ea"/>
        <a:cs typeface="+mn-cs"/>
      </a:defRPr>
    </a:lvl1pPr>
    <a:lvl2pPr marL="457200" algn="r" rtl="1" eaLnBrk="0" fontAlgn="base" hangingPunct="0">
      <a:spcBef>
        <a:spcPct val="30000"/>
      </a:spcBef>
      <a:spcAft>
        <a:spcPct val="0"/>
      </a:spcAft>
      <a:defRPr sz="1200" kern="1200">
        <a:solidFill>
          <a:schemeClr val="tx1"/>
        </a:solidFill>
        <a:latin typeface="+mn-lt"/>
        <a:ea typeface="+mn-ea"/>
        <a:cs typeface="+mn-cs"/>
      </a:defRPr>
    </a:lvl2pPr>
    <a:lvl3pPr marL="914400" algn="r" rtl="1" eaLnBrk="0" fontAlgn="base" hangingPunct="0">
      <a:spcBef>
        <a:spcPct val="30000"/>
      </a:spcBef>
      <a:spcAft>
        <a:spcPct val="0"/>
      </a:spcAft>
      <a:defRPr sz="1200" kern="1200">
        <a:solidFill>
          <a:schemeClr val="tx1"/>
        </a:solidFill>
        <a:latin typeface="+mn-lt"/>
        <a:ea typeface="+mn-ea"/>
        <a:cs typeface="+mn-cs"/>
      </a:defRPr>
    </a:lvl3pPr>
    <a:lvl4pPr marL="1371600" algn="r" rtl="1" eaLnBrk="0" fontAlgn="base" hangingPunct="0">
      <a:spcBef>
        <a:spcPct val="30000"/>
      </a:spcBef>
      <a:spcAft>
        <a:spcPct val="0"/>
      </a:spcAft>
      <a:defRPr sz="1200" kern="1200">
        <a:solidFill>
          <a:schemeClr val="tx1"/>
        </a:solidFill>
        <a:latin typeface="+mn-lt"/>
        <a:ea typeface="+mn-ea"/>
        <a:cs typeface="+mn-cs"/>
      </a:defRPr>
    </a:lvl4pPr>
    <a:lvl5pPr marL="1828800" algn="r" rtl="1" eaLnBrk="0" fontAlgn="base" hangingPunct="0">
      <a:spcBef>
        <a:spcPct val="30000"/>
      </a:spcBef>
      <a:spcAft>
        <a:spcPct val="0"/>
      </a:spcAft>
      <a:defRPr sz="1200" kern="1200">
        <a:solidFill>
          <a:schemeClr val="tx1"/>
        </a:solidFill>
        <a:latin typeface="+mn-lt"/>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786" name="Rectangle 2"/>
          <p:cNvSpPr>
            <a:spLocks noGrp="1" noRot="1" noChangeAspect="1" noChangeArrowheads="1" noTextEdit="1"/>
          </p:cNvSpPr>
          <p:nvPr>
            <p:ph type="sldImg"/>
          </p:nvPr>
        </p:nvSpPr>
        <p:spPr>
          <a:ln/>
        </p:spPr>
      </p:sp>
      <p:sp>
        <p:nvSpPr>
          <p:cNvPr id="246787" name="Rectangle 3"/>
          <p:cNvSpPr>
            <a:spLocks noGrp="1" noChangeArrowheads="1"/>
          </p:cNvSpPr>
          <p:nvPr>
            <p:ph type="body" idx="1"/>
          </p:nvPr>
        </p:nvSpPr>
        <p:spPr>
          <a:noFill/>
          <a:ln/>
        </p:spPr>
        <p:txBody>
          <a:bodyPr/>
          <a:lstStyle/>
          <a:p>
            <a:endParaRPr lang="en-US" smtClean="0"/>
          </a:p>
        </p:txBody>
      </p:sp>
    </p:spTree>
    <p:extLst>
      <p:ext uri="{BB962C8B-B14F-4D97-AF65-F5344CB8AC3E}">
        <p14:creationId xmlns:p14="http://schemas.microsoft.com/office/powerpoint/2010/main" val="42739859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35171"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eaLnBrk="1" hangingPunct="1"/>
            <a:endParaRPr lang="en-IN" smtClean="0"/>
          </a:p>
        </p:txBody>
      </p:sp>
    </p:spTree>
    <p:extLst>
      <p:ext uri="{BB962C8B-B14F-4D97-AF65-F5344CB8AC3E}">
        <p14:creationId xmlns:p14="http://schemas.microsoft.com/office/powerpoint/2010/main" val="35251687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ln/>
        </p:spPr>
      </p:sp>
      <p:sp>
        <p:nvSpPr>
          <p:cNvPr id="41987" name="Notes Placeholder 2"/>
          <p:cNvSpPr>
            <a:spLocks noGrp="1"/>
          </p:cNvSpPr>
          <p:nvPr>
            <p:ph type="body" idx="1"/>
          </p:nvPr>
        </p:nvSpPr>
        <p:spPr>
          <a:noFill/>
          <a:ln/>
        </p:spPr>
        <p:txBody>
          <a:bodyPr/>
          <a:lstStyle/>
          <a:p>
            <a:endParaRPr lang="en-US" smtClean="0">
              <a:latin typeface="Arial" pitchFamily="34" charset="0"/>
            </a:endParaRPr>
          </a:p>
        </p:txBody>
      </p:sp>
      <p:sp>
        <p:nvSpPr>
          <p:cNvPr id="41988" name="Slide Number Placeholder 3"/>
          <p:cNvSpPr>
            <a:spLocks noGrp="1"/>
          </p:cNvSpPr>
          <p:nvPr>
            <p:ph type="sldNum" sz="quarter" idx="5"/>
          </p:nvPr>
        </p:nvSpPr>
        <p:spPr>
          <a:noFill/>
        </p:spPr>
        <p:txBody>
          <a:bodyPr/>
          <a:lstStyle/>
          <a:p>
            <a:fld id="{81CDDF81-1DB9-494E-8104-D500C5E61417}" type="slidenum">
              <a:rPr lang="ja-JP" altLang="en-GB" smtClean="0">
                <a:latin typeface="Arial" pitchFamily="34" charset="0"/>
              </a:rPr>
              <a:pPr/>
              <a:t>26</a:t>
            </a:fld>
            <a:endParaRPr lang="en-GB" altLang="ja-JP" smtClean="0">
              <a:latin typeface="Arial" pitchFamily="34" charset="0"/>
            </a:endParaRPr>
          </a:p>
        </p:txBody>
      </p:sp>
    </p:spTree>
    <p:extLst>
      <p:ext uri="{BB962C8B-B14F-4D97-AF65-F5344CB8AC3E}">
        <p14:creationId xmlns:p14="http://schemas.microsoft.com/office/powerpoint/2010/main" val="32799303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p:spPr>
      </p:sp>
      <p:sp>
        <p:nvSpPr>
          <p:cNvPr id="15363"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r>
              <a:rPr lang="en-US" smtClean="0"/>
              <a:t>Here’s one way of addressing that problem. Instead of a journal-based classification for research output, we can do co-citation analysis on the individual articles that make up an institution’s profile and bring to light their distinctive competencies. </a:t>
            </a:r>
          </a:p>
          <a:p>
            <a:pPr eaLnBrk="1" hangingPunct="1"/>
            <a:r>
              <a:rPr lang="en-US" smtClean="0"/>
              <a:t>Click 1:</a:t>
            </a:r>
          </a:p>
          <a:p>
            <a:pPr eaLnBrk="1" hangingPunct="1"/>
            <a:r>
              <a:rPr lang="en-US" smtClean="0"/>
              <a:t>Once you have identified specific competencies to focus on, you drill down and extract information that helps you understand the key drivers. By doing so, you are able to spot emerging research areas ACROSS disciplines and ACT on the opportunities proactively.</a:t>
            </a:r>
          </a:p>
        </p:txBody>
      </p:sp>
      <p:sp>
        <p:nvSpPr>
          <p:cNvPr id="727043" name="Slide Number Placeholder 3"/>
          <p:cNvSpPr>
            <a:spLocks noGrp="1"/>
          </p:cNvSpPr>
          <p:nvPr>
            <p:ph type="sldNum" sz="quarter" idx="5"/>
          </p:nvPr>
        </p:nvSpPr>
        <p:spPr/>
        <p:txBody>
          <a:bodyPr/>
          <a:lstStyle/>
          <a:p>
            <a:pPr>
              <a:defRPr/>
            </a:pPr>
            <a:fld id="{391E2BA4-3E44-45F5-AD82-E7BFC2CDE0E5}" type="slidenum">
              <a:rPr lang="en-GB" smtClean="0"/>
              <a:pPr>
                <a:defRPr/>
              </a:pPr>
              <a:t>27</a:t>
            </a:fld>
            <a:endParaRPr lang="en-GB" smtClean="0"/>
          </a:p>
        </p:txBody>
      </p:sp>
    </p:spTree>
    <p:extLst>
      <p:ext uri="{BB962C8B-B14F-4D97-AF65-F5344CB8AC3E}">
        <p14:creationId xmlns:p14="http://schemas.microsoft.com/office/powerpoint/2010/main" val="13042148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mtClean="0"/>
              <a:t>The position of the competency in the matrix shows the leadership of Cairo University in terms of production. The fact that globally the growth is slightly negative tells that the leadership position of Cairo University is not in danger.</a:t>
            </a:r>
          </a:p>
          <a:p>
            <a:r>
              <a:rPr lang="en-GB" smtClean="0"/>
              <a:t>On the other hand, this could be a sign that this research area has reached a mature stage and a decision could be taken on whether to continue investing in this area or maybe explore other areas.</a:t>
            </a:r>
            <a:endParaRPr lang="en-US"/>
          </a:p>
        </p:txBody>
      </p:sp>
      <p:sp>
        <p:nvSpPr>
          <p:cNvPr id="4" name="Slide Number Placeholder 3"/>
          <p:cNvSpPr>
            <a:spLocks noGrp="1"/>
          </p:cNvSpPr>
          <p:nvPr>
            <p:ph type="sldNum" sz="quarter" idx="10"/>
          </p:nvPr>
        </p:nvSpPr>
        <p:spPr/>
        <p:txBody>
          <a:bodyPr/>
          <a:lstStyle/>
          <a:p>
            <a:pPr>
              <a:defRPr/>
            </a:pPr>
            <a:fld id="{C90BC213-B758-41F9-81EA-010ACE6A95AB}" type="slidenum">
              <a:rPr lang="en-US" smtClean="0">
                <a:solidFill>
                  <a:srgbClr val="000000"/>
                </a:solidFill>
              </a:rPr>
              <a:pPr>
                <a:defRPr/>
              </a:pPr>
              <a:t>31</a:t>
            </a:fld>
            <a:endParaRPr lang="en-US">
              <a:solidFill>
                <a:srgbClr val="000000"/>
              </a:solidFill>
            </a:endParaRPr>
          </a:p>
        </p:txBody>
      </p:sp>
    </p:spTree>
    <p:extLst>
      <p:ext uri="{BB962C8B-B14F-4D97-AF65-F5344CB8AC3E}">
        <p14:creationId xmlns:p14="http://schemas.microsoft.com/office/powerpoint/2010/main" val="10043003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mtClean="0"/>
              <a:t>This competency is an example of an interdisciplinary</a:t>
            </a:r>
            <a:r>
              <a:rPr lang="en-GB" baseline="0" smtClean="0"/>
              <a:t> one. It lies towards the middle of the wheel of science, including different disciplines such as</a:t>
            </a:r>
          </a:p>
          <a:p>
            <a:endParaRPr lang="en-GB" baseline="0" smtClean="0"/>
          </a:p>
          <a:p>
            <a:pPr>
              <a:buFontTx/>
              <a:buChar char="-"/>
            </a:pPr>
            <a:r>
              <a:rPr lang="en-GB" baseline="0" smtClean="0"/>
              <a:t> Plant Science</a:t>
            </a:r>
          </a:p>
          <a:p>
            <a:pPr>
              <a:buFontTx/>
              <a:buChar char="-"/>
            </a:pPr>
            <a:r>
              <a:rPr lang="en-GB" baseline="0" smtClean="0"/>
              <a:t> Applied Microbiology and Biotechnology</a:t>
            </a:r>
          </a:p>
          <a:p>
            <a:pPr>
              <a:buFontTx/>
              <a:buChar char="-"/>
            </a:pPr>
            <a:r>
              <a:rPr lang="en-GB" baseline="0" smtClean="0"/>
              <a:t> Drug Discovery</a:t>
            </a:r>
          </a:p>
          <a:p>
            <a:pPr>
              <a:buFontTx/>
              <a:buChar char="-"/>
            </a:pPr>
            <a:r>
              <a:rPr lang="en-GB" baseline="0" smtClean="0"/>
              <a:t> Food Science</a:t>
            </a:r>
          </a:p>
          <a:p>
            <a:pPr>
              <a:buFontTx/>
              <a:buChar char="-"/>
            </a:pPr>
            <a:r>
              <a:rPr lang="en-US" smtClean="0"/>
              <a:t> Pharmaceutical Science</a:t>
            </a:r>
          </a:p>
          <a:p>
            <a:pPr>
              <a:buFontTx/>
              <a:buNone/>
            </a:pPr>
            <a:endParaRPr lang="en-US" smtClean="0"/>
          </a:p>
          <a:p>
            <a:pPr>
              <a:buFontTx/>
              <a:buNone/>
            </a:pPr>
            <a:r>
              <a:rPr lang="en-US" smtClean="0"/>
              <a:t>This competency is growing on a global scale, and growing much faster in Egypt and even more at Cairo University. Almost 60% of Egyptian papers are authored by Cairo University researchers.</a:t>
            </a:r>
          </a:p>
          <a:p>
            <a:pPr>
              <a:buFontTx/>
              <a:buNone/>
            </a:pPr>
            <a:endParaRPr lang="en-US"/>
          </a:p>
        </p:txBody>
      </p:sp>
      <p:sp>
        <p:nvSpPr>
          <p:cNvPr id="4" name="Slide Number Placeholder 3"/>
          <p:cNvSpPr>
            <a:spLocks noGrp="1"/>
          </p:cNvSpPr>
          <p:nvPr>
            <p:ph type="sldNum" sz="quarter" idx="10"/>
          </p:nvPr>
        </p:nvSpPr>
        <p:spPr/>
        <p:txBody>
          <a:bodyPr/>
          <a:lstStyle/>
          <a:p>
            <a:pPr>
              <a:defRPr/>
            </a:pPr>
            <a:fld id="{C90BC213-B758-41F9-81EA-010ACE6A95AB}" type="slidenum">
              <a:rPr lang="en-US" smtClean="0">
                <a:solidFill>
                  <a:srgbClr val="000000"/>
                </a:solidFill>
              </a:rPr>
              <a:pPr>
                <a:defRPr/>
              </a:pPr>
              <a:t>32</a:t>
            </a:fld>
            <a:endParaRPr lang="en-US">
              <a:solidFill>
                <a:srgbClr val="000000"/>
              </a:solidFill>
            </a:endParaRPr>
          </a:p>
        </p:txBody>
      </p:sp>
    </p:spTree>
    <p:extLst>
      <p:ext uri="{BB962C8B-B14F-4D97-AF65-F5344CB8AC3E}">
        <p14:creationId xmlns:p14="http://schemas.microsoft.com/office/powerpoint/2010/main" val="250357260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mtClean="0"/>
              <a:t>By focusing on Computer Science,</a:t>
            </a:r>
            <a:r>
              <a:rPr lang="en-US" baseline="0" smtClean="0"/>
              <a:t> 8 foreign institutions have collaborated with Cairo University, including companies such as IBM and Intel.</a:t>
            </a:r>
          </a:p>
          <a:p>
            <a:endParaRPr lang="en-US" baseline="0" smtClean="0"/>
          </a:p>
          <a:p>
            <a:r>
              <a:rPr lang="en-US" baseline="0" smtClean="0"/>
              <a:t>The second list shows the institutions that appear in the computer science competencies but have not collaborated yet with Cairo University. These are all potential collaborating institutions. </a:t>
            </a:r>
          </a:p>
          <a:p>
            <a:endParaRPr lang="nl-NL" baseline="0" smtClean="0"/>
          </a:p>
          <a:p>
            <a:r>
              <a:rPr lang="nl-NL" baseline="0" smtClean="0"/>
              <a:t>The analysis can be further drilled down to the level of individual researchers from each of the institutions listed.</a:t>
            </a:r>
            <a:endParaRPr lang="en-US"/>
          </a:p>
        </p:txBody>
      </p:sp>
      <p:sp>
        <p:nvSpPr>
          <p:cNvPr id="4" name="Slide Number Placeholder 3"/>
          <p:cNvSpPr>
            <a:spLocks noGrp="1"/>
          </p:cNvSpPr>
          <p:nvPr>
            <p:ph type="sldNum" sz="quarter" idx="10"/>
          </p:nvPr>
        </p:nvSpPr>
        <p:spPr/>
        <p:txBody>
          <a:bodyPr/>
          <a:lstStyle/>
          <a:p>
            <a:pPr>
              <a:defRPr/>
            </a:pPr>
            <a:fld id="{C90BC213-B758-41F9-81EA-010ACE6A95AB}" type="slidenum">
              <a:rPr lang="en-US" smtClean="0">
                <a:solidFill>
                  <a:srgbClr val="000000"/>
                </a:solidFill>
              </a:rPr>
              <a:pPr>
                <a:defRPr/>
              </a:pPr>
              <a:t>33</a:t>
            </a:fld>
            <a:endParaRPr lang="en-US">
              <a:solidFill>
                <a:srgbClr val="000000"/>
              </a:solidFill>
            </a:endParaRPr>
          </a:p>
        </p:txBody>
      </p:sp>
    </p:spTree>
    <p:extLst>
      <p:ext uri="{BB962C8B-B14F-4D97-AF65-F5344CB8AC3E}">
        <p14:creationId xmlns:p14="http://schemas.microsoft.com/office/powerpoint/2010/main" val="5162560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ln/>
        </p:spPr>
      </p:sp>
      <p:sp>
        <p:nvSpPr>
          <p:cNvPr id="87043" name="Notes Placeholder 2"/>
          <p:cNvSpPr>
            <a:spLocks noGrp="1"/>
          </p:cNvSpPr>
          <p:nvPr>
            <p:ph type="body" idx="1"/>
          </p:nvPr>
        </p:nvSpPr>
        <p:spPr>
          <a:noFill/>
          <a:ln/>
        </p:spPr>
        <p:txBody>
          <a:bodyPr/>
          <a:lstStyle/>
          <a:p>
            <a:endParaRPr lang="en-US" smtClean="0"/>
          </a:p>
        </p:txBody>
      </p:sp>
      <p:sp>
        <p:nvSpPr>
          <p:cNvPr id="87044" name="Footer Placeholder 3"/>
          <p:cNvSpPr>
            <a:spLocks noGrp="1"/>
          </p:cNvSpPr>
          <p:nvPr>
            <p:ph type="ftr" sz="quarter" idx="4"/>
          </p:nvPr>
        </p:nvSpPr>
        <p:spPr>
          <a:noFill/>
        </p:spPr>
        <p:txBody>
          <a:bodyPr/>
          <a:lstStyle/>
          <a:p>
            <a:endParaRPr lang="en-US" smtClean="0"/>
          </a:p>
        </p:txBody>
      </p:sp>
      <p:sp>
        <p:nvSpPr>
          <p:cNvPr id="87045" name="Slide Number Placeholder 4"/>
          <p:cNvSpPr>
            <a:spLocks noGrp="1"/>
          </p:cNvSpPr>
          <p:nvPr>
            <p:ph type="sldNum" sz="quarter" idx="5"/>
          </p:nvPr>
        </p:nvSpPr>
        <p:spPr>
          <a:noFill/>
        </p:spPr>
        <p:txBody>
          <a:bodyPr/>
          <a:lstStyle/>
          <a:p>
            <a:fld id="{37E6AFF9-7F16-47A2-BE3B-0794769040E0}" type="slidenum">
              <a:rPr lang="ar-SA" smtClean="0"/>
              <a:pPr/>
              <a:t>51</a:t>
            </a:fld>
            <a:endParaRPr lang="en-US" smtClean="0"/>
          </a:p>
        </p:txBody>
      </p:sp>
    </p:spTree>
    <p:extLst>
      <p:ext uri="{BB962C8B-B14F-4D97-AF65-F5344CB8AC3E}">
        <p14:creationId xmlns:p14="http://schemas.microsoft.com/office/powerpoint/2010/main" val="7817768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2"/>
          <p:cNvSpPr>
            <a:spLocks noGrp="1" noRot="1" noChangeAspect="1" noChangeArrowheads="1" noTextEdit="1"/>
          </p:cNvSpPr>
          <p:nvPr>
            <p:ph type="sldImg"/>
          </p:nvPr>
        </p:nvSpPr>
        <p:spPr>
          <a:xfrm>
            <a:off x="1182688" y="698500"/>
            <a:ext cx="4645025" cy="3484563"/>
          </a:xfrm>
          <a:ln/>
        </p:spPr>
      </p:sp>
      <p:sp>
        <p:nvSpPr>
          <p:cNvPr id="57347" name="Rectangle 3"/>
          <p:cNvSpPr>
            <a:spLocks noGrp="1" noChangeArrowheads="1"/>
          </p:cNvSpPr>
          <p:nvPr>
            <p:ph type="body" idx="1"/>
          </p:nvPr>
        </p:nvSpPr>
        <p:spPr>
          <a:noFill/>
          <a:ln/>
        </p:spPr>
        <p:txBody>
          <a:bodyPr/>
          <a:lstStyle/>
          <a:p>
            <a:endParaRPr lang="en-US" smtClean="0">
              <a:latin typeface="Arial" pitchFamily="34" charset="0"/>
              <a:cs typeface="Arial" pitchFamily="34" charset="0"/>
            </a:endParaRPr>
          </a:p>
        </p:txBody>
      </p:sp>
    </p:spTree>
    <p:extLst>
      <p:ext uri="{BB962C8B-B14F-4D97-AF65-F5344CB8AC3E}">
        <p14:creationId xmlns:p14="http://schemas.microsoft.com/office/powerpoint/2010/main" val="60877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Image Placeholder 1"/>
          <p:cNvSpPr>
            <a:spLocks noGrp="1" noRot="1" noChangeAspect="1" noTextEdit="1"/>
          </p:cNvSpPr>
          <p:nvPr>
            <p:ph type="sldImg"/>
          </p:nvPr>
        </p:nvSpPr>
        <p:spPr>
          <a:xfrm>
            <a:off x="930275" y="741363"/>
            <a:ext cx="4937125" cy="3702050"/>
          </a:xfrm>
          <a:ln/>
        </p:spPr>
      </p:sp>
      <p:sp>
        <p:nvSpPr>
          <p:cNvPr id="56323" name="Notes Placeholder 2"/>
          <p:cNvSpPr>
            <a:spLocks noGrp="1"/>
          </p:cNvSpPr>
          <p:nvPr>
            <p:ph type="body" idx="1"/>
          </p:nvPr>
        </p:nvSpPr>
        <p:spPr>
          <a:noFill/>
          <a:ln/>
        </p:spPr>
        <p:txBody>
          <a:bodyPr lIns="91440" tIns="45720" rIns="91440" bIns="45720"/>
          <a:lstStyle/>
          <a:p>
            <a:pPr defTabSz="457200" eaLnBrk="1" hangingPunct="1">
              <a:spcBef>
                <a:spcPct val="0"/>
              </a:spcBef>
            </a:pPr>
            <a:endParaRPr lang="en-US" smtClean="0">
              <a:latin typeface="Arial" pitchFamily="34" charset="0"/>
              <a:cs typeface="Arial" pitchFamily="34" charset="0"/>
            </a:endParaRPr>
          </a:p>
        </p:txBody>
      </p:sp>
      <p:sp>
        <p:nvSpPr>
          <p:cNvPr id="56324" name="Slide Number Placeholder 3"/>
          <p:cNvSpPr txBox="1">
            <a:spLocks noGrp="1"/>
          </p:cNvSpPr>
          <p:nvPr/>
        </p:nvSpPr>
        <p:spPr bwMode="auto">
          <a:xfrm>
            <a:off x="3851275" y="9378950"/>
            <a:ext cx="2944813" cy="493713"/>
          </a:xfrm>
          <a:prstGeom prst="rect">
            <a:avLst/>
          </a:prstGeom>
          <a:noFill/>
          <a:ln w="9525">
            <a:noFill/>
            <a:miter lim="800000"/>
            <a:headEnd/>
            <a:tailEnd/>
          </a:ln>
        </p:spPr>
        <p:txBody>
          <a:bodyPr anchor="b"/>
          <a:lstStyle/>
          <a:p>
            <a:pPr algn="r" defTabSz="457200" latinLnBrk="1"/>
            <a:fld id="{C85F63D4-A255-41C4-8339-865AD447AFBF}" type="slidenum">
              <a:rPr kumimoji="1" lang="en-US" sz="1200">
                <a:solidFill>
                  <a:srgbClr val="000000"/>
                </a:solidFill>
                <a:latin typeface="Calibri" pitchFamily="34" charset="0"/>
                <a:ea typeface="MS PGothic" pitchFamily="34" charset="-128"/>
              </a:rPr>
              <a:pPr algn="r" defTabSz="457200" latinLnBrk="1"/>
              <a:t>5</a:t>
            </a:fld>
            <a:endParaRPr kumimoji="1" lang="en-US" sz="1200">
              <a:solidFill>
                <a:srgbClr val="000000"/>
              </a:solidFill>
              <a:latin typeface="Calibri" pitchFamily="34" charset="0"/>
              <a:ea typeface="MS PGothic" pitchFamily="34" charset="-128"/>
            </a:endParaRPr>
          </a:p>
        </p:txBody>
      </p:sp>
    </p:spTree>
    <p:extLst>
      <p:ext uri="{BB962C8B-B14F-4D97-AF65-F5344CB8AC3E}">
        <p14:creationId xmlns:p14="http://schemas.microsoft.com/office/powerpoint/2010/main" val="18659913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24F02907-80B5-4C2A-82EF-4D5CF14669A6}" type="slidenum">
              <a:rPr lang="en-US">
                <a:solidFill>
                  <a:srgbClr val="000000"/>
                </a:solidFill>
              </a:rPr>
              <a:pPr/>
              <a:t>6</a:t>
            </a:fld>
            <a:endParaRPr lang="en-US">
              <a:solidFill>
                <a:srgbClr val="000000"/>
              </a:solidFill>
            </a:endParaRPr>
          </a:p>
        </p:txBody>
      </p:sp>
      <p:sp>
        <p:nvSpPr>
          <p:cNvPr id="5" name="doc id"/>
          <p:cNvSpPr>
            <a:spLocks noGrp="1" noChangeArrowheads="1"/>
          </p:cNvSpPr>
          <p:nvPr>
            <p:ph type="ftr" sz="quarter" idx="4"/>
          </p:nvPr>
        </p:nvSpPr>
        <p:spPr>
          <a:ln/>
        </p:spPr>
        <p:txBody>
          <a:bodyPr/>
          <a:lstStyle/>
          <a:p>
            <a:r>
              <a:rPr lang="en-US">
                <a:solidFill>
                  <a:srgbClr val="000000"/>
                </a:solidFill>
              </a:rPr>
              <a:t>VGI-AAA123-2009xxxx-GE-x-k</a:t>
            </a:r>
          </a:p>
        </p:txBody>
      </p:sp>
      <p:sp>
        <p:nvSpPr>
          <p:cNvPr id="728066" name="Rectangle 2"/>
          <p:cNvSpPr>
            <a:spLocks noGrp="1" noRot="1" noChangeAspect="1" noChangeArrowheads="1" noTextEdit="1"/>
          </p:cNvSpPr>
          <p:nvPr>
            <p:ph type="sldImg"/>
          </p:nvPr>
        </p:nvSpPr>
        <p:spPr>
          <a:xfrm>
            <a:off x="506413" y="620713"/>
            <a:ext cx="5791200" cy="4343400"/>
          </a:xfrm>
          <a:ln/>
        </p:spPr>
      </p:sp>
      <p:sp>
        <p:nvSpPr>
          <p:cNvPr id="728067" name="Rectangle 3"/>
          <p:cNvSpPr>
            <a:spLocks noGrp="1" noChangeArrowheads="1"/>
          </p:cNvSpPr>
          <p:nvPr>
            <p:ph type="body" idx="1"/>
          </p:nvPr>
        </p:nvSpPr>
        <p:spPr>
          <a:xfrm>
            <a:off x="550471" y="5304244"/>
            <a:ext cx="5794346" cy="242111"/>
          </a:xfrm>
        </p:spPr>
        <p:txBody>
          <a:bodyPr>
            <a:normAutofit fontScale="92500" lnSpcReduction="20000"/>
          </a:bodyPr>
          <a:lstStyle/>
          <a:p>
            <a:endParaRPr lang="de-DE"/>
          </a:p>
        </p:txBody>
      </p:sp>
    </p:spTree>
    <p:extLst>
      <p:ext uri="{BB962C8B-B14F-4D97-AF65-F5344CB8AC3E}">
        <p14:creationId xmlns:p14="http://schemas.microsoft.com/office/powerpoint/2010/main" val="2037432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614E52B2-CCB4-4D66-AD87-D2270B425C09}" type="slidenum">
              <a:rPr lang="en-US">
                <a:solidFill>
                  <a:srgbClr val="000000"/>
                </a:solidFill>
              </a:rPr>
              <a:pPr/>
              <a:t>7</a:t>
            </a:fld>
            <a:endParaRPr lang="en-US">
              <a:solidFill>
                <a:srgbClr val="000000"/>
              </a:solidFill>
            </a:endParaRPr>
          </a:p>
        </p:txBody>
      </p:sp>
      <p:sp>
        <p:nvSpPr>
          <p:cNvPr id="5" name="doc id"/>
          <p:cNvSpPr>
            <a:spLocks noGrp="1" noChangeArrowheads="1"/>
          </p:cNvSpPr>
          <p:nvPr>
            <p:ph type="ftr" sz="quarter" idx="4"/>
          </p:nvPr>
        </p:nvSpPr>
        <p:spPr>
          <a:ln/>
        </p:spPr>
        <p:txBody>
          <a:bodyPr/>
          <a:lstStyle/>
          <a:p>
            <a:r>
              <a:rPr lang="en-US">
                <a:solidFill>
                  <a:srgbClr val="000000"/>
                </a:solidFill>
              </a:rPr>
              <a:t>VGI-AAA123-2009xxxx-GE-x-k</a:t>
            </a:r>
          </a:p>
        </p:txBody>
      </p:sp>
      <p:sp>
        <p:nvSpPr>
          <p:cNvPr id="637954" name="Rectangle 2"/>
          <p:cNvSpPr>
            <a:spLocks noGrp="1" noRot="1" noChangeAspect="1" noChangeArrowheads="1" noTextEdit="1"/>
          </p:cNvSpPr>
          <p:nvPr>
            <p:ph type="sldImg"/>
          </p:nvPr>
        </p:nvSpPr>
        <p:spPr>
          <a:xfrm>
            <a:off x="504825" y="620713"/>
            <a:ext cx="5791200" cy="4343400"/>
          </a:xfrm>
          <a:ln/>
        </p:spPr>
      </p:sp>
      <p:sp>
        <p:nvSpPr>
          <p:cNvPr id="637955" name="Rectangle 3"/>
          <p:cNvSpPr>
            <a:spLocks noGrp="1" noChangeArrowheads="1"/>
          </p:cNvSpPr>
          <p:nvPr>
            <p:ph type="body" idx="1"/>
          </p:nvPr>
        </p:nvSpPr>
        <p:spPr>
          <a:xfrm>
            <a:off x="550471" y="5304245"/>
            <a:ext cx="5794346" cy="1202633"/>
          </a:xfrm>
        </p:spPr>
        <p:txBody>
          <a:bodyPr/>
          <a:lstStyle/>
          <a:p>
            <a:endParaRPr lang="de-DE"/>
          </a:p>
        </p:txBody>
      </p:sp>
    </p:spTree>
    <p:extLst>
      <p:ext uri="{BB962C8B-B14F-4D97-AF65-F5344CB8AC3E}">
        <p14:creationId xmlns:p14="http://schemas.microsoft.com/office/powerpoint/2010/main" val="337828167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18BA459D-1969-427B-8387-23737B4796E5}" type="slidenum">
              <a:rPr lang="en-US">
                <a:solidFill>
                  <a:srgbClr val="000000"/>
                </a:solidFill>
              </a:rPr>
              <a:pPr/>
              <a:t>8</a:t>
            </a:fld>
            <a:endParaRPr lang="en-US">
              <a:solidFill>
                <a:srgbClr val="000000"/>
              </a:solidFill>
            </a:endParaRPr>
          </a:p>
        </p:txBody>
      </p:sp>
      <p:sp>
        <p:nvSpPr>
          <p:cNvPr id="5" name="doc id"/>
          <p:cNvSpPr>
            <a:spLocks noGrp="1" noChangeArrowheads="1"/>
          </p:cNvSpPr>
          <p:nvPr>
            <p:ph type="ftr" sz="quarter" idx="4"/>
          </p:nvPr>
        </p:nvSpPr>
        <p:spPr>
          <a:ln/>
        </p:spPr>
        <p:txBody>
          <a:bodyPr/>
          <a:lstStyle/>
          <a:p>
            <a:r>
              <a:rPr lang="en-US">
                <a:solidFill>
                  <a:srgbClr val="000000"/>
                </a:solidFill>
              </a:rPr>
              <a:t>VGI-AAA123-2009xxxx-GE-x-k</a:t>
            </a:r>
          </a:p>
        </p:txBody>
      </p:sp>
      <p:sp>
        <p:nvSpPr>
          <p:cNvPr id="640002" name="Rectangle 2"/>
          <p:cNvSpPr>
            <a:spLocks noGrp="1" noRot="1" noChangeAspect="1" noChangeArrowheads="1" noTextEdit="1"/>
          </p:cNvSpPr>
          <p:nvPr>
            <p:ph type="sldImg"/>
          </p:nvPr>
        </p:nvSpPr>
        <p:spPr>
          <a:xfrm>
            <a:off x="-2244725" y="1273175"/>
            <a:ext cx="11241088" cy="8432800"/>
          </a:xfrm>
          <a:ln/>
        </p:spPr>
      </p:sp>
      <p:sp>
        <p:nvSpPr>
          <p:cNvPr id="640003" name="Rectangle 3"/>
          <p:cNvSpPr>
            <a:spLocks noGrp="1" noChangeArrowheads="1"/>
          </p:cNvSpPr>
          <p:nvPr>
            <p:ph type="body" idx="1"/>
          </p:nvPr>
        </p:nvSpPr>
        <p:spPr>
          <a:xfrm>
            <a:off x="812905" y="367119"/>
            <a:ext cx="5792746" cy="242111"/>
          </a:xfrm>
        </p:spPr>
        <p:txBody>
          <a:bodyPr>
            <a:normAutofit fontScale="92500" lnSpcReduction="20000"/>
          </a:bodyPr>
          <a:lstStyle/>
          <a:p>
            <a:endParaRPr lang="de-DE"/>
          </a:p>
        </p:txBody>
      </p:sp>
    </p:spTree>
    <p:extLst>
      <p:ext uri="{BB962C8B-B14F-4D97-AF65-F5344CB8AC3E}">
        <p14:creationId xmlns:p14="http://schemas.microsoft.com/office/powerpoint/2010/main" val="25973605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7"/>
          <p:cNvSpPr>
            <a:spLocks noGrp="1" noChangeArrowheads="1"/>
          </p:cNvSpPr>
          <p:nvPr>
            <p:ph type="sldNum" sz="quarter" idx="5"/>
          </p:nvPr>
        </p:nvSpPr>
        <p:spPr>
          <a:ln/>
        </p:spPr>
        <p:txBody>
          <a:bodyPr/>
          <a:lstStyle/>
          <a:p>
            <a:fld id="{B3887768-05C1-4E39-992A-EE7B5F5CE559}" type="slidenum">
              <a:rPr lang="en-US">
                <a:solidFill>
                  <a:srgbClr val="000000"/>
                </a:solidFill>
              </a:rPr>
              <a:pPr/>
              <a:t>9</a:t>
            </a:fld>
            <a:endParaRPr lang="en-US">
              <a:solidFill>
                <a:srgbClr val="000000"/>
              </a:solidFill>
            </a:endParaRPr>
          </a:p>
        </p:txBody>
      </p:sp>
      <p:sp>
        <p:nvSpPr>
          <p:cNvPr id="5" name="doc id"/>
          <p:cNvSpPr>
            <a:spLocks noGrp="1" noChangeArrowheads="1"/>
          </p:cNvSpPr>
          <p:nvPr>
            <p:ph type="ftr" sz="quarter" idx="4"/>
          </p:nvPr>
        </p:nvSpPr>
        <p:spPr>
          <a:ln/>
        </p:spPr>
        <p:txBody>
          <a:bodyPr/>
          <a:lstStyle/>
          <a:p>
            <a:r>
              <a:rPr lang="en-US">
                <a:solidFill>
                  <a:srgbClr val="000000"/>
                </a:solidFill>
              </a:rPr>
              <a:t>VGI-AAA123-2009xxxx-GE-x-k</a:t>
            </a:r>
          </a:p>
        </p:txBody>
      </p:sp>
      <p:sp>
        <p:nvSpPr>
          <p:cNvPr id="609282" name="Rectangle 2"/>
          <p:cNvSpPr>
            <a:spLocks noGrp="1" noRot="1" noChangeAspect="1" noChangeArrowheads="1" noTextEdit="1"/>
          </p:cNvSpPr>
          <p:nvPr>
            <p:ph type="sldImg"/>
          </p:nvPr>
        </p:nvSpPr>
        <p:spPr>
          <a:ln/>
        </p:spPr>
      </p:sp>
      <p:sp>
        <p:nvSpPr>
          <p:cNvPr id="609283" name="Rectangle 3"/>
          <p:cNvSpPr>
            <a:spLocks noGrp="1" noChangeArrowheads="1"/>
          </p:cNvSpPr>
          <p:nvPr>
            <p:ph type="body" idx="1"/>
          </p:nvPr>
        </p:nvSpPr>
        <p:spPr>
          <a:xfrm>
            <a:off x="550471" y="5305829"/>
            <a:ext cx="5792746" cy="243691"/>
          </a:xfrm>
        </p:spPr>
        <p:txBody>
          <a:bodyPr>
            <a:normAutofit fontScale="92500" lnSpcReduction="10000"/>
          </a:bodyPr>
          <a:lstStyle/>
          <a:p>
            <a:endParaRPr lang="de-DE"/>
          </a:p>
        </p:txBody>
      </p:sp>
    </p:spTree>
    <p:extLst>
      <p:ext uri="{BB962C8B-B14F-4D97-AF65-F5344CB8AC3E}">
        <p14:creationId xmlns:p14="http://schemas.microsoft.com/office/powerpoint/2010/main" val="257246873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Rectangle 7"/>
          <p:cNvSpPr>
            <a:spLocks noGrp="1" noChangeArrowheads="1"/>
          </p:cNvSpPr>
          <p:nvPr>
            <p:ph type="sldNum" sz="quarter" idx="5"/>
          </p:nvPr>
        </p:nvSpPr>
        <p:spPr>
          <a:noFill/>
        </p:spPr>
        <p:txBody>
          <a:bodyPr/>
          <a:lstStyle/>
          <a:p>
            <a:pPr eaLnBrk="0" hangingPunct="0"/>
            <a:fld id="{B91825C7-90D6-4DA2-8430-3C87BDAC2709}" type="slidenum">
              <a:rPr lang="ko-KR" altLang="en-US"/>
              <a:pPr eaLnBrk="0" hangingPunct="0"/>
              <a:t>10</a:t>
            </a:fld>
            <a:endParaRPr lang="en-US" altLang="ko-KR"/>
          </a:p>
        </p:txBody>
      </p:sp>
      <p:sp>
        <p:nvSpPr>
          <p:cNvPr id="46083" name="Rectangle 2"/>
          <p:cNvSpPr>
            <a:spLocks noGrp="1" noRot="1" noChangeAspect="1" noChangeArrowheads="1" noTextEdit="1"/>
          </p:cNvSpPr>
          <p:nvPr>
            <p:ph type="sldImg"/>
          </p:nvPr>
        </p:nvSpPr>
        <p:spPr>
          <a:ln/>
        </p:spPr>
      </p:sp>
      <p:sp>
        <p:nvSpPr>
          <p:cNvPr id="46084" name="슬라이드 노트 개체 틀 4"/>
          <p:cNvSpPr>
            <a:spLocks noGrp="1"/>
          </p:cNvSpPr>
          <p:nvPr/>
        </p:nvSpPr>
        <p:spPr bwMode="auto">
          <a:xfrm>
            <a:off x="685481" y="4345606"/>
            <a:ext cx="5487041" cy="4113330"/>
          </a:xfrm>
          <a:prstGeom prst="rect">
            <a:avLst/>
          </a:prstGeom>
          <a:noFill/>
          <a:ln w="9525">
            <a:noFill/>
            <a:miter lim="800000"/>
            <a:headEnd/>
            <a:tailEnd/>
          </a:ln>
        </p:spPr>
        <p:txBody>
          <a:bodyPr lIns="91435" tIns="45718" rIns="91435" bIns="45718"/>
          <a:lstStyle/>
          <a:p>
            <a:pPr eaLnBrk="0" hangingPunct="0">
              <a:spcBef>
                <a:spcPct val="30000"/>
              </a:spcBef>
            </a:pPr>
            <a:endParaRPr lang="ko-KR" altLang="en-US" sz="1200" dirty="0">
              <a:latin typeface="Malgun Gothic" pitchFamily="34" charset="-127"/>
              <a:ea typeface="Malgun Gothic" pitchFamily="34" charset="-127"/>
            </a:endParaRPr>
          </a:p>
        </p:txBody>
      </p:sp>
    </p:spTree>
    <p:extLst>
      <p:ext uri="{BB962C8B-B14F-4D97-AF65-F5344CB8AC3E}">
        <p14:creationId xmlns:p14="http://schemas.microsoft.com/office/powerpoint/2010/main" val="10774261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defTabSz="912762" eaLnBrk="0" hangingPunct="0">
              <a:defRPr kumimoji="1">
                <a:solidFill>
                  <a:schemeClr val="tx1"/>
                </a:solidFill>
                <a:latin typeface="굴림" charset="0"/>
                <a:ea typeface="굴림" charset="0"/>
                <a:cs typeface="굴림" charset="0"/>
              </a:defRPr>
            </a:lvl1pPr>
            <a:lvl2pPr marL="742909" indent="-285734" defTabSz="912762" eaLnBrk="0" hangingPunct="0">
              <a:defRPr kumimoji="1">
                <a:solidFill>
                  <a:schemeClr val="tx1"/>
                </a:solidFill>
                <a:latin typeface="굴림" charset="0"/>
                <a:ea typeface="굴림" charset="0"/>
                <a:cs typeface="굴림" charset="0"/>
              </a:defRPr>
            </a:lvl2pPr>
            <a:lvl3pPr marL="1142937" indent="-228587" defTabSz="912762" eaLnBrk="0" hangingPunct="0">
              <a:defRPr kumimoji="1">
                <a:solidFill>
                  <a:schemeClr val="tx1"/>
                </a:solidFill>
                <a:latin typeface="굴림" charset="0"/>
                <a:ea typeface="굴림" charset="0"/>
                <a:cs typeface="굴림" charset="0"/>
              </a:defRPr>
            </a:lvl3pPr>
            <a:lvl4pPr marL="1600112" indent="-228587" defTabSz="912762" eaLnBrk="0" hangingPunct="0">
              <a:defRPr kumimoji="1">
                <a:solidFill>
                  <a:schemeClr val="tx1"/>
                </a:solidFill>
                <a:latin typeface="굴림" charset="0"/>
                <a:ea typeface="굴림" charset="0"/>
                <a:cs typeface="굴림" charset="0"/>
              </a:defRPr>
            </a:lvl4pPr>
            <a:lvl5pPr marL="2057287" indent="-228587" defTabSz="912762" eaLnBrk="0" hangingPunct="0">
              <a:defRPr kumimoji="1">
                <a:solidFill>
                  <a:schemeClr val="tx1"/>
                </a:solidFill>
                <a:latin typeface="굴림" charset="0"/>
                <a:ea typeface="굴림" charset="0"/>
                <a:cs typeface="굴림" charset="0"/>
              </a:defRPr>
            </a:lvl5pPr>
            <a:lvl6pPr marL="2514461" indent="-228587" algn="ctr" defTabSz="912762"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635" indent="-228587" algn="ctr" defTabSz="912762"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8810" indent="-228587" algn="ctr" defTabSz="912762"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5985" indent="-228587" algn="ctr" defTabSz="912762"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fld id="{3E9F7D0A-85AF-3D45-A671-9A82190F8AE4}" type="slidenum">
              <a:rPr lang="ko-KR" altLang="en-US">
                <a:solidFill>
                  <a:srgbClr val="000000"/>
                </a:solidFill>
              </a:rPr>
              <a:pPr/>
              <a:t>12</a:t>
            </a:fld>
            <a:endParaRPr lang="en-US" altLang="ko-KR">
              <a:solidFill>
                <a:srgbClr val="000000"/>
              </a:solidFill>
            </a:endParaRPr>
          </a:p>
        </p:txBody>
      </p:sp>
      <p:sp>
        <p:nvSpPr>
          <p:cNvPr id="47107" name="Rectangle 2"/>
          <p:cNvSpPr>
            <a:spLocks noGrp="1" noRot="1" noChangeAspect="1" noChangeArrowheads="1" noTextEdit="1"/>
          </p:cNvSpPr>
          <p:nvPr>
            <p:ph type="sldImg"/>
          </p:nvPr>
        </p:nvSpPr>
        <p:spPr>
          <a:ln/>
        </p:spPr>
      </p:sp>
      <p:sp>
        <p:nvSpPr>
          <p:cNvPr id="47108" name="슬라이드 노트 개체 틀 4"/>
          <p:cNvSpPr>
            <a:spLocks noGrp="1"/>
          </p:cNvSpPr>
          <p:nvPr/>
        </p:nvSpPr>
        <p:spPr bwMode="auto">
          <a:xfrm>
            <a:off x="685481" y="4345606"/>
            <a:ext cx="5487041" cy="411333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91435" tIns="45718" rIns="91435" bIns="45718"/>
          <a:lstStyle/>
          <a:p>
            <a:pPr algn="ctr" defTabSz="914350" eaLnBrk="0" latinLnBrk="1" hangingPunct="0">
              <a:spcBef>
                <a:spcPct val="30000"/>
              </a:spcBef>
            </a:pPr>
            <a:endParaRPr lang="ko-KR" altLang="en-US" sz="1200" dirty="0" smtClean="0">
              <a:solidFill>
                <a:srgbClr val="000000"/>
              </a:solidFill>
              <a:latin typeface="Malgun Gothic" charset="0"/>
              <a:ea typeface="Malgun Gothic" charset="0"/>
              <a:cs typeface="Malgun Gothic" charset="0"/>
            </a:endParaRPr>
          </a:p>
        </p:txBody>
      </p:sp>
    </p:spTree>
    <p:extLst>
      <p:ext uri="{BB962C8B-B14F-4D97-AF65-F5344CB8AC3E}">
        <p14:creationId xmlns:p14="http://schemas.microsoft.com/office/powerpoint/2010/main" val="203478464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슬라이드 이미지 개체 틀 1"/>
          <p:cNvSpPr>
            <a:spLocks noGrp="1" noRot="1" noChangeAspect="1" noTextEdit="1"/>
          </p:cNvSpPr>
          <p:nvPr>
            <p:ph type="sldImg"/>
          </p:nvPr>
        </p:nvSpPr>
        <p:spPr>
          <a:ln/>
        </p:spPr>
      </p:sp>
      <p:sp>
        <p:nvSpPr>
          <p:cNvPr id="51203" name="슬라이드 노트 개체 틀 2"/>
          <p:cNvSpPr>
            <a:spLocks noGrp="1"/>
          </p:cNvSpPr>
          <p:nvPr>
            <p:ph type="body" idx="1"/>
          </p:nvPr>
        </p:nvSpPr>
        <p:spPr>
          <a:noFill/>
          <a:ln/>
        </p:spPr>
        <p:txBody>
          <a:bodyPr/>
          <a:lstStyle/>
          <a:p>
            <a:endParaRPr lang="ko-KR" altLang="en-US" smtClean="0"/>
          </a:p>
        </p:txBody>
      </p:sp>
      <p:sp>
        <p:nvSpPr>
          <p:cNvPr id="51204" name="슬라이드 번호 개체 틀 3"/>
          <p:cNvSpPr>
            <a:spLocks noGrp="1"/>
          </p:cNvSpPr>
          <p:nvPr>
            <p:ph type="sldNum" sz="quarter" idx="5"/>
          </p:nvPr>
        </p:nvSpPr>
        <p:spPr>
          <a:noFill/>
        </p:spPr>
        <p:txBody>
          <a:bodyPr/>
          <a:lstStyle/>
          <a:p>
            <a:fld id="{E10F13FC-D56D-4CCB-91A9-DD0A43923185}" type="slidenum">
              <a:rPr lang="en-US" altLang="ko-KR"/>
              <a:pPr/>
              <a:t>17</a:t>
            </a:fld>
            <a:endParaRPr lang="en-US" altLang="ko-KR"/>
          </a:p>
        </p:txBody>
      </p:sp>
    </p:spTree>
    <p:extLst>
      <p:ext uri="{BB962C8B-B14F-4D97-AF65-F5344CB8AC3E}">
        <p14:creationId xmlns:p14="http://schemas.microsoft.com/office/powerpoint/2010/main" val="33166420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image" Target="../media/image4.jpeg"/><Relationship Id="rId1" Type="http://schemas.openxmlformats.org/officeDocument/2006/relationships/slideMaster" Target="../slideMasters/slideMaster9.xml"/><Relationship Id="rId4" Type="http://schemas.openxmlformats.org/officeDocument/2006/relationships/image" Target="../media/image8.gif"/></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Ref idx="1003">
        <a:schemeClr val="bg1"/>
      </p:bgRef>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rtl="1" fontAlgn="auto">
              <a:spcBef>
                <a:spcPts val="0"/>
              </a:spcBef>
              <a:spcAft>
                <a:spcPts val="0"/>
              </a:spcAft>
              <a:defRPr/>
            </a:pPr>
            <a:endParaRPr lang="en-US"/>
          </a:p>
        </p:txBody>
      </p:sp>
      <p:sp useBgFill="1">
        <p:nvSpPr>
          <p:cNvPr id="5" name="Rounded Rectangle 4"/>
          <p:cNvSpPr/>
          <p:nvPr/>
        </p:nvSpPr>
        <p:spPr>
          <a:xfrm>
            <a:off x="65088" y="69850"/>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6" name="Rectangle 5"/>
          <p:cNvSpPr/>
          <p:nvPr/>
        </p:nvSpPr>
        <p:spPr>
          <a:xfrm>
            <a:off x="63500" y="1449388"/>
            <a:ext cx="9020175"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7" name="Rectangle 6"/>
          <p:cNvSpPr/>
          <p:nvPr/>
        </p:nvSpPr>
        <p:spPr>
          <a:xfrm>
            <a:off x="63500" y="1397000"/>
            <a:ext cx="9020175"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10" name="Rectangle 9"/>
          <p:cNvSpPr/>
          <p:nvPr/>
        </p:nvSpPr>
        <p:spPr>
          <a:xfrm>
            <a:off x="63500" y="2976563"/>
            <a:ext cx="9020175"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smtClean="0"/>
              <a:t>Click to edit Master subtitle style</a:t>
            </a:r>
            <a:endParaRPr lang="en-US"/>
          </a:p>
        </p:txBody>
      </p:sp>
      <p:sp>
        <p:nvSpPr>
          <p:cNvPr id="8" name="Title 7"/>
          <p:cNvSpPr>
            <a:spLocks noGrp="1"/>
          </p:cNvSpPr>
          <p:nvPr>
            <p:ph type="ctrTitle"/>
          </p:nvPr>
        </p:nvSpPr>
        <p:spPr>
          <a:xfrm>
            <a:off x="457200" y="1505930"/>
            <a:ext cx="8229600" cy="1470025"/>
          </a:xfrm>
        </p:spPr>
        <p:txBody>
          <a:bodyPr anchor="ctr"/>
          <a:lstStyle>
            <a:lvl1pPr algn="ctr">
              <a:defRPr lang="en-US" dirty="0">
                <a:solidFill>
                  <a:srgbClr val="FFFFFF"/>
                </a:solidFill>
              </a:defRPr>
            </a:lvl1pPr>
          </a:lstStyle>
          <a:p>
            <a:r>
              <a:rPr lang="en-US" smtClean="0"/>
              <a:t>Click to edit Master title style</a:t>
            </a:r>
            <a:endParaRPr lang="en-US"/>
          </a:p>
        </p:txBody>
      </p:sp>
      <p:sp>
        <p:nvSpPr>
          <p:cNvPr id="11" name="Date Placeholder 27"/>
          <p:cNvSpPr>
            <a:spLocks noGrp="1"/>
          </p:cNvSpPr>
          <p:nvPr>
            <p:ph type="dt" sz="half" idx="10"/>
          </p:nvPr>
        </p:nvSpPr>
        <p:spPr/>
        <p:txBody>
          <a:bodyPr/>
          <a:lstStyle>
            <a:lvl1pPr>
              <a:defRPr/>
            </a:lvl1pPr>
          </a:lstStyle>
          <a:p>
            <a:pPr>
              <a:defRPr/>
            </a:pPr>
            <a:fld id="{A14BE58E-25A4-4D03-8FDB-2B8F8B543733}" type="datetimeFigureOut">
              <a:rPr lang="ar-EG"/>
              <a:pPr>
                <a:defRPr/>
              </a:pPr>
              <a:t>26/06/1434</a:t>
            </a:fld>
            <a:endParaRPr lang="ar-EG"/>
          </a:p>
        </p:txBody>
      </p:sp>
      <p:sp>
        <p:nvSpPr>
          <p:cNvPr id="12" name="Footer Placeholder 16"/>
          <p:cNvSpPr>
            <a:spLocks noGrp="1"/>
          </p:cNvSpPr>
          <p:nvPr>
            <p:ph type="ftr" sz="quarter" idx="11"/>
          </p:nvPr>
        </p:nvSpPr>
        <p:spPr/>
        <p:txBody>
          <a:bodyPr/>
          <a:lstStyle>
            <a:lvl1pPr>
              <a:defRPr/>
            </a:lvl1pPr>
          </a:lstStyle>
          <a:p>
            <a:pPr>
              <a:defRPr/>
            </a:pPr>
            <a:endParaRPr lang="ar-EG"/>
          </a:p>
        </p:txBody>
      </p:sp>
      <p:sp>
        <p:nvSpPr>
          <p:cNvPr id="13" name="Slide Number Placeholder 28"/>
          <p:cNvSpPr>
            <a:spLocks noGrp="1"/>
          </p:cNvSpPr>
          <p:nvPr>
            <p:ph type="sldNum" sz="quarter" idx="12"/>
          </p:nvPr>
        </p:nvSpPr>
        <p:spPr/>
        <p:txBody>
          <a:bodyPr/>
          <a:lstStyle>
            <a:lvl1pPr>
              <a:defRPr sz="1400">
                <a:solidFill>
                  <a:srgbClr val="FFFFFF"/>
                </a:solidFill>
              </a:defRPr>
            </a:lvl1pPr>
          </a:lstStyle>
          <a:p>
            <a:pPr>
              <a:defRPr/>
            </a:pPr>
            <a:fld id="{836A0131-7157-4A87-AAF8-37059E5AF47C}" type="slidenum">
              <a:rPr lang="ar-EG"/>
              <a:pPr>
                <a:defRPr/>
              </a:pPr>
              <a:t>‹#›</a:t>
            </a:fld>
            <a:endParaRPr lang="ar-EG"/>
          </a:p>
        </p:txBody>
      </p:sp>
    </p:spTree>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fld id="{7F6FBE53-AD4D-42A0-A79B-C3E5436E873F}" type="datetimeFigureOut">
              <a:rPr lang="ar-EG"/>
              <a:pPr>
                <a:defRPr/>
              </a:pPr>
              <a:t>26/06/1434</a:t>
            </a:fld>
            <a:endParaRPr lang="ar-EG"/>
          </a:p>
        </p:txBody>
      </p:sp>
      <p:sp>
        <p:nvSpPr>
          <p:cNvPr id="5" name="Footer Placeholder 2"/>
          <p:cNvSpPr>
            <a:spLocks noGrp="1"/>
          </p:cNvSpPr>
          <p:nvPr>
            <p:ph type="ftr" sz="quarter" idx="11"/>
          </p:nvPr>
        </p:nvSpPr>
        <p:spPr/>
        <p:txBody>
          <a:bodyPr/>
          <a:lstStyle>
            <a:lvl1pPr>
              <a:defRPr/>
            </a:lvl1pPr>
          </a:lstStyle>
          <a:p>
            <a:pPr>
              <a:defRPr/>
            </a:pPr>
            <a:endParaRPr lang="ar-EG"/>
          </a:p>
        </p:txBody>
      </p:sp>
      <p:sp>
        <p:nvSpPr>
          <p:cNvPr id="6" name="Slide Number Placeholder 22"/>
          <p:cNvSpPr>
            <a:spLocks noGrp="1"/>
          </p:cNvSpPr>
          <p:nvPr>
            <p:ph type="sldNum" sz="quarter" idx="12"/>
          </p:nvPr>
        </p:nvSpPr>
        <p:spPr/>
        <p:txBody>
          <a:bodyPr/>
          <a:lstStyle>
            <a:lvl1pPr>
              <a:defRPr/>
            </a:lvl1pPr>
          </a:lstStyle>
          <a:p>
            <a:pPr>
              <a:defRPr/>
            </a:pPr>
            <a:fld id="{8867EE86-436D-4044-BBE1-57769AF0DE05}" type="slidenum">
              <a:rPr lang="ar-EG"/>
              <a:pPr>
                <a:defRPr/>
              </a:pPr>
              <a:t>‹#›</a:t>
            </a:fld>
            <a:endParaRPr lang="ar-EG"/>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1"/>
            <a:ext cx="201168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914400" y="274640"/>
            <a:ext cx="55626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fld id="{A84B21B7-56FD-4E66-B742-AD0368829A4C}" type="datetimeFigureOut">
              <a:rPr lang="ar-EG"/>
              <a:pPr>
                <a:defRPr/>
              </a:pPr>
              <a:t>26/06/1434</a:t>
            </a:fld>
            <a:endParaRPr lang="ar-EG"/>
          </a:p>
        </p:txBody>
      </p:sp>
      <p:sp>
        <p:nvSpPr>
          <p:cNvPr id="5" name="Footer Placeholder 2"/>
          <p:cNvSpPr>
            <a:spLocks noGrp="1"/>
          </p:cNvSpPr>
          <p:nvPr>
            <p:ph type="ftr" sz="quarter" idx="11"/>
          </p:nvPr>
        </p:nvSpPr>
        <p:spPr/>
        <p:txBody>
          <a:bodyPr/>
          <a:lstStyle>
            <a:lvl1pPr>
              <a:defRPr/>
            </a:lvl1pPr>
          </a:lstStyle>
          <a:p>
            <a:pPr>
              <a:defRPr/>
            </a:pPr>
            <a:endParaRPr lang="ar-EG"/>
          </a:p>
        </p:txBody>
      </p:sp>
      <p:sp>
        <p:nvSpPr>
          <p:cNvPr id="6" name="Slide Number Placeholder 22"/>
          <p:cNvSpPr>
            <a:spLocks noGrp="1"/>
          </p:cNvSpPr>
          <p:nvPr>
            <p:ph type="sldNum" sz="quarter" idx="12"/>
          </p:nvPr>
        </p:nvSpPr>
        <p:spPr/>
        <p:txBody>
          <a:bodyPr/>
          <a:lstStyle>
            <a:lvl1pPr>
              <a:defRPr/>
            </a:lvl1pPr>
          </a:lstStyle>
          <a:p>
            <a:pPr>
              <a:defRPr/>
            </a:pPr>
            <a:fld id="{1CFC17BC-CC15-405C-BFB0-9A28332266EC}" type="slidenum">
              <a:rPr lang="ar-EG"/>
              <a:pPr>
                <a:defRPr/>
              </a:pPr>
              <a:t>‹#›</a:t>
            </a:fld>
            <a:endParaRPr lang="ar-EG"/>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spd="slow">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제목 슬라이드">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pPr>
              <a:defRPr/>
            </a:pPr>
            <a:fld id="{D77DDCBA-C1F1-47EC-91FE-D58F581ACC43}" type="slidenum">
              <a:rPr lang="en-US" altLang="ko-KR"/>
              <a:pPr>
                <a:defRPr/>
              </a:pPr>
              <a:t>‹#›</a:t>
            </a:fld>
            <a:endParaRPr lang="en-US" altLang="ko-KR"/>
          </a:p>
        </p:txBody>
      </p:sp>
    </p:spTree>
  </p:cSld>
  <p:clrMapOvr>
    <a:masterClrMapping/>
  </p:clrMapOvr>
  <p:transition>
    <p:zoom/>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pPr>
              <a:defRPr/>
            </a:pPr>
            <a:fld id="{5F3D559A-49D5-45BD-947A-964AA3D92B2C}" type="slidenum">
              <a:rPr lang="en-US" altLang="ko-KR"/>
              <a:pPr>
                <a:defRPr/>
              </a:pPr>
              <a:t>‹#›</a:t>
            </a:fld>
            <a:endParaRPr lang="en-US" altLang="ko-KR"/>
          </a:p>
        </p:txBody>
      </p:sp>
    </p:spTree>
  </p:cSld>
  <p:clrMapOvr>
    <a:masterClrMapping/>
  </p:clrMapOvr>
  <p:transition>
    <p:zoom/>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제목 및 내용">
    <p:spTree>
      <p:nvGrpSpPr>
        <p:cNvPr id="1" name=""/>
        <p:cNvGrpSpPr/>
        <p:nvPr/>
      </p:nvGrpSpPr>
      <p:grpSpPr>
        <a:xfrm>
          <a:off x="0" y="0"/>
          <a:ext cx="0" cy="0"/>
          <a:chOff x="0" y="0"/>
          <a:chExt cx="0" cy="0"/>
        </a:xfrm>
      </p:grpSpPr>
      <p:sp>
        <p:nvSpPr>
          <p:cNvPr id="2" name="제목 1"/>
          <p:cNvSpPr>
            <a:spLocks noGrp="1"/>
          </p:cNvSpPr>
          <p:nvPr>
            <p:ph type="title"/>
          </p:nvPr>
        </p:nvSpPr>
        <p:spPr>
          <a:xfrm>
            <a:off x="457200" y="274638"/>
            <a:ext cx="8229600" cy="1143000"/>
          </a:xfrm>
          <a:prstGeom prst="rect">
            <a:avLst/>
          </a:prstGeom>
        </p:spPr>
        <p:txBody>
          <a:bodyPr lIns="91320" tIns="45661" rIns="91320" bIns="45661"/>
          <a:lstStyle/>
          <a:p>
            <a:r>
              <a:rPr lang="ko-KR" altLang="en-US" smtClean="0"/>
              <a:t>마스터 제목 스타일 편집</a:t>
            </a:r>
            <a:endParaRPr lang="ko-KR" altLang="en-US"/>
          </a:p>
        </p:txBody>
      </p:sp>
      <p:sp>
        <p:nvSpPr>
          <p:cNvPr id="3" name="Rectangle 14"/>
          <p:cNvSpPr>
            <a:spLocks noGrp="1" noChangeArrowheads="1"/>
          </p:cNvSpPr>
          <p:nvPr>
            <p:ph type="sldNum" sz="quarter" idx="10"/>
          </p:nvPr>
        </p:nvSpPr>
        <p:spPr>
          <a:ln/>
        </p:spPr>
        <p:txBody>
          <a:bodyPr/>
          <a:lstStyle>
            <a:lvl1pPr>
              <a:defRPr/>
            </a:lvl1pPr>
          </a:lstStyle>
          <a:p>
            <a:pPr>
              <a:defRPr/>
            </a:pPr>
            <a:fld id="{101571EE-0FFE-499C-9480-A9513E1035B6}" type="slidenum">
              <a:rPr lang="en-US" altLang="ko-KR"/>
              <a:pPr>
                <a:defRPr/>
              </a:pPr>
              <a:t>‹#›</a:t>
            </a:fld>
            <a:endParaRPr lang="en-US" altLang="ko-KR"/>
          </a:p>
        </p:txBody>
      </p:sp>
    </p:spTree>
  </p:cSld>
  <p:clrMapOvr>
    <a:masterClrMapping/>
  </p:clrMapOvr>
  <p:transition>
    <p:zoom/>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lIns="91320" tIns="45661" rIns="91320" bIns="45661"/>
          <a:lstStyle/>
          <a:p>
            <a:r>
              <a:rPr lang="en-US" smtClean="0"/>
              <a:t>Click to edit Master title style</a:t>
            </a:r>
            <a:endParaRPr lang="en-US"/>
          </a:p>
        </p:txBody>
      </p:sp>
      <p:sp>
        <p:nvSpPr>
          <p:cNvPr id="3" name="Content Placeholder 2"/>
          <p:cNvSpPr>
            <a:spLocks noGrp="1"/>
          </p:cNvSpPr>
          <p:nvPr>
            <p:ph idx="1"/>
          </p:nvPr>
        </p:nvSpPr>
        <p:spPr>
          <a:xfrm>
            <a:off x="457200" y="1600213"/>
            <a:ext cx="8229600" cy="4525963"/>
          </a:xfrm>
          <a:prstGeom prst="rect">
            <a:avLst/>
          </a:prstGeom>
        </p:spPr>
        <p:txBody>
          <a:bodyPr lIns="91320" tIns="45661" rIns="91320" bIns="4566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457200" y="6356352"/>
            <a:ext cx="2133600" cy="365125"/>
          </a:xfrm>
          <a:prstGeom prst="rect">
            <a:avLst/>
          </a:prstGeom>
        </p:spPr>
        <p:txBody>
          <a:bodyPr vert="horz" wrap="square" lIns="91320" tIns="45661" rIns="91320" bIns="45661" numCol="1" anchor="t" anchorCtr="0" compatLnSpc="1">
            <a:prstTxWarp prst="textNoShape">
              <a:avLst/>
            </a:prstTxWarp>
          </a:bodyPr>
          <a:lstStyle>
            <a:lvl1pPr>
              <a:defRPr/>
            </a:lvl1pPr>
          </a:lstStyle>
          <a:p>
            <a:fld id="{43CA4561-65FF-4C49-80F9-5BEE3C14B5EE}" type="datetime1">
              <a:rPr lang="en-US"/>
              <a:pPr/>
              <a:t>5/6/2013</a:t>
            </a:fld>
            <a:endParaRPr lang="en-US"/>
          </a:p>
        </p:txBody>
      </p:sp>
      <p:sp>
        <p:nvSpPr>
          <p:cNvPr id="5" name="Footer Placeholder 4"/>
          <p:cNvSpPr>
            <a:spLocks noGrp="1"/>
          </p:cNvSpPr>
          <p:nvPr>
            <p:ph type="ftr" sz="quarter" idx="11"/>
          </p:nvPr>
        </p:nvSpPr>
        <p:spPr>
          <a:xfrm>
            <a:off x="3124201" y="6356352"/>
            <a:ext cx="2895600" cy="365125"/>
          </a:xfrm>
          <a:prstGeom prst="rect">
            <a:avLst/>
          </a:prstGeom>
        </p:spPr>
        <p:txBody>
          <a:bodyPr vert="horz" wrap="square" lIns="91320" tIns="45661" rIns="91320" bIns="45661" numCol="1" anchor="t" anchorCtr="0" compatLnSpc="1">
            <a:prstTxWarp prst="textNoShape">
              <a:avLst/>
            </a:prstTxWarp>
          </a:bodyPr>
          <a:lstStyle>
            <a:lvl1pPr>
              <a:defRPr/>
            </a:lvl1pPr>
          </a:lstStyle>
          <a:p>
            <a:endParaRPr lang="en-US"/>
          </a:p>
        </p:txBody>
      </p:sp>
      <p:sp>
        <p:nvSpPr>
          <p:cNvPr id="6" name="Slide Number Placeholder 5"/>
          <p:cNvSpPr>
            <a:spLocks noGrp="1"/>
          </p:cNvSpPr>
          <p:nvPr>
            <p:ph type="sldNum" sz="quarter" idx="12"/>
          </p:nvPr>
        </p:nvSpPr>
        <p:spPr/>
        <p:txBody>
          <a:bodyPr/>
          <a:lstStyle>
            <a:lvl1pPr>
              <a:defRPr/>
            </a:lvl1pPr>
          </a:lstStyle>
          <a:p>
            <a:pPr>
              <a:defRPr/>
            </a:pPr>
            <a:fld id="{E53D80BF-BEE6-4335-BD75-6B13312DE963}"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9DB20B58-A921-7C4F-A0D6-93B1E4D4711B}" type="datetimeFigureOut">
              <a:rPr lang="en-US" smtClean="0"/>
              <a:pPr/>
              <a:t>5/6/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598804C3-C3AC-0B4A-A441-A7914BC894E0}" type="slidenum">
              <a:rPr lang="en-US" smtClean="0"/>
              <a:pPr/>
              <a:t>‹#›</a:t>
            </a:fld>
            <a:endParaRPr lang="en-US"/>
          </a:p>
        </p:txBody>
      </p:sp>
    </p:spTree>
    <p:extLst>
      <p:ext uri="{BB962C8B-B14F-4D97-AF65-F5344CB8AC3E}">
        <p14:creationId xmlns:p14="http://schemas.microsoft.com/office/powerpoint/2010/main" val="19580984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8" name="Content Placeholder 7"/>
          <p:cNvSpPr>
            <a:spLocks noGrp="1"/>
          </p:cNvSpPr>
          <p:nvPr>
            <p:ph sz="quarter" idx="1"/>
          </p:nvPr>
        </p:nvSpPr>
        <p:spPr>
          <a:xfrm>
            <a:off x="914400" y="1447800"/>
            <a:ext cx="777240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13"/>
          <p:cNvSpPr>
            <a:spLocks noGrp="1"/>
          </p:cNvSpPr>
          <p:nvPr>
            <p:ph type="dt" sz="half" idx="10"/>
          </p:nvPr>
        </p:nvSpPr>
        <p:spPr/>
        <p:txBody>
          <a:bodyPr/>
          <a:lstStyle>
            <a:lvl1pPr>
              <a:defRPr/>
            </a:lvl1pPr>
          </a:lstStyle>
          <a:p>
            <a:pPr>
              <a:defRPr/>
            </a:pPr>
            <a:fld id="{23897EA9-9811-4FC0-B2F9-0241610AF7FD}" type="datetimeFigureOut">
              <a:rPr lang="ar-EG"/>
              <a:pPr>
                <a:defRPr/>
              </a:pPr>
              <a:t>26/06/1434</a:t>
            </a:fld>
            <a:endParaRPr lang="ar-EG"/>
          </a:p>
        </p:txBody>
      </p:sp>
      <p:sp>
        <p:nvSpPr>
          <p:cNvPr id="5" name="Footer Placeholder 2"/>
          <p:cNvSpPr>
            <a:spLocks noGrp="1"/>
          </p:cNvSpPr>
          <p:nvPr>
            <p:ph type="ftr" sz="quarter" idx="11"/>
          </p:nvPr>
        </p:nvSpPr>
        <p:spPr/>
        <p:txBody>
          <a:bodyPr/>
          <a:lstStyle>
            <a:lvl1pPr>
              <a:defRPr/>
            </a:lvl1pPr>
          </a:lstStyle>
          <a:p>
            <a:pPr>
              <a:defRPr/>
            </a:pPr>
            <a:endParaRPr lang="ar-EG"/>
          </a:p>
        </p:txBody>
      </p:sp>
      <p:sp>
        <p:nvSpPr>
          <p:cNvPr id="6" name="Slide Number Placeholder 22"/>
          <p:cNvSpPr>
            <a:spLocks noGrp="1"/>
          </p:cNvSpPr>
          <p:nvPr>
            <p:ph type="sldNum" sz="quarter" idx="12"/>
          </p:nvPr>
        </p:nvSpPr>
        <p:spPr/>
        <p:txBody>
          <a:bodyPr/>
          <a:lstStyle>
            <a:lvl1pPr>
              <a:defRPr/>
            </a:lvl1pPr>
          </a:lstStyle>
          <a:p>
            <a:pPr>
              <a:defRPr/>
            </a:pPr>
            <a:fld id="{B283A366-089B-4B93-823A-B57D2F623C63}" type="slidenum">
              <a:rPr lang="ar-EG"/>
              <a:pPr>
                <a:defRPr/>
              </a:pPr>
              <a:t>‹#›</a:t>
            </a:fld>
            <a:endParaRPr lang="ar-EG"/>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a:xfrm>
            <a:off x="457200" y="16002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3"/>
          <p:cNvSpPr>
            <a:spLocks noGrp="1" noChangeArrowheads="1"/>
          </p:cNvSpPr>
          <p:nvPr>
            <p:ph type="sldNum" sz="quarter" idx="10"/>
          </p:nvPr>
        </p:nvSpPr>
        <p:spPr>
          <a:ln/>
        </p:spPr>
        <p:txBody>
          <a:bodyPr/>
          <a:lstStyle>
            <a:lvl1pPr>
              <a:defRPr/>
            </a:lvl1pPr>
          </a:lstStyle>
          <a:p>
            <a:pPr>
              <a:defRPr/>
            </a:pPr>
            <a:fld id="{E25B8A87-591B-44F0-94D3-3719B1A042C4}" type="slidenum">
              <a:rPr lang="x-none"/>
              <a:pPr>
                <a:defRPr/>
              </a:pPr>
              <a:t>‹#›</a:t>
            </a:fld>
            <a:endParaRPr lang="en-US"/>
          </a:p>
        </p:txBody>
      </p:sp>
      <p:sp>
        <p:nvSpPr>
          <p:cNvPr id="5" name="Rectangle 23"/>
          <p:cNvSpPr>
            <a:spLocks noGrp="1" noChangeArrowheads="1"/>
          </p:cNvSpPr>
          <p:nvPr>
            <p:ph type="ftr" sz="quarter" idx="11"/>
          </p:nvPr>
        </p:nvSpPr>
        <p:spPr>
          <a:ln/>
        </p:spPr>
        <p:txBody>
          <a:bodyPr/>
          <a:lstStyle>
            <a:lvl1pPr>
              <a:defRPr/>
            </a:lvl1pPr>
          </a:lstStyle>
          <a:p>
            <a:pPr>
              <a:defRPr/>
            </a:pPr>
            <a:r>
              <a:rPr lang="en-US"/>
              <a:t>Towards Science, Technology and Innovation</a:t>
            </a:r>
          </a:p>
        </p:txBody>
      </p:sp>
      <p:sp>
        <p:nvSpPr>
          <p:cNvPr id="6" name="Rectangle 26"/>
          <p:cNvSpPr>
            <a:spLocks noGrp="1" noChangeArrowheads="1"/>
          </p:cNvSpPr>
          <p:nvPr>
            <p:ph type="dt" sz="half" idx="12"/>
          </p:nvPr>
        </p:nvSpPr>
        <p:spPr>
          <a:ln/>
        </p:spPr>
        <p:txBody>
          <a:bodyPr/>
          <a:lstStyle>
            <a:lvl1pPr>
              <a:defRPr/>
            </a:lvl1pPr>
          </a:lstStyle>
          <a:p>
            <a:pPr>
              <a:defRPr/>
            </a:pPr>
            <a:fld id="{40E39970-DAE4-4F12-9B85-F923FF91AF52}" type="datetime1">
              <a:rPr lang="en-US"/>
              <a:pPr>
                <a:defRPr/>
              </a:pPr>
              <a:t>5/6/2013</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fld id="{365D26E1-5CB1-C144-A171-9FB9069C7D4F}" type="slidenum">
              <a:rPr lang="en-US" altLang="ko-KR">
                <a:solidFill>
                  <a:srgbClr val="FFFFFF"/>
                </a:solidFill>
              </a:rPr>
              <a:pPr/>
              <a:t>‹#›</a:t>
            </a:fld>
            <a:endParaRPr lang="en-US" altLang="ko-KR">
              <a:solidFill>
                <a:srgbClr val="FFFFFF"/>
              </a:solidFill>
            </a:endParaRPr>
          </a:p>
        </p:txBody>
      </p:sp>
    </p:spTree>
    <p:extLst>
      <p:ext uri="{BB962C8B-B14F-4D97-AF65-F5344CB8AC3E}">
        <p14:creationId xmlns:p14="http://schemas.microsoft.com/office/powerpoint/2010/main" val="776411683"/>
      </p:ext>
    </p:extLst>
  </p:cSld>
  <p:clrMapOvr>
    <a:masterClrMapping/>
  </p:clrMapOvr>
  <p:transition>
    <p:zoom/>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C033D341-2E64-4DA8-9600-D92903B7408D}" type="datetimeFigureOut">
              <a:rPr lang="en-US" smtClean="0"/>
              <a:pPr/>
              <a:t>5/6/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E0BA04-8BFF-4FEB-B9B1-FC777C644F50}" type="slidenum">
              <a:rPr lang="en-US" smtClean="0"/>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C033D341-2E64-4DA8-9600-D92903B7408D}" type="datetimeFigureOut">
              <a:rPr lang="en-US" smtClean="0"/>
              <a:pPr/>
              <a:t>5/6/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E0BA04-8BFF-4FEB-B9B1-FC777C644F50}" type="slidenum">
              <a:rPr lang="en-US" smtClean="0"/>
              <a:pPr/>
              <a:t>‹#›</a:t>
            </a:fld>
            <a:endParaRPr lang="en-US"/>
          </a:p>
        </p:txBody>
      </p:sp>
      <p:pic>
        <p:nvPicPr>
          <p:cNvPr id="7" name="Picture 13" descr="1"/>
          <p:cNvPicPr>
            <a:picLocks noChangeAspect="1" noChangeArrowheads="1"/>
          </p:cNvPicPr>
          <p:nvPr userDrawn="1"/>
        </p:nvPicPr>
        <p:blipFill>
          <a:blip r:embed="rId2" cstate="print"/>
          <a:srcRect/>
          <a:stretch>
            <a:fillRect/>
          </a:stretch>
        </p:blipFill>
        <p:spPr bwMode="auto">
          <a:xfrm>
            <a:off x="0" y="11"/>
            <a:ext cx="9144000" cy="6858000"/>
          </a:xfrm>
          <a:prstGeom prst="rect">
            <a:avLst/>
          </a:prstGeom>
          <a:noFill/>
          <a:ln w="9525">
            <a:noFill/>
            <a:miter lim="800000"/>
            <a:headEnd/>
            <a:tailEnd/>
          </a:ln>
        </p:spPr>
      </p:pic>
      <p:pic>
        <p:nvPicPr>
          <p:cNvPr id="8" name="Picture 2" descr="eg-flag1 moving"/>
          <p:cNvPicPr>
            <a:picLocks noChangeAspect="1" noChangeArrowheads="1" noCrop="1"/>
          </p:cNvPicPr>
          <p:nvPr userDrawn="1"/>
        </p:nvPicPr>
        <p:blipFill>
          <a:blip r:embed="rId3" cstate="print"/>
          <a:srcRect/>
          <a:stretch>
            <a:fillRect/>
          </a:stretch>
        </p:blipFill>
        <p:spPr bwMode="auto">
          <a:xfrm>
            <a:off x="179401" y="115899"/>
            <a:ext cx="1152525" cy="666750"/>
          </a:xfrm>
          <a:prstGeom prst="rect">
            <a:avLst/>
          </a:prstGeom>
          <a:noFill/>
          <a:ln w="9525">
            <a:noFill/>
            <a:miter lim="800000"/>
            <a:headEnd/>
            <a:tailEnd/>
          </a:ln>
        </p:spPr>
      </p:pic>
      <p:pic>
        <p:nvPicPr>
          <p:cNvPr id="9" name="Picture 2" descr="C:\Users\admin\Desktop\asrt logo copy.gif"/>
          <p:cNvPicPr>
            <a:picLocks noChangeAspect="1" noChangeArrowheads="1"/>
          </p:cNvPicPr>
          <p:nvPr userDrawn="1"/>
        </p:nvPicPr>
        <p:blipFill>
          <a:blip r:embed="rId4" cstate="print"/>
          <a:srcRect/>
          <a:stretch>
            <a:fillRect/>
          </a:stretch>
        </p:blipFill>
        <p:spPr bwMode="auto">
          <a:xfrm>
            <a:off x="7467600" y="-152400"/>
            <a:ext cx="1676400" cy="1626555"/>
          </a:xfrm>
          <a:prstGeom prst="rect">
            <a:avLst/>
          </a:prstGeom>
          <a:noFill/>
          <a:effectLst>
            <a:glow rad="139700">
              <a:schemeClr val="accent1">
                <a:satMod val="175000"/>
                <a:alpha val="40000"/>
              </a:schemeClr>
            </a:glow>
            <a:outerShdw blurRad="850900" dir="5100000" algn="ctr" rotWithShape="0">
              <a:schemeClr val="bg1"/>
            </a:outerShdw>
          </a:effectLst>
        </p:spPr>
      </p:pic>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033D341-2E64-4DA8-9600-D92903B7408D}" type="datetimeFigureOut">
              <a:rPr lang="en-US" smtClean="0"/>
              <a:pPr/>
              <a:t>5/6/201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AE0BA04-8BFF-4FEB-B9B1-FC777C644F50}" type="slidenum">
              <a:rPr lang="en-US" smtClean="0"/>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C033D341-2E64-4DA8-9600-D92903B7408D}" type="datetimeFigureOut">
              <a:rPr lang="en-US" smtClean="0"/>
              <a:pPr/>
              <a:t>5/6/201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AE0BA04-8BFF-4FEB-B9B1-FC777C644F50}" type="slidenum">
              <a:rPr lang="en-US" smtClean="0"/>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TwoObj">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ar-EG"/>
          </a:p>
        </p:txBody>
      </p:sp>
      <p:sp>
        <p:nvSpPr>
          <p:cNvPr id="3" name="Text Placeholder 2"/>
          <p:cNvSpPr>
            <a:spLocks noGrp="1"/>
          </p:cNvSpPr>
          <p:nvPr>
            <p:ph type="body" sz="half" idx="1"/>
          </p:nvPr>
        </p:nvSpPr>
        <p:spPr>
          <a:xfrm>
            <a:off x="457200" y="1600200"/>
            <a:ext cx="4038600" cy="45259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4" name="Content Placeholder 3"/>
          <p:cNvSpPr>
            <a:spLocks noGrp="1"/>
          </p:cNvSpPr>
          <p:nvPr>
            <p:ph sz="quarter" idx="2"/>
          </p:nvPr>
        </p:nvSpPr>
        <p:spPr>
          <a:xfrm>
            <a:off x="4648200" y="1600200"/>
            <a:ext cx="4038600" cy="21859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5" name="Content Placeholder 4"/>
          <p:cNvSpPr>
            <a:spLocks noGrp="1"/>
          </p:cNvSpPr>
          <p:nvPr>
            <p:ph sz="quarter" idx="3"/>
          </p:nvPr>
        </p:nvSpPr>
        <p:spPr>
          <a:xfrm>
            <a:off x="4648200" y="3938588"/>
            <a:ext cx="4038600" cy="218757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ar-EG"/>
          </a:p>
        </p:txBody>
      </p:sp>
      <p:sp>
        <p:nvSpPr>
          <p:cNvPr id="6" name="Rectangle 4"/>
          <p:cNvSpPr>
            <a:spLocks noGrp="1" noChangeArrowheads="1"/>
          </p:cNvSpPr>
          <p:nvPr>
            <p:ph type="dt" sz="half" idx="10"/>
          </p:nvPr>
        </p:nvSpPr>
        <p:spPr>
          <a:xfrm>
            <a:off x="6553200" y="6245225"/>
            <a:ext cx="2133600" cy="476250"/>
          </a:xfrm>
          <a:prstGeom prst="rect">
            <a:avLst/>
          </a:prstGeom>
        </p:spPr>
        <p:txBody>
          <a:bodyPr/>
          <a:lstStyle>
            <a:lvl1pPr>
              <a:defRPr/>
            </a:lvl1pPr>
          </a:lstStyle>
          <a:p>
            <a:pPr>
              <a:defRPr/>
            </a:pPr>
            <a:endParaRPr lang="en-US"/>
          </a:p>
        </p:txBody>
      </p:sp>
      <p:sp>
        <p:nvSpPr>
          <p:cNvPr id="7" name="Rectangle 5"/>
          <p:cNvSpPr>
            <a:spLocks noGrp="1" noChangeArrowheads="1"/>
          </p:cNvSpPr>
          <p:nvPr>
            <p:ph type="ftr" sz="quarter" idx="11"/>
          </p:nvPr>
        </p:nvSpPr>
        <p:spPr>
          <a:xfrm>
            <a:off x="3124200" y="6245225"/>
            <a:ext cx="2895600" cy="476250"/>
          </a:xfrm>
          <a:prstGeom prst="rect">
            <a:avLst/>
          </a:prstGeom>
        </p:spPr>
        <p:txBody>
          <a:bodyPr/>
          <a:lstStyle>
            <a:lvl1pPr>
              <a:defRPr/>
            </a:lvl1pPr>
          </a:lstStyle>
          <a:p>
            <a:pPr>
              <a:defRPr/>
            </a:pPr>
            <a:endParaRPr lang="en-US"/>
          </a:p>
        </p:txBody>
      </p:sp>
      <p:sp>
        <p:nvSpPr>
          <p:cNvPr id="8" name="Rectangle 6"/>
          <p:cNvSpPr>
            <a:spLocks noGrp="1" noChangeArrowheads="1"/>
          </p:cNvSpPr>
          <p:nvPr>
            <p:ph type="sldNum" sz="quarter" idx="12"/>
          </p:nvPr>
        </p:nvSpPr>
        <p:spPr>
          <a:xfrm>
            <a:off x="457200" y="6245225"/>
            <a:ext cx="2133600" cy="476250"/>
          </a:xfrm>
          <a:prstGeom prst="rect">
            <a:avLst/>
          </a:prstGeom>
        </p:spPr>
        <p:txBody>
          <a:bodyPr/>
          <a:lstStyle>
            <a:lvl1pPr>
              <a:defRPr/>
            </a:lvl1pPr>
          </a:lstStyle>
          <a:p>
            <a:pPr>
              <a:defRPr/>
            </a:pPr>
            <a:fld id="{25186F06-A157-4825-9D39-16487B1B55E5}" type="slidenum">
              <a:rPr lang="en-US"/>
              <a:pPr>
                <a:defRPr/>
              </a:pPr>
              <a:t>‹#›</a:t>
            </a:fld>
            <a:endParaRPr lang="en-US"/>
          </a:p>
        </p:txBody>
      </p:sp>
    </p:spTree>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pPr>
              <a:defRPr/>
            </a:pPr>
            <a:fld id="{5F3D559A-49D5-45BD-947A-964AA3D92B2C}" type="slidenum">
              <a:rPr lang="en-US" altLang="ko-KR">
                <a:solidFill>
                  <a:srgbClr val="FFFFFF"/>
                </a:solidFill>
              </a:rPr>
              <a:pPr>
                <a:defRPr/>
              </a:pPr>
              <a:t>‹#›</a:t>
            </a:fld>
            <a:endParaRPr lang="en-US" altLang="ko-KR">
              <a:solidFill>
                <a:srgbClr val="FFFFFF"/>
              </a:solidFill>
            </a:endParaRPr>
          </a:p>
        </p:txBody>
      </p:sp>
    </p:spTree>
    <p:extLst>
      <p:ext uri="{BB962C8B-B14F-4D97-AF65-F5344CB8AC3E}">
        <p14:creationId xmlns:p14="http://schemas.microsoft.com/office/powerpoint/2010/main" val="847487575"/>
      </p:ext>
    </p:extLst>
  </p:cSld>
  <p:clrMapOvr>
    <a:masterClrMapping/>
  </p:clrMapOvr>
  <p:transition>
    <p:zo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Ref idx="1003">
        <a:schemeClr val="bg1"/>
      </p:bgRef>
    </p:bg>
    <p:spTree>
      <p:nvGrpSpPr>
        <p:cNvPr id="1" name=""/>
        <p:cNvGrpSpPr/>
        <p:nvPr/>
      </p:nvGrpSpPr>
      <p:grpSpPr>
        <a:xfrm>
          <a:off x="0" y="0"/>
          <a:ext cx="0" cy="0"/>
          <a:chOff x="0" y="0"/>
          <a:chExt cx="0" cy="0"/>
        </a:xfrm>
      </p:grpSpPr>
      <p:sp>
        <p:nvSpPr>
          <p:cNvPr id="4" name="Rectangle 3"/>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rtl="1" fontAlgn="auto">
              <a:spcBef>
                <a:spcPts val="0"/>
              </a:spcBef>
              <a:spcAft>
                <a:spcPts val="0"/>
              </a:spcAft>
              <a:defRPr/>
            </a:pPr>
            <a:endParaRPr lang="en-US"/>
          </a:p>
        </p:txBody>
      </p:sp>
      <p:sp useBgFill="1">
        <p:nvSpPr>
          <p:cNvPr id="5" name="Rounded Rectangle 4"/>
          <p:cNvSpPr/>
          <p:nvPr/>
        </p:nvSpPr>
        <p:spPr>
          <a:xfrm>
            <a:off x="65313" y="69755"/>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6" name="Rectangle 5"/>
          <p:cNvSpPr/>
          <p:nvPr/>
        </p:nvSpPr>
        <p:spPr>
          <a:xfrm flipV="1">
            <a:off x="69850" y="2376488"/>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7" name="Rectangle 6"/>
          <p:cNvSpPr/>
          <p:nvPr/>
        </p:nvSpPr>
        <p:spPr>
          <a:xfrm>
            <a:off x="69850" y="2341563"/>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8" name="Rectangle 7"/>
          <p:cNvSpPr/>
          <p:nvPr/>
        </p:nvSpPr>
        <p:spPr>
          <a:xfrm>
            <a:off x="68263" y="2468563"/>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2" name="Title 1"/>
          <p:cNvSpPr>
            <a:spLocks noGrp="1"/>
          </p:cNvSpPr>
          <p:nvPr>
            <p:ph type="title"/>
          </p:nvPr>
        </p:nvSpPr>
        <p:spPr>
          <a:xfrm>
            <a:off x="722313" y="952500"/>
            <a:ext cx="7772400" cy="1362075"/>
          </a:xfrm>
        </p:spPr>
        <p:txBody>
          <a:bodyPr/>
          <a:lstStyle>
            <a:lvl1pPr algn="l">
              <a:buNone/>
              <a:defRPr sz="4000" b="0" cap="none"/>
            </a:lvl1pPr>
          </a:lstStyle>
          <a:p>
            <a:r>
              <a:rPr lang="en-US" smtClean="0"/>
              <a:t>Click to edit Master title style</a:t>
            </a:r>
            <a:endParaRPr lang="en-US"/>
          </a:p>
        </p:txBody>
      </p:sp>
      <p:sp>
        <p:nvSpPr>
          <p:cNvPr id="3" name="Text Placeholder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smtClean="0"/>
              <a:t>Click to edit Master text styles</a:t>
            </a:r>
          </a:p>
        </p:txBody>
      </p:sp>
      <p:sp>
        <p:nvSpPr>
          <p:cNvPr id="9" name="Date Placeholder 3"/>
          <p:cNvSpPr>
            <a:spLocks noGrp="1"/>
          </p:cNvSpPr>
          <p:nvPr>
            <p:ph type="dt" sz="half" idx="10"/>
          </p:nvPr>
        </p:nvSpPr>
        <p:spPr/>
        <p:txBody>
          <a:bodyPr/>
          <a:lstStyle>
            <a:lvl1pPr>
              <a:defRPr/>
            </a:lvl1pPr>
          </a:lstStyle>
          <a:p>
            <a:pPr>
              <a:defRPr/>
            </a:pPr>
            <a:fld id="{B1A3EF2F-F0E0-404B-962B-DC90E3BAA90C}" type="datetimeFigureOut">
              <a:rPr lang="ar-EG"/>
              <a:pPr>
                <a:defRPr/>
              </a:pPr>
              <a:t>26/06/1434</a:t>
            </a:fld>
            <a:endParaRPr lang="ar-EG"/>
          </a:p>
        </p:txBody>
      </p:sp>
      <p:sp>
        <p:nvSpPr>
          <p:cNvPr id="10" name="Footer Placeholder 4"/>
          <p:cNvSpPr>
            <a:spLocks noGrp="1"/>
          </p:cNvSpPr>
          <p:nvPr>
            <p:ph type="ftr" sz="quarter" idx="11"/>
          </p:nvPr>
        </p:nvSpPr>
        <p:spPr>
          <a:xfrm>
            <a:off x="800100" y="6172200"/>
            <a:ext cx="4000500" cy="457200"/>
          </a:xfrm>
        </p:spPr>
        <p:txBody>
          <a:bodyPr/>
          <a:lstStyle>
            <a:lvl1pPr>
              <a:defRPr/>
            </a:lvl1pPr>
          </a:lstStyle>
          <a:p>
            <a:pPr>
              <a:defRPr/>
            </a:pPr>
            <a:endParaRPr lang="ar-EG"/>
          </a:p>
        </p:txBody>
      </p:sp>
      <p:sp>
        <p:nvSpPr>
          <p:cNvPr id="11" name="Slide Number Placeholder 5"/>
          <p:cNvSpPr>
            <a:spLocks noGrp="1"/>
          </p:cNvSpPr>
          <p:nvPr>
            <p:ph type="sldNum" sz="quarter" idx="12"/>
          </p:nvPr>
        </p:nvSpPr>
        <p:spPr>
          <a:xfrm>
            <a:off x="146050" y="6208713"/>
            <a:ext cx="457200" cy="457200"/>
          </a:xfrm>
        </p:spPr>
        <p:txBody>
          <a:bodyPr/>
          <a:lstStyle>
            <a:lvl1pPr>
              <a:defRPr/>
            </a:lvl1pPr>
          </a:lstStyle>
          <a:p>
            <a:pPr>
              <a:defRPr/>
            </a:pPr>
            <a:fld id="{9438595C-C6E1-4695-AB97-DE4874C73A90}" type="slidenum">
              <a:rPr lang="ar-EG"/>
              <a:pPr>
                <a:defRPr/>
              </a:pPr>
              <a:t>‹#›</a:t>
            </a:fld>
            <a:endParaRPr lang="ar-EG"/>
          </a:p>
        </p:txBody>
      </p:sp>
    </p:spTree>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pPr>
              <a:defRPr/>
            </a:pPr>
            <a:fld id="{5F3D559A-49D5-45BD-947A-964AA3D92B2C}" type="slidenum">
              <a:rPr lang="en-US" altLang="ko-KR">
                <a:solidFill>
                  <a:srgbClr val="FFFFFF"/>
                </a:solidFill>
              </a:rPr>
              <a:pPr>
                <a:defRPr/>
              </a:pPr>
              <a:t>‹#›</a:t>
            </a:fld>
            <a:endParaRPr lang="en-US" altLang="ko-KR">
              <a:solidFill>
                <a:srgbClr val="FFFFFF"/>
              </a:solidFill>
            </a:endParaRPr>
          </a:p>
        </p:txBody>
      </p:sp>
    </p:spTree>
    <p:extLst>
      <p:ext uri="{BB962C8B-B14F-4D97-AF65-F5344CB8AC3E}">
        <p14:creationId xmlns:p14="http://schemas.microsoft.com/office/powerpoint/2010/main" val="3497935821"/>
      </p:ext>
    </p:extLst>
  </p:cSld>
  <p:clrMapOvr>
    <a:masterClrMapping/>
  </p:clrMapOvr>
  <p:transition>
    <p:zoom/>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pPr>
              <a:defRPr/>
            </a:pPr>
            <a:fld id="{5F3D559A-49D5-45BD-947A-964AA3D92B2C}" type="slidenum">
              <a:rPr lang="en-US" altLang="ko-KR">
                <a:solidFill>
                  <a:srgbClr val="FFFFFF"/>
                </a:solidFill>
              </a:rPr>
              <a:pPr>
                <a:defRPr/>
              </a:pPr>
              <a:t>‹#›</a:t>
            </a:fld>
            <a:endParaRPr lang="en-US" altLang="ko-KR">
              <a:solidFill>
                <a:srgbClr val="FFFFFF"/>
              </a:solidFill>
            </a:endParaRPr>
          </a:p>
        </p:txBody>
      </p:sp>
    </p:spTree>
    <p:extLst>
      <p:ext uri="{BB962C8B-B14F-4D97-AF65-F5344CB8AC3E}">
        <p14:creationId xmlns:p14="http://schemas.microsoft.com/office/powerpoint/2010/main" val="4094096536"/>
      </p:ext>
    </p:extLst>
  </p:cSld>
  <p:clrMapOvr>
    <a:masterClrMapping/>
  </p:clrMapOvr>
  <p:transition>
    <p:zoom/>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pPr>
              <a:defRPr/>
            </a:pPr>
            <a:fld id="{5F3D559A-49D5-45BD-947A-964AA3D92B2C}" type="slidenum">
              <a:rPr lang="en-US" altLang="ko-KR">
                <a:solidFill>
                  <a:srgbClr val="FFFFFF"/>
                </a:solidFill>
              </a:rPr>
              <a:pPr>
                <a:defRPr/>
              </a:pPr>
              <a:t>‹#›</a:t>
            </a:fld>
            <a:endParaRPr lang="en-US" altLang="ko-KR">
              <a:solidFill>
                <a:srgbClr val="FFFFFF"/>
              </a:solidFill>
            </a:endParaRPr>
          </a:p>
        </p:txBody>
      </p:sp>
    </p:spTree>
    <p:extLst>
      <p:ext uri="{BB962C8B-B14F-4D97-AF65-F5344CB8AC3E}">
        <p14:creationId xmlns:p14="http://schemas.microsoft.com/office/powerpoint/2010/main" val="4243721314"/>
      </p:ext>
    </p:extLst>
  </p:cSld>
  <p:clrMapOvr>
    <a:masterClrMapping/>
  </p:clrMapOvr>
  <p:transition>
    <p:zoom/>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E5E1F98D-7203-B644-8E98-BDD79CD79CAD}" type="datetimeFigureOut">
              <a:rPr lang="en-US" smtClean="0">
                <a:solidFill>
                  <a:prstClr val="black">
                    <a:tint val="75000"/>
                  </a:prstClr>
                </a:solidFill>
              </a:rPr>
              <a:pPr/>
              <a:t>5/6/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689A080-430D-734A-97EA-77242F436D1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82433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E5E1F98D-7203-B644-8E98-BDD79CD79CAD}" type="datetimeFigureOut">
              <a:rPr lang="en-US" smtClean="0">
                <a:solidFill>
                  <a:prstClr val="black">
                    <a:tint val="75000"/>
                  </a:prstClr>
                </a:solidFill>
              </a:rPr>
              <a:pPr/>
              <a:t>5/6/201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F689A080-430D-734A-97EA-77242F436D1C}"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7179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Title 6"/>
          <p:cNvSpPr>
            <a:spLocks noGrp="1"/>
          </p:cNvSpPr>
          <p:nvPr>
            <p:ph type="title"/>
          </p:nvPr>
        </p:nvSpPr>
        <p:spPr/>
        <p:txBody>
          <a:bodyPr/>
          <a:lstStyle/>
          <a:p>
            <a:r>
              <a:rPr lang="en-US" smtClean="0"/>
              <a:t>Click to edit Master title style</a:t>
            </a:r>
            <a:endParaRPr lang="en-US"/>
          </a:p>
        </p:txBody>
      </p:sp>
      <p:sp>
        <p:nvSpPr>
          <p:cNvPr id="4" name="Date Placeholder 3"/>
          <p:cNvSpPr>
            <a:spLocks noGrp="1"/>
          </p:cNvSpPr>
          <p:nvPr>
            <p:ph type="dt" sz="half" idx="10"/>
          </p:nvPr>
        </p:nvSpPr>
        <p:spPr/>
        <p:txBody>
          <a:bodyPr/>
          <a:lstStyle>
            <a:lvl1pPr>
              <a:defRPr/>
            </a:lvl1pPr>
          </a:lstStyle>
          <a:p>
            <a:pPr>
              <a:defRPr/>
            </a:pPr>
            <a:endParaRPr lang="en-US">
              <a:solidFill>
                <a:srgbClr val="073E87"/>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srgbClr val="073E87"/>
              </a:solidFill>
            </a:endParaRPr>
          </a:p>
        </p:txBody>
      </p:sp>
      <p:sp>
        <p:nvSpPr>
          <p:cNvPr id="6" name="Slide Number Placeholder 5"/>
          <p:cNvSpPr>
            <a:spLocks noGrp="1"/>
          </p:cNvSpPr>
          <p:nvPr>
            <p:ph type="sldNum" sz="quarter" idx="12"/>
          </p:nvPr>
        </p:nvSpPr>
        <p:spPr/>
        <p:txBody>
          <a:bodyPr/>
          <a:lstStyle>
            <a:lvl1pPr>
              <a:defRPr/>
            </a:lvl1pPr>
          </a:lstStyle>
          <a:p>
            <a:fld id="{7BE38A26-84DA-44AD-BAB6-E3358B3C1FD6}" type="slidenum">
              <a:rPr lang="ar-EG">
                <a:solidFill>
                  <a:srgbClr val="073E87"/>
                </a:solidFill>
              </a:rPr>
              <a:pPr/>
              <a:t>‹#›</a:t>
            </a:fld>
            <a:endParaRPr lang="ar-SA">
              <a:solidFill>
                <a:srgbClr val="073E87"/>
              </a:solidFill>
            </a:endParaRPr>
          </a:p>
        </p:txBody>
      </p:sp>
    </p:spTree>
    <p:extLst>
      <p:ext uri="{BB962C8B-B14F-4D97-AF65-F5344CB8AC3E}">
        <p14:creationId xmlns:p14="http://schemas.microsoft.com/office/powerpoint/2010/main" val="130118168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pPr>
              <a:defRPr/>
            </a:pPr>
            <a:fld id="{5F3D559A-49D5-45BD-947A-964AA3D92B2C}" type="slidenum">
              <a:rPr lang="en-US" altLang="ko-KR">
                <a:solidFill>
                  <a:srgbClr val="FFFFFF"/>
                </a:solidFill>
              </a:rPr>
              <a:pPr>
                <a:defRPr/>
              </a:pPr>
              <a:t>‹#›</a:t>
            </a:fld>
            <a:endParaRPr lang="en-US" altLang="ko-KR">
              <a:solidFill>
                <a:srgbClr val="FFFFFF"/>
              </a:solidFill>
            </a:endParaRPr>
          </a:p>
        </p:txBody>
      </p:sp>
    </p:spTree>
    <p:extLst>
      <p:ext uri="{BB962C8B-B14F-4D97-AF65-F5344CB8AC3E}">
        <p14:creationId xmlns:p14="http://schemas.microsoft.com/office/powerpoint/2010/main" val="3968361759"/>
      </p:ext>
    </p:extLst>
  </p:cSld>
  <p:clrMapOvr>
    <a:masterClrMapping/>
  </p:clrMapOvr>
  <p:transition>
    <p:zo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2"/>
          <p:cNvSpPr>
            <a:spLocks noGrp="1" noChangeArrowheads="1"/>
          </p:cNvSpPr>
          <p:nvPr>
            <p:ph type="dt" sz="half" idx="10"/>
          </p:nvPr>
        </p:nvSpPr>
        <p:spPr>
          <a:ln/>
        </p:spPr>
        <p:txBody>
          <a:bodyPr/>
          <a:lstStyle>
            <a:lvl1pPr>
              <a:defRPr/>
            </a:lvl1pPr>
          </a:lstStyle>
          <a:p>
            <a:pPr>
              <a:defRPr/>
            </a:pPr>
            <a:fld id="{01078170-6583-4EB3-87C8-5A78ABA770E9}" type="datetime1">
              <a:rPr lang="en-US">
                <a:solidFill>
                  <a:srgbClr val="FFFFFF"/>
                </a:solidFill>
              </a:rPr>
              <a:pPr>
                <a:defRPr/>
              </a:pPr>
              <a:t>5/6/2013</a:t>
            </a:fld>
            <a:endParaRPr lang="en-US">
              <a:solidFill>
                <a:srgbClr val="FFFFFF"/>
              </a:solidFill>
            </a:endParaRPr>
          </a:p>
        </p:txBody>
      </p:sp>
      <p:sp>
        <p:nvSpPr>
          <p:cNvPr id="4" name="Rectangle 3"/>
          <p:cNvSpPr>
            <a:spLocks noGrp="1" noChangeArrowheads="1"/>
          </p:cNvSpPr>
          <p:nvPr>
            <p:ph type="sldNum" sz="quarter" idx="11"/>
          </p:nvPr>
        </p:nvSpPr>
        <p:spPr>
          <a:ln/>
        </p:spPr>
        <p:txBody>
          <a:bodyPr/>
          <a:lstStyle>
            <a:lvl1pPr>
              <a:defRPr/>
            </a:lvl1pPr>
          </a:lstStyle>
          <a:p>
            <a:pPr>
              <a:defRPr/>
            </a:pPr>
            <a:fld id="{9B17DBCF-E2C2-4812-8DE6-B1C6A62116B6}" type="slidenum">
              <a:rPr lang="ar-SA">
                <a:solidFill>
                  <a:srgbClr val="FFFFFF"/>
                </a:solidFill>
              </a:rPr>
              <a:pPr>
                <a:defRPr/>
              </a:pPr>
              <a:t>‹#›</a:t>
            </a:fld>
            <a:endParaRPr lang="en-US">
              <a:solidFill>
                <a:srgbClr val="FFFFFF"/>
              </a:solidFill>
            </a:endParaRPr>
          </a:p>
        </p:txBody>
      </p:sp>
      <p:sp>
        <p:nvSpPr>
          <p:cNvPr id="5" name="Rectangle 14"/>
          <p:cNvSpPr>
            <a:spLocks noGrp="1" noChangeArrowheads="1"/>
          </p:cNvSpPr>
          <p:nvPr>
            <p:ph type="ftr" sz="quarter" idx="12"/>
          </p:nvPr>
        </p:nvSpPr>
        <p:spPr>
          <a:ln/>
        </p:spPr>
        <p:txBody>
          <a:bodyPr/>
          <a:lstStyle>
            <a:lvl1pPr>
              <a:defRPr/>
            </a:lvl1pPr>
          </a:lstStyle>
          <a:p>
            <a:pPr>
              <a:defRPr/>
            </a:pPr>
            <a:r>
              <a:rPr lang="en-US">
                <a:solidFill>
                  <a:srgbClr val="FFFFFF"/>
                </a:solidFill>
              </a:rPr>
              <a:t>Towards Science, Technology and Innovation</a:t>
            </a:r>
          </a:p>
        </p:txBody>
      </p:sp>
    </p:spTree>
    <p:extLst>
      <p:ext uri="{BB962C8B-B14F-4D97-AF65-F5344CB8AC3E}">
        <p14:creationId xmlns:p14="http://schemas.microsoft.com/office/powerpoint/2010/main" val="3804760172"/>
      </p:ext>
    </p:extLst>
  </p:cSld>
  <p:clrMapOvr>
    <a:masterClrMapping/>
  </p:clrMapOvr>
  <p:transition>
    <p:rand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빈 화면">
    <p:spTree>
      <p:nvGrpSpPr>
        <p:cNvPr id="1" name=""/>
        <p:cNvGrpSpPr/>
        <p:nvPr/>
      </p:nvGrpSpPr>
      <p:grpSpPr>
        <a:xfrm>
          <a:off x="0" y="0"/>
          <a:ext cx="0" cy="0"/>
          <a:chOff x="0" y="0"/>
          <a:chExt cx="0" cy="0"/>
        </a:xfrm>
      </p:grpSpPr>
      <p:sp>
        <p:nvSpPr>
          <p:cNvPr id="2" name="Rectangle 14"/>
          <p:cNvSpPr>
            <a:spLocks noGrp="1" noChangeArrowheads="1"/>
          </p:cNvSpPr>
          <p:nvPr>
            <p:ph type="sldNum" sz="quarter" idx="10"/>
          </p:nvPr>
        </p:nvSpPr>
        <p:spPr>
          <a:ln/>
        </p:spPr>
        <p:txBody>
          <a:bodyPr/>
          <a:lstStyle>
            <a:lvl1pPr>
              <a:defRPr/>
            </a:lvl1pPr>
          </a:lstStyle>
          <a:p>
            <a:pPr>
              <a:defRPr/>
            </a:pPr>
            <a:fld id="{5F3D559A-49D5-45BD-947A-964AA3D92B2C}" type="slidenum">
              <a:rPr lang="en-US" altLang="ko-KR">
                <a:solidFill>
                  <a:srgbClr val="FFFFFF"/>
                </a:solidFill>
              </a:rPr>
              <a:pPr>
                <a:defRPr/>
              </a:pPr>
              <a:t>‹#›</a:t>
            </a:fld>
            <a:endParaRPr lang="en-US" altLang="ko-KR">
              <a:solidFill>
                <a:srgbClr val="FFFFFF"/>
              </a:solidFill>
            </a:endParaRPr>
          </a:p>
        </p:txBody>
      </p:sp>
    </p:spTree>
    <p:extLst>
      <p:ext uri="{BB962C8B-B14F-4D97-AF65-F5344CB8AC3E}">
        <p14:creationId xmlns:p14="http://schemas.microsoft.com/office/powerpoint/2010/main" val="1740434160"/>
      </p:ext>
    </p:extLst>
  </p:cSld>
  <p:clrMapOvr>
    <a:masterClrMapping/>
  </p:clrMapOvr>
  <p:transition>
    <p:zoom/>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D1000503-C27A-455A-BE8F-48A732699585}" type="slidenum">
              <a:rPr lang="en-US"/>
              <a:pPr/>
              <a:t>‹#›</a:t>
            </a:fld>
            <a:endParaRPr lang="en-US"/>
          </a:p>
        </p:txBody>
      </p:sp>
    </p:spTree>
    <p:extLst>
      <p:ext uri="{BB962C8B-B14F-4D97-AF65-F5344CB8AC3E}">
        <p14:creationId xmlns:p14="http://schemas.microsoft.com/office/powerpoint/2010/main" val="381559054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9" name="Content Placeholder 8"/>
          <p:cNvSpPr>
            <a:spLocks noGrp="1"/>
          </p:cNvSpPr>
          <p:nvPr>
            <p:ph sz="quarter" idx="1"/>
          </p:nvPr>
        </p:nvSpPr>
        <p:spPr>
          <a:xfrm>
            <a:off x="914400" y="1447800"/>
            <a:ext cx="374904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1" name="Content Placeholder 10"/>
          <p:cNvSpPr>
            <a:spLocks noGrp="1"/>
          </p:cNvSpPr>
          <p:nvPr>
            <p:ph sz="quarter" idx="2"/>
          </p:nvPr>
        </p:nvSpPr>
        <p:spPr>
          <a:xfrm>
            <a:off x="4933950" y="1447800"/>
            <a:ext cx="3749040" cy="45720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13"/>
          <p:cNvSpPr>
            <a:spLocks noGrp="1"/>
          </p:cNvSpPr>
          <p:nvPr>
            <p:ph type="dt" sz="half" idx="10"/>
          </p:nvPr>
        </p:nvSpPr>
        <p:spPr/>
        <p:txBody>
          <a:bodyPr/>
          <a:lstStyle>
            <a:lvl1pPr>
              <a:defRPr/>
            </a:lvl1pPr>
          </a:lstStyle>
          <a:p>
            <a:pPr>
              <a:defRPr/>
            </a:pPr>
            <a:fld id="{799CFD48-5039-4666-9773-A19B3986762F}" type="datetimeFigureOut">
              <a:rPr lang="ar-EG"/>
              <a:pPr>
                <a:defRPr/>
              </a:pPr>
              <a:t>26/06/1434</a:t>
            </a:fld>
            <a:endParaRPr lang="ar-EG"/>
          </a:p>
        </p:txBody>
      </p:sp>
      <p:sp>
        <p:nvSpPr>
          <p:cNvPr id="6" name="Footer Placeholder 2"/>
          <p:cNvSpPr>
            <a:spLocks noGrp="1"/>
          </p:cNvSpPr>
          <p:nvPr>
            <p:ph type="ftr" sz="quarter" idx="11"/>
          </p:nvPr>
        </p:nvSpPr>
        <p:spPr/>
        <p:txBody>
          <a:bodyPr/>
          <a:lstStyle>
            <a:lvl1pPr>
              <a:defRPr/>
            </a:lvl1pPr>
          </a:lstStyle>
          <a:p>
            <a:pPr>
              <a:defRPr/>
            </a:pPr>
            <a:endParaRPr lang="ar-EG"/>
          </a:p>
        </p:txBody>
      </p:sp>
      <p:sp>
        <p:nvSpPr>
          <p:cNvPr id="7" name="Slide Number Placeholder 22"/>
          <p:cNvSpPr>
            <a:spLocks noGrp="1"/>
          </p:cNvSpPr>
          <p:nvPr>
            <p:ph type="sldNum" sz="quarter" idx="12"/>
          </p:nvPr>
        </p:nvSpPr>
        <p:spPr/>
        <p:txBody>
          <a:bodyPr/>
          <a:lstStyle>
            <a:lvl1pPr>
              <a:defRPr/>
            </a:lvl1pPr>
          </a:lstStyle>
          <a:p>
            <a:pPr>
              <a:defRPr/>
            </a:pPr>
            <a:fld id="{950EB29D-D5A0-432C-94AC-96B5D703036B}" type="slidenum">
              <a:rPr lang="ar-EG"/>
              <a:pPr>
                <a:defRPr/>
              </a:pPr>
              <a:t>‹#›</a:t>
            </a:fld>
            <a:endParaRPr lang="ar-EG"/>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D1000503-C27A-455A-BE8F-48A732699585}" type="slidenum">
              <a:rPr lang="en-US"/>
              <a:pPr/>
              <a:t>‹#›</a:t>
            </a:fld>
            <a:endParaRPr lang="en-US"/>
          </a:p>
        </p:txBody>
      </p:sp>
    </p:spTree>
    <p:extLst>
      <p:ext uri="{BB962C8B-B14F-4D97-AF65-F5344CB8AC3E}">
        <p14:creationId xmlns:p14="http://schemas.microsoft.com/office/powerpoint/2010/main" val="25274188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D1000503-C27A-455A-BE8F-48A732699585}" type="slidenum">
              <a:rPr lang="en-US"/>
              <a:pPr/>
              <a:t>‹#›</a:t>
            </a:fld>
            <a:endParaRPr lang="en-US"/>
          </a:p>
        </p:txBody>
      </p:sp>
    </p:spTree>
    <p:extLst>
      <p:ext uri="{BB962C8B-B14F-4D97-AF65-F5344CB8AC3E}">
        <p14:creationId xmlns:p14="http://schemas.microsoft.com/office/powerpoint/2010/main" val="135111590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lvl1pPr>
              <a:defRPr/>
            </a:lvl1pPr>
          </a:lstStyle>
          <a:p>
            <a:fld id="{D1000503-C27A-455A-BE8F-48A732699585}" type="slidenum">
              <a:rPr lang="en-US"/>
              <a:pPr/>
              <a:t>‹#›</a:t>
            </a:fld>
            <a:endParaRPr lang="en-US"/>
          </a:p>
        </p:txBody>
      </p:sp>
    </p:spTree>
    <p:extLst>
      <p:ext uri="{BB962C8B-B14F-4D97-AF65-F5344CB8AC3E}">
        <p14:creationId xmlns:p14="http://schemas.microsoft.com/office/powerpoint/2010/main" val="331480747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2"/>
          <p:cNvSpPr txBox="1">
            <a:spLocks noChangeArrowheads="1"/>
          </p:cNvSpPr>
          <p:nvPr userDrawn="1"/>
        </p:nvSpPr>
        <p:spPr bwMode="auto">
          <a:xfrm>
            <a:off x="7675605" y="6532605"/>
            <a:ext cx="1265238" cy="2127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defRPr/>
            </a:lvl1pPr>
          </a:lstStyle>
          <a:p>
            <a:pPr algn="r">
              <a:defRPr/>
            </a:pPr>
            <a:fld id="{2431BE92-4107-41DD-88A3-15443D83970C}" type="slidenum">
              <a:rPr lang="en-US" sz="1400" b="1" smtClean="0">
                <a:solidFill>
                  <a:srgbClr val="724C00"/>
                </a:solidFill>
                <a:latin typeface="Microsoft Sans Serif"/>
                <a:cs typeface="Arial" charset="0"/>
              </a:rPr>
              <a:pPr algn="r">
                <a:defRPr/>
              </a:pPr>
              <a:t>‹#›</a:t>
            </a:fld>
            <a:endParaRPr lang="en-US" sz="1400" b="1" dirty="0">
              <a:solidFill>
                <a:srgbClr val="724C00"/>
              </a:solidFill>
              <a:latin typeface="Microsoft Sans Serif"/>
              <a:cs typeface="Arial" charset="0"/>
            </a:endParaRPr>
          </a:p>
        </p:txBody>
      </p:sp>
    </p:spTree>
    <p:extLst>
      <p:ext uri="{BB962C8B-B14F-4D97-AF65-F5344CB8AC3E}">
        <p14:creationId xmlns:p14="http://schemas.microsoft.com/office/powerpoint/2010/main" val="427087977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0163" y="550863"/>
            <a:ext cx="4457700" cy="5740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0263" y="550863"/>
            <a:ext cx="4457700" cy="57404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Rectangle 12"/>
          <p:cNvSpPr txBox="1">
            <a:spLocks noChangeArrowheads="1"/>
          </p:cNvSpPr>
          <p:nvPr userDrawn="1"/>
        </p:nvSpPr>
        <p:spPr bwMode="auto">
          <a:xfrm>
            <a:off x="7675605" y="6532605"/>
            <a:ext cx="1265238" cy="2127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defRPr/>
            </a:lvl1pPr>
          </a:lstStyle>
          <a:p>
            <a:pPr algn="r">
              <a:defRPr/>
            </a:pPr>
            <a:fld id="{2431BE92-4107-41DD-88A3-15443D83970C}" type="slidenum">
              <a:rPr lang="en-US" sz="1400" b="1" smtClean="0">
                <a:solidFill>
                  <a:srgbClr val="724C00"/>
                </a:solidFill>
                <a:latin typeface="Microsoft Sans Serif"/>
                <a:cs typeface="Arial" charset="0"/>
              </a:rPr>
              <a:pPr algn="r">
                <a:defRPr/>
              </a:pPr>
              <a:t>‹#›</a:t>
            </a:fld>
            <a:endParaRPr lang="en-US" sz="1400" b="1" dirty="0">
              <a:solidFill>
                <a:srgbClr val="724C00"/>
              </a:solidFill>
              <a:latin typeface="Microsoft Sans Serif"/>
              <a:cs typeface="Arial" charset="0"/>
            </a:endParaRPr>
          </a:p>
        </p:txBody>
      </p:sp>
    </p:spTree>
    <p:extLst>
      <p:ext uri="{BB962C8B-B14F-4D97-AF65-F5344CB8AC3E}">
        <p14:creationId xmlns:p14="http://schemas.microsoft.com/office/powerpoint/2010/main" val="94674733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smtClean="0"/>
              <a:t>Click to edit Master text styles</a:t>
            </a:r>
          </a:p>
        </p:txBody>
      </p:sp>
      <p:sp>
        <p:nvSpPr>
          <p:cNvPr id="11" name="Content Placeholder 10"/>
          <p:cNvSpPr>
            <a:spLocks noGrp="1"/>
          </p:cNvSpPr>
          <p:nvPr>
            <p:ph sz="half" idx="2"/>
          </p:nvPr>
        </p:nvSpPr>
        <p:spPr>
          <a:xfrm>
            <a:off x="914400" y="2247900"/>
            <a:ext cx="3733800" cy="388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Content Placeholder 12"/>
          <p:cNvSpPr>
            <a:spLocks noGrp="1"/>
          </p:cNvSpPr>
          <p:nvPr>
            <p:ph sz="half" idx="4"/>
          </p:nvPr>
        </p:nvSpPr>
        <p:spPr>
          <a:xfrm>
            <a:off x="4953000" y="2247900"/>
            <a:ext cx="3733800" cy="38862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13"/>
          <p:cNvSpPr>
            <a:spLocks noGrp="1"/>
          </p:cNvSpPr>
          <p:nvPr>
            <p:ph type="dt" sz="half" idx="10"/>
          </p:nvPr>
        </p:nvSpPr>
        <p:spPr/>
        <p:txBody>
          <a:bodyPr/>
          <a:lstStyle>
            <a:lvl1pPr>
              <a:defRPr/>
            </a:lvl1pPr>
          </a:lstStyle>
          <a:p>
            <a:pPr>
              <a:defRPr/>
            </a:pPr>
            <a:fld id="{0C3B6BFA-E44B-4D53-AADC-2ECC3FA5F111}" type="datetimeFigureOut">
              <a:rPr lang="ar-EG"/>
              <a:pPr>
                <a:defRPr/>
              </a:pPr>
              <a:t>26/06/1434</a:t>
            </a:fld>
            <a:endParaRPr lang="ar-EG"/>
          </a:p>
        </p:txBody>
      </p:sp>
      <p:sp>
        <p:nvSpPr>
          <p:cNvPr id="8" name="Footer Placeholder 2"/>
          <p:cNvSpPr>
            <a:spLocks noGrp="1"/>
          </p:cNvSpPr>
          <p:nvPr>
            <p:ph type="ftr" sz="quarter" idx="11"/>
          </p:nvPr>
        </p:nvSpPr>
        <p:spPr/>
        <p:txBody>
          <a:bodyPr/>
          <a:lstStyle>
            <a:lvl1pPr>
              <a:defRPr/>
            </a:lvl1pPr>
          </a:lstStyle>
          <a:p>
            <a:pPr>
              <a:defRPr/>
            </a:pPr>
            <a:endParaRPr lang="ar-EG"/>
          </a:p>
        </p:txBody>
      </p:sp>
      <p:sp>
        <p:nvSpPr>
          <p:cNvPr id="9" name="Slide Number Placeholder 22"/>
          <p:cNvSpPr>
            <a:spLocks noGrp="1"/>
          </p:cNvSpPr>
          <p:nvPr>
            <p:ph type="sldNum" sz="quarter" idx="12"/>
          </p:nvPr>
        </p:nvSpPr>
        <p:spPr/>
        <p:txBody>
          <a:bodyPr/>
          <a:lstStyle>
            <a:lvl1pPr>
              <a:defRPr/>
            </a:lvl1pPr>
          </a:lstStyle>
          <a:p>
            <a:pPr>
              <a:defRPr/>
            </a:pPr>
            <a:fld id="{B96F59A3-6410-4679-902E-2ABCBB6F3B71}" type="slidenum">
              <a:rPr lang="ar-EG"/>
              <a:pPr>
                <a:defRPr/>
              </a:pPr>
              <a:t>‹#›</a:t>
            </a:fld>
            <a:endParaRPr lang="ar-EG"/>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13"/>
          <p:cNvSpPr>
            <a:spLocks noGrp="1"/>
          </p:cNvSpPr>
          <p:nvPr>
            <p:ph type="dt" sz="half" idx="10"/>
          </p:nvPr>
        </p:nvSpPr>
        <p:spPr/>
        <p:txBody>
          <a:bodyPr/>
          <a:lstStyle>
            <a:lvl1pPr>
              <a:defRPr/>
            </a:lvl1pPr>
          </a:lstStyle>
          <a:p>
            <a:pPr>
              <a:defRPr/>
            </a:pPr>
            <a:fld id="{BBE00121-CEC9-41E4-ABB9-274184D59130}" type="datetimeFigureOut">
              <a:rPr lang="ar-EG"/>
              <a:pPr>
                <a:defRPr/>
              </a:pPr>
              <a:t>26/06/1434</a:t>
            </a:fld>
            <a:endParaRPr lang="ar-EG"/>
          </a:p>
        </p:txBody>
      </p:sp>
      <p:sp>
        <p:nvSpPr>
          <p:cNvPr id="4" name="Footer Placeholder 2"/>
          <p:cNvSpPr>
            <a:spLocks noGrp="1"/>
          </p:cNvSpPr>
          <p:nvPr>
            <p:ph type="ftr" sz="quarter" idx="11"/>
          </p:nvPr>
        </p:nvSpPr>
        <p:spPr/>
        <p:txBody>
          <a:bodyPr/>
          <a:lstStyle>
            <a:lvl1pPr>
              <a:defRPr/>
            </a:lvl1pPr>
          </a:lstStyle>
          <a:p>
            <a:pPr>
              <a:defRPr/>
            </a:pPr>
            <a:endParaRPr lang="ar-EG"/>
          </a:p>
        </p:txBody>
      </p:sp>
      <p:sp>
        <p:nvSpPr>
          <p:cNvPr id="5" name="Slide Number Placeholder 22"/>
          <p:cNvSpPr>
            <a:spLocks noGrp="1"/>
          </p:cNvSpPr>
          <p:nvPr>
            <p:ph type="sldNum" sz="quarter" idx="12"/>
          </p:nvPr>
        </p:nvSpPr>
        <p:spPr/>
        <p:txBody>
          <a:bodyPr/>
          <a:lstStyle>
            <a:lvl1pPr>
              <a:defRPr/>
            </a:lvl1pPr>
          </a:lstStyle>
          <a:p>
            <a:pPr>
              <a:defRPr/>
            </a:pPr>
            <a:fld id="{758E2A20-E0BC-4164-BEBC-37726FEE07EE}" type="slidenum">
              <a:rPr lang="ar-EG"/>
              <a:pPr>
                <a:defRPr/>
              </a:pPr>
              <a:t>‹#›</a:t>
            </a:fld>
            <a:endParaRPr lang="ar-EG"/>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3"/>
          <p:cNvSpPr>
            <a:spLocks noGrp="1"/>
          </p:cNvSpPr>
          <p:nvPr>
            <p:ph type="dt" sz="half" idx="10"/>
          </p:nvPr>
        </p:nvSpPr>
        <p:spPr/>
        <p:txBody>
          <a:bodyPr/>
          <a:lstStyle>
            <a:lvl1pPr>
              <a:defRPr/>
            </a:lvl1pPr>
          </a:lstStyle>
          <a:p>
            <a:pPr>
              <a:defRPr/>
            </a:pPr>
            <a:fld id="{8E7E65D9-5720-4912-9404-90CF97420879}" type="datetimeFigureOut">
              <a:rPr lang="ar-EG"/>
              <a:pPr>
                <a:defRPr/>
              </a:pPr>
              <a:t>26/06/1434</a:t>
            </a:fld>
            <a:endParaRPr lang="ar-EG"/>
          </a:p>
        </p:txBody>
      </p:sp>
      <p:sp>
        <p:nvSpPr>
          <p:cNvPr id="3" name="Footer Placeholder 2"/>
          <p:cNvSpPr>
            <a:spLocks noGrp="1"/>
          </p:cNvSpPr>
          <p:nvPr>
            <p:ph type="ftr" sz="quarter" idx="11"/>
          </p:nvPr>
        </p:nvSpPr>
        <p:spPr/>
        <p:txBody>
          <a:bodyPr/>
          <a:lstStyle>
            <a:lvl1pPr>
              <a:defRPr/>
            </a:lvl1pPr>
          </a:lstStyle>
          <a:p>
            <a:pPr>
              <a:defRPr/>
            </a:pPr>
            <a:endParaRPr lang="ar-EG"/>
          </a:p>
        </p:txBody>
      </p:sp>
      <p:sp>
        <p:nvSpPr>
          <p:cNvPr id="4" name="Slide Number Placeholder 22"/>
          <p:cNvSpPr>
            <a:spLocks noGrp="1"/>
          </p:cNvSpPr>
          <p:nvPr>
            <p:ph type="sldNum" sz="quarter" idx="12"/>
          </p:nvPr>
        </p:nvSpPr>
        <p:spPr/>
        <p:txBody>
          <a:bodyPr/>
          <a:lstStyle>
            <a:lvl1pPr>
              <a:defRPr/>
            </a:lvl1pPr>
          </a:lstStyle>
          <a:p>
            <a:pPr>
              <a:defRPr/>
            </a:pPr>
            <a:fld id="{EA2D2356-5E96-4593-A844-3B915B7A3554}" type="slidenum">
              <a:rPr lang="ar-EG"/>
              <a:pPr>
                <a:defRPr/>
              </a:pPr>
              <a:t>‹#›</a:t>
            </a:fld>
            <a:endParaRPr lang="ar-EG"/>
          </a:p>
        </p:txBody>
      </p:sp>
      <p:sp>
        <p:nvSpPr>
          <p:cNvPr id="5" name="Rectangle 4"/>
          <p:cNvSpPr/>
          <p:nvPr userDrawn="1"/>
        </p:nvSpPr>
        <p:spPr>
          <a:xfrm>
            <a:off x="0" y="0"/>
            <a:ext cx="9144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useBgFill="1">
        <p:nvSpPr>
          <p:cNvPr id="6" name="Rounded Rectangle 5"/>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2" name="Title 1"/>
          <p:cNvSpPr>
            <a:spLocks noGrp="1"/>
          </p:cNvSpPr>
          <p:nvPr>
            <p:ph type="title"/>
          </p:nvPr>
        </p:nvSpPr>
        <p:spPr>
          <a:xfrm>
            <a:off x="914400" y="273050"/>
            <a:ext cx="7772400" cy="1143000"/>
          </a:xfrm>
        </p:spPr>
        <p:txBody>
          <a:bodyPr/>
          <a:lstStyle>
            <a:lvl1pPr algn="l">
              <a:buNone/>
              <a:defRPr sz="4000" b="0"/>
            </a:lvl1pPr>
          </a:lstStyle>
          <a:p>
            <a:r>
              <a:rPr lang="en-US" smtClean="0"/>
              <a:t>Click to edit Master title style</a:t>
            </a:r>
            <a:endParaRPr lang="en-US"/>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smtClean="0"/>
              <a:t>Click to edit Master text styles</a:t>
            </a:r>
          </a:p>
        </p:txBody>
      </p:sp>
      <p:sp>
        <p:nvSpPr>
          <p:cNvPr id="11" name="Content Placeholder 10"/>
          <p:cNvSpPr>
            <a:spLocks noGrp="1"/>
          </p:cNvSpPr>
          <p:nvPr>
            <p:ph sz="quarter" idx="1"/>
          </p:nvPr>
        </p:nvSpPr>
        <p:spPr>
          <a:xfrm>
            <a:off x="2971800" y="1600200"/>
            <a:ext cx="5715000" cy="4495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4"/>
          <p:cNvSpPr>
            <a:spLocks noGrp="1"/>
          </p:cNvSpPr>
          <p:nvPr>
            <p:ph type="dt" sz="half" idx="10"/>
          </p:nvPr>
        </p:nvSpPr>
        <p:spPr/>
        <p:txBody>
          <a:bodyPr/>
          <a:lstStyle>
            <a:lvl1pPr>
              <a:defRPr/>
            </a:lvl1pPr>
          </a:lstStyle>
          <a:p>
            <a:pPr>
              <a:defRPr/>
            </a:pPr>
            <a:fld id="{38A7B105-B713-46F8-B156-86109DE3F978}" type="datetimeFigureOut">
              <a:rPr lang="ar-EG"/>
              <a:pPr>
                <a:defRPr/>
              </a:pPr>
              <a:t>26/06/1434</a:t>
            </a:fld>
            <a:endParaRPr lang="ar-EG"/>
          </a:p>
        </p:txBody>
      </p:sp>
      <p:sp>
        <p:nvSpPr>
          <p:cNvPr id="8" name="Footer Placeholder 5"/>
          <p:cNvSpPr>
            <a:spLocks noGrp="1"/>
          </p:cNvSpPr>
          <p:nvPr>
            <p:ph type="ftr" sz="quarter" idx="11"/>
          </p:nvPr>
        </p:nvSpPr>
        <p:spPr/>
        <p:txBody>
          <a:bodyPr/>
          <a:lstStyle>
            <a:lvl1pPr>
              <a:defRPr/>
            </a:lvl1pPr>
          </a:lstStyle>
          <a:p>
            <a:pPr>
              <a:defRPr/>
            </a:pPr>
            <a:endParaRPr lang="ar-EG"/>
          </a:p>
        </p:txBody>
      </p:sp>
      <p:sp>
        <p:nvSpPr>
          <p:cNvPr id="9" name="Slide Number Placeholder 6"/>
          <p:cNvSpPr>
            <a:spLocks noGrp="1"/>
          </p:cNvSpPr>
          <p:nvPr>
            <p:ph type="sldNum" sz="quarter" idx="12"/>
          </p:nvPr>
        </p:nvSpPr>
        <p:spPr/>
        <p:txBody>
          <a:bodyPr/>
          <a:lstStyle>
            <a:lvl1pPr>
              <a:defRPr/>
            </a:lvl1pPr>
          </a:lstStyle>
          <a:p>
            <a:pPr>
              <a:defRPr/>
            </a:pPr>
            <a:fld id="{54A8E7AF-9670-423D-899D-63EC013D0070}" type="slidenum">
              <a:rPr lang="ar-EG"/>
              <a:pPr>
                <a:defRPr/>
              </a:pPr>
              <a:t>‹#›</a:t>
            </a:fld>
            <a:endParaRPr lang="ar-EG"/>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p:cNvSpPr/>
          <p:nvPr/>
        </p:nvSpPr>
        <p:spPr>
          <a:xfrm flipV="1">
            <a:off x="68263" y="4683125"/>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6" name="Rectangle 5"/>
          <p:cNvSpPr/>
          <p:nvPr/>
        </p:nvSpPr>
        <p:spPr>
          <a:xfrm>
            <a:off x="68263" y="4649788"/>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7" name="Rectangle 6"/>
          <p:cNvSpPr/>
          <p:nvPr/>
        </p:nvSpPr>
        <p:spPr>
          <a:xfrm>
            <a:off x="68263" y="4773613"/>
            <a:ext cx="9007475" cy="476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lang="en-US" smtClean="0"/>
              <a:t>Click to edit Master title style</a:t>
            </a:r>
            <a:endParaRPr lang="en-US"/>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smtClean="0"/>
              <a:t>Click to edit Master text styles</a:t>
            </a:r>
          </a:p>
        </p:txBody>
      </p:sp>
      <p:sp>
        <p:nvSpPr>
          <p:cNvPr id="3" name="Picture Placeholder 2"/>
          <p:cNvSpPr>
            <a:spLocks noGrp="1"/>
          </p:cNvSpPr>
          <p:nvPr>
            <p:ph type="pic" idx="1"/>
          </p:nvPr>
        </p:nvSpPr>
        <p:spPr>
          <a:xfrm>
            <a:off x="68308" y="66675"/>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smtClean="0"/>
              <a:t>Click icon to add picture</a:t>
            </a:r>
            <a:endParaRPr lang="en-US" noProof="0" dirty="0"/>
          </a:p>
        </p:txBody>
      </p:sp>
      <p:sp>
        <p:nvSpPr>
          <p:cNvPr id="8" name="Date Placeholder 4"/>
          <p:cNvSpPr>
            <a:spLocks noGrp="1"/>
          </p:cNvSpPr>
          <p:nvPr>
            <p:ph type="dt" sz="half" idx="10"/>
          </p:nvPr>
        </p:nvSpPr>
        <p:spPr/>
        <p:txBody>
          <a:bodyPr/>
          <a:lstStyle>
            <a:lvl1pPr>
              <a:defRPr/>
            </a:lvl1pPr>
          </a:lstStyle>
          <a:p>
            <a:pPr>
              <a:defRPr/>
            </a:pPr>
            <a:fld id="{81FC1DF1-E606-41BE-9FAE-9FEC6F92073A}" type="datetimeFigureOut">
              <a:rPr lang="ar-EG"/>
              <a:pPr>
                <a:defRPr/>
              </a:pPr>
              <a:t>26/06/1434</a:t>
            </a:fld>
            <a:endParaRPr lang="ar-EG"/>
          </a:p>
        </p:txBody>
      </p:sp>
      <p:sp>
        <p:nvSpPr>
          <p:cNvPr id="9" name="Footer Placeholder 5"/>
          <p:cNvSpPr>
            <a:spLocks noGrp="1"/>
          </p:cNvSpPr>
          <p:nvPr>
            <p:ph type="ftr" sz="quarter" idx="11"/>
          </p:nvPr>
        </p:nvSpPr>
        <p:spPr>
          <a:xfrm>
            <a:off x="914400" y="6172200"/>
            <a:ext cx="3886200" cy="457200"/>
          </a:xfrm>
        </p:spPr>
        <p:txBody>
          <a:bodyPr/>
          <a:lstStyle>
            <a:lvl1pPr>
              <a:defRPr/>
            </a:lvl1pPr>
          </a:lstStyle>
          <a:p>
            <a:pPr>
              <a:defRPr/>
            </a:pPr>
            <a:endParaRPr lang="ar-EG"/>
          </a:p>
        </p:txBody>
      </p:sp>
      <p:sp>
        <p:nvSpPr>
          <p:cNvPr id="10" name="Slide Number Placeholder 6"/>
          <p:cNvSpPr>
            <a:spLocks noGrp="1"/>
          </p:cNvSpPr>
          <p:nvPr>
            <p:ph type="sldNum" sz="quarter" idx="12"/>
          </p:nvPr>
        </p:nvSpPr>
        <p:spPr>
          <a:xfrm>
            <a:off x="146050" y="6208713"/>
            <a:ext cx="457200" cy="457200"/>
          </a:xfrm>
        </p:spPr>
        <p:txBody>
          <a:bodyPr/>
          <a:lstStyle>
            <a:lvl1pPr>
              <a:defRPr/>
            </a:lvl1pPr>
          </a:lstStyle>
          <a:p>
            <a:pPr>
              <a:defRPr/>
            </a:pPr>
            <a:fld id="{54AF1E41-1D45-4A4A-BBDA-294A45B2D60B}" type="slidenum">
              <a:rPr lang="ar-EG"/>
              <a:pPr>
                <a:defRPr/>
              </a:pPr>
              <a:t>‹#›</a:t>
            </a:fld>
            <a:endParaRPr lang="ar-EG"/>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1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10.xml"/><Relationship Id="rId1" Type="http://schemas.openxmlformats.org/officeDocument/2006/relationships/slideLayout" Target="../slideLayouts/slideLayout29.xml"/><Relationship Id="rId5" Type="http://schemas.openxmlformats.org/officeDocument/2006/relationships/image" Target="../media/image8.gif"/><Relationship Id="rId4" Type="http://schemas.openxmlformats.org/officeDocument/2006/relationships/image" Target="../media/image5.gif"/></Relationships>
</file>

<file path=ppt/slideMasters/_rels/slideMaster1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11.xml"/><Relationship Id="rId1" Type="http://schemas.openxmlformats.org/officeDocument/2006/relationships/slideLayout" Target="../slideLayouts/slideLayout30.xml"/><Relationship Id="rId5" Type="http://schemas.openxmlformats.org/officeDocument/2006/relationships/image" Target="../media/image8.gif"/><Relationship Id="rId4" Type="http://schemas.openxmlformats.org/officeDocument/2006/relationships/image" Target="../media/image5.gif"/></Relationships>
</file>

<file path=ppt/slideMasters/_rels/slideMaster12.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12.xml"/><Relationship Id="rId1" Type="http://schemas.openxmlformats.org/officeDocument/2006/relationships/slideLayout" Target="../slideLayouts/slideLayout31.xml"/><Relationship Id="rId5" Type="http://schemas.openxmlformats.org/officeDocument/2006/relationships/image" Target="../media/image8.gif"/><Relationship Id="rId4" Type="http://schemas.openxmlformats.org/officeDocument/2006/relationships/image" Target="../media/image5.gif"/></Relationships>
</file>

<file path=ppt/slideMasters/_rels/slideMaster1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13.xml"/><Relationship Id="rId1" Type="http://schemas.openxmlformats.org/officeDocument/2006/relationships/slideLayout" Target="../slideLayouts/slideLayout32.xml"/><Relationship Id="rId5" Type="http://schemas.openxmlformats.org/officeDocument/2006/relationships/image" Target="../media/image8.gif"/><Relationship Id="rId4" Type="http://schemas.openxmlformats.org/officeDocument/2006/relationships/image" Target="../media/image5.gif"/></Relationships>
</file>

<file path=ppt/slideMasters/_rels/slideMaster14.xml.rels><?xml version="1.0" encoding="UTF-8" standalone="yes"?>
<Relationships xmlns="http://schemas.openxmlformats.org/package/2006/relationships"><Relationship Id="rId3" Type="http://schemas.openxmlformats.org/officeDocument/2006/relationships/theme" Target="../theme/theme14.xml"/><Relationship Id="rId2" Type="http://schemas.openxmlformats.org/officeDocument/2006/relationships/slideLayout" Target="../slideLayouts/slideLayout34.xml"/><Relationship Id="rId1" Type="http://schemas.openxmlformats.org/officeDocument/2006/relationships/slideLayout" Target="../slideLayouts/slideLayout33.xml"/></Relationships>
</file>

<file path=ppt/slideMasters/_rels/slideMaster15.xml.rels><?xml version="1.0" encoding="UTF-8" standalone="yes"?>
<Relationships xmlns="http://schemas.openxmlformats.org/package/2006/relationships"><Relationship Id="rId2" Type="http://schemas.openxmlformats.org/officeDocument/2006/relationships/theme" Target="../theme/theme15.xml"/><Relationship Id="rId1" Type="http://schemas.openxmlformats.org/officeDocument/2006/relationships/slideLayout" Target="../slideLayouts/slideLayout35.xml"/></Relationships>
</file>

<file path=ppt/slideMasters/_rels/slideMaster16.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16.xml"/><Relationship Id="rId1" Type="http://schemas.openxmlformats.org/officeDocument/2006/relationships/slideLayout" Target="../slideLayouts/slideLayout36.xml"/><Relationship Id="rId5" Type="http://schemas.openxmlformats.org/officeDocument/2006/relationships/image" Target="../media/image6.gif"/><Relationship Id="rId4" Type="http://schemas.openxmlformats.org/officeDocument/2006/relationships/image" Target="../media/image5.gif"/></Relationships>
</file>

<file path=ppt/slideMasters/_rels/slideMaster17.xml.rels><?xml version="1.0" encoding="UTF-8" standalone="yes"?>
<Relationships xmlns="http://schemas.openxmlformats.org/package/2006/relationships"><Relationship Id="rId2" Type="http://schemas.openxmlformats.org/officeDocument/2006/relationships/theme" Target="../theme/theme17.xml"/><Relationship Id="rId1" Type="http://schemas.openxmlformats.org/officeDocument/2006/relationships/slideLayout" Target="../slideLayouts/slideLayout37.xml"/></Relationships>
</file>

<file path=ppt/slideMasters/_rels/slideMaster18.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18.xml"/><Relationship Id="rId1" Type="http://schemas.openxmlformats.org/officeDocument/2006/relationships/slideLayout" Target="../slideLayouts/slideLayout38.xml"/><Relationship Id="rId5" Type="http://schemas.openxmlformats.org/officeDocument/2006/relationships/image" Target="../media/image6.gif"/><Relationship Id="rId4" Type="http://schemas.openxmlformats.org/officeDocument/2006/relationships/image" Target="../media/image5.gif"/></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26" Type="http://schemas.openxmlformats.org/officeDocument/2006/relationships/tags" Target="../tags/tag23.xml"/><Relationship Id="rId3" Type="http://schemas.openxmlformats.org/officeDocument/2006/relationships/vmlDrawing" Target="../drawings/vmlDrawing2.vml"/><Relationship Id="rId21" Type="http://schemas.openxmlformats.org/officeDocument/2006/relationships/tags" Target="../tags/tag18.xml"/><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5" Type="http://schemas.openxmlformats.org/officeDocument/2006/relationships/tags" Target="../tags/tag22.xml"/><Relationship Id="rId2" Type="http://schemas.openxmlformats.org/officeDocument/2006/relationships/theme" Target="../theme/theme19.xml"/><Relationship Id="rId16" Type="http://schemas.openxmlformats.org/officeDocument/2006/relationships/tags" Target="../tags/tag13.xml"/><Relationship Id="rId20" Type="http://schemas.openxmlformats.org/officeDocument/2006/relationships/tags" Target="../tags/tag17.xml"/><Relationship Id="rId29" Type="http://schemas.openxmlformats.org/officeDocument/2006/relationships/tags" Target="../tags/tag26.xml"/><Relationship Id="rId1" Type="http://schemas.openxmlformats.org/officeDocument/2006/relationships/slideLayout" Target="../slideLayouts/slideLayout39.xml"/><Relationship Id="rId6" Type="http://schemas.openxmlformats.org/officeDocument/2006/relationships/tags" Target="../tags/tag3.xml"/><Relationship Id="rId11" Type="http://schemas.openxmlformats.org/officeDocument/2006/relationships/tags" Target="../tags/tag8.xml"/><Relationship Id="rId24" Type="http://schemas.openxmlformats.org/officeDocument/2006/relationships/tags" Target="../tags/tag21.xml"/><Relationship Id="rId32" Type="http://schemas.openxmlformats.org/officeDocument/2006/relationships/image" Target="../media/image10.jpeg"/><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tags" Target="../tags/tag20.xml"/><Relationship Id="rId28" Type="http://schemas.openxmlformats.org/officeDocument/2006/relationships/tags" Target="../tags/tag25.xml"/><Relationship Id="rId10" Type="http://schemas.openxmlformats.org/officeDocument/2006/relationships/tags" Target="../tags/tag7.xml"/><Relationship Id="rId19" Type="http://schemas.openxmlformats.org/officeDocument/2006/relationships/tags" Target="../tags/tag16.xml"/><Relationship Id="rId31" Type="http://schemas.openxmlformats.org/officeDocument/2006/relationships/oleObject" Target="../embeddings/oleObject2.bin"/><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tags" Target="../tags/tag19.xml"/><Relationship Id="rId27" Type="http://schemas.openxmlformats.org/officeDocument/2006/relationships/tags" Target="../tags/tag24.xml"/><Relationship Id="rId30" Type="http://schemas.openxmlformats.org/officeDocument/2006/relationships/tags" Target="../tags/tag27.x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vml"/><Relationship Id="rId2" Type="http://schemas.openxmlformats.org/officeDocument/2006/relationships/theme" Target="../theme/theme2.xml"/><Relationship Id="rId1" Type="http://schemas.openxmlformats.org/officeDocument/2006/relationships/slideLayout" Target="../slideLayouts/slideLayout12.xml"/><Relationship Id="rId6" Type="http://schemas.openxmlformats.org/officeDocument/2006/relationships/image" Target="../media/image2.png"/><Relationship Id="rId5" Type="http://schemas.openxmlformats.org/officeDocument/2006/relationships/oleObject" Target="../embeddings/oleObject1.bin"/><Relationship Id="rId4" Type="http://schemas.openxmlformats.org/officeDocument/2006/relationships/image" Target="../media/image3.jpeg"/></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18" Type="http://schemas.openxmlformats.org/officeDocument/2006/relationships/tags" Target="../tags/tag42.xml"/><Relationship Id="rId26" Type="http://schemas.openxmlformats.org/officeDocument/2006/relationships/tags" Target="../tags/tag50.xml"/><Relationship Id="rId3" Type="http://schemas.openxmlformats.org/officeDocument/2006/relationships/vmlDrawing" Target="../drawings/vmlDrawing3.vml"/><Relationship Id="rId21" Type="http://schemas.openxmlformats.org/officeDocument/2006/relationships/tags" Target="../tags/tag45.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tags" Target="../tags/tag41.xml"/><Relationship Id="rId25" Type="http://schemas.openxmlformats.org/officeDocument/2006/relationships/tags" Target="../tags/tag49.xml"/><Relationship Id="rId2" Type="http://schemas.openxmlformats.org/officeDocument/2006/relationships/theme" Target="../theme/theme20.xml"/><Relationship Id="rId16" Type="http://schemas.openxmlformats.org/officeDocument/2006/relationships/tags" Target="../tags/tag40.xml"/><Relationship Id="rId20" Type="http://schemas.openxmlformats.org/officeDocument/2006/relationships/tags" Target="../tags/tag44.xml"/><Relationship Id="rId29" Type="http://schemas.openxmlformats.org/officeDocument/2006/relationships/tags" Target="../tags/tag53.xml"/><Relationship Id="rId1" Type="http://schemas.openxmlformats.org/officeDocument/2006/relationships/slideLayout" Target="../slideLayouts/slideLayout40.xml"/><Relationship Id="rId6" Type="http://schemas.openxmlformats.org/officeDocument/2006/relationships/tags" Target="../tags/tag30.xml"/><Relationship Id="rId11" Type="http://schemas.openxmlformats.org/officeDocument/2006/relationships/tags" Target="../tags/tag35.xml"/><Relationship Id="rId24" Type="http://schemas.openxmlformats.org/officeDocument/2006/relationships/tags" Target="../tags/tag48.xml"/><Relationship Id="rId32" Type="http://schemas.openxmlformats.org/officeDocument/2006/relationships/image" Target="../media/image10.jpeg"/><Relationship Id="rId5" Type="http://schemas.openxmlformats.org/officeDocument/2006/relationships/tags" Target="../tags/tag29.xml"/><Relationship Id="rId15" Type="http://schemas.openxmlformats.org/officeDocument/2006/relationships/tags" Target="../tags/tag39.xml"/><Relationship Id="rId23" Type="http://schemas.openxmlformats.org/officeDocument/2006/relationships/tags" Target="../tags/tag47.xml"/><Relationship Id="rId28" Type="http://schemas.openxmlformats.org/officeDocument/2006/relationships/tags" Target="../tags/tag52.xml"/><Relationship Id="rId10" Type="http://schemas.openxmlformats.org/officeDocument/2006/relationships/tags" Target="../tags/tag34.xml"/><Relationship Id="rId19" Type="http://schemas.openxmlformats.org/officeDocument/2006/relationships/tags" Target="../tags/tag43.xml"/><Relationship Id="rId31" Type="http://schemas.openxmlformats.org/officeDocument/2006/relationships/oleObject" Target="../embeddings/oleObject3.bin"/><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 Id="rId22" Type="http://schemas.openxmlformats.org/officeDocument/2006/relationships/tags" Target="../tags/tag46.xml"/><Relationship Id="rId27" Type="http://schemas.openxmlformats.org/officeDocument/2006/relationships/tags" Target="../tags/tag51.xml"/><Relationship Id="rId30" Type="http://schemas.openxmlformats.org/officeDocument/2006/relationships/tags" Target="../tags/tag54.xml"/></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59.xml"/><Relationship Id="rId13" Type="http://schemas.openxmlformats.org/officeDocument/2006/relationships/tags" Target="../tags/tag64.xml"/><Relationship Id="rId18" Type="http://schemas.openxmlformats.org/officeDocument/2006/relationships/tags" Target="../tags/tag69.xml"/><Relationship Id="rId26" Type="http://schemas.openxmlformats.org/officeDocument/2006/relationships/tags" Target="../tags/tag77.xml"/><Relationship Id="rId3" Type="http://schemas.openxmlformats.org/officeDocument/2006/relationships/vmlDrawing" Target="../drawings/vmlDrawing4.vml"/><Relationship Id="rId21" Type="http://schemas.openxmlformats.org/officeDocument/2006/relationships/tags" Target="../tags/tag72.xml"/><Relationship Id="rId7" Type="http://schemas.openxmlformats.org/officeDocument/2006/relationships/tags" Target="../tags/tag58.xml"/><Relationship Id="rId12" Type="http://schemas.openxmlformats.org/officeDocument/2006/relationships/tags" Target="../tags/tag63.xml"/><Relationship Id="rId17" Type="http://schemas.openxmlformats.org/officeDocument/2006/relationships/tags" Target="../tags/tag68.xml"/><Relationship Id="rId25" Type="http://schemas.openxmlformats.org/officeDocument/2006/relationships/tags" Target="../tags/tag76.xml"/><Relationship Id="rId2" Type="http://schemas.openxmlformats.org/officeDocument/2006/relationships/theme" Target="../theme/theme21.xml"/><Relationship Id="rId16" Type="http://schemas.openxmlformats.org/officeDocument/2006/relationships/tags" Target="../tags/tag67.xml"/><Relationship Id="rId20" Type="http://schemas.openxmlformats.org/officeDocument/2006/relationships/tags" Target="../tags/tag71.xml"/><Relationship Id="rId29" Type="http://schemas.openxmlformats.org/officeDocument/2006/relationships/tags" Target="../tags/tag80.xml"/><Relationship Id="rId1" Type="http://schemas.openxmlformats.org/officeDocument/2006/relationships/slideLayout" Target="../slideLayouts/slideLayout41.xml"/><Relationship Id="rId6" Type="http://schemas.openxmlformats.org/officeDocument/2006/relationships/tags" Target="../tags/tag57.xml"/><Relationship Id="rId11" Type="http://schemas.openxmlformats.org/officeDocument/2006/relationships/tags" Target="../tags/tag62.xml"/><Relationship Id="rId24" Type="http://schemas.openxmlformats.org/officeDocument/2006/relationships/tags" Target="../tags/tag75.xml"/><Relationship Id="rId32" Type="http://schemas.openxmlformats.org/officeDocument/2006/relationships/image" Target="../media/image10.jpeg"/><Relationship Id="rId5" Type="http://schemas.openxmlformats.org/officeDocument/2006/relationships/tags" Target="../tags/tag56.xml"/><Relationship Id="rId15" Type="http://schemas.openxmlformats.org/officeDocument/2006/relationships/tags" Target="../tags/tag66.xml"/><Relationship Id="rId23" Type="http://schemas.openxmlformats.org/officeDocument/2006/relationships/tags" Target="../tags/tag74.xml"/><Relationship Id="rId28" Type="http://schemas.openxmlformats.org/officeDocument/2006/relationships/tags" Target="../tags/tag79.xml"/><Relationship Id="rId10" Type="http://schemas.openxmlformats.org/officeDocument/2006/relationships/tags" Target="../tags/tag61.xml"/><Relationship Id="rId19" Type="http://schemas.openxmlformats.org/officeDocument/2006/relationships/tags" Target="../tags/tag70.xml"/><Relationship Id="rId31" Type="http://schemas.openxmlformats.org/officeDocument/2006/relationships/oleObject" Target="../embeddings/oleObject4.bin"/><Relationship Id="rId4" Type="http://schemas.openxmlformats.org/officeDocument/2006/relationships/tags" Target="../tags/tag55.xml"/><Relationship Id="rId9" Type="http://schemas.openxmlformats.org/officeDocument/2006/relationships/tags" Target="../tags/tag60.xml"/><Relationship Id="rId14" Type="http://schemas.openxmlformats.org/officeDocument/2006/relationships/tags" Target="../tags/tag65.xml"/><Relationship Id="rId22" Type="http://schemas.openxmlformats.org/officeDocument/2006/relationships/tags" Target="../tags/tag73.xml"/><Relationship Id="rId27" Type="http://schemas.openxmlformats.org/officeDocument/2006/relationships/tags" Target="../tags/tag78.xml"/><Relationship Id="rId30" Type="http://schemas.openxmlformats.org/officeDocument/2006/relationships/tags" Target="../tags/tag81.xml"/></Relationships>
</file>

<file path=ppt/slideMasters/_rels/slideMaster22.xml.rels><?xml version="1.0" encoding="UTF-8" standalone="yes"?>
<Relationships xmlns="http://schemas.openxmlformats.org/package/2006/relationships"><Relationship Id="rId8" Type="http://schemas.openxmlformats.org/officeDocument/2006/relationships/tags" Target="../tags/tag86.xml"/><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tags" Target="../tags/tag104.xml"/><Relationship Id="rId3" Type="http://schemas.openxmlformats.org/officeDocument/2006/relationships/vmlDrawing" Target="../drawings/vmlDrawing5.vml"/><Relationship Id="rId21" Type="http://schemas.openxmlformats.org/officeDocument/2006/relationships/tags" Target="../tags/tag99.xml"/><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tags" Target="../tags/tag103.xml"/><Relationship Id="rId2" Type="http://schemas.openxmlformats.org/officeDocument/2006/relationships/theme" Target="../theme/theme22.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tags" Target="../tags/tag107.xml"/><Relationship Id="rId1" Type="http://schemas.openxmlformats.org/officeDocument/2006/relationships/slideLayout" Target="../slideLayouts/slideLayout42.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tags" Target="../tags/tag102.xml"/><Relationship Id="rId32" Type="http://schemas.openxmlformats.org/officeDocument/2006/relationships/image" Target="../media/image10.jpeg"/><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tags" Target="../tags/tag106.xml"/><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oleObject" Target="../embeddings/oleObject5.bin"/><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tags" Target="../tags/tag105.xml"/><Relationship Id="rId30" Type="http://schemas.openxmlformats.org/officeDocument/2006/relationships/tags" Target="../tags/tag108.xml"/></Relationships>
</file>

<file path=ppt/slideMasters/_rels/slideMaster2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23.xml"/><Relationship Id="rId1" Type="http://schemas.openxmlformats.org/officeDocument/2006/relationships/slideLayout" Target="../slideLayouts/slideLayout43.xml"/></Relationships>
</file>

<file path=ppt/slideMasters/_rels/slideMaster2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theme" Target="../theme/theme24.xml"/><Relationship Id="rId1" Type="http://schemas.openxmlformats.org/officeDocument/2006/relationships/slideLayout" Target="../slideLayouts/slideLayout44.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3.xml"/></Relationships>
</file>

<file path=ppt/slideMasters/_rels/slideMaster4.xml.rels><?xml version="1.0" encoding="UTF-8" standalone="yes"?>
<Relationships xmlns="http://schemas.openxmlformats.org/package/2006/relationships"><Relationship Id="rId8" Type="http://schemas.openxmlformats.org/officeDocument/2006/relationships/image" Target="../media/image6.gif"/><Relationship Id="rId3" Type="http://schemas.openxmlformats.org/officeDocument/2006/relationships/slideLayout" Target="../slideLayouts/slideLayout16.xml"/><Relationship Id="rId7" Type="http://schemas.openxmlformats.org/officeDocument/2006/relationships/image" Target="../media/image5.gif"/><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4.jpeg"/><Relationship Id="rId5" Type="http://schemas.openxmlformats.org/officeDocument/2006/relationships/theme" Target="../theme/theme4.xml"/><Relationship Id="rId4" Type="http://schemas.openxmlformats.org/officeDocument/2006/relationships/slideLayout" Target="../slideLayouts/slideLayout17.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5.gif"/><Relationship Id="rId2" Type="http://schemas.openxmlformats.org/officeDocument/2006/relationships/theme" Target="../theme/theme6.xml"/><Relationship Id="rId1" Type="http://schemas.openxmlformats.org/officeDocument/2006/relationships/slideLayout" Target="../slideLayouts/slideLayout21.xml"/><Relationship Id="rId4" Type="http://schemas.openxmlformats.org/officeDocument/2006/relationships/image" Target="../media/image7.png"/></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theme" Target="../theme/theme7.xml"/><Relationship Id="rId1" Type="http://schemas.openxmlformats.org/officeDocument/2006/relationships/slideLayout" Target="../slideLayouts/slideLayout22.xml"/><Relationship Id="rId5" Type="http://schemas.openxmlformats.org/officeDocument/2006/relationships/image" Target="../media/image6.gif"/><Relationship Id="rId4" Type="http://schemas.openxmlformats.org/officeDocument/2006/relationships/image" Target="../media/image5.gif"/></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3.xml"/></Relationships>
</file>

<file path=ppt/slideMasters/_rels/slideMaster9.xml.rels><?xml version="1.0" encoding="UTF-8" standalone="yes"?>
<Relationships xmlns="http://schemas.openxmlformats.org/package/2006/relationships"><Relationship Id="rId8" Type="http://schemas.openxmlformats.org/officeDocument/2006/relationships/image" Target="../media/image5.gif"/><Relationship Id="rId3" Type="http://schemas.openxmlformats.org/officeDocument/2006/relationships/slideLayout" Target="../slideLayouts/slideLayout26.xml"/><Relationship Id="rId7" Type="http://schemas.openxmlformats.org/officeDocument/2006/relationships/image" Target="../media/image4.jpeg"/><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image" Target="../media/image8.gi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Rectangle 8"/>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rtl="1" fontAlgn="auto">
              <a:spcBef>
                <a:spcPts val="0"/>
              </a:spcBef>
              <a:spcAft>
                <a:spcPts val="0"/>
              </a:spcAft>
              <a:defRPr/>
            </a:pPr>
            <a:endParaRPr lang="en-US"/>
          </a:p>
        </p:txBody>
      </p:sp>
      <p:sp useBgFill="1">
        <p:nvSpPr>
          <p:cNvPr id="8" name="Rounded Rectangle 7"/>
          <p:cNvSpPr/>
          <p:nvPr/>
        </p:nvSpPr>
        <p:spPr>
          <a:xfrm>
            <a:off x="63500"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rtl="1" fontAlgn="auto">
              <a:spcBef>
                <a:spcPts val="0"/>
              </a:spcBef>
              <a:spcAft>
                <a:spcPts val="0"/>
              </a:spcAft>
              <a:defRPr/>
            </a:pPr>
            <a:endParaRPr lang="en-US"/>
          </a:p>
        </p:txBody>
      </p:sp>
      <p:sp>
        <p:nvSpPr>
          <p:cNvPr id="1028" name="Title Placeholder 21"/>
          <p:cNvSpPr>
            <a:spLocks noGrp="1"/>
          </p:cNvSpPr>
          <p:nvPr>
            <p:ph type="title"/>
          </p:nvPr>
        </p:nvSpPr>
        <p:spPr bwMode="auto">
          <a:xfrm>
            <a:off x="914400" y="274638"/>
            <a:ext cx="7772400" cy="1143000"/>
          </a:xfrm>
          <a:prstGeom prst="rect">
            <a:avLst/>
          </a:prstGeom>
          <a:noFill/>
          <a:ln w="9525">
            <a:noFill/>
            <a:miter lim="800000"/>
            <a:headEnd/>
            <a:tailEnd/>
          </a:ln>
        </p:spPr>
        <p:txBody>
          <a:bodyPr vert="horz" wrap="square" lIns="91440" tIns="45720" rIns="91440" bIns="91440" numCol="1" anchor="b" anchorCtr="0" compatLnSpc="1">
            <a:prstTxWarp prst="textNoShape">
              <a:avLst/>
            </a:prstTxWarp>
          </a:bodyPr>
          <a:lstStyle/>
          <a:p>
            <a:pPr lvl="0"/>
            <a:r>
              <a:rPr lang="en-US" smtClean="0"/>
              <a:t>Click to edit Master title style</a:t>
            </a:r>
          </a:p>
        </p:txBody>
      </p:sp>
      <p:sp>
        <p:nvSpPr>
          <p:cNvPr id="1029" name="Text Placeholder 12"/>
          <p:cNvSpPr>
            <a:spLocks noGrp="1"/>
          </p:cNvSpPr>
          <p:nvPr>
            <p:ph type="body" idx="1"/>
          </p:nvPr>
        </p:nvSpPr>
        <p:spPr bwMode="auto">
          <a:xfrm>
            <a:off x="914400" y="1447800"/>
            <a:ext cx="7772400" cy="4572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4" name="Date Placeholder 13"/>
          <p:cNvSpPr>
            <a:spLocks noGrp="1"/>
          </p:cNvSpPr>
          <p:nvPr>
            <p:ph type="dt" sz="half" idx="2"/>
          </p:nvPr>
        </p:nvSpPr>
        <p:spPr>
          <a:xfrm>
            <a:off x="6172200" y="6191250"/>
            <a:ext cx="2476500" cy="476250"/>
          </a:xfrm>
          <a:prstGeom prst="rect">
            <a:avLst/>
          </a:prstGeom>
        </p:spPr>
        <p:txBody>
          <a:bodyPr anchor="ctr" anchorCtr="0"/>
          <a:lstStyle>
            <a:lvl1pPr algn="r" rtl="1" eaLnBrk="1" fontAlgn="auto" latinLnBrk="0" hangingPunct="1">
              <a:spcBef>
                <a:spcPts val="0"/>
              </a:spcBef>
              <a:spcAft>
                <a:spcPts val="0"/>
              </a:spcAft>
              <a:defRPr kumimoji="0" sz="1400">
                <a:solidFill>
                  <a:schemeClr val="tx2"/>
                </a:solidFill>
                <a:latin typeface="+mn-lt"/>
                <a:cs typeface="+mn-cs"/>
              </a:defRPr>
            </a:lvl1pPr>
          </a:lstStyle>
          <a:p>
            <a:pPr>
              <a:defRPr/>
            </a:pPr>
            <a:fld id="{EFFA478B-5B85-4A67-93A1-56907D9956C3}" type="datetimeFigureOut">
              <a:rPr lang="ar-EG"/>
              <a:pPr>
                <a:defRPr/>
              </a:pPr>
              <a:t>26/06/1434</a:t>
            </a:fld>
            <a:endParaRPr lang="ar-EG"/>
          </a:p>
        </p:txBody>
      </p:sp>
      <p:sp>
        <p:nvSpPr>
          <p:cNvPr id="3" name="Footer Placeholder 2"/>
          <p:cNvSpPr>
            <a:spLocks noGrp="1"/>
          </p:cNvSpPr>
          <p:nvPr>
            <p:ph type="ftr" sz="quarter" idx="3"/>
          </p:nvPr>
        </p:nvSpPr>
        <p:spPr>
          <a:xfrm>
            <a:off x="914400" y="6172200"/>
            <a:ext cx="3962400" cy="457200"/>
          </a:xfrm>
          <a:prstGeom prst="rect">
            <a:avLst/>
          </a:prstGeom>
        </p:spPr>
        <p:txBody>
          <a:bodyPr anchor="ctr" anchorCtr="0"/>
          <a:lstStyle>
            <a:lvl1pPr algn="r" rtl="1" eaLnBrk="1" fontAlgn="auto" latinLnBrk="0" hangingPunct="1">
              <a:spcBef>
                <a:spcPts val="0"/>
              </a:spcBef>
              <a:spcAft>
                <a:spcPts val="0"/>
              </a:spcAft>
              <a:defRPr kumimoji="0" sz="1400">
                <a:solidFill>
                  <a:schemeClr val="tx2"/>
                </a:solidFill>
                <a:latin typeface="+mn-lt"/>
                <a:cs typeface="+mn-cs"/>
              </a:defRPr>
            </a:lvl1pPr>
          </a:lstStyle>
          <a:p>
            <a:pPr>
              <a:defRPr/>
            </a:pPr>
            <a:endParaRPr lang="ar-EG"/>
          </a:p>
        </p:txBody>
      </p:sp>
      <p:sp>
        <p:nvSpPr>
          <p:cNvPr id="23" name="Slide Number Placeholder 22"/>
          <p:cNvSpPr>
            <a:spLocks noGrp="1"/>
          </p:cNvSpPr>
          <p:nvPr>
            <p:ph type="sldNum" sz="quarter" idx="4"/>
          </p:nvPr>
        </p:nvSpPr>
        <p:spPr>
          <a:xfrm>
            <a:off x="146050" y="6210300"/>
            <a:ext cx="457200" cy="457200"/>
          </a:xfrm>
          <a:prstGeom prst="ellipse">
            <a:avLst/>
          </a:prstGeom>
          <a:solidFill>
            <a:schemeClr val="accent1"/>
          </a:solidFill>
        </p:spPr>
        <p:txBody>
          <a:bodyPr wrap="none" lIns="0" tIns="0" rIns="0" bIns="0" anchor="ctr" anchorCtr="1">
            <a:noAutofit/>
          </a:bodyPr>
          <a:lstStyle>
            <a:lvl1pPr algn="ctr" rtl="1" eaLnBrk="1" fontAlgn="auto" latinLnBrk="0" hangingPunct="1">
              <a:spcBef>
                <a:spcPts val="0"/>
              </a:spcBef>
              <a:spcAft>
                <a:spcPts val="0"/>
              </a:spcAft>
              <a:defRPr kumimoji="0" sz="1400">
                <a:solidFill>
                  <a:srgbClr val="FFFFFF"/>
                </a:solidFill>
                <a:latin typeface="+mj-lt"/>
                <a:ea typeface="+mj-ea"/>
                <a:cs typeface="+mj-cs"/>
              </a:defRPr>
            </a:lvl1pPr>
          </a:lstStyle>
          <a:p>
            <a:pPr>
              <a:defRPr/>
            </a:pPr>
            <a:fld id="{ACD9827E-5478-4E78-AF84-4B35E68CD112}" type="slidenum">
              <a:rPr lang="ar-EG"/>
              <a:pPr>
                <a:defRPr/>
              </a:pPr>
              <a:t>‹#›</a:t>
            </a:fld>
            <a:endParaRPr lang="ar-EG"/>
          </a:p>
        </p:txBody>
      </p:sp>
    </p:spTree>
  </p:cSld>
  <p:clrMap bg1="lt1" tx1="dk1" bg2="lt2" tx2="dk2" accent1="accent1" accent2="accent2" accent3="accent3" accent4="accent4" accent5="accent5" accent6="accent6" hlink="hlink" folHlink="folHlink"/>
  <p:sldLayoutIdLst>
    <p:sldLayoutId id="2147483854" r:id="rId1"/>
    <p:sldLayoutId id="2147483847" r:id="rId2"/>
    <p:sldLayoutId id="2147483855" r:id="rId3"/>
    <p:sldLayoutId id="2147483848" r:id="rId4"/>
    <p:sldLayoutId id="2147483849" r:id="rId5"/>
    <p:sldLayoutId id="2147483850" r:id="rId6"/>
    <p:sldLayoutId id="2147483851" r:id="rId7"/>
    <p:sldLayoutId id="2147483856" r:id="rId8"/>
    <p:sldLayoutId id="2147483857" r:id="rId9"/>
    <p:sldLayoutId id="2147483852" r:id="rId10"/>
    <p:sldLayoutId id="2147483853" r:id="rId11"/>
  </p:sldLayoutIdLst>
  <p:txStyles>
    <p:titleStyle>
      <a:lvl1pPr algn="l" rtl="1" eaLnBrk="0" fontAlgn="base" hangingPunct="0">
        <a:spcBef>
          <a:spcPct val="0"/>
        </a:spcBef>
        <a:spcAft>
          <a:spcPct val="0"/>
        </a:spcAft>
        <a:defRPr sz="4000" kern="1200">
          <a:solidFill>
            <a:schemeClr val="tx2"/>
          </a:solidFill>
          <a:latin typeface="+mj-lt"/>
          <a:ea typeface="+mj-ea"/>
          <a:cs typeface="+mj-cs"/>
        </a:defRPr>
      </a:lvl1pPr>
      <a:lvl2pPr algn="l" rtl="1" eaLnBrk="0" fontAlgn="base" hangingPunct="0">
        <a:spcBef>
          <a:spcPct val="0"/>
        </a:spcBef>
        <a:spcAft>
          <a:spcPct val="0"/>
        </a:spcAft>
        <a:defRPr sz="4000">
          <a:solidFill>
            <a:schemeClr val="tx2"/>
          </a:solidFill>
          <a:latin typeface="Franklin Gothic Book" pitchFamily="34" charset="0"/>
          <a:cs typeface="Tahoma" pitchFamily="34" charset="0"/>
        </a:defRPr>
      </a:lvl2pPr>
      <a:lvl3pPr algn="l" rtl="1" eaLnBrk="0" fontAlgn="base" hangingPunct="0">
        <a:spcBef>
          <a:spcPct val="0"/>
        </a:spcBef>
        <a:spcAft>
          <a:spcPct val="0"/>
        </a:spcAft>
        <a:defRPr sz="4000">
          <a:solidFill>
            <a:schemeClr val="tx2"/>
          </a:solidFill>
          <a:latin typeface="Franklin Gothic Book" pitchFamily="34" charset="0"/>
          <a:cs typeface="Tahoma" pitchFamily="34" charset="0"/>
        </a:defRPr>
      </a:lvl3pPr>
      <a:lvl4pPr algn="l" rtl="1" eaLnBrk="0" fontAlgn="base" hangingPunct="0">
        <a:spcBef>
          <a:spcPct val="0"/>
        </a:spcBef>
        <a:spcAft>
          <a:spcPct val="0"/>
        </a:spcAft>
        <a:defRPr sz="4000">
          <a:solidFill>
            <a:schemeClr val="tx2"/>
          </a:solidFill>
          <a:latin typeface="Franklin Gothic Book" pitchFamily="34" charset="0"/>
          <a:cs typeface="Tahoma" pitchFamily="34" charset="0"/>
        </a:defRPr>
      </a:lvl4pPr>
      <a:lvl5pPr algn="l" rtl="1" eaLnBrk="0" fontAlgn="base" hangingPunct="0">
        <a:spcBef>
          <a:spcPct val="0"/>
        </a:spcBef>
        <a:spcAft>
          <a:spcPct val="0"/>
        </a:spcAft>
        <a:defRPr sz="4000">
          <a:solidFill>
            <a:schemeClr val="tx2"/>
          </a:solidFill>
          <a:latin typeface="Franklin Gothic Book" pitchFamily="34" charset="0"/>
          <a:cs typeface="Tahoma" pitchFamily="34" charset="0"/>
        </a:defRPr>
      </a:lvl5pPr>
      <a:lvl6pPr marL="457200" algn="l" rtl="1" fontAlgn="base">
        <a:spcBef>
          <a:spcPct val="0"/>
        </a:spcBef>
        <a:spcAft>
          <a:spcPct val="0"/>
        </a:spcAft>
        <a:defRPr sz="4000">
          <a:solidFill>
            <a:schemeClr val="tx2"/>
          </a:solidFill>
          <a:latin typeface="Franklin Gothic Book" pitchFamily="34" charset="0"/>
          <a:cs typeface="Tahoma" pitchFamily="34" charset="0"/>
        </a:defRPr>
      </a:lvl6pPr>
      <a:lvl7pPr marL="914400" algn="l" rtl="1" fontAlgn="base">
        <a:spcBef>
          <a:spcPct val="0"/>
        </a:spcBef>
        <a:spcAft>
          <a:spcPct val="0"/>
        </a:spcAft>
        <a:defRPr sz="4000">
          <a:solidFill>
            <a:schemeClr val="tx2"/>
          </a:solidFill>
          <a:latin typeface="Franklin Gothic Book" pitchFamily="34" charset="0"/>
          <a:cs typeface="Tahoma" pitchFamily="34" charset="0"/>
        </a:defRPr>
      </a:lvl7pPr>
      <a:lvl8pPr marL="1371600" algn="l" rtl="1" fontAlgn="base">
        <a:spcBef>
          <a:spcPct val="0"/>
        </a:spcBef>
        <a:spcAft>
          <a:spcPct val="0"/>
        </a:spcAft>
        <a:defRPr sz="4000">
          <a:solidFill>
            <a:schemeClr val="tx2"/>
          </a:solidFill>
          <a:latin typeface="Franklin Gothic Book" pitchFamily="34" charset="0"/>
          <a:cs typeface="Tahoma" pitchFamily="34" charset="0"/>
        </a:defRPr>
      </a:lvl8pPr>
      <a:lvl9pPr marL="1828800" algn="l" rtl="1" fontAlgn="base">
        <a:spcBef>
          <a:spcPct val="0"/>
        </a:spcBef>
        <a:spcAft>
          <a:spcPct val="0"/>
        </a:spcAft>
        <a:defRPr sz="4000">
          <a:solidFill>
            <a:schemeClr val="tx2"/>
          </a:solidFill>
          <a:latin typeface="Franklin Gothic Book" pitchFamily="34" charset="0"/>
          <a:cs typeface="Tahoma" pitchFamily="34" charset="0"/>
        </a:defRPr>
      </a:lvl9pPr>
    </p:titleStyle>
    <p:bodyStyle>
      <a:lvl1pPr marL="273050" indent="-273050" algn="r" rtl="1" eaLnBrk="0" fontAlgn="base" hangingPunct="0">
        <a:spcBef>
          <a:spcPts val="575"/>
        </a:spcBef>
        <a:spcAft>
          <a:spcPct val="0"/>
        </a:spcAft>
        <a:buClr>
          <a:schemeClr val="accent1"/>
        </a:buClr>
        <a:buSzPct val="85000"/>
        <a:buFont typeface="Wingdings 2" pitchFamily="18" charset="2"/>
        <a:buChar char=""/>
        <a:defRPr sz="2600" kern="1200">
          <a:solidFill>
            <a:schemeClr val="tx1"/>
          </a:solidFill>
          <a:latin typeface="+mn-lt"/>
          <a:ea typeface="+mn-ea"/>
          <a:cs typeface="+mn-cs"/>
        </a:defRPr>
      </a:lvl1pPr>
      <a:lvl2pPr marL="547688" indent="-228600" algn="r" rtl="1" eaLnBrk="0" fontAlgn="base" hangingPunct="0">
        <a:spcBef>
          <a:spcPts val="375"/>
        </a:spcBef>
        <a:spcAft>
          <a:spcPct val="0"/>
        </a:spcAft>
        <a:buClr>
          <a:schemeClr val="accent2"/>
        </a:buClr>
        <a:buSzPct val="85000"/>
        <a:buFont typeface="Wingdings 2" pitchFamily="18" charset="2"/>
        <a:buChar char=""/>
        <a:defRPr sz="2400" kern="1200">
          <a:solidFill>
            <a:schemeClr val="tx1"/>
          </a:solidFill>
          <a:latin typeface="+mn-lt"/>
          <a:ea typeface="+mn-ea"/>
          <a:cs typeface="+mn-cs"/>
        </a:defRPr>
      </a:lvl2pPr>
      <a:lvl3pPr marL="822325" indent="-228600" algn="r" rtl="1" eaLnBrk="0" fontAlgn="base" hangingPunct="0">
        <a:spcBef>
          <a:spcPts val="375"/>
        </a:spcBef>
        <a:spcAft>
          <a:spcPct val="0"/>
        </a:spcAft>
        <a:buClr>
          <a:srgbClr val="E6B1AB"/>
        </a:buClr>
        <a:buSzPct val="85000"/>
        <a:buFont typeface="Wingdings 2" pitchFamily="18" charset="2"/>
        <a:buChar char=""/>
        <a:defRPr sz="2000" kern="1200">
          <a:solidFill>
            <a:schemeClr val="tx1"/>
          </a:solidFill>
          <a:latin typeface="+mn-lt"/>
          <a:ea typeface="+mn-ea"/>
          <a:cs typeface="+mn-cs"/>
        </a:defRPr>
      </a:lvl3pPr>
      <a:lvl4pPr marL="1096963" indent="-228600" algn="r" rtl="1" eaLnBrk="0" fontAlgn="base" hangingPunct="0">
        <a:spcBef>
          <a:spcPts val="375"/>
        </a:spcBef>
        <a:spcAft>
          <a:spcPct val="0"/>
        </a:spcAft>
        <a:buClr>
          <a:srgbClr val="A28E6A"/>
        </a:buClr>
        <a:buSzPct val="80000"/>
        <a:buFont typeface="Wingdings 2" pitchFamily="18" charset="2"/>
        <a:buChar char=""/>
        <a:defRPr sz="2000" kern="1200">
          <a:solidFill>
            <a:schemeClr val="tx1"/>
          </a:solidFill>
          <a:latin typeface="+mn-lt"/>
          <a:ea typeface="+mn-ea"/>
          <a:cs typeface="+mn-cs"/>
        </a:defRPr>
      </a:lvl4pPr>
      <a:lvl5pPr marL="1371600" indent="-228600" algn="r" rtl="1" eaLnBrk="0" fontAlgn="base" hangingPunct="0">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r" rtl="1"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r" rtl="1"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r" rtl="1"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r" rtl="1"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r" rtl="1" eaLnBrk="1" latinLnBrk="0" hangingPunct="1">
        <a:defRPr kumimoji="0" kern="1200">
          <a:solidFill>
            <a:schemeClr val="tx1"/>
          </a:solidFill>
          <a:latin typeface="+mn-lt"/>
          <a:ea typeface="+mn-ea"/>
          <a:cs typeface="+mn-cs"/>
        </a:defRPr>
      </a:lvl1pPr>
      <a:lvl2pPr marL="457200" algn="r" rtl="1" eaLnBrk="1" latinLnBrk="0" hangingPunct="1">
        <a:defRPr kumimoji="0" kern="1200">
          <a:solidFill>
            <a:schemeClr val="tx1"/>
          </a:solidFill>
          <a:latin typeface="+mn-lt"/>
          <a:ea typeface="+mn-ea"/>
          <a:cs typeface="+mn-cs"/>
        </a:defRPr>
      </a:lvl2pPr>
      <a:lvl3pPr marL="914400" algn="r" rtl="1" eaLnBrk="1" latinLnBrk="0" hangingPunct="1">
        <a:defRPr kumimoji="0" kern="1200">
          <a:solidFill>
            <a:schemeClr val="tx1"/>
          </a:solidFill>
          <a:latin typeface="+mn-lt"/>
          <a:ea typeface="+mn-ea"/>
          <a:cs typeface="+mn-cs"/>
        </a:defRPr>
      </a:lvl3pPr>
      <a:lvl4pPr marL="1371600" algn="r" rtl="1" eaLnBrk="1" latinLnBrk="0" hangingPunct="1">
        <a:defRPr kumimoji="0" kern="1200">
          <a:solidFill>
            <a:schemeClr val="tx1"/>
          </a:solidFill>
          <a:latin typeface="+mn-lt"/>
          <a:ea typeface="+mn-ea"/>
          <a:cs typeface="+mn-cs"/>
        </a:defRPr>
      </a:lvl4pPr>
      <a:lvl5pPr marL="1828800" algn="r" rtl="1" eaLnBrk="1" latinLnBrk="0" hangingPunct="1">
        <a:defRPr kumimoji="0" kern="1200">
          <a:solidFill>
            <a:schemeClr val="tx1"/>
          </a:solidFill>
          <a:latin typeface="+mn-lt"/>
          <a:ea typeface="+mn-ea"/>
          <a:cs typeface="+mn-cs"/>
        </a:defRPr>
      </a:lvl5pPr>
      <a:lvl6pPr marL="2286000" algn="r" rtl="1" eaLnBrk="1" latinLnBrk="0" hangingPunct="1">
        <a:defRPr kumimoji="0" kern="1200">
          <a:solidFill>
            <a:schemeClr val="tx1"/>
          </a:solidFill>
          <a:latin typeface="+mn-lt"/>
          <a:ea typeface="+mn-ea"/>
          <a:cs typeface="+mn-cs"/>
        </a:defRPr>
      </a:lvl6pPr>
      <a:lvl7pPr marL="2743200" algn="r" rtl="1" eaLnBrk="1" latinLnBrk="0" hangingPunct="1">
        <a:defRPr kumimoji="0" kern="1200">
          <a:solidFill>
            <a:schemeClr val="tx1"/>
          </a:solidFill>
          <a:latin typeface="+mn-lt"/>
          <a:ea typeface="+mn-ea"/>
          <a:cs typeface="+mn-cs"/>
        </a:defRPr>
      </a:lvl7pPr>
      <a:lvl8pPr marL="3200400" algn="r" rtl="1" eaLnBrk="1" latinLnBrk="0" hangingPunct="1">
        <a:defRPr kumimoji="0" kern="1200">
          <a:solidFill>
            <a:schemeClr val="tx1"/>
          </a:solidFill>
          <a:latin typeface="+mn-lt"/>
          <a:ea typeface="+mn-ea"/>
          <a:cs typeface="+mn-cs"/>
        </a:defRPr>
      </a:lvl8pPr>
      <a:lvl9pPr marL="3657600" algn="r" rtl="1" eaLnBrk="1" latinLnBrk="0" hangingPunct="1">
        <a:defRPr kumimoji="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3" descr="1"/>
          <p:cNvPicPr>
            <a:picLocks noChangeAspect="1" noChangeArrowheads="1"/>
          </p:cNvPicPr>
          <p:nvPr userDrawn="1"/>
        </p:nvPicPr>
        <p:blipFill>
          <a:blip r:embed="rId3" cstate="print"/>
          <a:srcRect/>
          <a:stretch>
            <a:fillRect/>
          </a:stretch>
        </p:blipFill>
        <p:spPr bwMode="auto">
          <a:xfrm>
            <a:off x="0" y="11"/>
            <a:ext cx="9144000" cy="6858000"/>
          </a:xfrm>
          <a:prstGeom prst="rect">
            <a:avLst/>
          </a:prstGeom>
          <a:noFill/>
          <a:ln w="9525">
            <a:noFill/>
            <a:miter lim="800000"/>
            <a:headEnd/>
            <a:tailEnd/>
          </a:ln>
        </p:spPr>
      </p:pic>
      <p:sp>
        <p:nvSpPr>
          <p:cNvPr id="1038" name="Rectangle 14"/>
          <p:cNvSpPr>
            <a:spLocks noGrp="1" noChangeArrowheads="1"/>
          </p:cNvSpPr>
          <p:nvPr>
            <p:ph type="sldNum" sz="quarter" idx="4"/>
          </p:nvPr>
        </p:nvSpPr>
        <p:spPr bwMode="auto">
          <a:xfrm>
            <a:off x="6975476" y="6586539"/>
            <a:ext cx="2133600" cy="476250"/>
          </a:xfrm>
          <a:prstGeom prst="rect">
            <a:avLst/>
          </a:prstGeom>
          <a:noFill/>
          <a:ln w="9525">
            <a:noFill/>
            <a:miter lim="800000"/>
            <a:headEnd/>
            <a:tailEnd/>
          </a:ln>
          <a:effectLst/>
        </p:spPr>
        <p:txBody>
          <a:bodyPr vert="horz" wrap="square" lIns="91320" tIns="45661" rIns="91320" bIns="45661" numCol="1" anchor="t" anchorCtr="0" compatLnSpc="1">
            <a:prstTxWarp prst="textNoShape">
              <a:avLst/>
            </a:prstTxWarp>
          </a:bodyPr>
          <a:lstStyle>
            <a:lvl1pPr algn="r">
              <a:defRPr sz="1400" b="1">
                <a:solidFill>
                  <a:schemeClr val="bg1"/>
                </a:solidFill>
                <a:latin typeface="Arial" pitchFamily="34" charset="0"/>
                <a:ea typeface="굴림" pitchFamily="34" charset="-127"/>
              </a:defRPr>
            </a:lvl1pPr>
          </a:lstStyle>
          <a:p>
            <a:pPr fontAlgn="auto">
              <a:spcBef>
                <a:spcPts val="0"/>
              </a:spcBef>
              <a:spcAft>
                <a:spcPts val="0"/>
              </a:spcAft>
              <a:defRPr/>
            </a:pPr>
            <a:fld id="{B079E691-CE8C-4C69-801F-F615CE1A9DBD}" type="slidenum">
              <a:rPr lang="en-US" altLang="ko-KR">
                <a:solidFill>
                  <a:srgbClr val="FFFFFF"/>
                </a:solidFill>
              </a:rPr>
              <a:pPr fontAlgn="auto">
                <a:spcBef>
                  <a:spcPts val="0"/>
                </a:spcBef>
                <a:spcAft>
                  <a:spcPts val="0"/>
                </a:spcAft>
                <a:defRPr/>
              </a:pPr>
              <a:t>‹#›</a:t>
            </a:fld>
            <a:endParaRPr lang="en-US" altLang="ko-KR">
              <a:solidFill>
                <a:srgbClr val="FFFFFF"/>
              </a:solidFill>
            </a:endParaRPr>
          </a:p>
        </p:txBody>
      </p:sp>
      <p:pic>
        <p:nvPicPr>
          <p:cNvPr id="1028" name="Picture 2" descr="eg-flag1 moving"/>
          <p:cNvPicPr>
            <a:picLocks noChangeAspect="1" noChangeArrowheads="1" noCrop="1"/>
          </p:cNvPicPr>
          <p:nvPr userDrawn="1"/>
        </p:nvPicPr>
        <p:blipFill>
          <a:blip r:embed="rId4" cstate="print"/>
          <a:srcRect/>
          <a:stretch>
            <a:fillRect/>
          </a:stretch>
        </p:blipFill>
        <p:spPr bwMode="auto">
          <a:xfrm>
            <a:off x="179401" y="115899"/>
            <a:ext cx="1152525" cy="666750"/>
          </a:xfrm>
          <a:prstGeom prst="rect">
            <a:avLst/>
          </a:prstGeom>
          <a:noFill/>
          <a:ln w="9525">
            <a:noFill/>
            <a:miter lim="800000"/>
            <a:headEnd/>
            <a:tailEnd/>
          </a:ln>
        </p:spPr>
      </p:pic>
      <p:pic>
        <p:nvPicPr>
          <p:cNvPr id="30722" name="Picture 2" descr="C:\Users\admin\Desktop\asrt logo copy.gif"/>
          <p:cNvPicPr>
            <a:picLocks noChangeAspect="1" noChangeArrowheads="1"/>
          </p:cNvPicPr>
          <p:nvPr userDrawn="1"/>
        </p:nvPicPr>
        <p:blipFill>
          <a:blip r:embed="rId5" cstate="print"/>
          <a:srcRect/>
          <a:stretch>
            <a:fillRect/>
          </a:stretch>
        </p:blipFill>
        <p:spPr bwMode="auto">
          <a:xfrm>
            <a:off x="7467600" y="-152400"/>
            <a:ext cx="1676400" cy="1626555"/>
          </a:xfrm>
          <a:prstGeom prst="rect">
            <a:avLst/>
          </a:prstGeom>
          <a:noFill/>
          <a:effectLst>
            <a:glow rad="139700">
              <a:schemeClr val="accent1">
                <a:satMod val="175000"/>
                <a:alpha val="40000"/>
              </a:schemeClr>
            </a:glow>
            <a:outerShdw blurRad="850900" dir="5100000" algn="ctr" rotWithShape="0">
              <a:schemeClr val="bg1"/>
            </a:outerShdw>
          </a:effectLst>
        </p:spPr>
      </p:pic>
    </p:spTree>
    <p:extLst>
      <p:ext uri="{BB962C8B-B14F-4D97-AF65-F5344CB8AC3E}">
        <p14:creationId xmlns:p14="http://schemas.microsoft.com/office/powerpoint/2010/main" val="1136428831"/>
      </p:ext>
    </p:extLst>
  </p:cSld>
  <p:clrMap bg1="lt1" tx1="dk1" bg2="lt2" tx2="dk2" accent1="accent1" accent2="accent2" accent3="accent3" accent4="accent4" accent5="accent5" accent6="accent6" hlink="hlink" folHlink="folHlink"/>
  <p:sldLayoutIdLst>
    <p:sldLayoutId id="2147483908" r:id="rId1"/>
  </p:sldLayoutIdLst>
  <p:transition>
    <p:zoom/>
  </p:transition>
  <p:timing>
    <p:tnLst>
      <p:par>
        <p:cTn id="1" dur="indefinite" restart="never" nodeType="tmRoot"/>
      </p:par>
    </p:tnLst>
  </p:timing>
  <p:hf hdr="0" ftr="0" dt="0"/>
  <p:txStyles>
    <p:titleStyle>
      <a:lvl1pPr algn="l" rtl="0" eaLnBrk="0" fontAlgn="base" latinLnBrk="1" hangingPunct="0">
        <a:spcBef>
          <a:spcPct val="0"/>
        </a:spcBef>
        <a:spcAft>
          <a:spcPct val="0"/>
        </a:spcAft>
        <a:defRPr kumimoji="1" sz="3200">
          <a:solidFill>
            <a:srgbClr val="FFFF00"/>
          </a:solidFill>
          <a:latin typeface="+mj-lt"/>
          <a:ea typeface="+mj-ea"/>
          <a:cs typeface="HY헤드라인M" charset="0"/>
        </a:defRPr>
      </a:lvl1pPr>
      <a:lvl2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2pPr>
      <a:lvl3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3pPr>
      <a:lvl4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4pPr>
      <a:lvl5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5pPr>
      <a:lvl6pPr marL="456601"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6pPr>
      <a:lvl7pPr marL="913193"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7pPr>
      <a:lvl8pPr marL="136979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8pPr>
      <a:lvl9pPr marL="1826387"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9pPr>
    </p:titleStyle>
    <p:bodyStyle>
      <a:lvl1pPr marL="342447" indent="-342447" algn="l" rtl="0" eaLnBrk="0" fontAlgn="base" latinLnBrk="1" hangingPunct="0">
        <a:spcBef>
          <a:spcPct val="20000"/>
        </a:spcBef>
        <a:spcAft>
          <a:spcPct val="0"/>
        </a:spcAft>
        <a:buChar char="•"/>
        <a:defRPr kumimoji="1" sz="3200">
          <a:solidFill>
            <a:schemeClr val="tx1"/>
          </a:solidFill>
          <a:latin typeface="Gulim" pitchFamily="34" charset="-127"/>
          <a:ea typeface="Gulim" pitchFamily="34" charset="-127"/>
          <a:cs typeface="굴림" charset="0"/>
        </a:defRPr>
      </a:lvl1pPr>
      <a:lvl2pPr marL="741970" indent="-285374" algn="l" rtl="0" eaLnBrk="0" fontAlgn="base" latinLnBrk="1" hangingPunct="0">
        <a:spcBef>
          <a:spcPct val="20000"/>
        </a:spcBef>
        <a:spcAft>
          <a:spcPct val="0"/>
        </a:spcAft>
        <a:buChar char="–"/>
        <a:defRPr kumimoji="1" sz="2800">
          <a:solidFill>
            <a:schemeClr val="tx1"/>
          </a:solidFill>
          <a:latin typeface="Gulim" pitchFamily="34" charset="-127"/>
          <a:ea typeface="Gulim" pitchFamily="34" charset="-127"/>
          <a:cs typeface="굴림" charset="0"/>
        </a:defRPr>
      </a:lvl2pPr>
      <a:lvl3pPr marL="1141491" indent="-228295" algn="l" rtl="0" eaLnBrk="0" fontAlgn="base" latinLnBrk="1" hangingPunct="0">
        <a:spcBef>
          <a:spcPct val="20000"/>
        </a:spcBef>
        <a:spcAft>
          <a:spcPct val="0"/>
        </a:spcAft>
        <a:buChar char="•"/>
        <a:defRPr kumimoji="1" sz="2400">
          <a:solidFill>
            <a:schemeClr val="tx1"/>
          </a:solidFill>
          <a:latin typeface="Gulim" pitchFamily="34" charset="-127"/>
          <a:ea typeface="Gulim" pitchFamily="34" charset="-127"/>
          <a:cs typeface="굴림" charset="0"/>
        </a:defRPr>
      </a:lvl3pPr>
      <a:lvl4pPr marL="1598088"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4pPr>
      <a:lvl5pPr marL="2054686"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5pPr>
      <a:lvl6pPr marL="2511281" indent="-228295" algn="l" rtl="0" fontAlgn="base" latinLnBrk="1">
        <a:spcBef>
          <a:spcPct val="20000"/>
        </a:spcBef>
        <a:spcAft>
          <a:spcPct val="0"/>
        </a:spcAft>
        <a:buChar char="»"/>
        <a:defRPr kumimoji="1" sz="2000">
          <a:solidFill>
            <a:schemeClr val="tx1"/>
          </a:solidFill>
          <a:latin typeface="+mn-lt"/>
          <a:ea typeface="+mn-ea"/>
        </a:defRPr>
      </a:lvl6pPr>
      <a:lvl7pPr marL="2967877" indent="-228295" algn="l" rtl="0" fontAlgn="base" latinLnBrk="1">
        <a:spcBef>
          <a:spcPct val="20000"/>
        </a:spcBef>
        <a:spcAft>
          <a:spcPct val="0"/>
        </a:spcAft>
        <a:buChar char="»"/>
        <a:defRPr kumimoji="1" sz="2000">
          <a:solidFill>
            <a:schemeClr val="tx1"/>
          </a:solidFill>
          <a:latin typeface="+mn-lt"/>
          <a:ea typeface="+mn-ea"/>
        </a:defRPr>
      </a:lvl7pPr>
      <a:lvl8pPr marL="3424474" indent="-228295" algn="l" rtl="0" fontAlgn="base" latinLnBrk="1">
        <a:spcBef>
          <a:spcPct val="20000"/>
        </a:spcBef>
        <a:spcAft>
          <a:spcPct val="0"/>
        </a:spcAft>
        <a:buChar char="»"/>
        <a:defRPr kumimoji="1" sz="2000">
          <a:solidFill>
            <a:schemeClr val="tx1"/>
          </a:solidFill>
          <a:latin typeface="+mn-lt"/>
          <a:ea typeface="+mn-ea"/>
        </a:defRPr>
      </a:lvl8pPr>
      <a:lvl9pPr marL="3881068" indent="-228295"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3193" rtl="0" eaLnBrk="1" latinLnBrk="1" hangingPunct="1">
        <a:defRPr sz="1800" kern="1200">
          <a:solidFill>
            <a:schemeClr val="tx1"/>
          </a:solidFill>
          <a:latin typeface="+mn-lt"/>
          <a:ea typeface="+mn-ea"/>
          <a:cs typeface="+mn-cs"/>
        </a:defRPr>
      </a:lvl1pPr>
      <a:lvl2pPr marL="456601" algn="l" defTabSz="913193" rtl="0" eaLnBrk="1" latinLnBrk="1" hangingPunct="1">
        <a:defRPr sz="1800" kern="1200">
          <a:solidFill>
            <a:schemeClr val="tx1"/>
          </a:solidFill>
          <a:latin typeface="+mn-lt"/>
          <a:ea typeface="+mn-ea"/>
          <a:cs typeface="+mn-cs"/>
        </a:defRPr>
      </a:lvl2pPr>
      <a:lvl3pPr marL="913193" algn="l" defTabSz="913193" rtl="0" eaLnBrk="1" latinLnBrk="1" hangingPunct="1">
        <a:defRPr sz="1800" kern="1200">
          <a:solidFill>
            <a:schemeClr val="tx1"/>
          </a:solidFill>
          <a:latin typeface="+mn-lt"/>
          <a:ea typeface="+mn-ea"/>
          <a:cs typeface="+mn-cs"/>
        </a:defRPr>
      </a:lvl3pPr>
      <a:lvl4pPr marL="1369790" algn="l" defTabSz="913193" rtl="0" eaLnBrk="1" latinLnBrk="1" hangingPunct="1">
        <a:defRPr sz="1800" kern="1200">
          <a:solidFill>
            <a:schemeClr val="tx1"/>
          </a:solidFill>
          <a:latin typeface="+mn-lt"/>
          <a:ea typeface="+mn-ea"/>
          <a:cs typeface="+mn-cs"/>
        </a:defRPr>
      </a:lvl4pPr>
      <a:lvl5pPr marL="1826387" algn="l" defTabSz="913193" rtl="0" eaLnBrk="1" latinLnBrk="1" hangingPunct="1">
        <a:defRPr sz="1800" kern="1200">
          <a:solidFill>
            <a:schemeClr val="tx1"/>
          </a:solidFill>
          <a:latin typeface="+mn-lt"/>
          <a:ea typeface="+mn-ea"/>
          <a:cs typeface="+mn-cs"/>
        </a:defRPr>
      </a:lvl5pPr>
      <a:lvl6pPr marL="2282983" algn="l" defTabSz="913193" rtl="0" eaLnBrk="1" latinLnBrk="1" hangingPunct="1">
        <a:defRPr sz="1800" kern="1200">
          <a:solidFill>
            <a:schemeClr val="tx1"/>
          </a:solidFill>
          <a:latin typeface="+mn-lt"/>
          <a:ea typeface="+mn-ea"/>
          <a:cs typeface="+mn-cs"/>
        </a:defRPr>
      </a:lvl6pPr>
      <a:lvl7pPr marL="2739579" algn="l" defTabSz="913193" rtl="0" eaLnBrk="1" latinLnBrk="1" hangingPunct="1">
        <a:defRPr sz="1800" kern="1200">
          <a:solidFill>
            <a:schemeClr val="tx1"/>
          </a:solidFill>
          <a:latin typeface="+mn-lt"/>
          <a:ea typeface="+mn-ea"/>
          <a:cs typeface="+mn-cs"/>
        </a:defRPr>
      </a:lvl7pPr>
      <a:lvl8pPr marL="3196176" algn="l" defTabSz="913193" rtl="0" eaLnBrk="1" latinLnBrk="1" hangingPunct="1">
        <a:defRPr sz="1800" kern="1200">
          <a:solidFill>
            <a:schemeClr val="tx1"/>
          </a:solidFill>
          <a:latin typeface="+mn-lt"/>
          <a:ea typeface="+mn-ea"/>
          <a:cs typeface="+mn-cs"/>
        </a:defRPr>
      </a:lvl8pPr>
      <a:lvl9pPr marL="3652772" algn="l" defTabSz="913193" rtl="0" eaLnBrk="1" latinLnBrk="1"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3" descr="1"/>
          <p:cNvPicPr>
            <a:picLocks noChangeAspect="1" noChangeArrowheads="1"/>
          </p:cNvPicPr>
          <p:nvPr userDrawn="1"/>
        </p:nvPicPr>
        <p:blipFill>
          <a:blip r:embed="rId3" cstate="print"/>
          <a:srcRect/>
          <a:stretch>
            <a:fillRect/>
          </a:stretch>
        </p:blipFill>
        <p:spPr bwMode="auto">
          <a:xfrm>
            <a:off x="0" y="11"/>
            <a:ext cx="9144000" cy="6858000"/>
          </a:xfrm>
          <a:prstGeom prst="rect">
            <a:avLst/>
          </a:prstGeom>
          <a:noFill/>
          <a:ln w="9525">
            <a:noFill/>
            <a:miter lim="800000"/>
            <a:headEnd/>
            <a:tailEnd/>
          </a:ln>
        </p:spPr>
      </p:pic>
      <p:sp>
        <p:nvSpPr>
          <p:cNvPr id="1038" name="Rectangle 14"/>
          <p:cNvSpPr>
            <a:spLocks noGrp="1" noChangeArrowheads="1"/>
          </p:cNvSpPr>
          <p:nvPr>
            <p:ph type="sldNum" sz="quarter" idx="4"/>
          </p:nvPr>
        </p:nvSpPr>
        <p:spPr bwMode="auto">
          <a:xfrm>
            <a:off x="6975476" y="6586539"/>
            <a:ext cx="2133600" cy="476250"/>
          </a:xfrm>
          <a:prstGeom prst="rect">
            <a:avLst/>
          </a:prstGeom>
          <a:noFill/>
          <a:ln w="9525">
            <a:noFill/>
            <a:miter lim="800000"/>
            <a:headEnd/>
            <a:tailEnd/>
          </a:ln>
          <a:effectLst/>
        </p:spPr>
        <p:txBody>
          <a:bodyPr vert="horz" wrap="square" lIns="91320" tIns="45661" rIns="91320" bIns="45661" numCol="1" anchor="t" anchorCtr="0" compatLnSpc="1">
            <a:prstTxWarp prst="textNoShape">
              <a:avLst/>
            </a:prstTxWarp>
          </a:bodyPr>
          <a:lstStyle>
            <a:lvl1pPr algn="r">
              <a:defRPr sz="1400" b="1">
                <a:solidFill>
                  <a:schemeClr val="bg1"/>
                </a:solidFill>
                <a:latin typeface="Arial" pitchFamily="34" charset="0"/>
                <a:ea typeface="굴림" pitchFamily="34" charset="-127"/>
              </a:defRPr>
            </a:lvl1pPr>
          </a:lstStyle>
          <a:p>
            <a:pPr fontAlgn="auto">
              <a:spcBef>
                <a:spcPts val="0"/>
              </a:spcBef>
              <a:spcAft>
                <a:spcPts val="0"/>
              </a:spcAft>
              <a:defRPr/>
            </a:pPr>
            <a:fld id="{B079E691-CE8C-4C69-801F-F615CE1A9DBD}" type="slidenum">
              <a:rPr lang="en-US" altLang="ko-KR">
                <a:solidFill>
                  <a:srgbClr val="FFFFFF"/>
                </a:solidFill>
              </a:rPr>
              <a:pPr fontAlgn="auto">
                <a:spcBef>
                  <a:spcPts val="0"/>
                </a:spcBef>
                <a:spcAft>
                  <a:spcPts val="0"/>
                </a:spcAft>
                <a:defRPr/>
              </a:pPr>
              <a:t>‹#›</a:t>
            </a:fld>
            <a:endParaRPr lang="en-US" altLang="ko-KR">
              <a:solidFill>
                <a:srgbClr val="FFFFFF"/>
              </a:solidFill>
            </a:endParaRPr>
          </a:p>
        </p:txBody>
      </p:sp>
      <p:pic>
        <p:nvPicPr>
          <p:cNvPr id="1028" name="Picture 2" descr="eg-flag1 moving"/>
          <p:cNvPicPr>
            <a:picLocks noChangeAspect="1" noChangeArrowheads="1" noCrop="1"/>
          </p:cNvPicPr>
          <p:nvPr userDrawn="1"/>
        </p:nvPicPr>
        <p:blipFill>
          <a:blip r:embed="rId4" cstate="print"/>
          <a:srcRect/>
          <a:stretch>
            <a:fillRect/>
          </a:stretch>
        </p:blipFill>
        <p:spPr bwMode="auto">
          <a:xfrm>
            <a:off x="179401" y="115899"/>
            <a:ext cx="1152525" cy="666750"/>
          </a:xfrm>
          <a:prstGeom prst="rect">
            <a:avLst/>
          </a:prstGeom>
          <a:noFill/>
          <a:ln w="9525">
            <a:noFill/>
            <a:miter lim="800000"/>
            <a:headEnd/>
            <a:tailEnd/>
          </a:ln>
        </p:spPr>
      </p:pic>
      <p:pic>
        <p:nvPicPr>
          <p:cNvPr id="30722" name="Picture 2" descr="C:\Users\admin\Desktop\asrt logo copy.gif"/>
          <p:cNvPicPr>
            <a:picLocks noChangeAspect="1" noChangeArrowheads="1"/>
          </p:cNvPicPr>
          <p:nvPr userDrawn="1"/>
        </p:nvPicPr>
        <p:blipFill>
          <a:blip r:embed="rId5" cstate="print"/>
          <a:srcRect/>
          <a:stretch>
            <a:fillRect/>
          </a:stretch>
        </p:blipFill>
        <p:spPr bwMode="auto">
          <a:xfrm>
            <a:off x="7467600" y="-152400"/>
            <a:ext cx="1676400" cy="1626555"/>
          </a:xfrm>
          <a:prstGeom prst="rect">
            <a:avLst/>
          </a:prstGeom>
          <a:noFill/>
          <a:effectLst>
            <a:glow rad="139700">
              <a:schemeClr val="accent1">
                <a:satMod val="175000"/>
                <a:alpha val="40000"/>
              </a:schemeClr>
            </a:glow>
            <a:outerShdw blurRad="850900" dir="5100000" algn="ctr" rotWithShape="0">
              <a:schemeClr val="bg1"/>
            </a:outerShdw>
          </a:effectLst>
        </p:spPr>
      </p:pic>
    </p:spTree>
    <p:extLst>
      <p:ext uri="{BB962C8B-B14F-4D97-AF65-F5344CB8AC3E}">
        <p14:creationId xmlns:p14="http://schemas.microsoft.com/office/powerpoint/2010/main" val="3663565437"/>
      </p:ext>
    </p:extLst>
  </p:cSld>
  <p:clrMap bg1="lt1" tx1="dk1" bg2="lt2" tx2="dk2" accent1="accent1" accent2="accent2" accent3="accent3" accent4="accent4" accent5="accent5" accent6="accent6" hlink="hlink" folHlink="folHlink"/>
  <p:sldLayoutIdLst>
    <p:sldLayoutId id="2147483910" r:id="rId1"/>
  </p:sldLayoutIdLst>
  <p:transition>
    <p:zoom/>
  </p:transition>
  <p:timing>
    <p:tnLst>
      <p:par>
        <p:cTn id="1" dur="indefinite" restart="never" nodeType="tmRoot"/>
      </p:par>
    </p:tnLst>
  </p:timing>
  <p:hf hdr="0" ftr="0" dt="0"/>
  <p:txStyles>
    <p:titleStyle>
      <a:lvl1pPr algn="l" rtl="0" eaLnBrk="0" fontAlgn="base" latinLnBrk="1" hangingPunct="0">
        <a:spcBef>
          <a:spcPct val="0"/>
        </a:spcBef>
        <a:spcAft>
          <a:spcPct val="0"/>
        </a:spcAft>
        <a:defRPr kumimoji="1" sz="3200">
          <a:solidFill>
            <a:srgbClr val="FFFF00"/>
          </a:solidFill>
          <a:latin typeface="+mj-lt"/>
          <a:ea typeface="+mj-ea"/>
          <a:cs typeface="HY헤드라인M" charset="0"/>
        </a:defRPr>
      </a:lvl1pPr>
      <a:lvl2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2pPr>
      <a:lvl3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3pPr>
      <a:lvl4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4pPr>
      <a:lvl5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5pPr>
      <a:lvl6pPr marL="456601"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6pPr>
      <a:lvl7pPr marL="913193"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7pPr>
      <a:lvl8pPr marL="136979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8pPr>
      <a:lvl9pPr marL="1826387"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9pPr>
    </p:titleStyle>
    <p:bodyStyle>
      <a:lvl1pPr marL="342447" indent="-342447" algn="l" rtl="0" eaLnBrk="0" fontAlgn="base" latinLnBrk="1" hangingPunct="0">
        <a:spcBef>
          <a:spcPct val="20000"/>
        </a:spcBef>
        <a:spcAft>
          <a:spcPct val="0"/>
        </a:spcAft>
        <a:buChar char="•"/>
        <a:defRPr kumimoji="1" sz="3200">
          <a:solidFill>
            <a:schemeClr val="tx1"/>
          </a:solidFill>
          <a:latin typeface="Gulim" pitchFamily="34" charset="-127"/>
          <a:ea typeface="Gulim" pitchFamily="34" charset="-127"/>
          <a:cs typeface="굴림" charset="0"/>
        </a:defRPr>
      </a:lvl1pPr>
      <a:lvl2pPr marL="741970" indent="-285374" algn="l" rtl="0" eaLnBrk="0" fontAlgn="base" latinLnBrk="1" hangingPunct="0">
        <a:spcBef>
          <a:spcPct val="20000"/>
        </a:spcBef>
        <a:spcAft>
          <a:spcPct val="0"/>
        </a:spcAft>
        <a:buChar char="–"/>
        <a:defRPr kumimoji="1" sz="2800">
          <a:solidFill>
            <a:schemeClr val="tx1"/>
          </a:solidFill>
          <a:latin typeface="Gulim" pitchFamily="34" charset="-127"/>
          <a:ea typeface="Gulim" pitchFamily="34" charset="-127"/>
          <a:cs typeface="굴림" charset="0"/>
        </a:defRPr>
      </a:lvl2pPr>
      <a:lvl3pPr marL="1141491" indent="-228295" algn="l" rtl="0" eaLnBrk="0" fontAlgn="base" latinLnBrk="1" hangingPunct="0">
        <a:spcBef>
          <a:spcPct val="20000"/>
        </a:spcBef>
        <a:spcAft>
          <a:spcPct val="0"/>
        </a:spcAft>
        <a:buChar char="•"/>
        <a:defRPr kumimoji="1" sz="2400">
          <a:solidFill>
            <a:schemeClr val="tx1"/>
          </a:solidFill>
          <a:latin typeface="Gulim" pitchFamily="34" charset="-127"/>
          <a:ea typeface="Gulim" pitchFamily="34" charset="-127"/>
          <a:cs typeface="굴림" charset="0"/>
        </a:defRPr>
      </a:lvl3pPr>
      <a:lvl4pPr marL="1598088"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4pPr>
      <a:lvl5pPr marL="2054686"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5pPr>
      <a:lvl6pPr marL="2511281" indent="-228295" algn="l" rtl="0" fontAlgn="base" latinLnBrk="1">
        <a:spcBef>
          <a:spcPct val="20000"/>
        </a:spcBef>
        <a:spcAft>
          <a:spcPct val="0"/>
        </a:spcAft>
        <a:buChar char="»"/>
        <a:defRPr kumimoji="1" sz="2000">
          <a:solidFill>
            <a:schemeClr val="tx1"/>
          </a:solidFill>
          <a:latin typeface="+mn-lt"/>
          <a:ea typeface="+mn-ea"/>
        </a:defRPr>
      </a:lvl6pPr>
      <a:lvl7pPr marL="2967877" indent="-228295" algn="l" rtl="0" fontAlgn="base" latinLnBrk="1">
        <a:spcBef>
          <a:spcPct val="20000"/>
        </a:spcBef>
        <a:spcAft>
          <a:spcPct val="0"/>
        </a:spcAft>
        <a:buChar char="»"/>
        <a:defRPr kumimoji="1" sz="2000">
          <a:solidFill>
            <a:schemeClr val="tx1"/>
          </a:solidFill>
          <a:latin typeface="+mn-lt"/>
          <a:ea typeface="+mn-ea"/>
        </a:defRPr>
      </a:lvl7pPr>
      <a:lvl8pPr marL="3424474" indent="-228295" algn="l" rtl="0" fontAlgn="base" latinLnBrk="1">
        <a:spcBef>
          <a:spcPct val="20000"/>
        </a:spcBef>
        <a:spcAft>
          <a:spcPct val="0"/>
        </a:spcAft>
        <a:buChar char="»"/>
        <a:defRPr kumimoji="1" sz="2000">
          <a:solidFill>
            <a:schemeClr val="tx1"/>
          </a:solidFill>
          <a:latin typeface="+mn-lt"/>
          <a:ea typeface="+mn-ea"/>
        </a:defRPr>
      </a:lvl8pPr>
      <a:lvl9pPr marL="3881068" indent="-228295"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3193" rtl="0" eaLnBrk="1" latinLnBrk="1" hangingPunct="1">
        <a:defRPr sz="1800" kern="1200">
          <a:solidFill>
            <a:schemeClr val="tx1"/>
          </a:solidFill>
          <a:latin typeface="+mn-lt"/>
          <a:ea typeface="+mn-ea"/>
          <a:cs typeface="+mn-cs"/>
        </a:defRPr>
      </a:lvl1pPr>
      <a:lvl2pPr marL="456601" algn="l" defTabSz="913193" rtl="0" eaLnBrk="1" latinLnBrk="1" hangingPunct="1">
        <a:defRPr sz="1800" kern="1200">
          <a:solidFill>
            <a:schemeClr val="tx1"/>
          </a:solidFill>
          <a:latin typeface="+mn-lt"/>
          <a:ea typeface="+mn-ea"/>
          <a:cs typeface="+mn-cs"/>
        </a:defRPr>
      </a:lvl2pPr>
      <a:lvl3pPr marL="913193" algn="l" defTabSz="913193" rtl="0" eaLnBrk="1" latinLnBrk="1" hangingPunct="1">
        <a:defRPr sz="1800" kern="1200">
          <a:solidFill>
            <a:schemeClr val="tx1"/>
          </a:solidFill>
          <a:latin typeface="+mn-lt"/>
          <a:ea typeface="+mn-ea"/>
          <a:cs typeface="+mn-cs"/>
        </a:defRPr>
      </a:lvl3pPr>
      <a:lvl4pPr marL="1369790" algn="l" defTabSz="913193" rtl="0" eaLnBrk="1" latinLnBrk="1" hangingPunct="1">
        <a:defRPr sz="1800" kern="1200">
          <a:solidFill>
            <a:schemeClr val="tx1"/>
          </a:solidFill>
          <a:latin typeface="+mn-lt"/>
          <a:ea typeface="+mn-ea"/>
          <a:cs typeface="+mn-cs"/>
        </a:defRPr>
      </a:lvl4pPr>
      <a:lvl5pPr marL="1826387" algn="l" defTabSz="913193" rtl="0" eaLnBrk="1" latinLnBrk="1" hangingPunct="1">
        <a:defRPr sz="1800" kern="1200">
          <a:solidFill>
            <a:schemeClr val="tx1"/>
          </a:solidFill>
          <a:latin typeface="+mn-lt"/>
          <a:ea typeface="+mn-ea"/>
          <a:cs typeface="+mn-cs"/>
        </a:defRPr>
      </a:lvl5pPr>
      <a:lvl6pPr marL="2282983" algn="l" defTabSz="913193" rtl="0" eaLnBrk="1" latinLnBrk="1" hangingPunct="1">
        <a:defRPr sz="1800" kern="1200">
          <a:solidFill>
            <a:schemeClr val="tx1"/>
          </a:solidFill>
          <a:latin typeface="+mn-lt"/>
          <a:ea typeface="+mn-ea"/>
          <a:cs typeface="+mn-cs"/>
        </a:defRPr>
      </a:lvl6pPr>
      <a:lvl7pPr marL="2739579" algn="l" defTabSz="913193" rtl="0" eaLnBrk="1" latinLnBrk="1" hangingPunct="1">
        <a:defRPr sz="1800" kern="1200">
          <a:solidFill>
            <a:schemeClr val="tx1"/>
          </a:solidFill>
          <a:latin typeface="+mn-lt"/>
          <a:ea typeface="+mn-ea"/>
          <a:cs typeface="+mn-cs"/>
        </a:defRPr>
      </a:lvl7pPr>
      <a:lvl8pPr marL="3196176" algn="l" defTabSz="913193" rtl="0" eaLnBrk="1" latinLnBrk="1" hangingPunct="1">
        <a:defRPr sz="1800" kern="1200">
          <a:solidFill>
            <a:schemeClr val="tx1"/>
          </a:solidFill>
          <a:latin typeface="+mn-lt"/>
          <a:ea typeface="+mn-ea"/>
          <a:cs typeface="+mn-cs"/>
        </a:defRPr>
      </a:lvl8pPr>
      <a:lvl9pPr marL="3652772" algn="l" defTabSz="913193" rtl="0" eaLnBrk="1" latinLnBrk="1"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3" descr="1"/>
          <p:cNvPicPr>
            <a:picLocks noChangeAspect="1" noChangeArrowheads="1"/>
          </p:cNvPicPr>
          <p:nvPr userDrawn="1"/>
        </p:nvPicPr>
        <p:blipFill>
          <a:blip r:embed="rId3" cstate="print"/>
          <a:srcRect/>
          <a:stretch>
            <a:fillRect/>
          </a:stretch>
        </p:blipFill>
        <p:spPr bwMode="auto">
          <a:xfrm>
            <a:off x="0" y="11"/>
            <a:ext cx="9144000" cy="6858000"/>
          </a:xfrm>
          <a:prstGeom prst="rect">
            <a:avLst/>
          </a:prstGeom>
          <a:noFill/>
          <a:ln w="9525">
            <a:noFill/>
            <a:miter lim="800000"/>
            <a:headEnd/>
            <a:tailEnd/>
          </a:ln>
        </p:spPr>
      </p:pic>
      <p:sp>
        <p:nvSpPr>
          <p:cNvPr id="1038" name="Rectangle 14"/>
          <p:cNvSpPr>
            <a:spLocks noGrp="1" noChangeArrowheads="1"/>
          </p:cNvSpPr>
          <p:nvPr>
            <p:ph type="sldNum" sz="quarter" idx="4"/>
          </p:nvPr>
        </p:nvSpPr>
        <p:spPr bwMode="auto">
          <a:xfrm>
            <a:off x="6975476" y="6586539"/>
            <a:ext cx="2133600" cy="476250"/>
          </a:xfrm>
          <a:prstGeom prst="rect">
            <a:avLst/>
          </a:prstGeom>
          <a:noFill/>
          <a:ln w="9525">
            <a:noFill/>
            <a:miter lim="800000"/>
            <a:headEnd/>
            <a:tailEnd/>
          </a:ln>
          <a:effectLst/>
        </p:spPr>
        <p:txBody>
          <a:bodyPr vert="horz" wrap="square" lIns="91320" tIns="45661" rIns="91320" bIns="45661" numCol="1" anchor="t" anchorCtr="0" compatLnSpc="1">
            <a:prstTxWarp prst="textNoShape">
              <a:avLst/>
            </a:prstTxWarp>
          </a:bodyPr>
          <a:lstStyle>
            <a:lvl1pPr algn="r">
              <a:defRPr sz="1400" b="1">
                <a:solidFill>
                  <a:schemeClr val="bg1"/>
                </a:solidFill>
                <a:latin typeface="Arial" pitchFamily="34" charset="0"/>
                <a:ea typeface="굴림" pitchFamily="34" charset="-127"/>
              </a:defRPr>
            </a:lvl1pPr>
          </a:lstStyle>
          <a:p>
            <a:pPr fontAlgn="auto">
              <a:spcBef>
                <a:spcPts val="0"/>
              </a:spcBef>
              <a:spcAft>
                <a:spcPts val="0"/>
              </a:spcAft>
              <a:defRPr/>
            </a:pPr>
            <a:fld id="{B079E691-CE8C-4C69-801F-F615CE1A9DBD}" type="slidenum">
              <a:rPr lang="en-US" altLang="ko-KR">
                <a:solidFill>
                  <a:srgbClr val="FFFFFF"/>
                </a:solidFill>
              </a:rPr>
              <a:pPr fontAlgn="auto">
                <a:spcBef>
                  <a:spcPts val="0"/>
                </a:spcBef>
                <a:spcAft>
                  <a:spcPts val="0"/>
                </a:spcAft>
                <a:defRPr/>
              </a:pPr>
              <a:t>‹#›</a:t>
            </a:fld>
            <a:endParaRPr lang="en-US" altLang="ko-KR">
              <a:solidFill>
                <a:srgbClr val="FFFFFF"/>
              </a:solidFill>
            </a:endParaRPr>
          </a:p>
        </p:txBody>
      </p:sp>
      <p:pic>
        <p:nvPicPr>
          <p:cNvPr id="1028" name="Picture 2" descr="eg-flag1 moving"/>
          <p:cNvPicPr>
            <a:picLocks noChangeAspect="1" noChangeArrowheads="1" noCrop="1"/>
          </p:cNvPicPr>
          <p:nvPr userDrawn="1"/>
        </p:nvPicPr>
        <p:blipFill>
          <a:blip r:embed="rId4" cstate="print"/>
          <a:srcRect/>
          <a:stretch>
            <a:fillRect/>
          </a:stretch>
        </p:blipFill>
        <p:spPr bwMode="auto">
          <a:xfrm>
            <a:off x="179401" y="115899"/>
            <a:ext cx="1152525" cy="666750"/>
          </a:xfrm>
          <a:prstGeom prst="rect">
            <a:avLst/>
          </a:prstGeom>
          <a:noFill/>
          <a:ln w="9525">
            <a:noFill/>
            <a:miter lim="800000"/>
            <a:headEnd/>
            <a:tailEnd/>
          </a:ln>
        </p:spPr>
      </p:pic>
      <p:pic>
        <p:nvPicPr>
          <p:cNvPr id="30722" name="Picture 2" descr="C:\Users\admin\Desktop\asrt logo copy.gif"/>
          <p:cNvPicPr>
            <a:picLocks noChangeAspect="1" noChangeArrowheads="1"/>
          </p:cNvPicPr>
          <p:nvPr userDrawn="1"/>
        </p:nvPicPr>
        <p:blipFill>
          <a:blip r:embed="rId5" cstate="print"/>
          <a:srcRect/>
          <a:stretch>
            <a:fillRect/>
          </a:stretch>
        </p:blipFill>
        <p:spPr bwMode="auto">
          <a:xfrm>
            <a:off x="7467600" y="-152400"/>
            <a:ext cx="1676400" cy="1626555"/>
          </a:xfrm>
          <a:prstGeom prst="rect">
            <a:avLst/>
          </a:prstGeom>
          <a:noFill/>
          <a:effectLst>
            <a:glow rad="139700">
              <a:schemeClr val="accent1">
                <a:satMod val="175000"/>
                <a:alpha val="40000"/>
              </a:schemeClr>
            </a:glow>
            <a:outerShdw blurRad="850900" dir="5100000" algn="ctr" rotWithShape="0">
              <a:schemeClr val="bg1"/>
            </a:outerShdw>
          </a:effectLst>
        </p:spPr>
      </p:pic>
    </p:spTree>
    <p:extLst>
      <p:ext uri="{BB962C8B-B14F-4D97-AF65-F5344CB8AC3E}">
        <p14:creationId xmlns:p14="http://schemas.microsoft.com/office/powerpoint/2010/main" val="2262857097"/>
      </p:ext>
    </p:extLst>
  </p:cSld>
  <p:clrMap bg1="lt1" tx1="dk1" bg2="lt2" tx2="dk2" accent1="accent1" accent2="accent2" accent3="accent3" accent4="accent4" accent5="accent5" accent6="accent6" hlink="hlink" folHlink="folHlink"/>
  <p:sldLayoutIdLst>
    <p:sldLayoutId id="2147483912" r:id="rId1"/>
  </p:sldLayoutIdLst>
  <p:transition>
    <p:zoom/>
  </p:transition>
  <p:timing>
    <p:tnLst>
      <p:par>
        <p:cTn id="1" dur="indefinite" restart="never" nodeType="tmRoot"/>
      </p:par>
    </p:tnLst>
  </p:timing>
  <p:hf hdr="0" ftr="0" dt="0"/>
  <p:txStyles>
    <p:titleStyle>
      <a:lvl1pPr algn="l" rtl="0" eaLnBrk="0" fontAlgn="base" latinLnBrk="1" hangingPunct="0">
        <a:spcBef>
          <a:spcPct val="0"/>
        </a:spcBef>
        <a:spcAft>
          <a:spcPct val="0"/>
        </a:spcAft>
        <a:defRPr kumimoji="1" sz="3200">
          <a:solidFill>
            <a:srgbClr val="FFFF00"/>
          </a:solidFill>
          <a:latin typeface="+mj-lt"/>
          <a:ea typeface="+mj-ea"/>
          <a:cs typeface="HY헤드라인M" charset="0"/>
        </a:defRPr>
      </a:lvl1pPr>
      <a:lvl2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2pPr>
      <a:lvl3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3pPr>
      <a:lvl4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4pPr>
      <a:lvl5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5pPr>
      <a:lvl6pPr marL="456601"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6pPr>
      <a:lvl7pPr marL="913193"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7pPr>
      <a:lvl8pPr marL="136979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8pPr>
      <a:lvl9pPr marL="1826387"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9pPr>
    </p:titleStyle>
    <p:bodyStyle>
      <a:lvl1pPr marL="342447" indent="-342447" algn="l" rtl="0" eaLnBrk="0" fontAlgn="base" latinLnBrk="1" hangingPunct="0">
        <a:spcBef>
          <a:spcPct val="20000"/>
        </a:spcBef>
        <a:spcAft>
          <a:spcPct val="0"/>
        </a:spcAft>
        <a:buChar char="•"/>
        <a:defRPr kumimoji="1" sz="3200">
          <a:solidFill>
            <a:schemeClr val="tx1"/>
          </a:solidFill>
          <a:latin typeface="Gulim" pitchFamily="34" charset="-127"/>
          <a:ea typeface="Gulim" pitchFamily="34" charset="-127"/>
          <a:cs typeface="굴림" charset="0"/>
        </a:defRPr>
      </a:lvl1pPr>
      <a:lvl2pPr marL="741970" indent="-285374" algn="l" rtl="0" eaLnBrk="0" fontAlgn="base" latinLnBrk="1" hangingPunct="0">
        <a:spcBef>
          <a:spcPct val="20000"/>
        </a:spcBef>
        <a:spcAft>
          <a:spcPct val="0"/>
        </a:spcAft>
        <a:buChar char="–"/>
        <a:defRPr kumimoji="1" sz="2800">
          <a:solidFill>
            <a:schemeClr val="tx1"/>
          </a:solidFill>
          <a:latin typeface="Gulim" pitchFamily="34" charset="-127"/>
          <a:ea typeface="Gulim" pitchFamily="34" charset="-127"/>
          <a:cs typeface="굴림" charset="0"/>
        </a:defRPr>
      </a:lvl2pPr>
      <a:lvl3pPr marL="1141491" indent="-228295" algn="l" rtl="0" eaLnBrk="0" fontAlgn="base" latinLnBrk="1" hangingPunct="0">
        <a:spcBef>
          <a:spcPct val="20000"/>
        </a:spcBef>
        <a:spcAft>
          <a:spcPct val="0"/>
        </a:spcAft>
        <a:buChar char="•"/>
        <a:defRPr kumimoji="1" sz="2400">
          <a:solidFill>
            <a:schemeClr val="tx1"/>
          </a:solidFill>
          <a:latin typeface="Gulim" pitchFamily="34" charset="-127"/>
          <a:ea typeface="Gulim" pitchFamily="34" charset="-127"/>
          <a:cs typeface="굴림" charset="0"/>
        </a:defRPr>
      </a:lvl3pPr>
      <a:lvl4pPr marL="1598088"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4pPr>
      <a:lvl5pPr marL="2054686"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5pPr>
      <a:lvl6pPr marL="2511281" indent="-228295" algn="l" rtl="0" fontAlgn="base" latinLnBrk="1">
        <a:spcBef>
          <a:spcPct val="20000"/>
        </a:spcBef>
        <a:spcAft>
          <a:spcPct val="0"/>
        </a:spcAft>
        <a:buChar char="»"/>
        <a:defRPr kumimoji="1" sz="2000">
          <a:solidFill>
            <a:schemeClr val="tx1"/>
          </a:solidFill>
          <a:latin typeface="+mn-lt"/>
          <a:ea typeface="+mn-ea"/>
        </a:defRPr>
      </a:lvl6pPr>
      <a:lvl7pPr marL="2967877" indent="-228295" algn="l" rtl="0" fontAlgn="base" latinLnBrk="1">
        <a:spcBef>
          <a:spcPct val="20000"/>
        </a:spcBef>
        <a:spcAft>
          <a:spcPct val="0"/>
        </a:spcAft>
        <a:buChar char="»"/>
        <a:defRPr kumimoji="1" sz="2000">
          <a:solidFill>
            <a:schemeClr val="tx1"/>
          </a:solidFill>
          <a:latin typeface="+mn-lt"/>
          <a:ea typeface="+mn-ea"/>
        </a:defRPr>
      </a:lvl7pPr>
      <a:lvl8pPr marL="3424474" indent="-228295" algn="l" rtl="0" fontAlgn="base" latinLnBrk="1">
        <a:spcBef>
          <a:spcPct val="20000"/>
        </a:spcBef>
        <a:spcAft>
          <a:spcPct val="0"/>
        </a:spcAft>
        <a:buChar char="»"/>
        <a:defRPr kumimoji="1" sz="2000">
          <a:solidFill>
            <a:schemeClr val="tx1"/>
          </a:solidFill>
          <a:latin typeface="+mn-lt"/>
          <a:ea typeface="+mn-ea"/>
        </a:defRPr>
      </a:lvl8pPr>
      <a:lvl9pPr marL="3881068" indent="-228295"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3193" rtl="0" eaLnBrk="1" latinLnBrk="1" hangingPunct="1">
        <a:defRPr sz="1800" kern="1200">
          <a:solidFill>
            <a:schemeClr val="tx1"/>
          </a:solidFill>
          <a:latin typeface="+mn-lt"/>
          <a:ea typeface="+mn-ea"/>
          <a:cs typeface="+mn-cs"/>
        </a:defRPr>
      </a:lvl1pPr>
      <a:lvl2pPr marL="456601" algn="l" defTabSz="913193" rtl="0" eaLnBrk="1" latinLnBrk="1" hangingPunct="1">
        <a:defRPr sz="1800" kern="1200">
          <a:solidFill>
            <a:schemeClr val="tx1"/>
          </a:solidFill>
          <a:latin typeface="+mn-lt"/>
          <a:ea typeface="+mn-ea"/>
          <a:cs typeface="+mn-cs"/>
        </a:defRPr>
      </a:lvl2pPr>
      <a:lvl3pPr marL="913193" algn="l" defTabSz="913193" rtl="0" eaLnBrk="1" latinLnBrk="1" hangingPunct="1">
        <a:defRPr sz="1800" kern="1200">
          <a:solidFill>
            <a:schemeClr val="tx1"/>
          </a:solidFill>
          <a:latin typeface="+mn-lt"/>
          <a:ea typeface="+mn-ea"/>
          <a:cs typeface="+mn-cs"/>
        </a:defRPr>
      </a:lvl3pPr>
      <a:lvl4pPr marL="1369790" algn="l" defTabSz="913193" rtl="0" eaLnBrk="1" latinLnBrk="1" hangingPunct="1">
        <a:defRPr sz="1800" kern="1200">
          <a:solidFill>
            <a:schemeClr val="tx1"/>
          </a:solidFill>
          <a:latin typeface="+mn-lt"/>
          <a:ea typeface="+mn-ea"/>
          <a:cs typeface="+mn-cs"/>
        </a:defRPr>
      </a:lvl4pPr>
      <a:lvl5pPr marL="1826387" algn="l" defTabSz="913193" rtl="0" eaLnBrk="1" latinLnBrk="1" hangingPunct="1">
        <a:defRPr sz="1800" kern="1200">
          <a:solidFill>
            <a:schemeClr val="tx1"/>
          </a:solidFill>
          <a:latin typeface="+mn-lt"/>
          <a:ea typeface="+mn-ea"/>
          <a:cs typeface="+mn-cs"/>
        </a:defRPr>
      </a:lvl5pPr>
      <a:lvl6pPr marL="2282983" algn="l" defTabSz="913193" rtl="0" eaLnBrk="1" latinLnBrk="1" hangingPunct="1">
        <a:defRPr sz="1800" kern="1200">
          <a:solidFill>
            <a:schemeClr val="tx1"/>
          </a:solidFill>
          <a:latin typeface="+mn-lt"/>
          <a:ea typeface="+mn-ea"/>
          <a:cs typeface="+mn-cs"/>
        </a:defRPr>
      </a:lvl6pPr>
      <a:lvl7pPr marL="2739579" algn="l" defTabSz="913193" rtl="0" eaLnBrk="1" latinLnBrk="1" hangingPunct="1">
        <a:defRPr sz="1800" kern="1200">
          <a:solidFill>
            <a:schemeClr val="tx1"/>
          </a:solidFill>
          <a:latin typeface="+mn-lt"/>
          <a:ea typeface="+mn-ea"/>
          <a:cs typeface="+mn-cs"/>
        </a:defRPr>
      </a:lvl7pPr>
      <a:lvl8pPr marL="3196176" algn="l" defTabSz="913193" rtl="0" eaLnBrk="1" latinLnBrk="1" hangingPunct="1">
        <a:defRPr sz="1800" kern="1200">
          <a:solidFill>
            <a:schemeClr val="tx1"/>
          </a:solidFill>
          <a:latin typeface="+mn-lt"/>
          <a:ea typeface="+mn-ea"/>
          <a:cs typeface="+mn-cs"/>
        </a:defRPr>
      </a:lvl8pPr>
      <a:lvl9pPr marL="3652772" algn="l" defTabSz="913193" rtl="0" eaLnBrk="1" latinLnBrk="1"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3" descr="1"/>
          <p:cNvPicPr>
            <a:picLocks noChangeAspect="1" noChangeArrowheads="1"/>
          </p:cNvPicPr>
          <p:nvPr userDrawn="1"/>
        </p:nvPicPr>
        <p:blipFill>
          <a:blip r:embed="rId3" cstate="print"/>
          <a:srcRect/>
          <a:stretch>
            <a:fillRect/>
          </a:stretch>
        </p:blipFill>
        <p:spPr bwMode="auto">
          <a:xfrm>
            <a:off x="0" y="11"/>
            <a:ext cx="9144000" cy="6858000"/>
          </a:xfrm>
          <a:prstGeom prst="rect">
            <a:avLst/>
          </a:prstGeom>
          <a:noFill/>
          <a:ln w="9525">
            <a:noFill/>
            <a:miter lim="800000"/>
            <a:headEnd/>
            <a:tailEnd/>
          </a:ln>
        </p:spPr>
      </p:pic>
      <p:sp>
        <p:nvSpPr>
          <p:cNvPr id="1038" name="Rectangle 14"/>
          <p:cNvSpPr>
            <a:spLocks noGrp="1" noChangeArrowheads="1"/>
          </p:cNvSpPr>
          <p:nvPr>
            <p:ph type="sldNum" sz="quarter" idx="4"/>
          </p:nvPr>
        </p:nvSpPr>
        <p:spPr bwMode="auto">
          <a:xfrm>
            <a:off x="6975476" y="6586539"/>
            <a:ext cx="2133600" cy="476250"/>
          </a:xfrm>
          <a:prstGeom prst="rect">
            <a:avLst/>
          </a:prstGeom>
          <a:noFill/>
          <a:ln w="9525">
            <a:noFill/>
            <a:miter lim="800000"/>
            <a:headEnd/>
            <a:tailEnd/>
          </a:ln>
          <a:effectLst/>
        </p:spPr>
        <p:txBody>
          <a:bodyPr vert="horz" wrap="square" lIns="91320" tIns="45661" rIns="91320" bIns="45661" numCol="1" anchor="t" anchorCtr="0" compatLnSpc="1">
            <a:prstTxWarp prst="textNoShape">
              <a:avLst/>
            </a:prstTxWarp>
          </a:bodyPr>
          <a:lstStyle>
            <a:lvl1pPr algn="r">
              <a:defRPr sz="1400" b="1">
                <a:solidFill>
                  <a:schemeClr val="bg1"/>
                </a:solidFill>
                <a:latin typeface="Arial" pitchFamily="34" charset="0"/>
                <a:ea typeface="굴림" pitchFamily="34" charset="-127"/>
              </a:defRPr>
            </a:lvl1pPr>
          </a:lstStyle>
          <a:p>
            <a:pPr fontAlgn="auto">
              <a:spcBef>
                <a:spcPts val="0"/>
              </a:spcBef>
              <a:spcAft>
                <a:spcPts val="0"/>
              </a:spcAft>
              <a:defRPr/>
            </a:pPr>
            <a:fld id="{B079E691-CE8C-4C69-801F-F615CE1A9DBD}" type="slidenum">
              <a:rPr lang="en-US" altLang="ko-KR">
                <a:solidFill>
                  <a:srgbClr val="FFFFFF"/>
                </a:solidFill>
              </a:rPr>
              <a:pPr fontAlgn="auto">
                <a:spcBef>
                  <a:spcPts val="0"/>
                </a:spcBef>
                <a:spcAft>
                  <a:spcPts val="0"/>
                </a:spcAft>
                <a:defRPr/>
              </a:pPr>
              <a:t>‹#›</a:t>
            </a:fld>
            <a:endParaRPr lang="en-US" altLang="ko-KR">
              <a:solidFill>
                <a:srgbClr val="FFFFFF"/>
              </a:solidFill>
            </a:endParaRPr>
          </a:p>
        </p:txBody>
      </p:sp>
      <p:pic>
        <p:nvPicPr>
          <p:cNvPr id="1028" name="Picture 2" descr="eg-flag1 moving"/>
          <p:cNvPicPr>
            <a:picLocks noChangeAspect="1" noChangeArrowheads="1" noCrop="1"/>
          </p:cNvPicPr>
          <p:nvPr userDrawn="1"/>
        </p:nvPicPr>
        <p:blipFill>
          <a:blip r:embed="rId4" cstate="print"/>
          <a:srcRect/>
          <a:stretch>
            <a:fillRect/>
          </a:stretch>
        </p:blipFill>
        <p:spPr bwMode="auto">
          <a:xfrm>
            <a:off x="179401" y="115899"/>
            <a:ext cx="1152525" cy="666750"/>
          </a:xfrm>
          <a:prstGeom prst="rect">
            <a:avLst/>
          </a:prstGeom>
          <a:noFill/>
          <a:ln w="9525">
            <a:noFill/>
            <a:miter lim="800000"/>
            <a:headEnd/>
            <a:tailEnd/>
          </a:ln>
        </p:spPr>
      </p:pic>
      <p:pic>
        <p:nvPicPr>
          <p:cNvPr id="30722" name="Picture 2" descr="C:\Users\admin\Desktop\asrt logo copy.gif"/>
          <p:cNvPicPr>
            <a:picLocks noChangeAspect="1" noChangeArrowheads="1"/>
          </p:cNvPicPr>
          <p:nvPr userDrawn="1"/>
        </p:nvPicPr>
        <p:blipFill>
          <a:blip r:embed="rId5" cstate="print"/>
          <a:srcRect/>
          <a:stretch>
            <a:fillRect/>
          </a:stretch>
        </p:blipFill>
        <p:spPr bwMode="auto">
          <a:xfrm>
            <a:off x="7467600" y="-152400"/>
            <a:ext cx="1676400" cy="1626555"/>
          </a:xfrm>
          <a:prstGeom prst="rect">
            <a:avLst/>
          </a:prstGeom>
          <a:noFill/>
          <a:effectLst>
            <a:glow rad="139700">
              <a:schemeClr val="accent1">
                <a:satMod val="175000"/>
                <a:alpha val="40000"/>
              </a:schemeClr>
            </a:glow>
            <a:outerShdw blurRad="850900" dir="5100000" algn="ctr" rotWithShape="0">
              <a:schemeClr val="bg1"/>
            </a:outerShdw>
          </a:effectLst>
        </p:spPr>
      </p:pic>
    </p:spTree>
    <p:extLst>
      <p:ext uri="{BB962C8B-B14F-4D97-AF65-F5344CB8AC3E}">
        <p14:creationId xmlns:p14="http://schemas.microsoft.com/office/powerpoint/2010/main" val="417456298"/>
      </p:ext>
    </p:extLst>
  </p:cSld>
  <p:clrMap bg1="lt1" tx1="dk1" bg2="lt2" tx2="dk2" accent1="accent1" accent2="accent2" accent3="accent3" accent4="accent4" accent5="accent5" accent6="accent6" hlink="hlink" folHlink="folHlink"/>
  <p:sldLayoutIdLst>
    <p:sldLayoutId id="2147483914" r:id="rId1"/>
  </p:sldLayoutIdLst>
  <p:transition>
    <p:zoom/>
  </p:transition>
  <p:timing>
    <p:tnLst>
      <p:par>
        <p:cTn id="1" dur="indefinite" restart="never" nodeType="tmRoot"/>
      </p:par>
    </p:tnLst>
  </p:timing>
  <p:hf hdr="0" ftr="0" dt="0"/>
  <p:txStyles>
    <p:titleStyle>
      <a:lvl1pPr algn="l" rtl="0" eaLnBrk="0" fontAlgn="base" latinLnBrk="1" hangingPunct="0">
        <a:spcBef>
          <a:spcPct val="0"/>
        </a:spcBef>
        <a:spcAft>
          <a:spcPct val="0"/>
        </a:spcAft>
        <a:defRPr kumimoji="1" sz="3200">
          <a:solidFill>
            <a:srgbClr val="FFFF00"/>
          </a:solidFill>
          <a:latin typeface="+mj-lt"/>
          <a:ea typeface="+mj-ea"/>
          <a:cs typeface="HY헤드라인M" charset="0"/>
        </a:defRPr>
      </a:lvl1pPr>
      <a:lvl2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2pPr>
      <a:lvl3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3pPr>
      <a:lvl4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4pPr>
      <a:lvl5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5pPr>
      <a:lvl6pPr marL="456601"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6pPr>
      <a:lvl7pPr marL="913193"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7pPr>
      <a:lvl8pPr marL="136979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8pPr>
      <a:lvl9pPr marL="1826387"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9pPr>
    </p:titleStyle>
    <p:bodyStyle>
      <a:lvl1pPr marL="342447" indent="-342447" algn="l" rtl="0" eaLnBrk="0" fontAlgn="base" latinLnBrk="1" hangingPunct="0">
        <a:spcBef>
          <a:spcPct val="20000"/>
        </a:spcBef>
        <a:spcAft>
          <a:spcPct val="0"/>
        </a:spcAft>
        <a:buChar char="•"/>
        <a:defRPr kumimoji="1" sz="3200">
          <a:solidFill>
            <a:schemeClr val="tx1"/>
          </a:solidFill>
          <a:latin typeface="Gulim" pitchFamily="34" charset="-127"/>
          <a:ea typeface="Gulim" pitchFamily="34" charset="-127"/>
          <a:cs typeface="굴림" charset="0"/>
        </a:defRPr>
      </a:lvl1pPr>
      <a:lvl2pPr marL="741970" indent="-285374" algn="l" rtl="0" eaLnBrk="0" fontAlgn="base" latinLnBrk="1" hangingPunct="0">
        <a:spcBef>
          <a:spcPct val="20000"/>
        </a:spcBef>
        <a:spcAft>
          <a:spcPct val="0"/>
        </a:spcAft>
        <a:buChar char="–"/>
        <a:defRPr kumimoji="1" sz="2800">
          <a:solidFill>
            <a:schemeClr val="tx1"/>
          </a:solidFill>
          <a:latin typeface="Gulim" pitchFamily="34" charset="-127"/>
          <a:ea typeface="Gulim" pitchFamily="34" charset="-127"/>
          <a:cs typeface="굴림" charset="0"/>
        </a:defRPr>
      </a:lvl2pPr>
      <a:lvl3pPr marL="1141491" indent="-228295" algn="l" rtl="0" eaLnBrk="0" fontAlgn="base" latinLnBrk="1" hangingPunct="0">
        <a:spcBef>
          <a:spcPct val="20000"/>
        </a:spcBef>
        <a:spcAft>
          <a:spcPct val="0"/>
        </a:spcAft>
        <a:buChar char="•"/>
        <a:defRPr kumimoji="1" sz="2400">
          <a:solidFill>
            <a:schemeClr val="tx1"/>
          </a:solidFill>
          <a:latin typeface="Gulim" pitchFamily="34" charset="-127"/>
          <a:ea typeface="Gulim" pitchFamily="34" charset="-127"/>
          <a:cs typeface="굴림" charset="0"/>
        </a:defRPr>
      </a:lvl3pPr>
      <a:lvl4pPr marL="1598088"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4pPr>
      <a:lvl5pPr marL="2054686"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5pPr>
      <a:lvl6pPr marL="2511281" indent="-228295" algn="l" rtl="0" fontAlgn="base" latinLnBrk="1">
        <a:spcBef>
          <a:spcPct val="20000"/>
        </a:spcBef>
        <a:spcAft>
          <a:spcPct val="0"/>
        </a:spcAft>
        <a:buChar char="»"/>
        <a:defRPr kumimoji="1" sz="2000">
          <a:solidFill>
            <a:schemeClr val="tx1"/>
          </a:solidFill>
          <a:latin typeface="+mn-lt"/>
          <a:ea typeface="+mn-ea"/>
        </a:defRPr>
      </a:lvl6pPr>
      <a:lvl7pPr marL="2967877" indent="-228295" algn="l" rtl="0" fontAlgn="base" latinLnBrk="1">
        <a:spcBef>
          <a:spcPct val="20000"/>
        </a:spcBef>
        <a:spcAft>
          <a:spcPct val="0"/>
        </a:spcAft>
        <a:buChar char="»"/>
        <a:defRPr kumimoji="1" sz="2000">
          <a:solidFill>
            <a:schemeClr val="tx1"/>
          </a:solidFill>
          <a:latin typeface="+mn-lt"/>
          <a:ea typeface="+mn-ea"/>
        </a:defRPr>
      </a:lvl7pPr>
      <a:lvl8pPr marL="3424474" indent="-228295" algn="l" rtl="0" fontAlgn="base" latinLnBrk="1">
        <a:spcBef>
          <a:spcPct val="20000"/>
        </a:spcBef>
        <a:spcAft>
          <a:spcPct val="0"/>
        </a:spcAft>
        <a:buChar char="»"/>
        <a:defRPr kumimoji="1" sz="2000">
          <a:solidFill>
            <a:schemeClr val="tx1"/>
          </a:solidFill>
          <a:latin typeface="+mn-lt"/>
          <a:ea typeface="+mn-ea"/>
        </a:defRPr>
      </a:lvl8pPr>
      <a:lvl9pPr marL="3881068" indent="-228295"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3193" rtl="0" eaLnBrk="1" latinLnBrk="1" hangingPunct="1">
        <a:defRPr sz="1800" kern="1200">
          <a:solidFill>
            <a:schemeClr val="tx1"/>
          </a:solidFill>
          <a:latin typeface="+mn-lt"/>
          <a:ea typeface="+mn-ea"/>
          <a:cs typeface="+mn-cs"/>
        </a:defRPr>
      </a:lvl1pPr>
      <a:lvl2pPr marL="456601" algn="l" defTabSz="913193" rtl="0" eaLnBrk="1" latinLnBrk="1" hangingPunct="1">
        <a:defRPr sz="1800" kern="1200">
          <a:solidFill>
            <a:schemeClr val="tx1"/>
          </a:solidFill>
          <a:latin typeface="+mn-lt"/>
          <a:ea typeface="+mn-ea"/>
          <a:cs typeface="+mn-cs"/>
        </a:defRPr>
      </a:lvl2pPr>
      <a:lvl3pPr marL="913193" algn="l" defTabSz="913193" rtl="0" eaLnBrk="1" latinLnBrk="1" hangingPunct="1">
        <a:defRPr sz="1800" kern="1200">
          <a:solidFill>
            <a:schemeClr val="tx1"/>
          </a:solidFill>
          <a:latin typeface="+mn-lt"/>
          <a:ea typeface="+mn-ea"/>
          <a:cs typeface="+mn-cs"/>
        </a:defRPr>
      </a:lvl3pPr>
      <a:lvl4pPr marL="1369790" algn="l" defTabSz="913193" rtl="0" eaLnBrk="1" latinLnBrk="1" hangingPunct="1">
        <a:defRPr sz="1800" kern="1200">
          <a:solidFill>
            <a:schemeClr val="tx1"/>
          </a:solidFill>
          <a:latin typeface="+mn-lt"/>
          <a:ea typeface="+mn-ea"/>
          <a:cs typeface="+mn-cs"/>
        </a:defRPr>
      </a:lvl4pPr>
      <a:lvl5pPr marL="1826387" algn="l" defTabSz="913193" rtl="0" eaLnBrk="1" latinLnBrk="1" hangingPunct="1">
        <a:defRPr sz="1800" kern="1200">
          <a:solidFill>
            <a:schemeClr val="tx1"/>
          </a:solidFill>
          <a:latin typeface="+mn-lt"/>
          <a:ea typeface="+mn-ea"/>
          <a:cs typeface="+mn-cs"/>
        </a:defRPr>
      </a:lvl5pPr>
      <a:lvl6pPr marL="2282983" algn="l" defTabSz="913193" rtl="0" eaLnBrk="1" latinLnBrk="1" hangingPunct="1">
        <a:defRPr sz="1800" kern="1200">
          <a:solidFill>
            <a:schemeClr val="tx1"/>
          </a:solidFill>
          <a:latin typeface="+mn-lt"/>
          <a:ea typeface="+mn-ea"/>
          <a:cs typeface="+mn-cs"/>
        </a:defRPr>
      </a:lvl6pPr>
      <a:lvl7pPr marL="2739579" algn="l" defTabSz="913193" rtl="0" eaLnBrk="1" latinLnBrk="1" hangingPunct="1">
        <a:defRPr sz="1800" kern="1200">
          <a:solidFill>
            <a:schemeClr val="tx1"/>
          </a:solidFill>
          <a:latin typeface="+mn-lt"/>
          <a:ea typeface="+mn-ea"/>
          <a:cs typeface="+mn-cs"/>
        </a:defRPr>
      </a:lvl7pPr>
      <a:lvl8pPr marL="3196176" algn="l" defTabSz="913193" rtl="0" eaLnBrk="1" latinLnBrk="1" hangingPunct="1">
        <a:defRPr sz="1800" kern="1200">
          <a:solidFill>
            <a:schemeClr val="tx1"/>
          </a:solidFill>
          <a:latin typeface="+mn-lt"/>
          <a:ea typeface="+mn-ea"/>
          <a:cs typeface="+mn-cs"/>
        </a:defRPr>
      </a:lvl8pPr>
      <a:lvl9pPr marL="3652772" algn="l" defTabSz="913193" rtl="0" eaLnBrk="1" latinLnBrk="1"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457200" fontAlgn="auto">
              <a:spcBef>
                <a:spcPts val="0"/>
              </a:spcBef>
              <a:spcAft>
                <a:spcPts val="0"/>
              </a:spcAft>
            </a:pPr>
            <a:fld id="{E5E1F98D-7203-B644-8E98-BDD79CD79CAD}" type="datetimeFigureOut">
              <a:rPr lang="en-US" smtClean="0">
                <a:solidFill>
                  <a:prstClr val="black">
                    <a:tint val="75000"/>
                  </a:prstClr>
                </a:solidFill>
                <a:latin typeface="Calibri"/>
                <a:cs typeface="+mn-cs"/>
              </a:rPr>
              <a:pPr defTabSz="457200" fontAlgn="auto">
                <a:spcBef>
                  <a:spcPts val="0"/>
                </a:spcBef>
                <a:spcAft>
                  <a:spcPts val="0"/>
                </a:spcAft>
              </a:pPr>
              <a:t>5/6/2013</a:t>
            </a:fld>
            <a:endParaRPr lang="en-US">
              <a:solidFill>
                <a:prstClr val="black">
                  <a:tint val="75000"/>
                </a:prstClr>
              </a:solidFill>
              <a:latin typeface="Calibri"/>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457200" fontAlgn="auto">
              <a:spcBef>
                <a:spcPts val="0"/>
              </a:spcBef>
              <a:spcAft>
                <a:spcPts val="0"/>
              </a:spcAft>
            </a:pPr>
            <a:endParaRPr lang="en-US">
              <a:solidFill>
                <a:prstClr val="black">
                  <a:tint val="75000"/>
                </a:prstClr>
              </a:solidFill>
              <a:latin typeface="Calibri"/>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fontAlgn="auto">
              <a:spcBef>
                <a:spcPts val="0"/>
              </a:spcBef>
              <a:spcAft>
                <a:spcPts val="0"/>
              </a:spcAft>
            </a:pPr>
            <a:fld id="{F689A080-430D-734A-97EA-77242F436D1C}" type="slidenum">
              <a:rPr lang="en-US" smtClean="0">
                <a:solidFill>
                  <a:prstClr val="black">
                    <a:tint val="75000"/>
                  </a:prstClr>
                </a:solidFill>
                <a:latin typeface="Calibri"/>
                <a:cs typeface="+mn-cs"/>
              </a:rPr>
              <a:pPr defTabSz="457200" fontAlgn="auto">
                <a:spcBef>
                  <a:spcPts val="0"/>
                </a:spcBef>
                <a:spcAft>
                  <a:spcPts val="0"/>
                </a:spcAft>
              </a:pPr>
              <a:t>‹#›</a:t>
            </a:fld>
            <a:endParaRPr lang="en-US">
              <a:solidFill>
                <a:prstClr val="black">
                  <a:tint val="75000"/>
                </a:prstClr>
              </a:solidFill>
              <a:latin typeface="Calibri"/>
              <a:cs typeface="+mn-cs"/>
            </a:endParaRPr>
          </a:p>
        </p:txBody>
      </p:sp>
    </p:spTree>
    <p:extLst>
      <p:ext uri="{BB962C8B-B14F-4D97-AF65-F5344CB8AC3E}">
        <p14:creationId xmlns:p14="http://schemas.microsoft.com/office/powerpoint/2010/main" val="1368316607"/>
      </p:ext>
    </p:extLst>
  </p:cSld>
  <p:clrMap bg1="lt1" tx1="dk1" bg2="lt2" tx2="dk2" accent1="accent1" accent2="accent2" accent3="accent3" accent4="accent4" accent5="accent5" accent6="accent6" hlink="hlink" folHlink="folHlink"/>
  <p:sldLayoutIdLst>
    <p:sldLayoutId id="2147483916" r:id="rId1"/>
    <p:sldLayoutId id="2147483917" r:id="rId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4" name="Rounded Rectangle 13"/>
          <p:cNvSpPr/>
          <p:nvPr/>
        </p:nvSpPr>
        <p:spPr>
          <a:xfrm>
            <a:off x="228600" y="228600"/>
            <a:ext cx="8696325" cy="2468563"/>
          </a:xfrm>
          <a:prstGeom prst="roundRect">
            <a:avLst>
              <a:gd name="adj" fmla="val 3362"/>
            </a:avLst>
          </a:prstGeom>
          <a:gradFill>
            <a:gsLst>
              <a:gs pos="0">
                <a:schemeClr val="accent1">
                  <a:lumMod val="75000"/>
                </a:schemeClr>
              </a:gs>
              <a:gs pos="90000">
                <a:schemeClr val="accent1">
                  <a:lumMod val="60000"/>
                  <a:lumOff val="40000"/>
                </a:schemeClr>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a:defRPr/>
            </a:pPr>
            <a:endParaRPr lang="en-US">
              <a:solidFill>
                <a:prstClr val="white"/>
              </a:solidFill>
            </a:endParaRPr>
          </a:p>
        </p:txBody>
      </p:sp>
      <p:grpSp>
        <p:nvGrpSpPr>
          <p:cNvPr id="1027" name="Group 15"/>
          <p:cNvGrpSpPr>
            <a:grpSpLocks noChangeAspect="1"/>
          </p:cNvGrpSpPr>
          <p:nvPr/>
        </p:nvGrpSpPr>
        <p:grpSpPr bwMode="auto">
          <a:xfrm>
            <a:off x="211138" y="1679575"/>
            <a:ext cx="8723312" cy="1330325"/>
            <a:chOff x="-3905251" y="4294188"/>
            <a:chExt cx="13027839" cy="1892300"/>
          </a:xfrm>
        </p:grpSpPr>
        <p:sp>
          <p:nvSpPr>
            <p:cNvPr id="1033" name="Freeform 14"/>
            <p:cNvSpPr>
              <a:spLocks/>
            </p:cNvSpPr>
            <p:nvPr/>
          </p:nvSpPr>
          <p:spPr bwMode="hidden">
            <a:xfrm>
              <a:off x="4810125" y="4500563"/>
              <a:ext cx="4295775" cy="1016000"/>
            </a:xfrm>
            <a:custGeom>
              <a:avLst/>
              <a:gdLst>
                <a:gd name="T0" fmla="*/ 2147483647 w 2706"/>
                <a:gd name="T1" fmla="*/ 0 h 640"/>
                <a:gd name="T2" fmla="*/ 2147483647 w 2706"/>
                <a:gd name="T3" fmla="*/ 0 h 640"/>
                <a:gd name="T4" fmla="*/ 2147483647 w 2706"/>
                <a:gd name="T5" fmla="*/ 2147483647 h 640"/>
                <a:gd name="T6" fmla="*/ 2147483647 w 2706"/>
                <a:gd name="T7" fmla="*/ 2147483647 h 640"/>
                <a:gd name="T8" fmla="*/ 2147483647 w 2706"/>
                <a:gd name="T9" fmla="*/ 2147483647 h 640"/>
                <a:gd name="T10" fmla="*/ 2147483647 w 2706"/>
                <a:gd name="T11" fmla="*/ 2147483647 h 640"/>
                <a:gd name="T12" fmla="*/ 2147483647 w 2706"/>
                <a:gd name="T13" fmla="*/ 2147483647 h 640"/>
                <a:gd name="T14" fmla="*/ 2147483647 w 2706"/>
                <a:gd name="T15" fmla="*/ 2147483647 h 640"/>
                <a:gd name="T16" fmla="*/ 2147483647 w 2706"/>
                <a:gd name="T17" fmla="*/ 2147483647 h 640"/>
                <a:gd name="T18" fmla="*/ 2147483647 w 2706"/>
                <a:gd name="T19" fmla="*/ 2147483647 h 640"/>
                <a:gd name="T20" fmla="*/ 2147483647 w 2706"/>
                <a:gd name="T21" fmla="*/ 2147483647 h 640"/>
                <a:gd name="T22" fmla="*/ 2147483647 w 2706"/>
                <a:gd name="T23" fmla="*/ 2147483647 h 640"/>
                <a:gd name="T24" fmla="*/ 2147483647 w 2706"/>
                <a:gd name="T25" fmla="*/ 2147483647 h 640"/>
                <a:gd name="T26" fmla="*/ 2147483647 w 2706"/>
                <a:gd name="T27" fmla="*/ 2147483647 h 640"/>
                <a:gd name="T28" fmla="*/ 2147483647 w 2706"/>
                <a:gd name="T29" fmla="*/ 2147483647 h 640"/>
                <a:gd name="T30" fmla="*/ 2147483647 w 2706"/>
                <a:gd name="T31" fmla="*/ 2147483647 h 640"/>
                <a:gd name="T32" fmla="*/ 2147483647 w 2706"/>
                <a:gd name="T33" fmla="*/ 2147483647 h 640"/>
                <a:gd name="T34" fmla="*/ 2147483647 w 2706"/>
                <a:gd name="T35" fmla="*/ 2147483647 h 640"/>
                <a:gd name="T36" fmla="*/ 0 w 2706"/>
                <a:gd name="T37" fmla="*/ 2147483647 h 640"/>
                <a:gd name="T38" fmla="*/ 0 w 2706"/>
                <a:gd name="T39" fmla="*/ 2147483647 h 640"/>
                <a:gd name="T40" fmla="*/ 2147483647 w 2706"/>
                <a:gd name="T41" fmla="*/ 2147483647 h 640"/>
                <a:gd name="T42" fmla="*/ 2147483647 w 2706"/>
                <a:gd name="T43" fmla="*/ 2147483647 h 640"/>
                <a:gd name="T44" fmla="*/ 2147483647 w 2706"/>
                <a:gd name="T45" fmla="*/ 2147483647 h 640"/>
                <a:gd name="T46" fmla="*/ 2147483647 w 2706"/>
                <a:gd name="T47" fmla="*/ 2147483647 h 640"/>
                <a:gd name="T48" fmla="*/ 2147483647 w 2706"/>
                <a:gd name="T49" fmla="*/ 2147483647 h 640"/>
                <a:gd name="T50" fmla="*/ 2147483647 w 2706"/>
                <a:gd name="T51" fmla="*/ 2147483647 h 640"/>
                <a:gd name="T52" fmla="*/ 2147483647 w 2706"/>
                <a:gd name="T53" fmla="*/ 2147483647 h 640"/>
                <a:gd name="T54" fmla="*/ 2147483647 w 2706"/>
                <a:gd name="T55" fmla="*/ 2147483647 h 640"/>
                <a:gd name="T56" fmla="*/ 2147483647 w 2706"/>
                <a:gd name="T57" fmla="*/ 2147483647 h 640"/>
                <a:gd name="T58" fmla="*/ 2147483647 w 2706"/>
                <a:gd name="T59" fmla="*/ 2147483647 h 640"/>
                <a:gd name="T60" fmla="*/ 2147483647 w 2706"/>
                <a:gd name="T61" fmla="*/ 2147483647 h 640"/>
                <a:gd name="T62" fmla="*/ 2147483647 w 2706"/>
                <a:gd name="T63" fmla="*/ 2147483647 h 640"/>
                <a:gd name="T64" fmla="*/ 2147483647 w 2706"/>
                <a:gd name="T65" fmla="*/ 2147483647 h 640"/>
                <a:gd name="T66" fmla="*/ 2147483647 w 2706"/>
                <a:gd name="T67" fmla="*/ 2147483647 h 640"/>
                <a:gd name="T68" fmla="*/ 2147483647 w 2706"/>
                <a:gd name="T69" fmla="*/ 2147483647 h 640"/>
                <a:gd name="T70" fmla="*/ 2147483647 w 2706"/>
                <a:gd name="T71" fmla="*/ 2147483647 h 640"/>
                <a:gd name="T72" fmla="*/ 2147483647 w 2706"/>
                <a:gd name="T73" fmla="*/ 2147483647 h 640"/>
                <a:gd name="T74" fmla="*/ 2147483647 w 2706"/>
                <a:gd name="T75" fmla="*/ 2147483647 h 640"/>
                <a:gd name="T76" fmla="*/ 2147483647 w 2706"/>
                <a:gd name="T77" fmla="*/ 2147483647 h 640"/>
                <a:gd name="T78" fmla="*/ 2147483647 w 2706"/>
                <a:gd name="T79" fmla="*/ 2147483647 h 640"/>
                <a:gd name="T80" fmla="*/ 2147483647 w 2706"/>
                <a:gd name="T81" fmla="*/ 2147483647 h 640"/>
                <a:gd name="T82" fmla="*/ 2147483647 w 2706"/>
                <a:gd name="T83" fmla="*/ 2147483647 h 640"/>
                <a:gd name="T84" fmla="*/ 2147483647 w 2706"/>
                <a:gd name="T85" fmla="*/ 2147483647 h 640"/>
                <a:gd name="T86" fmla="*/ 2147483647 w 2706"/>
                <a:gd name="T87" fmla="*/ 2147483647 h 640"/>
                <a:gd name="T88" fmla="*/ 2147483647 w 2706"/>
                <a:gd name="T89" fmla="*/ 2147483647 h 640"/>
                <a:gd name="T90" fmla="*/ 2147483647 w 2706"/>
                <a:gd name="T91" fmla="*/ 2147483647 h 640"/>
                <a:gd name="T92" fmla="*/ 2147483647 w 2706"/>
                <a:gd name="T93" fmla="*/ 2147483647 h 640"/>
                <a:gd name="T94" fmla="*/ 2147483647 w 2706"/>
                <a:gd name="T95" fmla="*/ 2147483647 h 640"/>
                <a:gd name="T96" fmla="*/ 2147483647 w 2706"/>
                <a:gd name="T97" fmla="*/ 2147483647 h 640"/>
                <a:gd name="T98" fmla="*/ 2147483647 w 2706"/>
                <a:gd name="T99" fmla="*/ 2147483647 h 640"/>
                <a:gd name="T100" fmla="*/ 2147483647 w 2706"/>
                <a:gd name="T101" fmla="*/ 2147483647 h 640"/>
                <a:gd name="T102" fmla="*/ 2147483647 w 2706"/>
                <a:gd name="T103" fmla="*/ 2147483647 h 640"/>
                <a:gd name="T104" fmla="*/ 2147483647 w 2706"/>
                <a:gd name="T105" fmla="*/ 2147483647 h 640"/>
                <a:gd name="T106" fmla="*/ 2147483647 w 2706"/>
                <a:gd name="T107" fmla="*/ 0 h 640"/>
                <a:gd name="T108" fmla="*/ 2147483647 w 2706"/>
                <a:gd name="T109" fmla="*/ 0 h 640"/>
                <a:gd name="T110" fmla="*/ 2147483647 w 2706"/>
                <a:gd name="T111" fmla="*/ 0 h 640"/>
                <a:gd name="T112" fmla="*/ 2147483647 w 2706"/>
                <a:gd name="T113" fmla="*/ 0 h 64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706" h="640">
                  <a:moveTo>
                    <a:pt x="2700" y="0"/>
                  </a:moveTo>
                  <a:lnTo>
                    <a:pt x="2700" y="0"/>
                  </a:lnTo>
                  <a:lnTo>
                    <a:pt x="2586" y="18"/>
                  </a:lnTo>
                  <a:lnTo>
                    <a:pt x="2470" y="38"/>
                  </a:lnTo>
                  <a:lnTo>
                    <a:pt x="2352" y="60"/>
                  </a:lnTo>
                  <a:lnTo>
                    <a:pt x="2230" y="82"/>
                  </a:lnTo>
                  <a:lnTo>
                    <a:pt x="2106" y="108"/>
                  </a:lnTo>
                  <a:lnTo>
                    <a:pt x="1978" y="134"/>
                  </a:lnTo>
                  <a:lnTo>
                    <a:pt x="1848" y="164"/>
                  </a:lnTo>
                  <a:lnTo>
                    <a:pt x="1714" y="194"/>
                  </a:lnTo>
                  <a:lnTo>
                    <a:pt x="1472" y="252"/>
                  </a:lnTo>
                  <a:lnTo>
                    <a:pt x="1236" y="304"/>
                  </a:lnTo>
                  <a:lnTo>
                    <a:pt x="1010" y="352"/>
                  </a:lnTo>
                  <a:lnTo>
                    <a:pt x="792" y="398"/>
                  </a:lnTo>
                  <a:lnTo>
                    <a:pt x="584" y="438"/>
                  </a:lnTo>
                  <a:lnTo>
                    <a:pt x="382" y="474"/>
                  </a:lnTo>
                  <a:lnTo>
                    <a:pt x="188" y="508"/>
                  </a:lnTo>
                  <a:lnTo>
                    <a:pt x="0" y="538"/>
                  </a:lnTo>
                  <a:lnTo>
                    <a:pt x="130" y="556"/>
                  </a:lnTo>
                  <a:lnTo>
                    <a:pt x="254" y="572"/>
                  </a:lnTo>
                  <a:lnTo>
                    <a:pt x="374" y="586"/>
                  </a:lnTo>
                  <a:lnTo>
                    <a:pt x="492" y="598"/>
                  </a:lnTo>
                  <a:lnTo>
                    <a:pt x="606" y="610"/>
                  </a:lnTo>
                  <a:lnTo>
                    <a:pt x="716" y="618"/>
                  </a:lnTo>
                  <a:lnTo>
                    <a:pt x="822" y="626"/>
                  </a:lnTo>
                  <a:lnTo>
                    <a:pt x="926" y="632"/>
                  </a:lnTo>
                  <a:lnTo>
                    <a:pt x="1028" y="636"/>
                  </a:lnTo>
                  <a:lnTo>
                    <a:pt x="1126" y="638"/>
                  </a:lnTo>
                  <a:lnTo>
                    <a:pt x="1220" y="640"/>
                  </a:lnTo>
                  <a:lnTo>
                    <a:pt x="1312" y="640"/>
                  </a:lnTo>
                  <a:lnTo>
                    <a:pt x="1402" y="638"/>
                  </a:lnTo>
                  <a:lnTo>
                    <a:pt x="1490" y="636"/>
                  </a:lnTo>
                  <a:lnTo>
                    <a:pt x="1574" y="632"/>
                  </a:lnTo>
                  <a:lnTo>
                    <a:pt x="1656" y="626"/>
                  </a:lnTo>
                  <a:lnTo>
                    <a:pt x="1734" y="620"/>
                  </a:lnTo>
                  <a:lnTo>
                    <a:pt x="1812" y="612"/>
                  </a:lnTo>
                  <a:lnTo>
                    <a:pt x="1886" y="602"/>
                  </a:lnTo>
                  <a:lnTo>
                    <a:pt x="1960" y="592"/>
                  </a:lnTo>
                  <a:lnTo>
                    <a:pt x="2030" y="580"/>
                  </a:lnTo>
                  <a:lnTo>
                    <a:pt x="2100" y="568"/>
                  </a:lnTo>
                  <a:lnTo>
                    <a:pt x="2166" y="554"/>
                  </a:lnTo>
                  <a:lnTo>
                    <a:pt x="2232" y="540"/>
                  </a:lnTo>
                  <a:lnTo>
                    <a:pt x="2296" y="524"/>
                  </a:lnTo>
                  <a:lnTo>
                    <a:pt x="2358" y="508"/>
                  </a:lnTo>
                  <a:lnTo>
                    <a:pt x="2418" y="490"/>
                  </a:lnTo>
                  <a:lnTo>
                    <a:pt x="2478" y="472"/>
                  </a:lnTo>
                  <a:lnTo>
                    <a:pt x="2592" y="432"/>
                  </a:lnTo>
                  <a:lnTo>
                    <a:pt x="2702" y="390"/>
                  </a:lnTo>
                  <a:lnTo>
                    <a:pt x="2706" y="388"/>
                  </a:lnTo>
                  <a:lnTo>
                    <a:pt x="2706" y="0"/>
                  </a:lnTo>
                  <a:lnTo>
                    <a:pt x="2700" y="0"/>
                  </a:lnTo>
                  <a:close/>
                </a:path>
              </a:pathLst>
            </a:custGeom>
            <a:solidFill>
              <a:schemeClr val="bg2">
                <a:alpha val="2901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r" rtl="1"/>
              <a:endParaRPr lang="en-GB" smtClean="0">
                <a:solidFill>
                  <a:prstClr val="black"/>
                </a:solidFill>
                <a:ea typeface="MS PGothic" panose="020B0600070205080204" pitchFamily="34" charset="-128"/>
              </a:endParaRPr>
            </a:p>
          </p:txBody>
        </p:sp>
        <p:sp>
          <p:nvSpPr>
            <p:cNvPr id="1034" name="Freeform 18"/>
            <p:cNvSpPr>
              <a:spLocks/>
            </p:cNvSpPr>
            <p:nvPr/>
          </p:nvSpPr>
          <p:spPr bwMode="hidden">
            <a:xfrm>
              <a:off x="-309563" y="4318000"/>
              <a:ext cx="8280401" cy="1209675"/>
            </a:xfrm>
            <a:custGeom>
              <a:avLst/>
              <a:gdLst>
                <a:gd name="T0" fmla="*/ 2147483647 w 5216"/>
                <a:gd name="T1" fmla="*/ 2147483647 h 762"/>
                <a:gd name="T2" fmla="*/ 2147483647 w 5216"/>
                <a:gd name="T3" fmla="*/ 2147483647 h 762"/>
                <a:gd name="T4" fmla="*/ 2147483647 w 5216"/>
                <a:gd name="T5" fmla="*/ 2147483647 h 762"/>
                <a:gd name="T6" fmla="*/ 2147483647 w 5216"/>
                <a:gd name="T7" fmla="*/ 2147483647 h 762"/>
                <a:gd name="T8" fmla="*/ 2147483647 w 5216"/>
                <a:gd name="T9" fmla="*/ 2147483647 h 762"/>
                <a:gd name="T10" fmla="*/ 2147483647 w 5216"/>
                <a:gd name="T11" fmla="*/ 2147483647 h 762"/>
                <a:gd name="T12" fmla="*/ 2147483647 w 5216"/>
                <a:gd name="T13" fmla="*/ 2147483647 h 762"/>
                <a:gd name="T14" fmla="*/ 2147483647 w 5216"/>
                <a:gd name="T15" fmla="*/ 2147483647 h 762"/>
                <a:gd name="T16" fmla="*/ 2147483647 w 5216"/>
                <a:gd name="T17" fmla="*/ 2147483647 h 762"/>
                <a:gd name="T18" fmla="*/ 2147483647 w 5216"/>
                <a:gd name="T19" fmla="*/ 2147483647 h 762"/>
                <a:gd name="T20" fmla="*/ 2147483647 w 5216"/>
                <a:gd name="T21" fmla="*/ 2147483647 h 762"/>
                <a:gd name="T22" fmla="*/ 2147483647 w 5216"/>
                <a:gd name="T23" fmla="*/ 2147483647 h 762"/>
                <a:gd name="T24" fmla="*/ 2147483647 w 5216"/>
                <a:gd name="T25" fmla="*/ 2147483647 h 762"/>
                <a:gd name="T26" fmla="*/ 2147483647 w 5216"/>
                <a:gd name="T27" fmla="*/ 0 h 762"/>
                <a:gd name="T28" fmla="*/ 2147483647 w 5216"/>
                <a:gd name="T29" fmla="*/ 2147483647 h 762"/>
                <a:gd name="T30" fmla="*/ 2147483647 w 5216"/>
                <a:gd name="T31" fmla="*/ 2147483647 h 762"/>
                <a:gd name="T32" fmla="*/ 0 w 5216"/>
                <a:gd name="T33" fmla="*/ 2147483647 h 762"/>
                <a:gd name="T34" fmla="*/ 2147483647 w 5216"/>
                <a:gd name="T35" fmla="*/ 2147483647 h 762"/>
                <a:gd name="T36" fmla="*/ 2147483647 w 5216"/>
                <a:gd name="T37" fmla="*/ 2147483647 h 762"/>
                <a:gd name="T38" fmla="*/ 2147483647 w 5216"/>
                <a:gd name="T39" fmla="*/ 2147483647 h 762"/>
                <a:gd name="T40" fmla="*/ 2147483647 w 5216"/>
                <a:gd name="T41" fmla="*/ 2147483647 h 762"/>
                <a:gd name="T42" fmla="*/ 2147483647 w 5216"/>
                <a:gd name="T43" fmla="*/ 2147483647 h 762"/>
                <a:gd name="T44" fmla="*/ 2147483647 w 5216"/>
                <a:gd name="T45" fmla="*/ 2147483647 h 762"/>
                <a:gd name="T46" fmla="*/ 2147483647 w 5216"/>
                <a:gd name="T47" fmla="*/ 2147483647 h 762"/>
                <a:gd name="T48" fmla="*/ 2147483647 w 5216"/>
                <a:gd name="T49" fmla="*/ 2147483647 h 762"/>
                <a:gd name="T50" fmla="*/ 2147483647 w 5216"/>
                <a:gd name="T51" fmla="*/ 2147483647 h 762"/>
                <a:gd name="T52" fmla="*/ 2147483647 w 5216"/>
                <a:gd name="T53" fmla="*/ 2147483647 h 762"/>
                <a:gd name="T54" fmla="*/ 2147483647 w 5216"/>
                <a:gd name="T55" fmla="*/ 2147483647 h 762"/>
                <a:gd name="T56" fmla="*/ 2147483647 w 5216"/>
                <a:gd name="T57" fmla="*/ 2147483647 h 762"/>
                <a:gd name="T58" fmla="*/ 2147483647 w 5216"/>
                <a:gd name="T59" fmla="*/ 2147483647 h 762"/>
                <a:gd name="T60" fmla="*/ 2147483647 w 5216"/>
                <a:gd name="T61" fmla="*/ 2147483647 h 762"/>
                <a:gd name="T62" fmla="*/ 2147483647 w 5216"/>
                <a:gd name="T63" fmla="*/ 2147483647 h 762"/>
                <a:gd name="T64" fmla="*/ 2147483647 w 5216"/>
                <a:gd name="T65" fmla="*/ 2147483647 h 762"/>
                <a:gd name="T66" fmla="*/ 2147483647 w 5216"/>
                <a:gd name="T67" fmla="*/ 2147483647 h 762"/>
                <a:gd name="T68" fmla="*/ 2147483647 w 5216"/>
                <a:gd name="T69" fmla="*/ 2147483647 h 762"/>
                <a:gd name="T70" fmla="*/ 2147483647 w 5216"/>
                <a:gd name="T71" fmla="*/ 2147483647 h 76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216" h="762">
                  <a:moveTo>
                    <a:pt x="5216" y="714"/>
                  </a:moveTo>
                  <a:lnTo>
                    <a:pt x="5216" y="714"/>
                  </a:lnTo>
                  <a:lnTo>
                    <a:pt x="5102" y="700"/>
                  </a:lnTo>
                  <a:lnTo>
                    <a:pt x="4984" y="686"/>
                  </a:lnTo>
                  <a:lnTo>
                    <a:pt x="4738" y="652"/>
                  </a:lnTo>
                  <a:lnTo>
                    <a:pt x="4478" y="610"/>
                  </a:lnTo>
                  <a:lnTo>
                    <a:pt x="4204" y="564"/>
                  </a:lnTo>
                  <a:lnTo>
                    <a:pt x="3914" y="508"/>
                  </a:lnTo>
                  <a:lnTo>
                    <a:pt x="3608" y="446"/>
                  </a:lnTo>
                  <a:lnTo>
                    <a:pt x="3286" y="374"/>
                  </a:lnTo>
                  <a:lnTo>
                    <a:pt x="2946" y="296"/>
                  </a:lnTo>
                  <a:lnTo>
                    <a:pt x="2812" y="266"/>
                  </a:lnTo>
                  <a:lnTo>
                    <a:pt x="2682" y="236"/>
                  </a:lnTo>
                  <a:lnTo>
                    <a:pt x="2556" y="210"/>
                  </a:lnTo>
                  <a:lnTo>
                    <a:pt x="2430" y="184"/>
                  </a:lnTo>
                  <a:lnTo>
                    <a:pt x="2308" y="162"/>
                  </a:lnTo>
                  <a:lnTo>
                    <a:pt x="2190" y="140"/>
                  </a:lnTo>
                  <a:lnTo>
                    <a:pt x="2074" y="120"/>
                  </a:lnTo>
                  <a:lnTo>
                    <a:pt x="1960" y="102"/>
                  </a:lnTo>
                  <a:lnTo>
                    <a:pt x="1850" y="86"/>
                  </a:lnTo>
                  <a:lnTo>
                    <a:pt x="1740" y="72"/>
                  </a:lnTo>
                  <a:lnTo>
                    <a:pt x="1532" y="46"/>
                  </a:lnTo>
                  <a:lnTo>
                    <a:pt x="1334" y="28"/>
                  </a:lnTo>
                  <a:lnTo>
                    <a:pt x="1148" y="14"/>
                  </a:lnTo>
                  <a:lnTo>
                    <a:pt x="970" y="4"/>
                  </a:lnTo>
                  <a:lnTo>
                    <a:pt x="802" y="0"/>
                  </a:lnTo>
                  <a:lnTo>
                    <a:pt x="644" y="0"/>
                  </a:lnTo>
                  <a:lnTo>
                    <a:pt x="496" y="4"/>
                  </a:lnTo>
                  <a:lnTo>
                    <a:pt x="358" y="10"/>
                  </a:lnTo>
                  <a:lnTo>
                    <a:pt x="230" y="20"/>
                  </a:lnTo>
                  <a:lnTo>
                    <a:pt x="110" y="32"/>
                  </a:lnTo>
                  <a:lnTo>
                    <a:pt x="0" y="48"/>
                  </a:lnTo>
                  <a:lnTo>
                    <a:pt x="154" y="66"/>
                  </a:lnTo>
                  <a:lnTo>
                    <a:pt x="314" y="86"/>
                  </a:lnTo>
                  <a:lnTo>
                    <a:pt x="480" y="112"/>
                  </a:lnTo>
                  <a:lnTo>
                    <a:pt x="652" y="140"/>
                  </a:lnTo>
                  <a:lnTo>
                    <a:pt x="830" y="174"/>
                  </a:lnTo>
                  <a:lnTo>
                    <a:pt x="1014" y="210"/>
                  </a:lnTo>
                  <a:lnTo>
                    <a:pt x="1206" y="250"/>
                  </a:lnTo>
                  <a:lnTo>
                    <a:pt x="1402" y="296"/>
                  </a:lnTo>
                  <a:lnTo>
                    <a:pt x="1756" y="378"/>
                  </a:lnTo>
                  <a:lnTo>
                    <a:pt x="2092" y="450"/>
                  </a:lnTo>
                  <a:lnTo>
                    <a:pt x="2408" y="516"/>
                  </a:lnTo>
                  <a:lnTo>
                    <a:pt x="2562" y="544"/>
                  </a:lnTo>
                  <a:lnTo>
                    <a:pt x="2708" y="572"/>
                  </a:lnTo>
                  <a:lnTo>
                    <a:pt x="2852" y="598"/>
                  </a:lnTo>
                  <a:lnTo>
                    <a:pt x="2992" y="620"/>
                  </a:lnTo>
                  <a:lnTo>
                    <a:pt x="3128" y="642"/>
                  </a:lnTo>
                  <a:lnTo>
                    <a:pt x="3260" y="662"/>
                  </a:lnTo>
                  <a:lnTo>
                    <a:pt x="3388" y="678"/>
                  </a:lnTo>
                  <a:lnTo>
                    <a:pt x="3512" y="694"/>
                  </a:lnTo>
                  <a:lnTo>
                    <a:pt x="3632" y="708"/>
                  </a:lnTo>
                  <a:lnTo>
                    <a:pt x="3750" y="722"/>
                  </a:lnTo>
                  <a:lnTo>
                    <a:pt x="3864" y="732"/>
                  </a:lnTo>
                  <a:lnTo>
                    <a:pt x="3974" y="740"/>
                  </a:lnTo>
                  <a:lnTo>
                    <a:pt x="4080" y="748"/>
                  </a:lnTo>
                  <a:lnTo>
                    <a:pt x="4184" y="754"/>
                  </a:lnTo>
                  <a:lnTo>
                    <a:pt x="4286" y="758"/>
                  </a:lnTo>
                  <a:lnTo>
                    <a:pt x="4384" y="762"/>
                  </a:lnTo>
                  <a:lnTo>
                    <a:pt x="4478" y="762"/>
                  </a:lnTo>
                  <a:lnTo>
                    <a:pt x="4570" y="762"/>
                  </a:lnTo>
                  <a:lnTo>
                    <a:pt x="4660" y="760"/>
                  </a:lnTo>
                  <a:lnTo>
                    <a:pt x="4746" y="758"/>
                  </a:lnTo>
                  <a:lnTo>
                    <a:pt x="4830" y="754"/>
                  </a:lnTo>
                  <a:lnTo>
                    <a:pt x="4912" y="748"/>
                  </a:lnTo>
                  <a:lnTo>
                    <a:pt x="4992" y="740"/>
                  </a:lnTo>
                  <a:lnTo>
                    <a:pt x="5068" y="732"/>
                  </a:lnTo>
                  <a:lnTo>
                    <a:pt x="5144" y="724"/>
                  </a:lnTo>
                  <a:lnTo>
                    <a:pt x="5216" y="714"/>
                  </a:lnTo>
                  <a:close/>
                </a:path>
              </a:pathLst>
            </a:custGeom>
            <a:solidFill>
              <a:schemeClr val="bg2">
                <a:alpha val="39999"/>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algn="r" rtl="1"/>
              <a:endParaRPr lang="en-GB" smtClean="0">
                <a:solidFill>
                  <a:prstClr val="black"/>
                </a:solidFill>
                <a:ea typeface="MS PGothic" panose="020B0600070205080204" pitchFamily="34" charset="-128"/>
              </a:endParaRPr>
            </a:p>
          </p:txBody>
        </p:sp>
        <p:sp>
          <p:nvSpPr>
            <p:cNvPr id="1035" name="Freeform 22"/>
            <p:cNvSpPr>
              <a:spLocks/>
            </p:cNvSpPr>
            <p:nvPr/>
          </p:nvSpPr>
          <p:spPr bwMode="hidden">
            <a:xfrm>
              <a:off x="3175" y="4335463"/>
              <a:ext cx="8166100" cy="1101725"/>
            </a:xfrm>
            <a:custGeom>
              <a:avLst/>
              <a:gdLst>
                <a:gd name="T0" fmla="*/ 0 w 5144"/>
                <a:gd name="T1" fmla="*/ 2147483647 h 694"/>
                <a:gd name="T2" fmla="*/ 0 w 5144"/>
                <a:gd name="T3" fmla="*/ 2147483647 h 694"/>
                <a:gd name="T4" fmla="*/ 2147483647 w 5144"/>
                <a:gd name="T5" fmla="*/ 2147483647 h 694"/>
                <a:gd name="T6" fmla="*/ 2147483647 w 5144"/>
                <a:gd name="T7" fmla="*/ 2147483647 h 694"/>
                <a:gd name="T8" fmla="*/ 2147483647 w 5144"/>
                <a:gd name="T9" fmla="*/ 2147483647 h 694"/>
                <a:gd name="T10" fmla="*/ 2147483647 w 5144"/>
                <a:gd name="T11" fmla="*/ 2147483647 h 694"/>
                <a:gd name="T12" fmla="*/ 2147483647 w 5144"/>
                <a:gd name="T13" fmla="*/ 2147483647 h 694"/>
                <a:gd name="T14" fmla="*/ 2147483647 w 5144"/>
                <a:gd name="T15" fmla="*/ 2147483647 h 694"/>
                <a:gd name="T16" fmla="*/ 2147483647 w 5144"/>
                <a:gd name="T17" fmla="*/ 2147483647 h 694"/>
                <a:gd name="T18" fmla="*/ 2147483647 w 5144"/>
                <a:gd name="T19" fmla="*/ 2147483647 h 694"/>
                <a:gd name="T20" fmla="*/ 2147483647 w 5144"/>
                <a:gd name="T21" fmla="*/ 2147483647 h 694"/>
                <a:gd name="T22" fmla="*/ 2147483647 w 5144"/>
                <a:gd name="T23" fmla="*/ 2147483647 h 694"/>
                <a:gd name="T24" fmla="*/ 2147483647 w 5144"/>
                <a:gd name="T25" fmla="*/ 0 h 694"/>
                <a:gd name="T26" fmla="*/ 2147483647 w 5144"/>
                <a:gd name="T27" fmla="*/ 2147483647 h 694"/>
                <a:gd name="T28" fmla="*/ 2147483647 w 5144"/>
                <a:gd name="T29" fmla="*/ 2147483647 h 694"/>
                <a:gd name="T30" fmla="*/ 2147483647 w 5144"/>
                <a:gd name="T31" fmla="*/ 2147483647 h 694"/>
                <a:gd name="T32" fmla="*/ 2147483647 w 5144"/>
                <a:gd name="T33" fmla="*/ 2147483647 h 694"/>
                <a:gd name="T34" fmla="*/ 2147483647 w 5144"/>
                <a:gd name="T35" fmla="*/ 2147483647 h 694"/>
                <a:gd name="T36" fmla="*/ 2147483647 w 5144"/>
                <a:gd name="T37" fmla="*/ 2147483647 h 694"/>
                <a:gd name="T38" fmla="*/ 2147483647 w 5144"/>
                <a:gd name="T39" fmla="*/ 2147483647 h 694"/>
                <a:gd name="T40" fmla="*/ 2147483647 w 5144"/>
                <a:gd name="T41" fmla="*/ 2147483647 h 694"/>
                <a:gd name="T42" fmla="*/ 2147483647 w 5144"/>
                <a:gd name="T43" fmla="*/ 2147483647 h 694"/>
                <a:gd name="T44" fmla="*/ 2147483647 w 5144"/>
                <a:gd name="T45" fmla="*/ 2147483647 h 694"/>
                <a:gd name="T46" fmla="*/ 2147483647 w 5144"/>
                <a:gd name="T47" fmla="*/ 2147483647 h 694"/>
                <a:gd name="T48" fmla="*/ 2147483647 w 5144"/>
                <a:gd name="T49" fmla="*/ 2147483647 h 694"/>
                <a:gd name="T50" fmla="*/ 2147483647 w 5144"/>
                <a:gd name="T51" fmla="*/ 2147483647 h 694"/>
                <a:gd name="T52" fmla="*/ 2147483647 w 5144"/>
                <a:gd name="T53" fmla="*/ 2147483647 h 694"/>
                <a:gd name="T54" fmla="*/ 2147483647 w 5144"/>
                <a:gd name="T55" fmla="*/ 2147483647 h 694"/>
                <a:gd name="T56" fmla="*/ 2147483647 w 5144"/>
                <a:gd name="T57" fmla="*/ 2147483647 h 694"/>
                <a:gd name="T58" fmla="*/ 2147483647 w 5144"/>
                <a:gd name="T59" fmla="*/ 2147483647 h 694"/>
                <a:gd name="T60" fmla="*/ 2147483647 w 5144"/>
                <a:gd name="T61" fmla="*/ 2147483647 h 69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144" h="694">
                  <a:moveTo>
                    <a:pt x="0" y="70"/>
                  </a:moveTo>
                  <a:lnTo>
                    <a:pt x="0" y="70"/>
                  </a:lnTo>
                  <a:lnTo>
                    <a:pt x="18" y="66"/>
                  </a:lnTo>
                  <a:lnTo>
                    <a:pt x="72" y="56"/>
                  </a:lnTo>
                  <a:lnTo>
                    <a:pt x="164" y="42"/>
                  </a:lnTo>
                  <a:lnTo>
                    <a:pt x="224" y="34"/>
                  </a:lnTo>
                  <a:lnTo>
                    <a:pt x="294" y="26"/>
                  </a:lnTo>
                  <a:lnTo>
                    <a:pt x="372" y="20"/>
                  </a:lnTo>
                  <a:lnTo>
                    <a:pt x="462" y="14"/>
                  </a:lnTo>
                  <a:lnTo>
                    <a:pt x="560" y="8"/>
                  </a:lnTo>
                  <a:lnTo>
                    <a:pt x="670" y="4"/>
                  </a:lnTo>
                  <a:lnTo>
                    <a:pt x="790" y="2"/>
                  </a:lnTo>
                  <a:lnTo>
                    <a:pt x="920" y="0"/>
                  </a:lnTo>
                  <a:lnTo>
                    <a:pt x="1060" y="2"/>
                  </a:lnTo>
                  <a:lnTo>
                    <a:pt x="1210" y="6"/>
                  </a:lnTo>
                  <a:lnTo>
                    <a:pt x="1372" y="14"/>
                  </a:lnTo>
                  <a:lnTo>
                    <a:pt x="1544" y="24"/>
                  </a:lnTo>
                  <a:lnTo>
                    <a:pt x="1726" y="40"/>
                  </a:lnTo>
                  <a:lnTo>
                    <a:pt x="1920" y="58"/>
                  </a:lnTo>
                  <a:lnTo>
                    <a:pt x="2126" y="80"/>
                  </a:lnTo>
                  <a:lnTo>
                    <a:pt x="2342" y="106"/>
                  </a:lnTo>
                  <a:lnTo>
                    <a:pt x="2570" y="138"/>
                  </a:lnTo>
                  <a:lnTo>
                    <a:pt x="2808" y="174"/>
                  </a:lnTo>
                  <a:lnTo>
                    <a:pt x="3058" y="216"/>
                  </a:lnTo>
                  <a:lnTo>
                    <a:pt x="3320" y="266"/>
                  </a:lnTo>
                  <a:lnTo>
                    <a:pt x="3594" y="320"/>
                  </a:lnTo>
                  <a:lnTo>
                    <a:pt x="3880" y="380"/>
                  </a:lnTo>
                  <a:lnTo>
                    <a:pt x="4178" y="448"/>
                  </a:lnTo>
                  <a:lnTo>
                    <a:pt x="4488" y="522"/>
                  </a:lnTo>
                  <a:lnTo>
                    <a:pt x="4810" y="604"/>
                  </a:lnTo>
                  <a:lnTo>
                    <a:pt x="5144" y="694"/>
                  </a:lnTo>
                </a:path>
              </a:pathLst>
            </a:custGeom>
            <a:noFill/>
            <a:ln w="12">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r" rtl="1"/>
              <a:endParaRPr lang="en-GB" smtClean="0">
                <a:solidFill>
                  <a:prstClr val="black"/>
                </a:solidFill>
                <a:ea typeface="MS PGothic" panose="020B0600070205080204" pitchFamily="34" charset="-128"/>
              </a:endParaRPr>
            </a:p>
          </p:txBody>
        </p:sp>
        <p:sp>
          <p:nvSpPr>
            <p:cNvPr id="1036" name="Freeform 26"/>
            <p:cNvSpPr>
              <a:spLocks/>
            </p:cNvSpPr>
            <p:nvPr/>
          </p:nvSpPr>
          <p:spPr bwMode="hidden">
            <a:xfrm>
              <a:off x="4156075" y="4316413"/>
              <a:ext cx="4940300" cy="927100"/>
            </a:xfrm>
            <a:custGeom>
              <a:avLst/>
              <a:gdLst>
                <a:gd name="T0" fmla="*/ 0 w 3112"/>
                <a:gd name="T1" fmla="*/ 2147483647 h 584"/>
                <a:gd name="T2" fmla="*/ 0 w 3112"/>
                <a:gd name="T3" fmla="*/ 2147483647 h 584"/>
                <a:gd name="T4" fmla="*/ 2147483647 w 3112"/>
                <a:gd name="T5" fmla="*/ 2147483647 h 584"/>
                <a:gd name="T6" fmla="*/ 2147483647 w 3112"/>
                <a:gd name="T7" fmla="*/ 2147483647 h 584"/>
                <a:gd name="T8" fmla="*/ 2147483647 w 3112"/>
                <a:gd name="T9" fmla="*/ 2147483647 h 584"/>
                <a:gd name="T10" fmla="*/ 2147483647 w 3112"/>
                <a:gd name="T11" fmla="*/ 2147483647 h 584"/>
                <a:gd name="T12" fmla="*/ 2147483647 w 3112"/>
                <a:gd name="T13" fmla="*/ 2147483647 h 584"/>
                <a:gd name="T14" fmla="*/ 2147483647 w 3112"/>
                <a:gd name="T15" fmla="*/ 2147483647 h 584"/>
                <a:gd name="T16" fmla="*/ 2147483647 w 3112"/>
                <a:gd name="T17" fmla="*/ 2147483647 h 584"/>
                <a:gd name="T18" fmla="*/ 2147483647 w 3112"/>
                <a:gd name="T19" fmla="*/ 2147483647 h 584"/>
                <a:gd name="T20" fmla="*/ 2147483647 w 3112"/>
                <a:gd name="T21" fmla="*/ 2147483647 h 584"/>
                <a:gd name="T22" fmla="*/ 2147483647 w 3112"/>
                <a:gd name="T23" fmla="*/ 2147483647 h 584"/>
                <a:gd name="T24" fmla="*/ 2147483647 w 3112"/>
                <a:gd name="T25" fmla="*/ 2147483647 h 584"/>
                <a:gd name="T26" fmla="*/ 2147483647 w 3112"/>
                <a:gd name="T27" fmla="*/ 2147483647 h 584"/>
                <a:gd name="T28" fmla="*/ 2147483647 w 3112"/>
                <a:gd name="T29" fmla="*/ 2147483647 h 584"/>
                <a:gd name="T30" fmla="*/ 2147483647 w 3112"/>
                <a:gd name="T31" fmla="*/ 2147483647 h 584"/>
                <a:gd name="T32" fmla="*/ 2147483647 w 3112"/>
                <a:gd name="T33" fmla="*/ 2147483647 h 584"/>
                <a:gd name="T34" fmla="*/ 2147483647 w 3112"/>
                <a:gd name="T35" fmla="*/ 2147483647 h 584"/>
                <a:gd name="T36" fmla="*/ 2147483647 w 3112"/>
                <a:gd name="T37" fmla="*/ 2147483647 h 584"/>
                <a:gd name="T38" fmla="*/ 2147483647 w 3112"/>
                <a:gd name="T39" fmla="*/ 0 h 58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3112" h="584">
                  <a:moveTo>
                    <a:pt x="0" y="584"/>
                  </a:moveTo>
                  <a:lnTo>
                    <a:pt x="0" y="584"/>
                  </a:lnTo>
                  <a:lnTo>
                    <a:pt x="90" y="560"/>
                  </a:lnTo>
                  <a:lnTo>
                    <a:pt x="336" y="498"/>
                  </a:lnTo>
                  <a:lnTo>
                    <a:pt x="506" y="456"/>
                  </a:lnTo>
                  <a:lnTo>
                    <a:pt x="702" y="410"/>
                  </a:lnTo>
                  <a:lnTo>
                    <a:pt x="920" y="360"/>
                  </a:lnTo>
                  <a:lnTo>
                    <a:pt x="1154" y="306"/>
                  </a:lnTo>
                  <a:lnTo>
                    <a:pt x="1402" y="254"/>
                  </a:lnTo>
                  <a:lnTo>
                    <a:pt x="1656" y="202"/>
                  </a:lnTo>
                  <a:lnTo>
                    <a:pt x="1916" y="154"/>
                  </a:lnTo>
                  <a:lnTo>
                    <a:pt x="2174" y="108"/>
                  </a:lnTo>
                  <a:lnTo>
                    <a:pt x="2302" y="88"/>
                  </a:lnTo>
                  <a:lnTo>
                    <a:pt x="2426" y="68"/>
                  </a:lnTo>
                  <a:lnTo>
                    <a:pt x="2550" y="52"/>
                  </a:lnTo>
                  <a:lnTo>
                    <a:pt x="2670" y="36"/>
                  </a:lnTo>
                  <a:lnTo>
                    <a:pt x="2788" y="24"/>
                  </a:lnTo>
                  <a:lnTo>
                    <a:pt x="2900" y="14"/>
                  </a:lnTo>
                  <a:lnTo>
                    <a:pt x="3008" y="6"/>
                  </a:lnTo>
                  <a:lnTo>
                    <a:pt x="3112" y="0"/>
                  </a:lnTo>
                </a:path>
              </a:pathLst>
            </a:custGeom>
            <a:noFill/>
            <a:ln w="12">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algn="r" rtl="1"/>
              <a:endParaRPr lang="en-GB" smtClean="0">
                <a:solidFill>
                  <a:prstClr val="black"/>
                </a:solidFill>
                <a:ea typeface="MS PGothic" panose="020B0600070205080204" pitchFamily="34" charset="-128"/>
              </a:endParaRPr>
            </a:p>
          </p:txBody>
        </p:sp>
        <p:sp useBgFill="1">
          <p:nvSpPr>
            <p:cNvPr id="1037" name="Freeform 10"/>
            <p:cNvSpPr>
              <a:spLocks/>
            </p:cNvSpPr>
            <p:nvPr/>
          </p:nvSpPr>
          <p:spPr bwMode="hidden">
            <a:xfrm>
              <a:off x="-3905251" y="4294188"/>
              <a:ext cx="13027839" cy="1892300"/>
            </a:xfrm>
            <a:custGeom>
              <a:avLst/>
              <a:gdLst>
                <a:gd name="T0" fmla="*/ 2147483647 w 8196"/>
                <a:gd name="T1" fmla="*/ 2147483647 h 1192"/>
                <a:gd name="T2" fmla="*/ 2147483647 w 8196"/>
                <a:gd name="T3" fmla="*/ 2147483647 h 1192"/>
                <a:gd name="T4" fmla="*/ 2147483647 w 8196"/>
                <a:gd name="T5" fmla="*/ 2147483647 h 1192"/>
                <a:gd name="T6" fmla="*/ 2147483647 w 8196"/>
                <a:gd name="T7" fmla="*/ 2147483647 h 1192"/>
                <a:gd name="T8" fmla="*/ 2147483647 w 8196"/>
                <a:gd name="T9" fmla="*/ 2147483647 h 1192"/>
                <a:gd name="T10" fmla="*/ 2147483647 w 8196"/>
                <a:gd name="T11" fmla="*/ 2147483647 h 1192"/>
                <a:gd name="T12" fmla="*/ 2147483647 w 8196"/>
                <a:gd name="T13" fmla="*/ 2147483647 h 1192"/>
                <a:gd name="T14" fmla="*/ 2147483647 w 8196"/>
                <a:gd name="T15" fmla="*/ 2147483647 h 1192"/>
                <a:gd name="T16" fmla="*/ 2147483647 w 8196"/>
                <a:gd name="T17" fmla="*/ 2147483647 h 1192"/>
                <a:gd name="T18" fmla="*/ 2147483647 w 8196"/>
                <a:gd name="T19" fmla="*/ 2147483647 h 1192"/>
                <a:gd name="T20" fmla="*/ 2147483647 w 8196"/>
                <a:gd name="T21" fmla="*/ 2147483647 h 1192"/>
                <a:gd name="T22" fmla="*/ 2147483647 w 8196"/>
                <a:gd name="T23" fmla="*/ 2147483647 h 1192"/>
                <a:gd name="T24" fmla="*/ 2147483647 w 8196"/>
                <a:gd name="T25" fmla="*/ 2147483647 h 1192"/>
                <a:gd name="T26" fmla="*/ 2147483647 w 8196"/>
                <a:gd name="T27" fmla="*/ 2147483647 h 1192"/>
                <a:gd name="T28" fmla="*/ 2147483647 w 8196"/>
                <a:gd name="T29" fmla="*/ 2147483647 h 1192"/>
                <a:gd name="T30" fmla="*/ 2147483647 w 8196"/>
                <a:gd name="T31" fmla="*/ 2147483647 h 1192"/>
                <a:gd name="T32" fmla="*/ 2147483647 w 8196"/>
                <a:gd name="T33" fmla="*/ 2147483647 h 1192"/>
                <a:gd name="T34" fmla="*/ 2147483647 w 8196"/>
                <a:gd name="T35" fmla="*/ 2147483647 h 1192"/>
                <a:gd name="T36" fmla="*/ 2147483647 w 8196"/>
                <a:gd name="T37" fmla="*/ 2147483647 h 1192"/>
                <a:gd name="T38" fmla="*/ 2147483647 w 8196"/>
                <a:gd name="T39" fmla="*/ 2147483647 h 1192"/>
                <a:gd name="T40" fmla="*/ 2147483647 w 8196"/>
                <a:gd name="T41" fmla="*/ 2147483647 h 1192"/>
                <a:gd name="T42" fmla="*/ 2147483647 w 8196"/>
                <a:gd name="T43" fmla="*/ 2147483647 h 1192"/>
                <a:gd name="T44" fmla="*/ 2147483647 w 8196"/>
                <a:gd name="T45" fmla="*/ 0 h 1192"/>
                <a:gd name="T46" fmla="*/ 2147483647 w 8196"/>
                <a:gd name="T47" fmla="*/ 2147483647 h 1192"/>
                <a:gd name="T48" fmla="*/ 2147483647 w 8196"/>
                <a:gd name="T49" fmla="*/ 2147483647 h 1192"/>
                <a:gd name="T50" fmla="*/ 2147483647 w 8196"/>
                <a:gd name="T51" fmla="*/ 2147483647 h 1192"/>
                <a:gd name="T52" fmla="*/ 2147483647 w 8196"/>
                <a:gd name="T53" fmla="*/ 2147483647 h 1192"/>
                <a:gd name="T54" fmla="*/ 2147483647 w 8196"/>
                <a:gd name="T55" fmla="*/ 2147483647 h 1192"/>
                <a:gd name="T56" fmla="*/ 2147483647 w 8196"/>
                <a:gd name="T57" fmla="*/ 2147483647 h 1192"/>
                <a:gd name="T58" fmla="*/ 2147483647 w 8196"/>
                <a:gd name="T59" fmla="*/ 2147483647 h 1192"/>
                <a:gd name="T60" fmla="*/ 2147483647 w 8196"/>
                <a:gd name="T61" fmla="*/ 2147483647 h 1192"/>
                <a:gd name="T62" fmla="*/ 0 w 8196"/>
                <a:gd name="T63" fmla="*/ 2147483647 h 1192"/>
                <a:gd name="T64" fmla="*/ 2147483647 w 8196"/>
                <a:gd name="T65" fmla="*/ 2147483647 h 1192"/>
                <a:gd name="T66" fmla="*/ 2147483647 w 8196"/>
                <a:gd name="T67" fmla="*/ 2147483647 h 1192"/>
                <a:gd name="T68" fmla="*/ 2147483647 w 8196"/>
                <a:gd name="T69" fmla="*/ 2147483647 h 1192"/>
                <a:gd name="T70" fmla="*/ 2147483647 w 8196"/>
                <a:gd name="T71" fmla="*/ 2147483647 h 1192"/>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8196" h="1192">
                  <a:moveTo>
                    <a:pt x="8192" y="512"/>
                  </a:moveTo>
                  <a:lnTo>
                    <a:pt x="8192" y="512"/>
                  </a:lnTo>
                  <a:lnTo>
                    <a:pt x="8116" y="542"/>
                  </a:lnTo>
                  <a:lnTo>
                    <a:pt x="8040" y="570"/>
                  </a:lnTo>
                  <a:lnTo>
                    <a:pt x="7960" y="596"/>
                  </a:lnTo>
                  <a:lnTo>
                    <a:pt x="7878" y="620"/>
                  </a:lnTo>
                  <a:lnTo>
                    <a:pt x="7794" y="644"/>
                  </a:lnTo>
                  <a:lnTo>
                    <a:pt x="7706" y="666"/>
                  </a:lnTo>
                  <a:lnTo>
                    <a:pt x="7616" y="684"/>
                  </a:lnTo>
                  <a:lnTo>
                    <a:pt x="7522" y="702"/>
                  </a:lnTo>
                  <a:lnTo>
                    <a:pt x="7424" y="718"/>
                  </a:lnTo>
                  <a:lnTo>
                    <a:pt x="7322" y="730"/>
                  </a:lnTo>
                  <a:lnTo>
                    <a:pt x="7216" y="742"/>
                  </a:lnTo>
                  <a:lnTo>
                    <a:pt x="7106" y="750"/>
                  </a:lnTo>
                  <a:lnTo>
                    <a:pt x="6992" y="758"/>
                  </a:lnTo>
                  <a:lnTo>
                    <a:pt x="6872" y="762"/>
                  </a:lnTo>
                  <a:lnTo>
                    <a:pt x="6748" y="762"/>
                  </a:lnTo>
                  <a:lnTo>
                    <a:pt x="6618" y="760"/>
                  </a:lnTo>
                  <a:lnTo>
                    <a:pt x="6482" y="756"/>
                  </a:lnTo>
                  <a:lnTo>
                    <a:pt x="6342" y="750"/>
                  </a:lnTo>
                  <a:lnTo>
                    <a:pt x="6196" y="740"/>
                  </a:lnTo>
                  <a:lnTo>
                    <a:pt x="6042" y="726"/>
                  </a:lnTo>
                  <a:lnTo>
                    <a:pt x="5882" y="710"/>
                  </a:lnTo>
                  <a:lnTo>
                    <a:pt x="5716" y="690"/>
                  </a:lnTo>
                  <a:lnTo>
                    <a:pt x="5544" y="668"/>
                  </a:lnTo>
                  <a:lnTo>
                    <a:pt x="5364" y="642"/>
                  </a:lnTo>
                  <a:lnTo>
                    <a:pt x="5176" y="612"/>
                  </a:lnTo>
                  <a:lnTo>
                    <a:pt x="4982" y="578"/>
                  </a:lnTo>
                  <a:lnTo>
                    <a:pt x="4778" y="540"/>
                  </a:lnTo>
                  <a:lnTo>
                    <a:pt x="4568" y="500"/>
                  </a:lnTo>
                  <a:lnTo>
                    <a:pt x="4348" y="454"/>
                  </a:lnTo>
                  <a:lnTo>
                    <a:pt x="4122" y="406"/>
                  </a:lnTo>
                  <a:lnTo>
                    <a:pt x="3886" y="354"/>
                  </a:lnTo>
                  <a:lnTo>
                    <a:pt x="3640" y="296"/>
                  </a:lnTo>
                  <a:lnTo>
                    <a:pt x="3396" y="240"/>
                  </a:lnTo>
                  <a:lnTo>
                    <a:pt x="3160" y="192"/>
                  </a:lnTo>
                  <a:lnTo>
                    <a:pt x="2934" y="148"/>
                  </a:lnTo>
                  <a:lnTo>
                    <a:pt x="2718" y="112"/>
                  </a:lnTo>
                  <a:lnTo>
                    <a:pt x="2512" y="82"/>
                  </a:lnTo>
                  <a:lnTo>
                    <a:pt x="2314" y="56"/>
                  </a:lnTo>
                  <a:lnTo>
                    <a:pt x="2126" y="36"/>
                  </a:lnTo>
                  <a:lnTo>
                    <a:pt x="1948" y="20"/>
                  </a:lnTo>
                  <a:lnTo>
                    <a:pt x="1776" y="10"/>
                  </a:lnTo>
                  <a:lnTo>
                    <a:pt x="1616" y="2"/>
                  </a:lnTo>
                  <a:lnTo>
                    <a:pt x="1462" y="0"/>
                  </a:lnTo>
                  <a:lnTo>
                    <a:pt x="1318" y="0"/>
                  </a:lnTo>
                  <a:lnTo>
                    <a:pt x="1182" y="4"/>
                  </a:lnTo>
                  <a:lnTo>
                    <a:pt x="1054" y="10"/>
                  </a:lnTo>
                  <a:lnTo>
                    <a:pt x="934" y="20"/>
                  </a:lnTo>
                  <a:lnTo>
                    <a:pt x="822" y="30"/>
                  </a:lnTo>
                  <a:lnTo>
                    <a:pt x="716" y="44"/>
                  </a:lnTo>
                  <a:lnTo>
                    <a:pt x="620" y="58"/>
                  </a:lnTo>
                  <a:lnTo>
                    <a:pt x="530" y="74"/>
                  </a:lnTo>
                  <a:lnTo>
                    <a:pt x="450" y="92"/>
                  </a:lnTo>
                  <a:lnTo>
                    <a:pt x="374" y="108"/>
                  </a:lnTo>
                  <a:lnTo>
                    <a:pt x="308" y="126"/>
                  </a:lnTo>
                  <a:lnTo>
                    <a:pt x="248" y="144"/>
                  </a:lnTo>
                  <a:lnTo>
                    <a:pt x="194" y="160"/>
                  </a:lnTo>
                  <a:lnTo>
                    <a:pt x="148" y="176"/>
                  </a:lnTo>
                  <a:lnTo>
                    <a:pt x="108" y="192"/>
                  </a:lnTo>
                  <a:lnTo>
                    <a:pt x="48" y="216"/>
                  </a:lnTo>
                  <a:lnTo>
                    <a:pt x="12" y="234"/>
                  </a:lnTo>
                  <a:lnTo>
                    <a:pt x="0" y="240"/>
                  </a:lnTo>
                  <a:lnTo>
                    <a:pt x="0" y="1192"/>
                  </a:lnTo>
                  <a:lnTo>
                    <a:pt x="8192" y="1192"/>
                  </a:lnTo>
                  <a:lnTo>
                    <a:pt x="8196" y="1186"/>
                  </a:lnTo>
                  <a:lnTo>
                    <a:pt x="8196" y="510"/>
                  </a:lnTo>
                  <a:lnTo>
                    <a:pt x="8192" y="512"/>
                  </a:lnTo>
                  <a:close/>
                </a:path>
              </a:pathLst>
            </a:custGeom>
            <a:ln>
              <a:noFill/>
            </a:ln>
            <a:extLst>
              <a:ext uri="{91240B29-F687-4F45-9708-019B960494DF}">
                <a14:hiddenLine xmlns:a14="http://schemas.microsoft.com/office/drawing/2010/main" w="9525">
                  <a:solidFill>
                    <a:srgbClr val="000000"/>
                  </a:solidFill>
                  <a:round/>
                  <a:headEnd/>
                  <a:tailEnd/>
                </a14:hiddenLine>
              </a:ext>
            </a:extLst>
          </p:spPr>
          <p:txBody>
            <a:bodyPr/>
            <a:lstStyle/>
            <a:p>
              <a:pPr algn="r" rtl="1"/>
              <a:endParaRPr lang="en-GB" smtClean="0">
                <a:solidFill>
                  <a:prstClr val="black"/>
                </a:solidFill>
                <a:ea typeface="MS PGothic" panose="020B0600070205080204" pitchFamily="34" charset="-128"/>
              </a:endParaRPr>
            </a:p>
          </p:txBody>
        </p:sp>
      </p:grpSp>
      <p:sp>
        <p:nvSpPr>
          <p:cNvPr id="1028" name="Title Placeholder 1"/>
          <p:cNvSpPr>
            <a:spLocks noGrp="1"/>
          </p:cNvSpPr>
          <p:nvPr>
            <p:ph type="title"/>
          </p:nvPr>
        </p:nvSpPr>
        <p:spPr bwMode="auto">
          <a:xfrm>
            <a:off x="457200" y="338138"/>
            <a:ext cx="8229600" cy="1252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4" name="Date Placeholder 3"/>
          <p:cNvSpPr>
            <a:spLocks noGrp="1"/>
          </p:cNvSpPr>
          <p:nvPr>
            <p:ph type="dt" sz="half" idx="2"/>
          </p:nvPr>
        </p:nvSpPr>
        <p:spPr>
          <a:xfrm>
            <a:off x="5164138" y="6249988"/>
            <a:ext cx="3786187" cy="365125"/>
          </a:xfrm>
          <a:prstGeom prst="rect">
            <a:avLst/>
          </a:prstGeom>
        </p:spPr>
        <p:txBody>
          <a:bodyPr vert="horz" lIns="91440" tIns="45720" rIns="91440" bIns="45720" rtlCol="0" anchor="ctr"/>
          <a:lstStyle>
            <a:lvl1pPr algn="r">
              <a:defRPr sz="1000">
                <a:solidFill>
                  <a:schemeClr val="tx2"/>
                </a:solidFill>
                <a:latin typeface="Arial" charset="0"/>
                <a:ea typeface="ＭＳ Ｐゴシック" charset="0"/>
                <a:cs typeface="Arial" charset="0"/>
              </a:defRPr>
            </a:lvl1pPr>
          </a:lstStyle>
          <a:p>
            <a:pPr rtl="1">
              <a:defRPr/>
            </a:pPr>
            <a:endParaRPr lang="en-US">
              <a:solidFill>
                <a:srgbClr val="073E87"/>
              </a:solidFill>
            </a:endParaRPr>
          </a:p>
        </p:txBody>
      </p:sp>
      <p:sp>
        <p:nvSpPr>
          <p:cNvPr id="5" name="Footer Placeholder 4"/>
          <p:cNvSpPr>
            <a:spLocks noGrp="1"/>
          </p:cNvSpPr>
          <p:nvPr>
            <p:ph type="ftr" sz="quarter" idx="3"/>
          </p:nvPr>
        </p:nvSpPr>
        <p:spPr>
          <a:xfrm>
            <a:off x="193675" y="6249988"/>
            <a:ext cx="3786188" cy="365125"/>
          </a:xfrm>
          <a:prstGeom prst="rect">
            <a:avLst/>
          </a:prstGeom>
        </p:spPr>
        <p:txBody>
          <a:bodyPr vert="horz" lIns="91440" tIns="45720" rIns="91440" bIns="45720" rtlCol="0" anchor="ctr"/>
          <a:lstStyle>
            <a:lvl1pPr algn="l">
              <a:defRPr sz="1000">
                <a:solidFill>
                  <a:schemeClr val="tx2"/>
                </a:solidFill>
                <a:latin typeface="Arial" charset="0"/>
                <a:ea typeface="ＭＳ Ｐゴシック" charset="0"/>
                <a:cs typeface="Arial" charset="0"/>
              </a:defRPr>
            </a:lvl1pPr>
          </a:lstStyle>
          <a:p>
            <a:pPr rtl="1">
              <a:defRPr/>
            </a:pPr>
            <a:endParaRPr lang="en-US">
              <a:solidFill>
                <a:srgbClr val="073E87"/>
              </a:solidFill>
            </a:endParaRPr>
          </a:p>
        </p:txBody>
      </p:sp>
      <p:sp>
        <p:nvSpPr>
          <p:cNvPr id="6" name="Slide Number Placeholder 5"/>
          <p:cNvSpPr>
            <a:spLocks noGrp="1"/>
          </p:cNvSpPr>
          <p:nvPr>
            <p:ph type="sldNum" sz="quarter" idx="4"/>
          </p:nvPr>
        </p:nvSpPr>
        <p:spPr>
          <a:xfrm>
            <a:off x="3990975" y="6249988"/>
            <a:ext cx="1162050" cy="365125"/>
          </a:xfrm>
          <a:prstGeom prst="rect">
            <a:avLst/>
          </a:prstGeom>
        </p:spPr>
        <p:txBody>
          <a:bodyPr vert="horz" wrap="square" lIns="91440" tIns="45720" rIns="91440" bIns="45720" numCol="1" anchor="ctr" anchorCtr="0" compatLnSpc="1">
            <a:prstTxWarp prst="textNoShape">
              <a:avLst/>
            </a:prstTxWarp>
          </a:bodyPr>
          <a:lstStyle>
            <a:lvl1pPr algn="ctr">
              <a:defRPr sz="1000">
                <a:solidFill>
                  <a:schemeClr val="tx2"/>
                </a:solidFill>
              </a:defRPr>
            </a:lvl1pPr>
          </a:lstStyle>
          <a:p>
            <a:pPr rtl="1"/>
            <a:fld id="{6B25F2A7-F364-40D9-8D56-D1FE656E753C}" type="slidenum">
              <a:rPr lang="ar-EG" smtClean="0">
                <a:solidFill>
                  <a:srgbClr val="073E87"/>
                </a:solidFill>
                <a:ea typeface="MS PGothic" panose="020B0600070205080204" pitchFamily="34" charset="-128"/>
              </a:rPr>
              <a:pPr rtl="1"/>
              <a:t>‹#›</a:t>
            </a:fld>
            <a:endParaRPr lang="ar-SA" smtClean="0">
              <a:solidFill>
                <a:srgbClr val="073E87"/>
              </a:solidFill>
              <a:ea typeface="MS PGothic" panose="020B0600070205080204" pitchFamily="34" charset="-128"/>
            </a:endParaRPr>
          </a:p>
        </p:txBody>
      </p:sp>
      <p:sp>
        <p:nvSpPr>
          <p:cNvPr id="1032" name="Text Placeholder 2"/>
          <p:cNvSpPr>
            <a:spLocks noGrp="1"/>
          </p:cNvSpPr>
          <p:nvPr>
            <p:ph type="body" idx="1"/>
          </p:nvPr>
        </p:nvSpPr>
        <p:spPr bwMode="auto">
          <a:xfrm>
            <a:off x="871538" y="2674938"/>
            <a:ext cx="7408862" cy="3451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4221517253"/>
      </p:ext>
    </p:extLst>
  </p:cSld>
  <p:clrMap bg1="lt1" tx1="dk1" bg2="lt2" tx2="dk2" accent1="accent1" accent2="accent2" accent3="accent3" accent4="accent4" accent5="accent5" accent6="accent6" hlink="hlink" folHlink="folHlink"/>
  <p:sldLayoutIdLst>
    <p:sldLayoutId id="2147483919" r:id="rId1"/>
  </p:sldLayoutIdLst>
  <p:txStyles>
    <p:titleStyle>
      <a:lvl1pPr algn="ctr" rtl="0" eaLnBrk="0" fontAlgn="base" hangingPunct="0">
        <a:spcBef>
          <a:spcPct val="0"/>
        </a:spcBef>
        <a:spcAft>
          <a:spcPct val="0"/>
        </a:spcAft>
        <a:defRPr sz="4400" kern="1200">
          <a:solidFill>
            <a:srgbClr val="FFFFFF"/>
          </a:solidFill>
          <a:latin typeface="Arial" panose="020B0604020202020204" pitchFamily="34" charset="0"/>
          <a:ea typeface="MS PGothic" panose="020B0600070205080204" pitchFamily="34" charset="-128"/>
          <a:cs typeface="ＭＳ Ｐゴシック" charset="0"/>
        </a:defRPr>
      </a:lvl1pPr>
      <a:lvl2pPr algn="ctr" rtl="0" eaLnBrk="0" fontAlgn="base" hangingPunct="0">
        <a:spcBef>
          <a:spcPct val="0"/>
        </a:spcBef>
        <a:spcAft>
          <a:spcPct val="0"/>
        </a:spcAft>
        <a:defRPr sz="4400">
          <a:solidFill>
            <a:srgbClr val="FFFFFF"/>
          </a:solidFill>
          <a:latin typeface="Arial" charset="0"/>
          <a:ea typeface="MS PGothic" panose="020B0600070205080204" pitchFamily="34" charset="-128"/>
          <a:cs typeface="ＭＳ Ｐゴシック" charset="0"/>
        </a:defRPr>
      </a:lvl2pPr>
      <a:lvl3pPr algn="ctr" rtl="0" eaLnBrk="0" fontAlgn="base" hangingPunct="0">
        <a:spcBef>
          <a:spcPct val="0"/>
        </a:spcBef>
        <a:spcAft>
          <a:spcPct val="0"/>
        </a:spcAft>
        <a:defRPr sz="4400">
          <a:solidFill>
            <a:srgbClr val="FFFFFF"/>
          </a:solidFill>
          <a:latin typeface="Arial" charset="0"/>
          <a:ea typeface="MS PGothic" panose="020B0600070205080204" pitchFamily="34" charset="-128"/>
          <a:cs typeface="ＭＳ Ｐゴシック" charset="0"/>
        </a:defRPr>
      </a:lvl3pPr>
      <a:lvl4pPr algn="ctr" rtl="0" eaLnBrk="0" fontAlgn="base" hangingPunct="0">
        <a:spcBef>
          <a:spcPct val="0"/>
        </a:spcBef>
        <a:spcAft>
          <a:spcPct val="0"/>
        </a:spcAft>
        <a:defRPr sz="4400">
          <a:solidFill>
            <a:srgbClr val="FFFFFF"/>
          </a:solidFill>
          <a:latin typeface="Arial" charset="0"/>
          <a:ea typeface="MS PGothic" panose="020B0600070205080204" pitchFamily="34" charset="-128"/>
          <a:cs typeface="ＭＳ Ｐゴシック" charset="0"/>
        </a:defRPr>
      </a:lvl4pPr>
      <a:lvl5pPr algn="ctr" rtl="0" eaLnBrk="0" fontAlgn="base" hangingPunct="0">
        <a:spcBef>
          <a:spcPct val="0"/>
        </a:spcBef>
        <a:spcAft>
          <a:spcPct val="0"/>
        </a:spcAft>
        <a:defRPr sz="4400">
          <a:solidFill>
            <a:srgbClr val="FFFFFF"/>
          </a:solidFill>
          <a:latin typeface="Arial" charset="0"/>
          <a:ea typeface="MS PGothic" panose="020B0600070205080204" pitchFamily="34" charset="-128"/>
          <a:cs typeface="ＭＳ Ｐゴシック" charset="0"/>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73050" indent="-273050" algn="l" rtl="0" eaLnBrk="0" fontAlgn="base" hangingPunct="0">
        <a:spcBef>
          <a:spcPct val="20000"/>
        </a:spcBef>
        <a:spcAft>
          <a:spcPct val="0"/>
        </a:spcAft>
        <a:buClr>
          <a:schemeClr val="accent1"/>
        </a:buClr>
        <a:buSzPct val="100000"/>
        <a:buFont typeface="Symbol" panose="05050102010706020507" pitchFamily="18" charset="2"/>
        <a:buChar char=""/>
        <a:defRPr sz="2400" kern="1200">
          <a:solidFill>
            <a:schemeClr val="tx2"/>
          </a:solidFill>
          <a:latin typeface="Arial" panose="020B0604020202020204" pitchFamily="34" charset="0"/>
          <a:ea typeface="MS PGothic" panose="020B0600070205080204" pitchFamily="34" charset="-128"/>
          <a:cs typeface="ＭＳ Ｐゴシック" charset="0"/>
        </a:defRPr>
      </a:lvl1pPr>
      <a:lvl2pPr marL="576263" indent="-273050" algn="l" rtl="0" eaLnBrk="0" fontAlgn="base" hangingPunct="0">
        <a:spcBef>
          <a:spcPct val="20000"/>
        </a:spcBef>
        <a:spcAft>
          <a:spcPct val="0"/>
        </a:spcAft>
        <a:buClr>
          <a:schemeClr val="accent1"/>
        </a:buClr>
        <a:buSzPct val="100000"/>
        <a:buFont typeface="Symbol" panose="05050102010706020507" pitchFamily="18" charset="2"/>
        <a:buChar char=""/>
        <a:defRPr sz="2200" kern="1200">
          <a:solidFill>
            <a:schemeClr val="tx2"/>
          </a:solidFill>
          <a:latin typeface="Arial" panose="020B0604020202020204" pitchFamily="34" charset="0"/>
          <a:ea typeface="MS PGothic" panose="020B0600070205080204" pitchFamily="34" charset="-128"/>
          <a:cs typeface="+mn-cs"/>
        </a:defRPr>
      </a:lvl2pPr>
      <a:lvl3pPr marL="855663" indent="-228600" algn="l" rtl="0" eaLnBrk="0" fontAlgn="base" hangingPunct="0">
        <a:spcBef>
          <a:spcPct val="20000"/>
        </a:spcBef>
        <a:spcAft>
          <a:spcPct val="0"/>
        </a:spcAft>
        <a:buClr>
          <a:schemeClr val="accent1"/>
        </a:buClr>
        <a:buSzPct val="100000"/>
        <a:buFont typeface="Symbol" panose="05050102010706020507" pitchFamily="18" charset="2"/>
        <a:buChar char=""/>
        <a:defRPr sz="2000" kern="1200">
          <a:solidFill>
            <a:schemeClr val="tx2"/>
          </a:solidFill>
          <a:latin typeface="Arial" panose="020B0604020202020204" pitchFamily="34" charset="0"/>
          <a:ea typeface="MS PGothic" panose="020B0600070205080204" pitchFamily="34" charset="-128"/>
          <a:cs typeface="+mn-cs"/>
        </a:defRPr>
      </a:lvl3pPr>
      <a:lvl4pPr marL="1143000" indent="-228600" algn="l" rtl="0" eaLnBrk="0" fontAlgn="base" hangingPunct="0">
        <a:spcBef>
          <a:spcPct val="20000"/>
        </a:spcBef>
        <a:spcAft>
          <a:spcPct val="0"/>
        </a:spcAft>
        <a:buClr>
          <a:schemeClr val="accent1"/>
        </a:buClr>
        <a:buSzPct val="100000"/>
        <a:buFont typeface="Symbol" panose="05050102010706020507" pitchFamily="18" charset="2"/>
        <a:buChar char=""/>
        <a:defRPr kern="1200">
          <a:solidFill>
            <a:schemeClr val="tx2"/>
          </a:solidFill>
          <a:latin typeface="Arial" panose="020B0604020202020204" pitchFamily="34" charset="0"/>
          <a:ea typeface="MS PGothic" panose="020B0600070205080204" pitchFamily="34" charset="-128"/>
          <a:cs typeface="+mn-cs"/>
        </a:defRPr>
      </a:lvl4pPr>
      <a:lvl5pPr marL="1462088" indent="-228600" algn="l" rtl="0" eaLnBrk="0" fontAlgn="base" hangingPunct="0">
        <a:spcBef>
          <a:spcPct val="20000"/>
        </a:spcBef>
        <a:spcAft>
          <a:spcPct val="0"/>
        </a:spcAft>
        <a:buClr>
          <a:schemeClr val="accent1"/>
        </a:buClr>
        <a:buSzPct val="100000"/>
        <a:buFont typeface="Symbol" panose="05050102010706020507" pitchFamily="18" charset="2"/>
        <a:buChar char=""/>
        <a:defRPr sz="1600" kern="1200">
          <a:solidFill>
            <a:schemeClr val="tx2"/>
          </a:solidFill>
          <a:latin typeface="Arial" panose="020B0604020202020204" pitchFamily="34" charset="0"/>
          <a:ea typeface="MS PGothic" panose="020B0600070205080204" pitchFamily="34" charset="-128"/>
          <a:cs typeface="+mn-cs"/>
        </a:defRPr>
      </a:lvl5pPr>
      <a:lvl6pPr marL="178308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6pPr>
      <a:lvl7pPr marL="210312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7pPr>
      <a:lvl8pPr marL="242316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8pPr>
      <a:lvl9pPr marL="2743200" indent="-228600" algn="l" defTabSz="914400" rtl="0" eaLnBrk="1" latinLnBrk="0" hangingPunct="1">
        <a:spcBef>
          <a:spcPts val="384"/>
        </a:spcBef>
        <a:buClr>
          <a:schemeClr val="accent1"/>
        </a:buClr>
        <a:buFont typeface="Symbol" pitchFamily="18" charset="2"/>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3" descr="1"/>
          <p:cNvPicPr>
            <a:picLocks noChangeAspect="1" noChangeArrowheads="1"/>
          </p:cNvPicPr>
          <p:nvPr userDrawn="1"/>
        </p:nvPicPr>
        <p:blipFill>
          <a:blip r:embed="rId3" cstate="print"/>
          <a:srcRect/>
          <a:stretch>
            <a:fillRect/>
          </a:stretch>
        </p:blipFill>
        <p:spPr bwMode="auto">
          <a:xfrm>
            <a:off x="0" y="11"/>
            <a:ext cx="9144000" cy="6858000"/>
          </a:xfrm>
          <a:prstGeom prst="rect">
            <a:avLst/>
          </a:prstGeom>
          <a:noFill/>
          <a:ln w="9525">
            <a:noFill/>
            <a:miter lim="800000"/>
            <a:headEnd/>
            <a:tailEnd/>
          </a:ln>
        </p:spPr>
      </p:pic>
      <p:sp>
        <p:nvSpPr>
          <p:cNvPr id="1038" name="Rectangle 14"/>
          <p:cNvSpPr>
            <a:spLocks noGrp="1" noChangeArrowheads="1"/>
          </p:cNvSpPr>
          <p:nvPr>
            <p:ph type="sldNum" sz="quarter" idx="4"/>
          </p:nvPr>
        </p:nvSpPr>
        <p:spPr bwMode="auto">
          <a:xfrm>
            <a:off x="6975476" y="6586539"/>
            <a:ext cx="2133600" cy="476250"/>
          </a:xfrm>
          <a:prstGeom prst="rect">
            <a:avLst/>
          </a:prstGeom>
          <a:noFill/>
          <a:ln w="9525">
            <a:noFill/>
            <a:miter lim="800000"/>
            <a:headEnd/>
            <a:tailEnd/>
          </a:ln>
          <a:effectLst/>
        </p:spPr>
        <p:txBody>
          <a:bodyPr vert="horz" wrap="square" lIns="91320" tIns="45661" rIns="91320" bIns="45661" numCol="1" anchor="t" anchorCtr="0" compatLnSpc="1">
            <a:prstTxWarp prst="textNoShape">
              <a:avLst/>
            </a:prstTxWarp>
          </a:bodyPr>
          <a:lstStyle>
            <a:lvl1pPr algn="r">
              <a:defRPr sz="1400" b="1">
                <a:solidFill>
                  <a:schemeClr val="bg1"/>
                </a:solidFill>
                <a:latin typeface="Arial" pitchFamily="34" charset="0"/>
                <a:ea typeface="굴림" pitchFamily="34" charset="-127"/>
              </a:defRPr>
            </a:lvl1pPr>
          </a:lstStyle>
          <a:p>
            <a:pPr fontAlgn="auto">
              <a:spcBef>
                <a:spcPts val="0"/>
              </a:spcBef>
              <a:spcAft>
                <a:spcPts val="0"/>
              </a:spcAft>
              <a:defRPr/>
            </a:pPr>
            <a:fld id="{B079E691-CE8C-4C69-801F-F615CE1A9DBD}" type="slidenum">
              <a:rPr lang="en-US" altLang="ko-KR">
                <a:solidFill>
                  <a:srgbClr val="FFFFFF"/>
                </a:solidFill>
              </a:rPr>
              <a:pPr fontAlgn="auto">
                <a:spcBef>
                  <a:spcPts val="0"/>
                </a:spcBef>
                <a:spcAft>
                  <a:spcPts val="0"/>
                </a:spcAft>
                <a:defRPr/>
              </a:pPr>
              <a:t>‹#›</a:t>
            </a:fld>
            <a:endParaRPr lang="en-US" altLang="ko-KR">
              <a:solidFill>
                <a:srgbClr val="FFFFFF"/>
              </a:solidFill>
            </a:endParaRPr>
          </a:p>
        </p:txBody>
      </p:sp>
      <p:pic>
        <p:nvPicPr>
          <p:cNvPr id="1028" name="Picture 2" descr="eg-flag1 moving"/>
          <p:cNvPicPr>
            <a:picLocks noChangeAspect="1" noChangeArrowheads="1" noCrop="1"/>
          </p:cNvPicPr>
          <p:nvPr userDrawn="1"/>
        </p:nvPicPr>
        <p:blipFill>
          <a:blip r:embed="rId4" cstate="print"/>
          <a:srcRect/>
          <a:stretch>
            <a:fillRect/>
          </a:stretch>
        </p:blipFill>
        <p:spPr bwMode="auto">
          <a:xfrm>
            <a:off x="179401" y="115899"/>
            <a:ext cx="1152525" cy="666750"/>
          </a:xfrm>
          <a:prstGeom prst="rect">
            <a:avLst/>
          </a:prstGeom>
          <a:noFill/>
          <a:ln w="9525">
            <a:noFill/>
            <a:miter lim="800000"/>
            <a:headEnd/>
            <a:tailEnd/>
          </a:ln>
        </p:spPr>
      </p:pic>
      <p:pic>
        <p:nvPicPr>
          <p:cNvPr id="5" name="Picture 4" descr="logo2.gif"/>
          <p:cNvPicPr>
            <a:picLocks noChangeAspect="1"/>
          </p:cNvPicPr>
          <p:nvPr userDrawn="1"/>
        </p:nvPicPr>
        <p:blipFill>
          <a:blip r:embed="rId5" cstate="print">
            <a:extLst/>
          </a:blip>
          <a:stretch>
            <a:fillRect/>
          </a:stretch>
        </p:blipFill>
        <p:spPr>
          <a:xfrm>
            <a:off x="7884379" y="2705"/>
            <a:ext cx="1080120" cy="1083228"/>
          </a:xfrm>
          <a:prstGeom prst="rect">
            <a:avLst/>
          </a:prstGeom>
          <a:ln>
            <a:noFill/>
          </a:ln>
          <a:effectLst>
            <a:glow rad="88900">
              <a:schemeClr val="bg1">
                <a:alpha val="9000"/>
              </a:schemeClr>
            </a:glow>
            <a:outerShdw blurRad="190500" algn="tl" rotWithShape="0">
              <a:srgbClr val="000000">
                <a:alpha val="70000"/>
              </a:srgbClr>
            </a:outerShdw>
          </a:effectLst>
        </p:spPr>
      </p:pic>
    </p:spTree>
    <p:extLst>
      <p:ext uri="{BB962C8B-B14F-4D97-AF65-F5344CB8AC3E}">
        <p14:creationId xmlns:p14="http://schemas.microsoft.com/office/powerpoint/2010/main" val="84873229"/>
      </p:ext>
    </p:extLst>
  </p:cSld>
  <p:clrMap bg1="lt1" tx1="dk1" bg2="lt2" tx2="dk2" accent1="accent1" accent2="accent2" accent3="accent3" accent4="accent4" accent5="accent5" accent6="accent6" hlink="hlink" folHlink="folHlink"/>
  <p:sldLayoutIdLst>
    <p:sldLayoutId id="2147483921" r:id="rId1"/>
  </p:sldLayoutIdLst>
  <p:transition>
    <p:zoom/>
  </p:transition>
  <p:timing>
    <p:tnLst>
      <p:par>
        <p:cTn id="1" dur="indefinite" restart="never" nodeType="tmRoot"/>
      </p:par>
    </p:tnLst>
  </p:timing>
  <p:hf hdr="0" ftr="0" dt="0"/>
  <p:txStyles>
    <p:titleStyle>
      <a:lvl1pPr algn="l" rtl="0" eaLnBrk="0" fontAlgn="base" latinLnBrk="1" hangingPunct="0">
        <a:spcBef>
          <a:spcPct val="0"/>
        </a:spcBef>
        <a:spcAft>
          <a:spcPct val="0"/>
        </a:spcAft>
        <a:defRPr kumimoji="1" sz="3200">
          <a:solidFill>
            <a:srgbClr val="FFFF00"/>
          </a:solidFill>
          <a:latin typeface="+mj-lt"/>
          <a:ea typeface="+mj-ea"/>
          <a:cs typeface="HY헤드라인M" charset="0"/>
        </a:defRPr>
      </a:lvl1pPr>
      <a:lvl2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2pPr>
      <a:lvl3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3pPr>
      <a:lvl4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4pPr>
      <a:lvl5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5pPr>
      <a:lvl6pPr marL="456601"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6pPr>
      <a:lvl7pPr marL="913193"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7pPr>
      <a:lvl8pPr marL="136979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8pPr>
      <a:lvl9pPr marL="1826387"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9pPr>
    </p:titleStyle>
    <p:bodyStyle>
      <a:lvl1pPr marL="342447" indent="-342447" algn="l" rtl="0" eaLnBrk="0" fontAlgn="base" latinLnBrk="1" hangingPunct="0">
        <a:spcBef>
          <a:spcPct val="20000"/>
        </a:spcBef>
        <a:spcAft>
          <a:spcPct val="0"/>
        </a:spcAft>
        <a:buChar char="•"/>
        <a:defRPr kumimoji="1" sz="3200">
          <a:solidFill>
            <a:schemeClr val="tx1"/>
          </a:solidFill>
          <a:latin typeface="Gulim" pitchFamily="34" charset="-127"/>
          <a:ea typeface="Gulim" pitchFamily="34" charset="-127"/>
          <a:cs typeface="굴림" charset="0"/>
        </a:defRPr>
      </a:lvl1pPr>
      <a:lvl2pPr marL="741970" indent="-285374" algn="l" rtl="0" eaLnBrk="0" fontAlgn="base" latinLnBrk="1" hangingPunct="0">
        <a:spcBef>
          <a:spcPct val="20000"/>
        </a:spcBef>
        <a:spcAft>
          <a:spcPct val="0"/>
        </a:spcAft>
        <a:buChar char="–"/>
        <a:defRPr kumimoji="1" sz="2800">
          <a:solidFill>
            <a:schemeClr val="tx1"/>
          </a:solidFill>
          <a:latin typeface="Gulim" pitchFamily="34" charset="-127"/>
          <a:ea typeface="Gulim" pitchFamily="34" charset="-127"/>
          <a:cs typeface="굴림" charset="0"/>
        </a:defRPr>
      </a:lvl2pPr>
      <a:lvl3pPr marL="1141491" indent="-228295" algn="l" rtl="0" eaLnBrk="0" fontAlgn="base" latinLnBrk="1" hangingPunct="0">
        <a:spcBef>
          <a:spcPct val="20000"/>
        </a:spcBef>
        <a:spcAft>
          <a:spcPct val="0"/>
        </a:spcAft>
        <a:buChar char="•"/>
        <a:defRPr kumimoji="1" sz="2400">
          <a:solidFill>
            <a:schemeClr val="tx1"/>
          </a:solidFill>
          <a:latin typeface="Gulim" pitchFamily="34" charset="-127"/>
          <a:ea typeface="Gulim" pitchFamily="34" charset="-127"/>
          <a:cs typeface="굴림" charset="0"/>
        </a:defRPr>
      </a:lvl3pPr>
      <a:lvl4pPr marL="1598088"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4pPr>
      <a:lvl5pPr marL="2054686"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5pPr>
      <a:lvl6pPr marL="2511281" indent="-228295" algn="l" rtl="0" fontAlgn="base" latinLnBrk="1">
        <a:spcBef>
          <a:spcPct val="20000"/>
        </a:spcBef>
        <a:spcAft>
          <a:spcPct val="0"/>
        </a:spcAft>
        <a:buChar char="»"/>
        <a:defRPr kumimoji="1" sz="2000">
          <a:solidFill>
            <a:schemeClr val="tx1"/>
          </a:solidFill>
          <a:latin typeface="+mn-lt"/>
          <a:ea typeface="+mn-ea"/>
        </a:defRPr>
      </a:lvl6pPr>
      <a:lvl7pPr marL="2967877" indent="-228295" algn="l" rtl="0" fontAlgn="base" latinLnBrk="1">
        <a:spcBef>
          <a:spcPct val="20000"/>
        </a:spcBef>
        <a:spcAft>
          <a:spcPct val="0"/>
        </a:spcAft>
        <a:buChar char="»"/>
        <a:defRPr kumimoji="1" sz="2000">
          <a:solidFill>
            <a:schemeClr val="tx1"/>
          </a:solidFill>
          <a:latin typeface="+mn-lt"/>
          <a:ea typeface="+mn-ea"/>
        </a:defRPr>
      </a:lvl7pPr>
      <a:lvl8pPr marL="3424474" indent="-228295" algn="l" rtl="0" fontAlgn="base" latinLnBrk="1">
        <a:spcBef>
          <a:spcPct val="20000"/>
        </a:spcBef>
        <a:spcAft>
          <a:spcPct val="0"/>
        </a:spcAft>
        <a:buChar char="»"/>
        <a:defRPr kumimoji="1" sz="2000">
          <a:solidFill>
            <a:schemeClr val="tx1"/>
          </a:solidFill>
          <a:latin typeface="+mn-lt"/>
          <a:ea typeface="+mn-ea"/>
        </a:defRPr>
      </a:lvl8pPr>
      <a:lvl9pPr marL="3881068" indent="-228295"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3193" rtl="0" eaLnBrk="1" latinLnBrk="1" hangingPunct="1">
        <a:defRPr sz="1800" kern="1200">
          <a:solidFill>
            <a:schemeClr val="tx1"/>
          </a:solidFill>
          <a:latin typeface="+mn-lt"/>
          <a:ea typeface="+mn-ea"/>
          <a:cs typeface="+mn-cs"/>
        </a:defRPr>
      </a:lvl1pPr>
      <a:lvl2pPr marL="456601" algn="l" defTabSz="913193" rtl="0" eaLnBrk="1" latinLnBrk="1" hangingPunct="1">
        <a:defRPr sz="1800" kern="1200">
          <a:solidFill>
            <a:schemeClr val="tx1"/>
          </a:solidFill>
          <a:latin typeface="+mn-lt"/>
          <a:ea typeface="+mn-ea"/>
          <a:cs typeface="+mn-cs"/>
        </a:defRPr>
      </a:lvl2pPr>
      <a:lvl3pPr marL="913193" algn="l" defTabSz="913193" rtl="0" eaLnBrk="1" latinLnBrk="1" hangingPunct="1">
        <a:defRPr sz="1800" kern="1200">
          <a:solidFill>
            <a:schemeClr val="tx1"/>
          </a:solidFill>
          <a:latin typeface="+mn-lt"/>
          <a:ea typeface="+mn-ea"/>
          <a:cs typeface="+mn-cs"/>
        </a:defRPr>
      </a:lvl3pPr>
      <a:lvl4pPr marL="1369790" algn="l" defTabSz="913193" rtl="0" eaLnBrk="1" latinLnBrk="1" hangingPunct="1">
        <a:defRPr sz="1800" kern="1200">
          <a:solidFill>
            <a:schemeClr val="tx1"/>
          </a:solidFill>
          <a:latin typeface="+mn-lt"/>
          <a:ea typeface="+mn-ea"/>
          <a:cs typeface="+mn-cs"/>
        </a:defRPr>
      </a:lvl4pPr>
      <a:lvl5pPr marL="1826387" algn="l" defTabSz="913193" rtl="0" eaLnBrk="1" latinLnBrk="1" hangingPunct="1">
        <a:defRPr sz="1800" kern="1200">
          <a:solidFill>
            <a:schemeClr val="tx1"/>
          </a:solidFill>
          <a:latin typeface="+mn-lt"/>
          <a:ea typeface="+mn-ea"/>
          <a:cs typeface="+mn-cs"/>
        </a:defRPr>
      </a:lvl5pPr>
      <a:lvl6pPr marL="2282983" algn="l" defTabSz="913193" rtl="0" eaLnBrk="1" latinLnBrk="1" hangingPunct="1">
        <a:defRPr sz="1800" kern="1200">
          <a:solidFill>
            <a:schemeClr val="tx1"/>
          </a:solidFill>
          <a:latin typeface="+mn-lt"/>
          <a:ea typeface="+mn-ea"/>
          <a:cs typeface="+mn-cs"/>
        </a:defRPr>
      </a:lvl6pPr>
      <a:lvl7pPr marL="2739579" algn="l" defTabSz="913193" rtl="0" eaLnBrk="1" latinLnBrk="1" hangingPunct="1">
        <a:defRPr sz="1800" kern="1200">
          <a:solidFill>
            <a:schemeClr val="tx1"/>
          </a:solidFill>
          <a:latin typeface="+mn-lt"/>
          <a:ea typeface="+mn-ea"/>
          <a:cs typeface="+mn-cs"/>
        </a:defRPr>
      </a:lvl7pPr>
      <a:lvl8pPr marL="3196176" algn="l" defTabSz="913193" rtl="0" eaLnBrk="1" latinLnBrk="1" hangingPunct="1">
        <a:defRPr sz="1800" kern="1200">
          <a:solidFill>
            <a:schemeClr val="tx1"/>
          </a:solidFill>
          <a:latin typeface="+mn-lt"/>
          <a:ea typeface="+mn-ea"/>
          <a:cs typeface="+mn-cs"/>
        </a:defRPr>
      </a:lvl8pPr>
      <a:lvl9pPr marL="3652772" algn="l" defTabSz="913193" rtl="0" eaLnBrk="1" latinLnBrk="1"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0162" name="Rectangle 2"/>
          <p:cNvSpPr>
            <a:spLocks noGrp="1" noChangeArrowheads="1"/>
          </p:cNvSpPr>
          <p:nvPr>
            <p:ph type="dt" sz="half" idx="2"/>
          </p:nvPr>
        </p:nvSpPr>
        <p:spPr bwMode="auto">
          <a:xfrm>
            <a:off x="457200" y="6251575"/>
            <a:ext cx="2133600" cy="476250"/>
          </a:xfrm>
          <a:prstGeom prst="rect">
            <a:avLst/>
          </a:prstGeom>
          <a:noFill/>
          <a:ln w="9525">
            <a:noFill/>
            <a:miter lim="800000"/>
            <a:headEnd/>
            <a:tailEnd/>
          </a:ln>
          <a:effectLst/>
        </p:spPr>
        <p:txBody>
          <a:bodyPr vert="horz" wrap="square" lIns="91223" tIns="45612" rIns="91223" bIns="45612" numCol="1" anchor="b" anchorCtr="0" compatLnSpc="1">
            <a:prstTxWarp prst="textNoShape">
              <a:avLst/>
            </a:prstTxWarp>
          </a:bodyPr>
          <a:lstStyle>
            <a:lvl1pPr>
              <a:lnSpc>
                <a:spcPct val="100000"/>
              </a:lnSpc>
              <a:spcBef>
                <a:spcPct val="0"/>
              </a:spcBef>
              <a:buFontTx/>
              <a:buNone/>
              <a:defRPr sz="1200">
                <a:solidFill>
                  <a:schemeClr val="tx1"/>
                </a:solidFill>
                <a:latin typeface="Arial" charset="0"/>
                <a:ea typeface="굴림" pitchFamily="34" charset="-127"/>
                <a:cs typeface="Arial" charset="0"/>
              </a:defRPr>
            </a:lvl1pPr>
          </a:lstStyle>
          <a:p>
            <a:pPr fontAlgn="auto">
              <a:spcAft>
                <a:spcPts val="0"/>
              </a:spcAft>
              <a:defRPr/>
            </a:pPr>
            <a:fld id="{C2F36A6E-00B0-4035-9645-5C2FF1E73204}" type="datetime1">
              <a:rPr lang="en-US">
                <a:solidFill>
                  <a:srgbClr val="FFFFFF"/>
                </a:solidFill>
              </a:rPr>
              <a:pPr fontAlgn="auto">
                <a:spcAft>
                  <a:spcPts val="0"/>
                </a:spcAft>
                <a:defRPr/>
              </a:pPr>
              <a:t>5/6/2013</a:t>
            </a:fld>
            <a:endParaRPr lang="en-US">
              <a:solidFill>
                <a:srgbClr val="FFFFFF"/>
              </a:solidFill>
            </a:endParaRPr>
          </a:p>
        </p:txBody>
      </p:sp>
      <p:sp>
        <p:nvSpPr>
          <p:cNvPr id="220163" name="Rectangle 3"/>
          <p:cNvSpPr>
            <a:spLocks noGrp="1" noChangeArrowheads="1"/>
          </p:cNvSpPr>
          <p:nvPr>
            <p:ph type="sldNum" sz="quarter" idx="4"/>
          </p:nvPr>
        </p:nvSpPr>
        <p:spPr bwMode="auto">
          <a:xfrm>
            <a:off x="6553200" y="6248407"/>
            <a:ext cx="2133600" cy="476250"/>
          </a:xfrm>
          <a:prstGeom prst="rect">
            <a:avLst/>
          </a:prstGeom>
          <a:noFill/>
          <a:ln w="9525">
            <a:noFill/>
            <a:miter lim="800000"/>
            <a:headEnd/>
            <a:tailEnd/>
          </a:ln>
          <a:effectLst/>
        </p:spPr>
        <p:txBody>
          <a:bodyPr vert="horz" wrap="square" lIns="91223" tIns="45612" rIns="91223" bIns="45612" numCol="1" anchor="b" anchorCtr="0" compatLnSpc="1">
            <a:prstTxWarp prst="textNoShape">
              <a:avLst/>
            </a:prstTxWarp>
          </a:bodyPr>
          <a:lstStyle>
            <a:lvl1pPr algn="r">
              <a:lnSpc>
                <a:spcPct val="100000"/>
              </a:lnSpc>
              <a:spcBef>
                <a:spcPct val="0"/>
              </a:spcBef>
              <a:buFontTx/>
              <a:buNone/>
              <a:defRPr sz="1200">
                <a:solidFill>
                  <a:schemeClr val="tx1"/>
                </a:solidFill>
                <a:latin typeface="Arial" charset="0"/>
                <a:ea typeface="굴림" pitchFamily="34" charset="-127"/>
                <a:cs typeface="Arial" charset="0"/>
              </a:defRPr>
            </a:lvl1pPr>
          </a:lstStyle>
          <a:p>
            <a:pPr fontAlgn="auto">
              <a:spcAft>
                <a:spcPts val="0"/>
              </a:spcAft>
              <a:defRPr/>
            </a:pPr>
            <a:fld id="{D8E49024-0B4F-4CB2-BB92-4C025B6CE53B}" type="slidenum">
              <a:rPr lang="ar-SA">
                <a:solidFill>
                  <a:srgbClr val="FFFFFF"/>
                </a:solidFill>
              </a:rPr>
              <a:pPr fontAlgn="auto">
                <a:spcAft>
                  <a:spcPts val="0"/>
                </a:spcAft>
                <a:defRPr/>
              </a:pPr>
              <a:t>‹#›</a:t>
            </a:fld>
            <a:endParaRPr lang="en-US">
              <a:solidFill>
                <a:srgbClr val="FFFFFF"/>
              </a:solidFill>
            </a:endParaRPr>
          </a:p>
        </p:txBody>
      </p:sp>
      <p:grpSp>
        <p:nvGrpSpPr>
          <p:cNvPr id="2" name="Group 4"/>
          <p:cNvGrpSpPr>
            <a:grpSpLocks/>
          </p:cNvGrpSpPr>
          <p:nvPr/>
        </p:nvGrpSpPr>
        <p:grpSpPr bwMode="auto">
          <a:xfrm>
            <a:off x="11" y="2"/>
            <a:ext cx="9140825" cy="6850063"/>
            <a:chOff x="0" y="0"/>
            <a:chExt cx="5758" cy="4315"/>
          </a:xfrm>
        </p:grpSpPr>
        <p:grpSp>
          <p:nvGrpSpPr>
            <p:cNvPr id="3" name="Group 5"/>
            <p:cNvGrpSpPr>
              <a:grpSpLocks/>
            </p:cNvGrpSpPr>
            <p:nvPr userDrawn="1"/>
          </p:nvGrpSpPr>
          <p:grpSpPr bwMode="auto">
            <a:xfrm>
              <a:off x="1728" y="2230"/>
              <a:ext cx="4027" cy="2085"/>
              <a:chOff x="1728" y="2230"/>
              <a:chExt cx="4027" cy="2085"/>
            </a:xfrm>
          </p:grpSpPr>
          <p:sp>
            <p:nvSpPr>
              <p:cNvPr id="220166" name="Freeform 6"/>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fontAlgn="auto">
                  <a:lnSpc>
                    <a:spcPct val="80000"/>
                  </a:lnSpc>
                  <a:spcBef>
                    <a:spcPct val="20000"/>
                  </a:spcBef>
                  <a:spcAft>
                    <a:spcPts val="0"/>
                  </a:spcAft>
                  <a:buFontTx/>
                  <a:buChar char="•"/>
                  <a:defRPr/>
                </a:pPr>
                <a:endParaRPr lang="en-US">
                  <a:solidFill>
                    <a:srgbClr val="FFFFFF"/>
                  </a:solidFill>
                  <a:latin typeface="Arial" charset="0"/>
                  <a:ea typeface="굴림" pitchFamily="34" charset="-127"/>
                  <a:cs typeface="Arial"/>
                </a:endParaRPr>
              </a:p>
            </p:txBody>
          </p:sp>
          <p:sp>
            <p:nvSpPr>
              <p:cNvPr id="220167" name="Freeform 7"/>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fontAlgn="auto">
                  <a:lnSpc>
                    <a:spcPct val="80000"/>
                  </a:lnSpc>
                  <a:spcBef>
                    <a:spcPct val="20000"/>
                  </a:spcBef>
                  <a:spcAft>
                    <a:spcPts val="0"/>
                  </a:spcAft>
                  <a:buFontTx/>
                  <a:buChar char="•"/>
                  <a:defRPr/>
                </a:pPr>
                <a:endParaRPr lang="en-US">
                  <a:solidFill>
                    <a:srgbClr val="FFFFFF"/>
                  </a:solidFill>
                  <a:latin typeface="Arial" charset="0"/>
                  <a:ea typeface="굴림" pitchFamily="34" charset="-127"/>
                  <a:cs typeface="Arial"/>
                </a:endParaRPr>
              </a:p>
            </p:txBody>
          </p:sp>
          <p:sp>
            <p:nvSpPr>
              <p:cNvPr id="220168" name="Freeform 8"/>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fontAlgn="auto">
                  <a:lnSpc>
                    <a:spcPct val="80000"/>
                  </a:lnSpc>
                  <a:spcBef>
                    <a:spcPct val="20000"/>
                  </a:spcBef>
                  <a:spcAft>
                    <a:spcPts val="0"/>
                  </a:spcAft>
                  <a:buFontTx/>
                  <a:buChar char="•"/>
                  <a:defRPr/>
                </a:pPr>
                <a:endParaRPr lang="en-US">
                  <a:solidFill>
                    <a:srgbClr val="FFFFFF"/>
                  </a:solidFill>
                  <a:latin typeface="Arial" charset="0"/>
                  <a:ea typeface="굴림" pitchFamily="34" charset="-127"/>
                  <a:cs typeface="Arial"/>
                </a:endParaRPr>
              </a:p>
            </p:txBody>
          </p:sp>
          <p:sp>
            <p:nvSpPr>
              <p:cNvPr id="220169" name="Freeform 9"/>
              <p:cNvSpPr>
                <a:spLocks/>
              </p:cNvSpPr>
              <p:nvPr/>
            </p:nvSpPr>
            <p:spPr bwMode="hidden">
              <a:xfrm>
                <a:off x="2748" y="2230"/>
                <a:ext cx="3007" cy="2085"/>
              </a:xfrm>
              <a:custGeom>
                <a:avLst/>
                <a:gdLst/>
                <a:ahLst/>
                <a:cxnLst>
                  <a:cxn ang="0">
                    <a:pos x="1433" y="474"/>
                  </a:cxn>
                  <a:cxn ang="0">
                    <a:pos x="1460" y="528"/>
                  </a:cxn>
                  <a:cxn ang="0">
                    <a:pos x="1541" y="593"/>
                  </a:cxn>
                  <a:cxn ang="0">
                    <a:pos x="1715" y="670"/>
                  </a:cxn>
                  <a:cxn ang="0">
                    <a:pos x="1927" y="735"/>
                  </a:cxn>
                  <a:cxn ang="0">
                    <a:pos x="2155" y="789"/>
                  </a:cxn>
                  <a:cxn ang="0">
                    <a:pos x="2372" y="849"/>
                  </a:cxn>
                  <a:cxn ang="0">
                    <a:pos x="2551" y="920"/>
                  </a:cxn>
                  <a:cxn ang="0">
                    <a:pos x="2638" y="980"/>
                  </a:cxn>
                  <a:cxn ang="0">
                    <a:pos x="2676" y="1029"/>
                  </a:cxn>
                  <a:cxn ang="0">
                    <a:pos x="2681" y="1083"/>
                  </a:cxn>
                  <a:cxn ang="0">
                    <a:pos x="2665" y="1127"/>
                  </a:cxn>
                  <a:cxn ang="0">
                    <a:pos x="2616" y="1170"/>
                  </a:cxn>
                  <a:cxn ang="0">
                    <a:pos x="2545" y="1208"/>
                  </a:cxn>
                  <a:cxn ang="0">
                    <a:pos x="2448" y="1241"/>
                  </a:cxn>
                  <a:cxn ang="0">
                    <a:pos x="2328" y="1274"/>
                  </a:cxn>
                  <a:cxn ang="0">
                    <a:pos x="2106" y="1328"/>
                  </a:cxn>
                  <a:cxn ang="0">
                    <a:pos x="1742" y="1421"/>
                  </a:cxn>
                  <a:cxn ang="0">
                    <a:pos x="1308" y="1540"/>
                  </a:cxn>
                  <a:cxn ang="0">
                    <a:pos x="820" y="1709"/>
                  </a:cxn>
                  <a:cxn ang="0">
                    <a:pos x="282" y="1943"/>
                  </a:cxn>
                  <a:cxn ang="0">
                    <a:pos x="152" y="2085"/>
                  </a:cxn>
                  <a:cxn ang="0">
                    <a:pos x="386" y="1992"/>
                  </a:cxn>
                  <a:cxn ang="0">
                    <a:pos x="700" y="1834"/>
                  </a:cxn>
                  <a:cxn ang="0">
                    <a:pos x="1064" y="1693"/>
                  </a:cxn>
                  <a:cxn ang="0">
                    <a:pos x="1661" y="1497"/>
                  </a:cxn>
                  <a:cxn ang="0">
                    <a:pos x="1845" y="1442"/>
                  </a:cxn>
                  <a:cxn ang="0">
                    <a:pos x="2252" y="1339"/>
                  </a:cxn>
                  <a:cxn ang="0">
                    <a:pos x="2551" y="1263"/>
                  </a:cxn>
                  <a:cxn ang="0">
                    <a:pos x="2730" y="1214"/>
                  </a:cxn>
                  <a:cxn ang="0">
                    <a:pos x="2876" y="1170"/>
                  </a:cxn>
                  <a:cxn ang="0">
                    <a:pos x="2974" y="1132"/>
                  </a:cxn>
                  <a:cxn ang="0">
                    <a:pos x="3007" y="871"/>
                  </a:cxn>
                  <a:cxn ang="0">
                    <a:pos x="2860" y="844"/>
                  </a:cxn>
                  <a:cxn ang="0">
                    <a:pos x="2670" y="806"/>
                  </a:cxn>
                  <a:cxn ang="0">
                    <a:pos x="2458" y="757"/>
                  </a:cxn>
                  <a:cxn ang="0">
                    <a:pos x="2138" y="670"/>
                  </a:cxn>
                  <a:cxn ang="0">
                    <a:pos x="1959" y="604"/>
                  </a:cxn>
                  <a:cxn ang="0">
                    <a:pos x="1824" y="534"/>
                  </a:cxn>
                  <a:cxn ang="0">
                    <a:pos x="1769" y="474"/>
                  </a:cxn>
                  <a:cxn ang="0">
                    <a:pos x="1753" y="436"/>
                  </a:cxn>
                  <a:cxn ang="0">
                    <a:pos x="1780" y="381"/>
                  </a:cxn>
                  <a:cxn ang="0">
                    <a:pos x="1862" y="316"/>
                  </a:cxn>
                  <a:cxn ang="0">
                    <a:pos x="1986" y="267"/>
                  </a:cxn>
                  <a:cxn ang="0">
                    <a:pos x="2149" y="229"/>
                  </a:cxn>
                  <a:cxn ang="0">
                    <a:pos x="2431" y="180"/>
                  </a:cxn>
                  <a:cxn ang="0">
                    <a:pos x="2827" y="125"/>
                  </a:cxn>
                  <a:cxn ang="0">
                    <a:pos x="3007" y="87"/>
                  </a:cxn>
                  <a:cxn ang="0">
                    <a:pos x="2909" y="22"/>
                  </a:cxn>
                  <a:cxn ang="0">
                    <a:pos x="2676" y="66"/>
                  </a:cxn>
                  <a:cxn ang="0">
                    <a:pos x="2285" y="120"/>
                  </a:cxn>
                  <a:cxn ang="0">
                    <a:pos x="2030" y="158"/>
                  </a:cxn>
                  <a:cxn ang="0">
                    <a:pos x="1791" y="202"/>
                  </a:cxn>
                  <a:cxn ang="0">
                    <a:pos x="1601" y="261"/>
                  </a:cxn>
                  <a:cxn ang="0">
                    <a:pos x="1471" y="338"/>
                  </a:cxn>
                  <a:cxn ang="0">
                    <a:pos x="1438" y="387"/>
                  </a:cxn>
                  <a:cxn ang="0">
                    <a:pos x="1427" y="441"/>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lnTo>
                      <a:pt x="1427" y="441"/>
                    </a:lnTo>
                    <a:close/>
                  </a:path>
                </a:pathLst>
              </a:custGeom>
              <a:solidFill>
                <a:schemeClr val="bg1"/>
              </a:solidFill>
              <a:ln w="9525">
                <a:noFill/>
                <a:round/>
                <a:headEnd/>
                <a:tailEnd/>
              </a:ln>
            </p:spPr>
            <p:txBody>
              <a:bodyPr/>
              <a:lstStyle/>
              <a:p>
                <a:pPr fontAlgn="auto">
                  <a:lnSpc>
                    <a:spcPct val="80000"/>
                  </a:lnSpc>
                  <a:spcBef>
                    <a:spcPct val="20000"/>
                  </a:spcBef>
                  <a:spcAft>
                    <a:spcPts val="0"/>
                  </a:spcAft>
                  <a:buFontTx/>
                  <a:buChar char="•"/>
                  <a:defRPr/>
                </a:pPr>
                <a:endParaRPr lang="en-US">
                  <a:solidFill>
                    <a:srgbClr val="FFFFFF"/>
                  </a:solidFill>
                  <a:latin typeface="Arial" charset="0"/>
                  <a:ea typeface="굴림" pitchFamily="34" charset="-127"/>
                  <a:cs typeface="Arial"/>
                </a:endParaRPr>
              </a:p>
            </p:txBody>
          </p:sp>
          <p:sp>
            <p:nvSpPr>
              <p:cNvPr id="220170" name="Freeform 10"/>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fontAlgn="auto">
                  <a:lnSpc>
                    <a:spcPct val="80000"/>
                  </a:lnSpc>
                  <a:spcBef>
                    <a:spcPct val="20000"/>
                  </a:spcBef>
                  <a:spcAft>
                    <a:spcPts val="0"/>
                  </a:spcAft>
                  <a:buFontTx/>
                  <a:buChar char="•"/>
                  <a:defRPr/>
                </a:pPr>
                <a:endParaRPr lang="en-US">
                  <a:solidFill>
                    <a:srgbClr val="FFFFFF"/>
                  </a:solidFill>
                  <a:latin typeface="Arial" charset="0"/>
                  <a:ea typeface="굴림" pitchFamily="34" charset="-127"/>
                  <a:cs typeface="Arial"/>
                </a:endParaRPr>
              </a:p>
            </p:txBody>
          </p:sp>
        </p:grpSp>
        <p:sp>
          <p:nvSpPr>
            <p:cNvPr id="220171" name="Freeform 11"/>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fontAlgn="auto">
                <a:lnSpc>
                  <a:spcPct val="80000"/>
                </a:lnSpc>
                <a:spcBef>
                  <a:spcPct val="20000"/>
                </a:spcBef>
                <a:spcAft>
                  <a:spcPts val="0"/>
                </a:spcAft>
                <a:buFontTx/>
                <a:buChar char="•"/>
                <a:defRPr/>
              </a:pPr>
              <a:endParaRPr lang="en-US">
                <a:solidFill>
                  <a:srgbClr val="FFFFFF"/>
                </a:solidFill>
                <a:latin typeface="Arial" charset="0"/>
                <a:ea typeface="굴림" pitchFamily="34" charset="-127"/>
                <a:cs typeface="Arial"/>
              </a:endParaRPr>
            </a:p>
          </p:txBody>
        </p:sp>
        <p:sp>
          <p:nvSpPr>
            <p:cNvPr id="220172" name="Freeform 12"/>
            <p:cNvSpPr>
              <a:spLocks/>
            </p:cNvSpPr>
            <p:nvPr/>
          </p:nvSpPr>
          <p:spPr bwMode="hidden">
            <a:xfrm>
              <a:off x="0" y="0"/>
              <a:ext cx="5758" cy="1776"/>
            </a:xfrm>
            <a:custGeom>
              <a:avLst/>
              <a:gdLst/>
              <a:ahLst/>
              <a:cxnLst>
                <a:cxn ang="0">
                  <a:pos x="0" y="0"/>
                </a:cxn>
                <a:cxn ang="0">
                  <a:pos x="0" y="1906"/>
                </a:cxn>
                <a:cxn ang="0">
                  <a:pos x="5740" y="1906"/>
                </a:cxn>
                <a:cxn ang="0">
                  <a:pos x="5740" y="0"/>
                </a:cxn>
                <a:cxn ang="0">
                  <a:pos x="0" y="0"/>
                </a:cxn>
                <a:cxn ang="0">
                  <a:pos x="0" y="0"/>
                </a:cxn>
              </a:cxnLst>
              <a:rect l="0" t="0" r="r" b="b"/>
              <a:pathLst>
                <a:path w="5740" h="1906">
                  <a:moveTo>
                    <a:pt x="0" y="0"/>
                  </a:moveTo>
                  <a:lnTo>
                    <a:pt x="0" y="1906"/>
                  </a:lnTo>
                  <a:lnTo>
                    <a:pt x="5740" y="1906"/>
                  </a:lnTo>
                  <a:lnTo>
                    <a:pt x="5740" y="0"/>
                  </a:lnTo>
                  <a:lnTo>
                    <a:pt x="0" y="0"/>
                  </a:lnTo>
                  <a:lnTo>
                    <a:pt x="0" y="0"/>
                  </a:lnTo>
                  <a:close/>
                </a:path>
              </a:pathLst>
            </a:custGeom>
            <a:gradFill rotWithShape="0">
              <a:gsLst>
                <a:gs pos="0">
                  <a:schemeClr val="bg2"/>
                </a:gs>
                <a:gs pos="100000">
                  <a:schemeClr val="bg1"/>
                </a:gs>
              </a:gsLst>
              <a:lin ang="5400000" scaled="1"/>
            </a:gradFill>
            <a:ln w="9525">
              <a:noFill/>
              <a:round/>
              <a:headEnd/>
              <a:tailEnd/>
            </a:ln>
          </p:spPr>
          <p:txBody>
            <a:bodyPr/>
            <a:lstStyle/>
            <a:p>
              <a:pPr fontAlgn="auto">
                <a:lnSpc>
                  <a:spcPct val="80000"/>
                </a:lnSpc>
                <a:spcBef>
                  <a:spcPct val="20000"/>
                </a:spcBef>
                <a:spcAft>
                  <a:spcPts val="0"/>
                </a:spcAft>
                <a:buFontTx/>
                <a:buChar char="•"/>
                <a:defRPr/>
              </a:pPr>
              <a:endParaRPr lang="en-US">
                <a:solidFill>
                  <a:srgbClr val="FFFFFF"/>
                </a:solidFill>
                <a:latin typeface="Arial" charset="0"/>
                <a:ea typeface="굴림" pitchFamily="34" charset="-127"/>
                <a:cs typeface="Arial"/>
              </a:endParaRPr>
            </a:p>
          </p:txBody>
        </p:sp>
      </p:grpSp>
      <p:sp>
        <p:nvSpPr>
          <p:cNvPr id="220173" name="Rectangle 13"/>
          <p:cNvSpPr>
            <a:spLocks noGrp="1" noRot="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223" tIns="45612" rIns="91223" bIns="45612" numCol="1" anchor="ctr" anchorCtr="0" compatLnSpc="1">
            <a:prstTxWarp prst="textNoShape">
              <a:avLst/>
            </a:prstTxWarp>
          </a:bodyPr>
          <a:lstStyle/>
          <a:p>
            <a:pPr lvl="0"/>
            <a:r>
              <a:rPr lang="en-US" smtClean="0"/>
              <a:t>Click to edit Master title style</a:t>
            </a:r>
          </a:p>
        </p:txBody>
      </p:sp>
      <p:sp>
        <p:nvSpPr>
          <p:cNvPr id="220174" name="Rectangle 14"/>
          <p:cNvSpPr>
            <a:spLocks noGrp="1" noChangeArrowheads="1"/>
          </p:cNvSpPr>
          <p:nvPr>
            <p:ph type="ftr" sz="quarter" idx="3"/>
          </p:nvPr>
        </p:nvSpPr>
        <p:spPr bwMode="auto">
          <a:xfrm>
            <a:off x="3124201" y="6248407"/>
            <a:ext cx="2895600" cy="476250"/>
          </a:xfrm>
          <a:prstGeom prst="rect">
            <a:avLst/>
          </a:prstGeom>
          <a:noFill/>
          <a:ln w="9525">
            <a:noFill/>
            <a:miter lim="800000"/>
            <a:headEnd/>
            <a:tailEnd/>
          </a:ln>
          <a:effectLst/>
        </p:spPr>
        <p:txBody>
          <a:bodyPr vert="horz" wrap="square" lIns="91223" tIns="45612" rIns="91223" bIns="45612" numCol="1" anchor="b" anchorCtr="0" compatLnSpc="1">
            <a:prstTxWarp prst="textNoShape">
              <a:avLst/>
            </a:prstTxWarp>
          </a:bodyPr>
          <a:lstStyle>
            <a:lvl1pPr algn="ctr">
              <a:lnSpc>
                <a:spcPct val="100000"/>
              </a:lnSpc>
              <a:spcBef>
                <a:spcPct val="0"/>
              </a:spcBef>
              <a:buFontTx/>
              <a:buNone/>
              <a:defRPr sz="1200">
                <a:solidFill>
                  <a:schemeClr val="tx1"/>
                </a:solidFill>
                <a:latin typeface="Arial" charset="0"/>
                <a:ea typeface="굴림" pitchFamily="34" charset="-127"/>
                <a:cs typeface="Arial" charset="0"/>
              </a:defRPr>
            </a:lvl1pPr>
          </a:lstStyle>
          <a:p>
            <a:pPr fontAlgn="auto">
              <a:spcAft>
                <a:spcPts val="0"/>
              </a:spcAft>
              <a:defRPr/>
            </a:pPr>
            <a:r>
              <a:rPr lang="en-US">
                <a:solidFill>
                  <a:srgbClr val="FFFFFF"/>
                </a:solidFill>
              </a:rPr>
              <a:t>Towards Science, Technology and Innovation</a:t>
            </a:r>
          </a:p>
        </p:txBody>
      </p:sp>
      <p:sp>
        <p:nvSpPr>
          <p:cNvPr id="220175" name="Rectangle 15"/>
          <p:cNvSpPr>
            <a:spLocks noGrp="1" noChangeArrowheads="1"/>
          </p:cNvSpPr>
          <p:nvPr>
            <p:ph type="body" idx="1"/>
          </p:nvPr>
        </p:nvSpPr>
        <p:spPr bwMode="auto">
          <a:xfrm>
            <a:off x="457200" y="1600213"/>
            <a:ext cx="8229600" cy="4525963"/>
          </a:xfrm>
          <a:prstGeom prst="rect">
            <a:avLst/>
          </a:prstGeom>
          <a:noFill/>
          <a:ln w="9525">
            <a:noFill/>
            <a:miter lim="800000"/>
            <a:headEnd/>
            <a:tailEnd/>
          </a:ln>
          <a:effectLst/>
        </p:spPr>
        <p:txBody>
          <a:bodyPr vert="horz" wrap="square" lIns="91223" tIns="45612" rIns="91223" bIns="45612"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1674906886"/>
      </p:ext>
    </p:extLst>
  </p:cSld>
  <p:clrMap bg1="dk2" tx1="lt1" bg2="dk1" tx2="lt2" accent1="accent1" accent2="accent2" accent3="accent3" accent4="accent4" accent5="accent5" accent6="accent6" hlink="hlink" folHlink="folHlink"/>
  <p:sldLayoutIdLst>
    <p:sldLayoutId id="2147483923" r:id="rId1"/>
  </p:sldLayoutIdLst>
  <p:transition>
    <p:random/>
  </p:transition>
  <p:timing>
    <p:tnLst>
      <p:par>
        <p:cTn id="1" dur="indefinite" restart="never" nodeType="tmRoot"/>
      </p:par>
    </p:tnLst>
  </p:timing>
  <p:hf hdr="0"/>
  <p:txStyles>
    <p:titleStyle>
      <a:lvl1pPr algn="ctr" rtl="1"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1"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cs typeface="Arial" charset="0"/>
        </a:defRPr>
      </a:lvl2pPr>
      <a:lvl3pPr algn="ctr" rtl="1"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cs typeface="Arial" charset="0"/>
        </a:defRPr>
      </a:lvl3pPr>
      <a:lvl4pPr algn="ctr" rtl="1"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cs typeface="Arial" charset="0"/>
        </a:defRPr>
      </a:lvl4pPr>
      <a:lvl5pPr algn="ctr" rtl="1"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cs typeface="Arial" charset="0"/>
        </a:defRPr>
      </a:lvl5pPr>
      <a:lvl6pPr marL="456113" algn="ctr" rtl="1"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cs typeface="Arial" charset="0"/>
        </a:defRPr>
      </a:lvl6pPr>
      <a:lvl7pPr marL="912224" algn="ctr" rtl="1"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cs typeface="Arial" charset="0"/>
        </a:defRPr>
      </a:lvl7pPr>
      <a:lvl8pPr marL="1368339" algn="ctr" rtl="1"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cs typeface="Arial" charset="0"/>
        </a:defRPr>
      </a:lvl8pPr>
      <a:lvl9pPr marL="1824450" algn="ctr" rtl="1"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cs typeface="Arial" charset="0"/>
        </a:defRPr>
      </a:lvl9pPr>
    </p:titleStyle>
    <p:bodyStyle>
      <a:lvl1pPr marL="340862" indent="-340862" algn="r" rtl="1" eaLnBrk="0" fontAlgn="base" hangingPunct="0">
        <a:spcBef>
          <a:spcPct val="20000"/>
        </a:spcBef>
        <a:spcAft>
          <a:spcPct val="0"/>
        </a:spcAft>
        <a:buClr>
          <a:schemeClr val="hlink"/>
        </a:buClr>
        <a:buSzPct val="70000"/>
        <a:buFont typeface="Wingdings"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0384" indent="-283789" algn="r" rtl="1" eaLnBrk="0" fontAlgn="base" hangingPunct="0">
        <a:spcBef>
          <a:spcPct val="20000"/>
        </a:spcBef>
        <a:spcAft>
          <a:spcPct val="0"/>
        </a:spcAft>
        <a:buClr>
          <a:schemeClr val="accent2"/>
        </a:buClr>
        <a:buSzPct val="70000"/>
        <a:buFont typeface="Wingdings" pitchFamily="2" charset="2"/>
        <a:buChar char="n"/>
        <a:defRPr sz="2800">
          <a:solidFill>
            <a:schemeClr val="tx1"/>
          </a:solidFill>
          <a:effectLst>
            <a:outerShdw blurRad="38100" dist="38100" dir="2700000" algn="tl">
              <a:srgbClr val="000000"/>
            </a:outerShdw>
          </a:effectLst>
          <a:latin typeface="+mn-lt"/>
          <a:cs typeface="+mn-cs"/>
        </a:defRPr>
      </a:lvl2pPr>
      <a:lvl3pPr marL="1139907" indent="-226713" algn="r" rtl="1" eaLnBrk="0" fontAlgn="base" hangingPunct="0">
        <a:spcBef>
          <a:spcPct val="20000"/>
        </a:spcBef>
        <a:spcAft>
          <a:spcPct val="0"/>
        </a:spcAft>
        <a:buClr>
          <a:schemeClr val="tx2"/>
        </a:buClr>
        <a:buSzPct val="70000"/>
        <a:buFont typeface="Wingdings" pitchFamily="2" charset="2"/>
        <a:buChar char="n"/>
        <a:defRPr sz="2400">
          <a:solidFill>
            <a:schemeClr val="tx1"/>
          </a:solidFill>
          <a:effectLst>
            <a:outerShdw blurRad="38100" dist="38100" dir="2700000" algn="tl">
              <a:srgbClr val="000000"/>
            </a:outerShdw>
          </a:effectLst>
          <a:latin typeface="+mn-lt"/>
          <a:cs typeface="+mn-cs"/>
        </a:defRPr>
      </a:lvl3pPr>
      <a:lvl4pPr marL="1594917" indent="-226713" algn="r" rtl="1" eaLnBrk="0" fontAlgn="base" hangingPunct="0">
        <a:spcBef>
          <a:spcPct val="20000"/>
        </a:spcBef>
        <a:spcAft>
          <a:spcPct val="0"/>
        </a:spcAft>
        <a:buClr>
          <a:schemeClr val="accent2"/>
        </a:buClr>
        <a:buSzPct val="70000"/>
        <a:buFont typeface="Wingdings" pitchFamily="2" charset="2"/>
        <a:buChar char="n"/>
        <a:defRPr sz="2000">
          <a:solidFill>
            <a:schemeClr val="tx1"/>
          </a:solidFill>
          <a:effectLst>
            <a:outerShdw blurRad="38100" dist="38100" dir="2700000" algn="tl">
              <a:srgbClr val="000000"/>
            </a:outerShdw>
          </a:effectLst>
          <a:latin typeface="+mn-lt"/>
          <a:cs typeface="+mn-cs"/>
        </a:defRPr>
      </a:lvl4pPr>
      <a:lvl5pPr marL="2051514" indent="-226713" algn="r" rtl="1" eaLnBrk="0" fontAlgn="base" hangingPunct="0">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cs typeface="+mn-cs"/>
        </a:defRPr>
      </a:lvl5pPr>
      <a:lvl6pPr marL="2508622" indent="-228051" algn="r" rtl="1"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cs typeface="+mn-cs"/>
        </a:defRPr>
      </a:lvl6pPr>
      <a:lvl7pPr marL="2964734" indent="-228051" algn="r" rtl="1"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cs typeface="+mn-cs"/>
        </a:defRPr>
      </a:lvl7pPr>
      <a:lvl8pPr marL="3420845" indent="-228051" algn="r" rtl="1"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cs typeface="+mn-cs"/>
        </a:defRPr>
      </a:lvl8pPr>
      <a:lvl9pPr marL="3876958" indent="-228051" algn="r" rtl="1"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cs typeface="+mn-cs"/>
        </a:defRPr>
      </a:lvl9pPr>
    </p:bodyStyle>
    <p:otherStyle>
      <a:defPPr>
        <a:defRPr lang="en-US"/>
      </a:defPPr>
      <a:lvl1pPr marL="0" algn="l" defTabSz="912224" rtl="0" eaLnBrk="1" latinLnBrk="0" hangingPunct="1">
        <a:defRPr sz="1800" kern="1200">
          <a:solidFill>
            <a:schemeClr val="tx1"/>
          </a:solidFill>
          <a:latin typeface="+mn-lt"/>
          <a:ea typeface="+mn-ea"/>
          <a:cs typeface="+mn-cs"/>
        </a:defRPr>
      </a:lvl1pPr>
      <a:lvl2pPr marL="456113" algn="l" defTabSz="912224" rtl="0" eaLnBrk="1" latinLnBrk="0" hangingPunct="1">
        <a:defRPr sz="1800" kern="1200">
          <a:solidFill>
            <a:schemeClr val="tx1"/>
          </a:solidFill>
          <a:latin typeface="+mn-lt"/>
          <a:ea typeface="+mn-ea"/>
          <a:cs typeface="+mn-cs"/>
        </a:defRPr>
      </a:lvl2pPr>
      <a:lvl3pPr marL="912224" algn="l" defTabSz="912224" rtl="0" eaLnBrk="1" latinLnBrk="0" hangingPunct="1">
        <a:defRPr sz="1800" kern="1200">
          <a:solidFill>
            <a:schemeClr val="tx1"/>
          </a:solidFill>
          <a:latin typeface="+mn-lt"/>
          <a:ea typeface="+mn-ea"/>
          <a:cs typeface="+mn-cs"/>
        </a:defRPr>
      </a:lvl3pPr>
      <a:lvl4pPr marL="1368339" algn="l" defTabSz="912224" rtl="0" eaLnBrk="1" latinLnBrk="0" hangingPunct="1">
        <a:defRPr sz="1800" kern="1200">
          <a:solidFill>
            <a:schemeClr val="tx1"/>
          </a:solidFill>
          <a:latin typeface="+mn-lt"/>
          <a:ea typeface="+mn-ea"/>
          <a:cs typeface="+mn-cs"/>
        </a:defRPr>
      </a:lvl4pPr>
      <a:lvl5pPr marL="1824450" algn="l" defTabSz="912224" rtl="0" eaLnBrk="1" latinLnBrk="0" hangingPunct="1">
        <a:defRPr sz="1800" kern="1200">
          <a:solidFill>
            <a:schemeClr val="tx1"/>
          </a:solidFill>
          <a:latin typeface="+mn-lt"/>
          <a:ea typeface="+mn-ea"/>
          <a:cs typeface="+mn-cs"/>
        </a:defRPr>
      </a:lvl5pPr>
      <a:lvl6pPr marL="2280564" algn="l" defTabSz="912224" rtl="0" eaLnBrk="1" latinLnBrk="0" hangingPunct="1">
        <a:defRPr sz="1800" kern="1200">
          <a:solidFill>
            <a:schemeClr val="tx1"/>
          </a:solidFill>
          <a:latin typeface="+mn-lt"/>
          <a:ea typeface="+mn-ea"/>
          <a:cs typeface="+mn-cs"/>
        </a:defRPr>
      </a:lvl6pPr>
      <a:lvl7pPr marL="2736677" algn="l" defTabSz="912224" rtl="0" eaLnBrk="1" latinLnBrk="0" hangingPunct="1">
        <a:defRPr sz="1800" kern="1200">
          <a:solidFill>
            <a:schemeClr val="tx1"/>
          </a:solidFill>
          <a:latin typeface="+mn-lt"/>
          <a:ea typeface="+mn-ea"/>
          <a:cs typeface="+mn-cs"/>
        </a:defRPr>
      </a:lvl7pPr>
      <a:lvl8pPr marL="3192791" algn="l" defTabSz="912224" rtl="0" eaLnBrk="1" latinLnBrk="0" hangingPunct="1">
        <a:defRPr sz="1800" kern="1200">
          <a:solidFill>
            <a:schemeClr val="tx1"/>
          </a:solidFill>
          <a:latin typeface="+mn-lt"/>
          <a:ea typeface="+mn-ea"/>
          <a:cs typeface="+mn-cs"/>
        </a:defRPr>
      </a:lvl8pPr>
      <a:lvl9pPr marL="3648901" algn="l" defTabSz="912224"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3" descr="1"/>
          <p:cNvPicPr>
            <a:picLocks noChangeAspect="1" noChangeArrowheads="1"/>
          </p:cNvPicPr>
          <p:nvPr userDrawn="1"/>
        </p:nvPicPr>
        <p:blipFill>
          <a:blip r:embed="rId3" cstate="print"/>
          <a:srcRect/>
          <a:stretch>
            <a:fillRect/>
          </a:stretch>
        </p:blipFill>
        <p:spPr bwMode="auto">
          <a:xfrm>
            <a:off x="0" y="11"/>
            <a:ext cx="9144000" cy="6858000"/>
          </a:xfrm>
          <a:prstGeom prst="rect">
            <a:avLst/>
          </a:prstGeom>
          <a:noFill/>
          <a:ln w="9525">
            <a:noFill/>
            <a:miter lim="800000"/>
            <a:headEnd/>
            <a:tailEnd/>
          </a:ln>
        </p:spPr>
      </p:pic>
      <p:sp>
        <p:nvSpPr>
          <p:cNvPr id="1038" name="Rectangle 14"/>
          <p:cNvSpPr>
            <a:spLocks noGrp="1" noChangeArrowheads="1"/>
          </p:cNvSpPr>
          <p:nvPr>
            <p:ph type="sldNum" sz="quarter" idx="4"/>
          </p:nvPr>
        </p:nvSpPr>
        <p:spPr bwMode="auto">
          <a:xfrm>
            <a:off x="6975476" y="6586539"/>
            <a:ext cx="2133600" cy="476250"/>
          </a:xfrm>
          <a:prstGeom prst="rect">
            <a:avLst/>
          </a:prstGeom>
          <a:noFill/>
          <a:ln w="9525">
            <a:noFill/>
            <a:miter lim="800000"/>
            <a:headEnd/>
            <a:tailEnd/>
          </a:ln>
          <a:effectLst/>
        </p:spPr>
        <p:txBody>
          <a:bodyPr vert="horz" wrap="square" lIns="91320" tIns="45661" rIns="91320" bIns="45661" numCol="1" anchor="t" anchorCtr="0" compatLnSpc="1">
            <a:prstTxWarp prst="textNoShape">
              <a:avLst/>
            </a:prstTxWarp>
          </a:bodyPr>
          <a:lstStyle>
            <a:lvl1pPr algn="r">
              <a:defRPr sz="1400" b="1">
                <a:solidFill>
                  <a:schemeClr val="bg1"/>
                </a:solidFill>
                <a:latin typeface="Arial" pitchFamily="34" charset="0"/>
                <a:ea typeface="굴림" pitchFamily="34" charset="-127"/>
              </a:defRPr>
            </a:lvl1pPr>
          </a:lstStyle>
          <a:p>
            <a:pPr latinLnBrk="1">
              <a:defRPr/>
            </a:pPr>
            <a:fld id="{B079E691-CE8C-4C69-801F-F615CE1A9DBD}" type="slidenum">
              <a:rPr kumimoji="1" lang="en-US" altLang="ko-KR">
                <a:solidFill>
                  <a:srgbClr val="FFFFFF"/>
                </a:solidFill>
              </a:rPr>
              <a:pPr latinLnBrk="1">
                <a:defRPr/>
              </a:pPr>
              <a:t>‹#›</a:t>
            </a:fld>
            <a:endParaRPr kumimoji="1" lang="en-US" altLang="ko-KR">
              <a:solidFill>
                <a:srgbClr val="FFFFFF"/>
              </a:solidFill>
            </a:endParaRPr>
          </a:p>
        </p:txBody>
      </p:sp>
      <p:pic>
        <p:nvPicPr>
          <p:cNvPr id="1028" name="Picture 2" descr="eg-flag1 moving"/>
          <p:cNvPicPr>
            <a:picLocks noChangeAspect="1" noChangeArrowheads="1" noCrop="1"/>
          </p:cNvPicPr>
          <p:nvPr userDrawn="1"/>
        </p:nvPicPr>
        <p:blipFill>
          <a:blip r:embed="rId4" cstate="print"/>
          <a:srcRect/>
          <a:stretch>
            <a:fillRect/>
          </a:stretch>
        </p:blipFill>
        <p:spPr bwMode="auto">
          <a:xfrm>
            <a:off x="179401" y="115899"/>
            <a:ext cx="1152525" cy="666750"/>
          </a:xfrm>
          <a:prstGeom prst="rect">
            <a:avLst/>
          </a:prstGeom>
          <a:noFill/>
          <a:ln w="9525">
            <a:noFill/>
            <a:miter lim="800000"/>
            <a:headEnd/>
            <a:tailEnd/>
          </a:ln>
        </p:spPr>
      </p:pic>
      <p:pic>
        <p:nvPicPr>
          <p:cNvPr id="5" name="Picture 4" descr="logo2.gif"/>
          <p:cNvPicPr>
            <a:picLocks noChangeAspect="1"/>
          </p:cNvPicPr>
          <p:nvPr userDrawn="1"/>
        </p:nvPicPr>
        <p:blipFill>
          <a:blip r:embed="rId5" cstate="print">
            <a:extLst/>
          </a:blip>
          <a:stretch>
            <a:fillRect/>
          </a:stretch>
        </p:blipFill>
        <p:spPr>
          <a:xfrm>
            <a:off x="7884379" y="2705"/>
            <a:ext cx="1080120" cy="1083228"/>
          </a:xfrm>
          <a:prstGeom prst="rect">
            <a:avLst/>
          </a:prstGeom>
          <a:ln>
            <a:noFill/>
          </a:ln>
          <a:effectLst>
            <a:glow rad="88900">
              <a:schemeClr val="bg1">
                <a:alpha val="9000"/>
              </a:schemeClr>
            </a:glow>
            <a:outerShdw blurRad="190500" algn="tl" rotWithShape="0">
              <a:srgbClr val="000000">
                <a:alpha val="70000"/>
              </a:srgbClr>
            </a:outerShdw>
          </a:effectLst>
        </p:spPr>
      </p:pic>
    </p:spTree>
    <p:extLst>
      <p:ext uri="{BB962C8B-B14F-4D97-AF65-F5344CB8AC3E}">
        <p14:creationId xmlns:p14="http://schemas.microsoft.com/office/powerpoint/2010/main" val="4074385108"/>
      </p:ext>
    </p:extLst>
  </p:cSld>
  <p:clrMap bg1="lt1" tx1="dk1" bg2="lt2" tx2="dk2" accent1="accent1" accent2="accent2" accent3="accent3" accent4="accent4" accent5="accent5" accent6="accent6" hlink="hlink" folHlink="folHlink"/>
  <p:sldLayoutIdLst>
    <p:sldLayoutId id="2147483925" r:id="rId1"/>
  </p:sldLayoutIdLst>
  <p:transition>
    <p:zoom/>
  </p:transition>
  <p:timing>
    <p:tnLst>
      <p:par>
        <p:cTn id="1" dur="indefinite" restart="never" nodeType="tmRoot"/>
      </p:par>
    </p:tnLst>
  </p:timing>
  <p:hf hdr="0" ftr="0" dt="0"/>
  <p:txStyles>
    <p:titleStyle>
      <a:lvl1pPr algn="l" rtl="0" eaLnBrk="0" fontAlgn="base" latinLnBrk="1" hangingPunct="0">
        <a:spcBef>
          <a:spcPct val="0"/>
        </a:spcBef>
        <a:spcAft>
          <a:spcPct val="0"/>
        </a:spcAft>
        <a:defRPr kumimoji="1" sz="3200">
          <a:solidFill>
            <a:srgbClr val="FFFF00"/>
          </a:solidFill>
          <a:latin typeface="+mj-lt"/>
          <a:ea typeface="+mj-ea"/>
          <a:cs typeface="HY헤드라인M" charset="0"/>
        </a:defRPr>
      </a:lvl1pPr>
      <a:lvl2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2pPr>
      <a:lvl3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3pPr>
      <a:lvl4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4pPr>
      <a:lvl5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5pPr>
      <a:lvl6pPr marL="456601"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6pPr>
      <a:lvl7pPr marL="913193"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7pPr>
      <a:lvl8pPr marL="136979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8pPr>
      <a:lvl9pPr marL="1826387"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9pPr>
    </p:titleStyle>
    <p:bodyStyle>
      <a:lvl1pPr marL="342447" indent="-342447" algn="l" rtl="0" eaLnBrk="0" fontAlgn="base" latinLnBrk="1" hangingPunct="0">
        <a:spcBef>
          <a:spcPct val="20000"/>
        </a:spcBef>
        <a:spcAft>
          <a:spcPct val="0"/>
        </a:spcAft>
        <a:buChar char="•"/>
        <a:defRPr kumimoji="1" sz="3200">
          <a:solidFill>
            <a:schemeClr val="tx1"/>
          </a:solidFill>
          <a:latin typeface="Gulim" pitchFamily="34" charset="-127"/>
          <a:ea typeface="Gulim" pitchFamily="34" charset="-127"/>
          <a:cs typeface="굴림" charset="0"/>
        </a:defRPr>
      </a:lvl1pPr>
      <a:lvl2pPr marL="741970" indent="-285374" algn="l" rtl="0" eaLnBrk="0" fontAlgn="base" latinLnBrk="1" hangingPunct="0">
        <a:spcBef>
          <a:spcPct val="20000"/>
        </a:spcBef>
        <a:spcAft>
          <a:spcPct val="0"/>
        </a:spcAft>
        <a:buChar char="–"/>
        <a:defRPr kumimoji="1" sz="2800">
          <a:solidFill>
            <a:schemeClr val="tx1"/>
          </a:solidFill>
          <a:latin typeface="Gulim" pitchFamily="34" charset="-127"/>
          <a:ea typeface="Gulim" pitchFamily="34" charset="-127"/>
          <a:cs typeface="굴림" charset="0"/>
        </a:defRPr>
      </a:lvl2pPr>
      <a:lvl3pPr marL="1141491" indent="-228295" algn="l" rtl="0" eaLnBrk="0" fontAlgn="base" latinLnBrk="1" hangingPunct="0">
        <a:spcBef>
          <a:spcPct val="20000"/>
        </a:spcBef>
        <a:spcAft>
          <a:spcPct val="0"/>
        </a:spcAft>
        <a:buChar char="•"/>
        <a:defRPr kumimoji="1" sz="2400">
          <a:solidFill>
            <a:schemeClr val="tx1"/>
          </a:solidFill>
          <a:latin typeface="Gulim" pitchFamily="34" charset="-127"/>
          <a:ea typeface="Gulim" pitchFamily="34" charset="-127"/>
          <a:cs typeface="굴림" charset="0"/>
        </a:defRPr>
      </a:lvl3pPr>
      <a:lvl4pPr marL="1598088"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4pPr>
      <a:lvl5pPr marL="2054686"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5pPr>
      <a:lvl6pPr marL="2511281" indent="-228295" algn="l" rtl="0" fontAlgn="base" latinLnBrk="1">
        <a:spcBef>
          <a:spcPct val="20000"/>
        </a:spcBef>
        <a:spcAft>
          <a:spcPct val="0"/>
        </a:spcAft>
        <a:buChar char="»"/>
        <a:defRPr kumimoji="1" sz="2000">
          <a:solidFill>
            <a:schemeClr val="tx1"/>
          </a:solidFill>
          <a:latin typeface="+mn-lt"/>
          <a:ea typeface="+mn-ea"/>
        </a:defRPr>
      </a:lvl6pPr>
      <a:lvl7pPr marL="2967877" indent="-228295" algn="l" rtl="0" fontAlgn="base" latinLnBrk="1">
        <a:spcBef>
          <a:spcPct val="20000"/>
        </a:spcBef>
        <a:spcAft>
          <a:spcPct val="0"/>
        </a:spcAft>
        <a:buChar char="»"/>
        <a:defRPr kumimoji="1" sz="2000">
          <a:solidFill>
            <a:schemeClr val="tx1"/>
          </a:solidFill>
          <a:latin typeface="+mn-lt"/>
          <a:ea typeface="+mn-ea"/>
        </a:defRPr>
      </a:lvl7pPr>
      <a:lvl8pPr marL="3424474" indent="-228295" algn="l" rtl="0" fontAlgn="base" latinLnBrk="1">
        <a:spcBef>
          <a:spcPct val="20000"/>
        </a:spcBef>
        <a:spcAft>
          <a:spcPct val="0"/>
        </a:spcAft>
        <a:buChar char="»"/>
        <a:defRPr kumimoji="1" sz="2000">
          <a:solidFill>
            <a:schemeClr val="tx1"/>
          </a:solidFill>
          <a:latin typeface="+mn-lt"/>
          <a:ea typeface="+mn-ea"/>
        </a:defRPr>
      </a:lvl8pPr>
      <a:lvl9pPr marL="3881068" indent="-228295"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3193" rtl="0" eaLnBrk="1" latinLnBrk="1" hangingPunct="1">
        <a:defRPr sz="1800" kern="1200">
          <a:solidFill>
            <a:schemeClr val="tx1"/>
          </a:solidFill>
          <a:latin typeface="+mn-lt"/>
          <a:ea typeface="+mn-ea"/>
          <a:cs typeface="+mn-cs"/>
        </a:defRPr>
      </a:lvl1pPr>
      <a:lvl2pPr marL="456601" algn="l" defTabSz="913193" rtl="0" eaLnBrk="1" latinLnBrk="1" hangingPunct="1">
        <a:defRPr sz="1800" kern="1200">
          <a:solidFill>
            <a:schemeClr val="tx1"/>
          </a:solidFill>
          <a:latin typeface="+mn-lt"/>
          <a:ea typeface="+mn-ea"/>
          <a:cs typeface="+mn-cs"/>
        </a:defRPr>
      </a:lvl2pPr>
      <a:lvl3pPr marL="913193" algn="l" defTabSz="913193" rtl="0" eaLnBrk="1" latinLnBrk="1" hangingPunct="1">
        <a:defRPr sz="1800" kern="1200">
          <a:solidFill>
            <a:schemeClr val="tx1"/>
          </a:solidFill>
          <a:latin typeface="+mn-lt"/>
          <a:ea typeface="+mn-ea"/>
          <a:cs typeface="+mn-cs"/>
        </a:defRPr>
      </a:lvl3pPr>
      <a:lvl4pPr marL="1369790" algn="l" defTabSz="913193" rtl="0" eaLnBrk="1" latinLnBrk="1" hangingPunct="1">
        <a:defRPr sz="1800" kern="1200">
          <a:solidFill>
            <a:schemeClr val="tx1"/>
          </a:solidFill>
          <a:latin typeface="+mn-lt"/>
          <a:ea typeface="+mn-ea"/>
          <a:cs typeface="+mn-cs"/>
        </a:defRPr>
      </a:lvl4pPr>
      <a:lvl5pPr marL="1826387" algn="l" defTabSz="913193" rtl="0" eaLnBrk="1" latinLnBrk="1" hangingPunct="1">
        <a:defRPr sz="1800" kern="1200">
          <a:solidFill>
            <a:schemeClr val="tx1"/>
          </a:solidFill>
          <a:latin typeface="+mn-lt"/>
          <a:ea typeface="+mn-ea"/>
          <a:cs typeface="+mn-cs"/>
        </a:defRPr>
      </a:lvl5pPr>
      <a:lvl6pPr marL="2282983" algn="l" defTabSz="913193" rtl="0" eaLnBrk="1" latinLnBrk="1" hangingPunct="1">
        <a:defRPr sz="1800" kern="1200">
          <a:solidFill>
            <a:schemeClr val="tx1"/>
          </a:solidFill>
          <a:latin typeface="+mn-lt"/>
          <a:ea typeface="+mn-ea"/>
          <a:cs typeface="+mn-cs"/>
        </a:defRPr>
      </a:lvl6pPr>
      <a:lvl7pPr marL="2739579" algn="l" defTabSz="913193" rtl="0" eaLnBrk="1" latinLnBrk="1" hangingPunct="1">
        <a:defRPr sz="1800" kern="1200">
          <a:solidFill>
            <a:schemeClr val="tx1"/>
          </a:solidFill>
          <a:latin typeface="+mn-lt"/>
          <a:ea typeface="+mn-ea"/>
          <a:cs typeface="+mn-cs"/>
        </a:defRPr>
      </a:lvl7pPr>
      <a:lvl8pPr marL="3196176" algn="l" defTabSz="913193" rtl="0" eaLnBrk="1" latinLnBrk="1" hangingPunct="1">
        <a:defRPr sz="1800" kern="1200">
          <a:solidFill>
            <a:schemeClr val="tx1"/>
          </a:solidFill>
          <a:latin typeface="+mn-lt"/>
          <a:ea typeface="+mn-ea"/>
          <a:cs typeface="+mn-cs"/>
        </a:defRPr>
      </a:lvl8pPr>
      <a:lvl9pPr marL="3652772" algn="l" defTabSz="913193" rtl="0" eaLnBrk="1" latinLnBrk="1"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407" name="Rectangle 383" hidden="1"/>
          <p:cNvGraphicFramePr>
            <a:graphicFrameLocks/>
          </p:cNvGraphicFramePr>
          <p:nvPr>
            <p:custDataLst>
              <p:tags r:id="rId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0179" name="think-cell Slide" r:id="rId31" imgW="0" imgH="0" progId="">
                  <p:embed/>
                </p:oleObj>
              </mc:Choice>
              <mc:Fallback>
                <p:oleObj name="think-cell Slide" r:id="rId3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06" name="Rectangle 382"/>
          <p:cNvSpPr>
            <a:spLocks noChangeArrowheads="1"/>
          </p:cNvSpPr>
          <p:nvPr>
            <p:custDataLst>
              <p:tags r:id="rId5"/>
            </p:custDataLst>
          </p:nvPr>
        </p:nvSpPr>
        <p:spPr bwMode="auto">
          <a:xfrm>
            <a:off x="0" y="6469263"/>
            <a:ext cx="9144000" cy="388739"/>
          </a:xfrm>
          <a:prstGeom prst="rect">
            <a:avLst/>
          </a:prstGeom>
          <a:solidFill>
            <a:schemeClr val="accent2"/>
          </a:solidFill>
          <a:ln w="9525">
            <a:noFill/>
            <a:miter lim="800000"/>
            <a:headEnd/>
            <a:tailEnd/>
          </a:ln>
          <a:effectLst/>
        </p:spPr>
        <p:txBody>
          <a:bodyPr wrap="none" lIns="93222" tIns="46612" rIns="93222" bIns="46612" anchor="ctr"/>
          <a:lstStyle/>
          <a:p>
            <a:endParaRPr lang="en-US" sz="1600" dirty="0">
              <a:solidFill>
                <a:srgbClr val="000000"/>
              </a:solidFill>
              <a:latin typeface="Arial" charset="0"/>
            </a:endParaRPr>
          </a:p>
        </p:txBody>
      </p:sp>
      <p:sp>
        <p:nvSpPr>
          <p:cNvPr id="1026" name="McK 2. Slide Title"/>
          <p:cNvSpPr>
            <a:spLocks noGrp="1" noChangeArrowheads="1"/>
          </p:cNvSpPr>
          <p:nvPr>
            <p:ph type="title"/>
            <p:custDataLst>
              <p:tags r:id="rId6"/>
            </p:custDataLst>
          </p:nvPr>
        </p:nvSpPr>
        <p:spPr bwMode="auto">
          <a:xfrm>
            <a:off x="121497" y="519652"/>
            <a:ext cx="8797353" cy="29832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076" name="McK 1. On-page tracker" hidden="1"/>
          <p:cNvSpPr>
            <a:spLocks noChangeArrowheads="1"/>
          </p:cNvSpPr>
          <p:nvPr>
            <p:custDataLst>
              <p:tags r:id="rId7"/>
            </p:custDataLst>
          </p:nvPr>
        </p:nvSpPr>
        <p:spPr bwMode="auto">
          <a:xfrm>
            <a:off x="121488" y="27537"/>
            <a:ext cx="859210" cy="215444"/>
          </a:xfrm>
          <a:prstGeom prst="rect">
            <a:avLst/>
          </a:prstGeom>
          <a:noFill/>
          <a:ln w="9525">
            <a:noFill/>
            <a:miter lim="800000"/>
            <a:headEnd/>
            <a:tailEnd/>
          </a:ln>
          <a:effectLst/>
        </p:spPr>
        <p:txBody>
          <a:bodyPr wrap="none" lIns="0" tIns="0" rIns="0" bIns="0">
            <a:spAutoFit/>
          </a:bodyPr>
          <a:lstStyle/>
          <a:p>
            <a:r>
              <a:rPr lang="en-US" sz="1400" dirty="0">
                <a:solidFill>
                  <a:srgbClr val="808080"/>
                </a:solidFill>
                <a:latin typeface="Arial" charset="0"/>
              </a:rPr>
              <a:t>TRACKER</a:t>
            </a:r>
          </a:p>
        </p:txBody>
      </p:sp>
      <p:grpSp>
        <p:nvGrpSpPr>
          <p:cNvPr id="2" name="McK Slide Elements"/>
          <p:cNvGrpSpPr>
            <a:grpSpLocks/>
          </p:cNvGrpSpPr>
          <p:nvPr userDrawn="1"/>
        </p:nvGrpSpPr>
        <p:grpSpPr bwMode="auto">
          <a:xfrm>
            <a:off x="121488" y="988046"/>
            <a:ext cx="7801152" cy="5776010"/>
            <a:chOff x="75" y="610"/>
            <a:chExt cx="4816" cy="3566"/>
          </a:xfrm>
        </p:grpSpPr>
        <p:sp>
          <p:nvSpPr>
            <p:cNvPr id="1032" name="McK 3. Unit of measure" hidden="1"/>
            <p:cNvSpPr txBox="1">
              <a:spLocks noChangeArrowheads="1"/>
            </p:cNvSpPr>
            <p:nvPr userDrawn="1"/>
          </p:nvSpPr>
          <p:spPr bwMode="auto">
            <a:xfrm>
              <a:off x="75" y="610"/>
              <a:ext cx="4816" cy="133"/>
            </a:xfrm>
            <a:prstGeom prst="rect">
              <a:avLst/>
            </a:prstGeom>
            <a:noFill/>
            <a:ln w="9525">
              <a:noFill/>
              <a:miter lim="800000"/>
              <a:headEnd/>
              <a:tailEnd/>
            </a:ln>
            <a:effectLst/>
          </p:spPr>
          <p:txBody>
            <a:bodyPr lIns="0" tIns="0" rIns="0" bIns="0">
              <a:spAutoFit/>
            </a:bodyPr>
            <a:lstStyle/>
            <a:p>
              <a:pPr defTabSz="912802"/>
              <a:r>
                <a:rPr lang="en-US" sz="1400" dirty="0">
                  <a:solidFill>
                    <a:srgbClr val="000000"/>
                  </a:solidFill>
                  <a:latin typeface="Arial" charset="0"/>
                </a:rPr>
                <a:t>Unit of measure</a:t>
              </a:r>
            </a:p>
          </p:txBody>
        </p:sp>
        <p:sp>
          <p:nvSpPr>
            <p:cNvPr id="1151" name="McK 4. Footnote" hidden="1"/>
            <p:cNvSpPr txBox="1">
              <a:spLocks noChangeArrowheads="1"/>
            </p:cNvSpPr>
            <p:nvPr userDrawn="1"/>
          </p:nvSpPr>
          <p:spPr bwMode="auto">
            <a:xfrm>
              <a:off x="75" y="3882"/>
              <a:ext cx="4775" cy="96"/>
            </a:xfrm>
            <a:prstGeom prst="rect">
              <a:avLst/>
            </a:prstGeom>
            <a:noFill/>
            <a:ln w="9525">
              <a:noFill/>
              <a:miter lim="800000"/>
              <a:headEnd/>
              <a:tailEnd/>
            </a:ln>
            <a:effectLst/>
          </p:spPr>
          <p:txBody>
            <a:bodyPr lIns="0" tIns="0" rIns="0" bIns="0" anchor="b">
              <a:spAutoFit/>
            </a:bodyPr>
            <a:lstStyle/>
            <a:p>
              <a:pPr marL="106817" indent="-106817" defTabSz="912802"/>
              <a:r>
                <a:rPr lang="en-US" sz="1000" dirty="0">
                  <a:solidFill>
                    <a:srgbClr val="000000"/>
                  </a:solidFill>
                  <a:latin typeface="Arial" charset="0"/>
                </a:rPr>
                <a:t>1 Footnote</a:t>
              </a:r>
            </a:p>
          </p:txBody>
        </p:sp>
        <p:sp>
          <p:nvSpPr>
            <p:cNvPr id="1154" name="McK 5. Source" hidden="1"/>
            <p:cNvSpPr>
              <a:spLocks noChangeArrowheads="1"/>
            </p:cNvSpPr>
            <p:nvPr userDrawn="1"/>
          </p:nvSpPr>
          <p:spPr bwMode="auto">
            <a:xfrm>
              <a:off x="75" y="4080"/>
              <a:ext cx="3833" cy="96"/>
            </a:xfrm>
            <a:prstGeom prst="rect">
              <a:avLst/>
            </a:prstGeom>
            <a:noFill/>
            <a:ln w="9525">
              <a:noFill/>
              <a:miter lim="800000"/>
              <a:headEnd/>
              <a:tailEnd/>
            </a:ln>
            <a:effectLst/>
          </p:spPr>
          <p:txBody>
            <a:bodyPr lIns="0" tIns="0" rIns="0" bIns="0" anchor="ctr">
              <a:spAutoFit/>
            </a:bodyPr>
            <a:lstStyle/>
            <a:p>
              <a:pPr marL="582639" indent="-582639" defTabSz="912802">
                <a:tabLst>
                  <a:tab pos="581023" algn="l"/>
                </a:tabLst>
              </a:pPr>
              <a:r>
                <a:rPr lang="en-US" sz="1000" dirty="0">
                  <a:solidFill>
                    <a:srgbClr val="000000"/>
                  </a:solidFill>
                  <a:latin typeface="Arial" charset="0"/>
                </a:rPr>
                <a:t>Source: Source</a:t>
              </a:r>
            </a:p>
          </p:txBody>
        </p:sp>
      </p:grpSp>
      <p:grpSp>
        <p:nvGrpSpPr>
          <p:cNvPr id="3" name="ACET" hidden="1"/>
          <p:cNvGrpSpPr>
            <a:grpSpLocks/>
          </p:cNvGrpSpPr>
          <p:nvPr>
            <p:custDataLst>
              <p:tags r:id="rId8"/>
            </p:custDataLst>
          </p:nvPr>
        </p:nvGrpSpPr>
        <p:grpSpPr bwMode="auto">
          <a:xfrm>
            <a:off x="121495" y="1355728"/>
            <a:ext cx="4352512" cy="510220"/>
            <a:chOff x="915" y="715"/>
            <a:chExt cx="2687" cy="315"/>
          </a:xfrm>
        </p:grpSpPr>
        <p:cxnSp>
          <p:nvCxnSpPr>
            <p:cNvPr id="1273" name="AutoShape 249" hidden="1"/>
            <p:cNvCxnSpPr>
              <a:cxnSpLocks noChangeShapeType="1"/>
              <a:stCxn id="1274" idx="4"/>
              <a:endCxn id="1274" idx="6"/>
            </p:cNvCxnSpPr>
            <p:nvPr/>
          </p:nvCxnSpPr>
          <p:spPr bwMode="auto">
            <a:xfrm rot="16200000" flipH="1">
              <a:off x="2258" y="-313"/>
              <a:ext cx="1" cy="2686"/>
            </a:xfrm>
            <a:prstGeom prst="straightConnector1">
              <a:avLst/>
            </a:prstGeom>
            <a:noFill/>
            <a:ln w="9525">
              <a:solidFill>
                <a:schemeClr val="tx1"/>
              </a:solidFill>
              <a:round/>
              <a:headEnd/>
              <a:tailEnd/>
            </a:ln>
            <a:effectLst/>
          </p:spPr>
        </p:cxnSp>
        <p:sp>
          <p:nvSpPr>
            <p:cNvPr id="1274" name="AutoShape 250" hidden="1"/>
            <p:cNvSpPr>
              <a:spLocks noChangeArrowheads="1"/>
            </p:cNvSpPr>
            <p:nvPr/>
          </p:nvSpPr>
          <p:spPr bwMode="auto">
            <a:xfrm>
              <a:off x="915" y="715"/>
              <a:ext cx="2686" cy="315"/>
            </a:xfrm>
            <a:prstGeom prst="leftRightArrow">
              <a:avLst>
                <a:gd name="adj1" fmla="val 100000"/>
                <a:gd name="adj2" fmla="val 0"/>
              </a:avLst>
            </a:prstGeom>
            <a:noFill/>
            <a:ln w="9525">
              <a:noFill/>
              <a:miter lim="800000"/>
              <a:headEnd/>
              <a:tailEnd/>
            </a:ln>
            <a:effectLst/>
          </p:spPr>
          <p:txBody>
            <a:bodyPr lIns="0" tIns="0" rIns="0" bIns="18288" anchor="b">
              <a:spAutoFit/>
            </a:bodyPr>
            <a:lstStyle/>
            <a:p>
              <a:r>
                <a:rPr lang="en-US" sz="1600" b="1" dirty="0" err="1">
                  <a:solidFill>
                    <a:srgbClr val="000000"/>
                  </a:solidFill>
                  <a:latin typeface="Arial" charset="0"/>
                </a:rPr>
                <a:t>Titel</a:t>
              </a:r>
              <a:endParaRPr lang="en-US" sz="1600" b="1" dirty="0">
                <a:solidFill>
                  <a:srgbClr val="000000"/>
                </a:solidFill>
                <a:latin typeface="Arial" charset="0"/>
              </a:endParaRPr>
            </a:p>
            <a:p>
              <a:r>
                <a:rPr lang="en-US" sz="1600" dirty="0">
                  <a:solidFill>
                    <a:srgbClr val="000000"/>
                  </a:solidFill>
                  <a:latin typeface="Arial" charset="0"/>
                </a:rPr>
                <a:t>Unit of measure</a:t>
              </a:r>
            </a:p>
          </p:txBody>
        </p:sp>
      </p:grpSp>
      <p:sp>
        <p:nvSpPr>
          <p:cNvPr id="1304" name="Rectangle 280"/>
          <p:cNvSpPr>
            <a:spLocks noGrp="1" noChangeArrowheads="1"/>
          </p:cNvSpPr>
          <p:nvPr>
            <p:ph type="sldNum" sz="quarter" idx="4"/>
            <p:custDataLst>
              <p:tags r:id="rId9"/>
            </p:custDataLst>
          </p:nvPr>
        </p:nvSpPr>
        <p:spPr bwMode="auto">
          <a:xfrm>
            <a:off x="8719602" y="6678209"/>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sz="1000">
                <a:solidFill>
                  <a:srgbClr val="000000"/>
                </a:solidFill>
              </a:defRPr>
            </a:lvl1pPr>
          </a:lstStyle>
          <a:p>
            <a:fld id="{34383EA8-7801-444F-BF26-B965F39592CA}" type="slidenum">
              <a:rPr lang="en-US">
                <a:latin typeface="Arial" charset="0"/>
              </a:rPr>
              <a:pPr/>
              <a:t>‹#›</a:t>
            </a:fld>
            <a:endParaRPr lang="en-US">
              <a:latin typeface="Arial" charset="0"/>
            </a:endParaRPr>
          </a:p>
        </p:txBody>
      </p:sp>
      <p:sp>
        <p:nvSpPr>
          <p:cNvPr id="1310" name="Rectangle 286"/>
          <p:cNvSpPr>
            <a:spLocks noGrp="1" noChangeArrowheads="1"/>
          </p:cNvSpPr>
          <p:nvPr>
            <p:ph type="body" idx="1"/>
            <p:custDataLst>
              <p:tags r:id="rId10"/>
            </p:custDataLst>
          </p:nvPr>
        </p:nvSpPr>
        <p:spPr bwMode="auto">
          <a:xfrm>
            <a:off x="121489" y="1990668"/>
            <a:ext cx="8722840" cy="124720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4" name="Sticker" hidden="1"/>
          <p:cNvGrpSpPr>
            <a:grpSpLocks/>
          </p:cNvGrpSpPr>
          <p:nvPr>
            <p:custDataLst>
              <p:tags r:id="rId11"/>
            </p:custDataLst>
          </p:nvPr>
        </p:nvGrpSpPr>
        <p:grpSpPr bwMode="auto">
          <a:xfrm>
            <a:off x="8238517" y="1025324"/>
            <a:ext cx="681953" cy="189512"/>
            <a:chOff x="1320" y="2181"/>
            <a:chExt cx="421" cy="117"/>
          </a:xfrm>
        </p:grpSpPr>
        <p:sp>
          <p:nvSpPr>
            <p:cNvPr id="1320" name="AutoShape 296" hidden="1"/>
            <p:cNvSpPr>
              <a:spLocks noChangeArrowheads="1"/>
            </p:cNvSpPr>
            <p:nvPr userDrawn="1"/>
          </p:nvSpPr>
          <p:spPr bwMode="auto">
            <a:xfrm>
              <a:off x="1320" y="2182"/>
              <a:ext cx="420" cy="116"/>
            </a:xfrm>
            <a:prstGeom prst="leftRightArrow">
              <a:avLst>
                <a:gd name="adj1" fmla="val 100000"/>
                <a:gd name="adj2" fmla="val 0"/>
              </a:avLst>
            </a:prstGeom>
            <a:noFill/>
            <a:ln w="9525">
              <a:noFill/>
              <a:miter lim="800000"/>
              <a:headEnd/>
              <a:tailEnd/>
            </a:ln>
            <a:effectLst/>
          </p:spPr>
          <p:txBody>
            <a:bodyPr wrap="none" lIns="0" tIns="0" rIns="0" bIns="0">
              <a:spAutoFit/>
            </a:bodyPr>
            <a:lstStyle/>
            <a:p>
              <a:pPr algn="r"/>
              <a:r>
                <a:rPr lang="en-US" sz="1200" dirty="0">
                  <a:solidFill>
                    <a:srgbClr val="000000"/>
                  </a:solidFill>
                  <a:latin typeface="Arial" charset="0"/>
                </a:rPr>
                <a:t>STICKER</a:t>
              </a:r>
            </a:p>
          </p:txBody>
        </p:sp>
        <p:cxnSp>
          <p:nvCxnSpPr>
            <p:cNvPr id="1321" name="AutoShape 297" hidden="1"/>
            <p:cNvCxnSpPr>
              <a:cxnSpLocks noChangeShapeType="1"/>
              <a:stCxn id="1320" idx="2"/>
              <a:endCxn id="1320" idx="0"/>
            </p:cNvCxnSpPr>
            <p:nvPr userDrawn="1"/>
          </p:nvCxnSpPr>
          <p:spPr bwMode="auto">
            <a:xfrm rot="5400000" flipH="1" flipV="1">
              <a:off x="1530" y="1972"/>
              <a:ext cx="1" cy="420"/>
            </a:xfrm>
            <a:prstGeom prst="straightConnector1">
              <a:avLst/>
            </a:prstGeom>
            <a:noFill/>
            <a:ln w="9525">
              <a:solidFill>
                <a:schemeClr val="tx1"/>
              </a:solidFill>
              <a:round/>
              <a:headEnd/>
              <a:tailEnd/>
            </a:ln>
            <a:effectLst/>
          </p:spPr>
        </p:cxnSp>
        <p:cxnSp>
          <p:nvCxnSpPr>
            <p:cNvPr id="1322" name="AutoShape 298" hidden="1"/>
            <p:cNvCxnSpPr>
              <a:cxnSpLocks noChangeShapeType="1"/>
              <a:stCxn id="1320" idx="4"/>
              <a:endCxn id="1320" idx="6"/>
            </p:cNvCxnSpPr>
            <p:nvPr userDrawn="1"/>
          </p:nvCxnSpPr>
          <p:spPr bwMode="auto">
            <a:xfrm rot="16200000" flipH="1">
              <a:off x="1530" y="2088"/>
              <a:ext cx="1" cy="420"/>
            </a:xfrm>
            <a:prstGeom prst="straightConnector1">
              <a:avLst/>
            </a:prstGeom>
            <a:noFill/>
            <a:ln w="9525">
              <a:solidFill>
                <a:schemeClr val="tx1"/>
              </a:solidFill>
              <a:round/>
              <a:headEnd/>
              <a:tailEnd/>
            </a:ln>
            <a:effectLst/>
          </p:spPr>
        </p:cxnSp>
      </p:grpSp>
      <p:grpSp>
        <p:nvGrpSpPr>
          <p:cNvPr id="5" name="LegendBoxes" hidden="1"/>
          <p:cNvGrpSpPr>
            <a:grpSpLocks/>
          </p:cNvGrpSpPr>
          <p:nvPr>
            <p:custDataLst>
              <p:tags r:id="rId12"/>
            </p:custDataLst>
          </p:nvPr>
        </p:nvGrpSpPr>
        <p:grpSpPr bwMode="auto">
          <a:xfrm>
            <a:off x="8058708" y="1023679"/>
            <a:ext cx="866614" cy="997764"/>
            <a:chOff x="3394" y="519"/>
            <a:chExt cx="535" cy="616"/>
          </a:xfrm>
        </p:grpSpPr>
        <p:sp>
          <p:nvSpPr>
            <p:cNvPr id="1324"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5"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6"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7"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8" name="Legend1" hidden="1"/>
            <p:cNvSpPr>
              <a:spLocks noChangeArrowheads="1"/>
            </p:cNvSpPr>
            <p:nvPr userDrawn="1"/>
          </p:nvSpPr>
          <p:spPr bwMode="auto">
            <a:xfrm>
              <a:off x="3554" y="51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29" name="Legend2" hidden="1"/>
            <p:cNvSpPr>
              <a:spLocks noChangeArrowheads="1"/>
            </p:cNvSpPr>
            <p:nvPr userDrawn="1"/>
          </p:nvSpPr>
          <p:spPr bwMode="auto">
            <a:xfrm>
              <a:off x="3554" y="68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30" name="Legend3" hidden="1"/>
            <p:cNvSpPr>
              <a:spLocks noChangeArrowheads="1"/>
            </p:cNvSpPr>
            <p:nvPr userDrawn="1"/>
          </p:nvSpPr>
          <p:spPr bwMode="auto">
            <a:xfrm>
              <a:off x="3554" y="84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sp>
          <p:nvSpPr>
            <p:cNvPr id="1331" name="Legend4" hidden="1"/>
            <p:cNvSpPr>
              <a:spLocks noChangeArrowheads="1"/>
            </p:cNvSpPr>
            <p:nvPr userDrawn="1"/>
          </p:nvSpPr>
          <p:spPr bwMode="auto">
            <a:xfrm>
              <a:off x="3554" y="101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4</a:t>
              </a:r>
            </a:p>
          </p:txBody>
        </p:sp>
      </p:grpSp>
      <p:grpSp>
        <p:nvGrpSpPr>
          <p:cNvPr id="6" name="LegendLines" hidden="1"/>
          <p:cNvGrpSpPr>
            <a:grpSpLocks/>
          </p:cNvGrpSpPr>
          <p:nvPr>
            <p:custDataLst>
              <p:tags r:id="rId13"/>
            </p:custDataLst>
          </p:nvPr>
        </p:nvGrpSpPr>
        <p:grpSpPr bwMode="auto">
          <a:xfrm>
            <a:off x="7734740" y="1023685"/>
            <a:ext cx="1190582" cy="722407"/>
            <a:chOff x="2411" y="2750"/>
            <a:chExt cx="735" cy="446"/>
          </a:xfrm>
        </p:grpSpPr>
        <p:sp>
          <p:nvSpPr>
            <p:cNvPr id="1333" name="LineLegend1" hidden="1"/>
            <p:cNvSpPr>
              <a:spLocks noChangeShapeType="1"/>
            </p:cNvSpPr>
            <p:nvPr userDrawn="1"/>
          </p:nvSpPr>
          <p:spPr bwMode="auto">
            <a:xfrm>
              <a:off x="2411" y="2807"/>
              <a:ext cx="288" cy="0"/>
            </a:xfrm>
            <a:prstGeom prst="line">
              <a:avLst/>
            </a:prstGeom>
            <a:noFill/>
            <a:ln w="28575">
              <a:solidFill>
                <a:schemeClr val="folHlink"/>
              </a:solidFill>
              <a:round/>
              <a:headEnd/>
              <a:tailEnd/>
            </a:ln>
            <a:effectLst/>
          </p:spPr>
          <p:txBody>
            <a:bodyPr/>
            <a:lstStyle/>
            <a:p>
              <a:endParaRPr lang="en-US" sz="1600">
                <a:solidFill>
                  <a:srgbClr val="000000"/>
                </a:solidFill>
                <a:latin typeface="Arial" charset="0"/>
              </a:endParaRPr>
            </a:p>
          </p:txBody>
        </p:sp>
        <p:sp>
          <p:nvSpPr>
            <p:cNvPr id="1334" name="LineLegend2" hidden="1"/>
            <p:cNvSpPr>
              <a:spLocks noChangeShapeType="1"/>
            </p:cNvSpPr>
            <p:nvPr userDrawn="1"/>
          </p:nvSpPr>
          <p:spPr bwMode="auto">
            <a:xfrm>
              <a:off x="2411" y="2972"/>
              <a:ext cx="288" cy="0"/>
            </a:xfrm>
            <a:prstGeom prst="line">
              <a:avLst/>
            </a:prstGeom>
            <a:noFill/>
            <a:ln w="28575">
              <a:solidFill>
                <a:schemeClr val="folHlink"/>
              </a:solidFill>
              <a:prstDash val="dash"/>
              <a:round/>
              <a:headEnd/>
              <a:tailEnd/>
            </a:ln>
            <a:effectLst/>
          </p:spPr>
          <p:txBody>
            <a:bodyPr/>
            <a:lstStyle/>
            <a:p>
              <a:endParaRPr lang="en-US" sz="1600">
                <a:solidFill>
                  <a:srgbClr val="000000"/>
                </a:solidFill>
                <a:latin typeface="Arial" charset="0"/>
              </a:endParaRPr>
            </a:p>
          </p:txBody>
        </p:sp>
        <p:sp>
          <p:nvSpPr>
            <p:cNvPr id="1335" name="LineLegend3" hidden="1"/>
            <p:cNvSpPr>
              <a:spLocks noChangeShapeType="1"/>
            </p:cNvSpPr>
            <p:nvPr userDrawn="1"/>
          </p:nvSpPr>
          <p:spPr bwMode="auto">
            <a:xfrm>
              <a:off x="2411" y="3137"/>
              <a:ext cx="288" cy="0"/>
            </a:xfrm>
            <a:prstGeom prst="line">
              <a:avLst/>
            </a:prstGeom>
            <a:noFill/>
            <a:ln w="28575">
              <a:solidFill>
                <a:schemeClr val="folHlink"/>
              </a:solidFill>
              <a:prstDash val="sysDot"/>
              <a:round/>
              <a:headEnd/>
              <a:tailEnd/>
            </a:ln>
            <a:effectLst/>
          </p:spPr>
          <p:txBody>
            <a:bodyPr/>
            <a:lstStyle/>
            <a:p>
              <a:endParaRPr lang="en-US" sz="1600">
                <a:solidFill>
                  <a:srgbClr val="000000"/>
                </a:solidFill>
                <a:latin typeface="Arial" charset="0"/>
              </a:endParaRPr>
            </a:p>
          </p:txBody>
        </p:sp>
        <p:sp>
          <p:nvSpPr>
            <p:cNvPr id="1336" name="Legend1" hidden="1"/>
            <p:cNvSpPr>
              <a:spLocks noChangeArrowheads="1"/>
            </p:cNvSpPr>
            <p:nvPr userDrawn="1"/>
          </p:nvSpPr>
          <p:spPr bwMode="auto">
            <a:xfrm>
              <a:off x="2771" y="2750"/>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37" name="Legend2" hidden="1"/>
            <p:cNvSpPr>
              <a:spLocks noChangeArrowheads="1"/>
            </p:cNvSpPr>
            <p:nvPr userDrawn="1"/>
          </p:nvSpPr>
          <p:spPr bwMode="auto">
            <a:xfrm>
              <a:off x="2771" y="2915"/>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38" name="Legend3" hidden="1"/>
            <p:cNvSpPr>
              <a:spLocks noChangeArrowheads="1"/>
            </p:cNvSpPr>
            <p:nvPr userDrawn="1"/>
          </p:nvSpPr>
          <p:spPr bwMode="auto">
            <a:xfrm>
              <a:off x="2771" y="3080"/>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grpSp>
      <p:grpSp>
        <p:nvGrpSpPr>
          <p:cNvPr id="7" name="LegendMoons" hidden="1"/>
          <p:cNvGrpSpPr>
            <a:grpSpLocks/>
          </p:cNvGrpSpPr>
          <p:nvPr>
            <p:custDataLst>
              <p:tags r:id="rId14"/>
            </p:custDataLst>
          </p:nvPr>
        </p:nvGrpSpPr>
        <p:grpSpPr bwMode="auto">
          <a:xfrm>
            <a:off x="8042516" y="1023686"/>
            <a:ext cx="882813" cy="1260163"/>
            <a:chOff x="4965" y="484"/>
            <a:chExt cx="545" cy="778"/>
          </a:xfrm>
        </p:grpSpPr>
        <p:grpSp>
          <p:nvGrpSpPr>
            <p:cNvPr id="8" name="MoonLegend1" hidden="1"/>
            <p:cNvGrpSpPr>
              <a:grpSpLocks noChangeAspect="1"/>
            </p:cNvGrpSpPr>
            <p:nvPr userDrawn="1">
              <p:custDataLst>
                <p:tags r:id="rId16"/>
              </p:custDataLst>
            </p:nvPr>
          </p:nvGrpSpPr>
          <p:grpSpPr bwMode="auto">
            <a:xfrm>
              <a:off x="4965" y="486"/>
              <a:ext cx="112" cy="112"/>
              <a:chOff x="4533" y="183"/>
              <a:chExt cx="144" cy="144"/>
            </a:xfrm>
          </p:grpSpPr>
          <p:sp>
            <p:nvSpPr>
              <p:cNvPr id="1341" name="Oval 317" hidden="1"/>
              <p:cNvSpPr>
                <a:spLocks noChangeAspect="1" noChangeArrowheads="1"/>
              </p:cNvSpPr>
              <p:nvPr userDrawn="1">
                <p:custDataLst>
                  <p:tags r:id="rId29"/>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2" name="Arc 318" hidden="1"/>
              <p:cNvSpPr>
                <a:spLocks noChangeAspect="1"/>
              </p:cNvSpPr>
              <p:nvPr userDrawn="1">
                <p:custDataLst>
                  <p:tags r:id="rId30"/>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9" name="MoonLegend2" hidden="1"/>
            <p:cNvGrpSpPr>
              <a:grpSpLocks noChangeAspect="1"/>
            </p:cNvGrpSpPr>
            <p:nvPr userDrawn="1">
              <p:custDataLst>
                <p:tags r:id="rId17"/>
              </p:custDataLst>
            </p:nvPr>
          </p:nvGrpSpPr>
          <p:grpSpPr bwMode="auto">
            <a:xfrm>
              <a:off x="4965" y="650"/>
              <a:ext cx="112" cy="112"/>
              <a:chOff x="1694" y="2044"/>
              <a:chExt cx="160" cy="160"/>
            </a:xfrm>
          </p:grpSpPr>
          <p:sp>
            <p:nvSpPr>
              <p:cNvPr id="1344" name="Oval 320" hidden="1"/>
              <p:cNvSpPr>
                <a:spLocks noChangeAspect="1" noChangeArrowheads="1"/>
              </p:cNvSpPr>
              <p:nvPr userDrawn="1">
                <p:custDataLst>
                  <p:tags r:id="rId27"/>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5" name="Arc 321" hidden="1"/>
              <p:cNvSpPr>
                <a:spLocks noChangeAspect="1"/>
              </p:cNvSpPr>
              <p:nvPr userDrawn="1">
                <p:custDataLst>
                  <p:tags r:id="rId28"/>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0" name="MoonLegend3" hidden="1"/>
            <p:cNvGrpSpPr>
              <a:grpSpLocks noChangeAspect="1"/>
            </p:cNvGrpSpPr>
            <p:nvPr userDrawn="1">
              <p:custDataLst>
                <p:tags r:id="rId18"/>
              </p:custDataLst>
            </p:nvPr>
          </p:nvGrpSpPr>
          <p:grpSpPr bwMode="auto">
            <a:xfrm>
              <a:off x="4965" y="815"/>
              <a:ext cx="112" cy="112"/>
              <a:chOff x="4495" y="897"/>
              <a:chExt cx="160" cy="160"/>
            </a:xfrm>
          </p:grpSpPr>
          <p:sp>
            <p:nvSpPr>
              <p:cNvPr id="1347" name="Oval 323" hidden="1"/>
              <p:cNvSpPr>
                <a:spLocks noChangeAspect="1" noChangeArrowheads="1"/>
              </p:cNvSpPr>
              <p:nvPr userDrawn="1">
                <p:custDataLst>
                  <p:tags r:id="rId25"/>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8" name="Arc 324" hidden="1"/>
              <p:cNvSpPr>
                <a:spLocks noChangeAspect="1"/>
              </p:cNvSpPr>
              <p:nvPr userDrawn="1">
                <p:custDataLst>
                  <p:tags r:id="rId26"/>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1" name="MoonLegend4" hidden="1"/>
            <p:cNvGrpSpPr>
              <a:grpSpLocks noChangeAspect="1"/>
            </p:cNvGrpSpPr>
            <p:nvPr userDrawn="1">
              <p:custDataLst>
                <p:tags r:id="rId19"/>
              </p:custDataLst>
            </p:nvPr>
          </p:nvGrpSpPr>
          <p:grpSpPr bwMode="auto">
            <a:xfrm>
              <a:off x="4965" y="982"/>
              <a:ext cx="112" cy="112"/>
              <a:chOff x="4495" y="1198"/>
              <a:chExt cx="160" cy="160"/>
            </a:xfrm>
          </p:grpSpPr>
          <p:sp>
            <p:nvSpPr>
              <p:cNvPr id="1350" name="Oval 326" hidden="1"/>
              <p:cNvSpPr>
                <a:spLocks noChangeAspect="1" noChangeArrowheads="1"/>
              </p:cNvSpPr>
              <p:nvPr userDrawn="1">
                <p:custDataLst>
                  <p:tags r:id="rId23"/>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51" name="Arc 327" hidden="1"/>
              <p:cNvSpPr>
                <a:spLocks noChangeAspect="1"/>
              </p:cNvSpPr>
              <p:nvPr userDrawn="1">
                <p:custDataLst>
                  <p:tags r:id="rId24"/>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2" name="MoonLegend5" hidden="1"/>
            <p:cNvGrpSpPr>
              <a:grpSpLocks noChangeAspect="1"/>
            </p:cNvGrpSpPr>
            <p:nvPr userDrawn="1">
              <p:custDataLst>
                <p:tags r:id="rId20"/>
              </p:custDataLst>
            </p:nvPr>
          </p:nvGrpSpPr>
          <p:grpSpPr bwMode="auto">
            <a:xfrm>
              <a:off x="4965" y="1147"/>
              <a:ext cx="112" cy="112"/>
              <a:chOff x="4495" y="1440"/>
              <a:chExt cx="160" cy="160"/>
            </a:xfrm>
          </p:grpSpPr>
          <p:sp>
            <p:nvSpPr>
              <p:cNvPr id="1353" name="Oval 329" hidden="1"/>
              <p:cNvSpPr>
                <a:spLocks noChangeAspect="1" noChangeArrowheads="1"/>
              </p:cNvSpPr>
              <p:nvPr userDrawn="1">
                <p:custDataLst>
                  <p:tags r:id="rId21"/>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54" name="Oval 330" hidden="1"/>
              <p:cNvSpPr>
                <a:spLocks noChangeAspect="1" noChangeArrowheads="1"/>
              </p:cNvSpPr>
              <p:nvPr userDrawn="1">
                <p:custDataLst>
                  <p:tags r:id="rId22"/>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sp>
          <p:nvSpPr>
            <p:cNvPr id="1355" name="Legend1" hidden="1"/>
            <p:cNvSpPr>
              <a:spLocks noChangeArrowheads="1"/>
            </p:cNvSpPr>
            <p:nvPr userDrawn="1"/>
          </p:nvSpPr>
          <p:spPr bwMode="auto">
            <a:xfrm>
              <a:off x="5135" y="48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56" name="Legend2" hidden="1"/>
            <p:cNvSpPr>
              <a:spLocks noChangeArrowheads="1"/>
            </p:cNvSpPr>
            <p:nvPr userDrawn="1"/>
          </p:nvSpPr>
          <p:spPr bwMode="auto">
            <a:xfrm>
              <a:off x="5135" y="64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57" name="Legend3" hidden="1"/>
            <p:cNvSpPr>
              <a:spLocks noChangeArrowheads="1"/>
            </p:cNvSpPr>
            <p:nvPr userDrawn="1"/>
          </p:nvSpPr>
          <p:spPr bwMode="auto">
            <a:xfrm>
              <a:off x="5135" y="81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sp>
          <p:nvSpPr>
            <p:cNvPr id="1358" name="Legend4" hidden="1"/>
            <p:cNvSpPr>
              <a:spLocks noChangeArrowheads="1"/>
            </p:cNvSpPr>
            <p:nvPr userDrawn="1"/>
          </p:nvSpPr>
          <p:spPr bwMode="auto">
            <a:xfrm>
              <a:off x="5135" y="981"/>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4</a:t>
              </a:r>
            </a:p>
          </p:txBody>
        </p:sp>
        <p:sp>
          <p:nvSpPr>
            <p:cNvPr id="1359" name="Legend5" hidden="1"/>
            <p:cNvSpPr>
              <a:spLocks noChangeArrowheads="1"/>
            </p:cNvSpPr>
            <p:nvPr userDrawn="1"/>
          </p:nvSpPr>
          <p:spPr bwMode="auto">
            <a:xfrm>
              <a:off x="5135" y="1146"/>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5</a:t>
              </a:r>
            </a:p>
          </p:txBody>
        </p:sp>
      </p:grpSp>
      <p:sp>
        <p:nvSpPr>
          <p:cNvPr id="1379" name="Line 355"/>
          <p:cNvSpPr>
            <a:spLocks noChangeShapeType="1"/>
          </p:cNvSpPr>
          <p:nvPr>
            <p:custDataLst>
              <p:tags r:id="rId15"/>
            </p:custDataLst>
          </p:nvPr>
        </p:nvSpPr>
        <p:spPr bwMode="auto">
          <a:xfrm>
            <a:off x="124737" y="877902"/>
            <a:ext cx="8794113" cy="0"/>
          </a:xfrm>
          <a:prstGeom prst="line">
            <a:avLst/>
          </a:prstGeom>
          <a:noFill/>
          <a:ln w="28575">
            <a:solidFill>
              <a:schemeClr val="tx2"/>
            </a:solidFill>
            <a:round/>
            <a:headEnd/>
            <a:tailEnd/>
          </a:ln>
          <a:effectLst/>
        </p:spPr>
        <p:txBody>
          <a:bodyPr lIns="93222" tIns="46612" rIns="93222" bIns="46612"/>
          <a:lstStyle/>
          <a:p>
            <a:endParaRPr lang="en-US" sz="1600" dirty="0">
              <a:solidFill>
                <a:srgbClr val="000000"/>
              </a:solidFill>
              <a:latin typeface="Arial" charset="0"/>
            </a:endParaRPr>
          </a:p>
        </p:txBody>
      </p:sp>
      <p:pic>
        <p:nvPicPr>
          <p:cNvPr id="1513" name="Picture 489" descr="ANDI Logo"/>
          <p:cNvPicPr>
            <a:picLocks noChangeAspect="1" noChangeArrowheads="1"/>
          </p:cNvPicPr>
          <p:nvPr userDrawn="1"/>
        </p:nvPicPr>
        <p:blipFill>
          <a:blip r:embed="rId32" cstate="print">
            <a:clrChange>
              <a:clrFrom>
                <a:srgbClr val="FFFFFF"/>
              </a:clrFrom>
              <a:clrTo>
                <a:srgbClr val="FFFFFF">
                  <a:alpha val="0"/>
                </a:srgbClr>
              </a:clrTo>
            </a:clrChange>
          </a:blip>
          <a:srcRect/>
          <a:stretch>
            <a:fillRect/>
          </a:stretch>
        </p:blipFill>
        <p:spPr bwMode="auto">
          <a:xfrm>
            <a:off x="7511209" y="6521095"/>
            <a:ext cx="1163045" cy="336907"/>
          </a:xfrm>
          <a:prstGeom prst="rect">
            <a:avLst/>
          </a:prstGeom>
          <a:noFill/>
        </p:spPr>
      </p:pic>
    </p:spTree>
    <p:extLst>
      <p:ext uri="{BB962C8B-B14F-4D97-AF65-F5344CB8AC3E}">
        <p14:creationId xmlns:p14="http://schemas.microsoft.com/office/powerpoint/2010/main" val="746649938"/>
      </p:ext>
    </p:extLst>
  </p:cSld>
  <p:clrMap bg1="lt1" tx1="dk1" bg2="lt2" tx2="dk2" accent1="accent1" accent2="accent2" accent3="accent3" accent4="accent4" accent5="accent5" accent6="accent6" hlink="hlink" folHlink="folHlink"/>
  <p:sldLayoutIdLst>
    <p:sldLayoutId id="2147483927" r:id="rId1"/>
  </p:sldLayoutIdLst>
  <p:hf hdr="0" ftr="0" dt="0"/>
  <p:txStyles>
    <p:titleStyle>
      <a:lvl1pPr algn="l" defTabSz="912802" rtl="0" fontAlgn="base">
        <a:spcBef>
          <a:spcPct val="0"/>
        </a:spcBef>
        <a:spcAft>
          <a:spcPct val="0"/>
        </a:spcAft>
        <a:defRPr sz="1900" b="1">
          <a:solidFill>
            <a:schemeClr val="tx2"/>
          </a:solidFill>
          <a:latin typeface="+mj-lt"/>
          <a:ea typeface="+mj-ea"/>
          <a:cs typeface="+mj-cs"/>
        </a:defRPr>
      </a:lvl1pPr>
      <a:lvl2pPr algn="l" defTabSz="912802" rtl="0" fontAlgn="base">
        <a:spcBef>
          <a:spcPct val="0"/>
        </a:spcBef>
        <a:spcAft>
          <a:spcPct val="0"/>
        </a:spcAft>
        <a:defRPr sz="1900" b="1">
          <a:solidFill>
            <a:schemeClr val="tx2"/>
          </a:solidFill>
          <a:latin typeface="Arial" charset="0"/>
        </a:defRPr>
      </a:lvl2pPr>
      <a:lvl3pPr algn="l" defTabSz="912802" rtl="0" fontAlgn="base">
        <a:spcBef>
          <a:spcPct val="0"/>
        </a:spcBef>
        <a:spcAft>
          <a:spcPct val="0"/>
        </a:spcAft>
        <a:defRPr sz="1900" b="1">
          <a:solidFill>
            <a:schemeClr val="tx2"/>
          </a:solidFill>
          <a:latin typeface="Arial" charset="0"/>
        </a:defRPr>
      </a:lvl3pPr>
      <a:lvl4pPr algn="l" defTabSz="912802" rtl="0" fontAlgn="base">
        <a:spcBef>
          <a:spcPct val="0"/>
        </a:spcBef>
        <a:spcAft>
          <a:spcPct val="0"/>
        </a:spcAft>
        <a:defRPr sz="1900" b="1">
          <a:solidFill>
            <a:schemeClr val="tx2"/>
          </a:solidFill>
          <a:latin typeface="Arial" charset="0"/>
        </a:defRPr>
      </a:lvl4pPr>
      <a:lvl5pPr algn="l" defTabSz="912802" rtl="0" fontAlgn="base">
        <a:spcBef>
          <a:spcPct val="0"/>
        </a:spcBef>
        <a:spcAft>
          <a:spcPct val="0"/>
        </a:spcAft>
        <a:defRPr sz="1900" b="1">
          <a:solidFill>
            <a:schemeClr val="tx2"/>
          </a:solidFill>
          <a:latin typeface="Arial" charset="0"/>
        </a:defRPr>
      </a:lvl5pPr>
      <a:lvl6pPr marL="466109" algn="l" defTabSz="912802" rtl="0" fontAlgn="base">
        <a:spcBef>
          <a:spcPct val="0"/>
        </a:spcBef>
        <a:spcAft>
          <a:spcPct val="0"/>
        </a:spcAft>
        <a:defRPr sz="1900" b="1">
          <a:solidFill>
            <a:schemeClr val="tx2"/>
          </a:solidFill>
          <a:latin typeface="Arial" charset="0"/>
        </a:defRPr>
      </a:lvl6pPr>
      <a:lvl7pPr marL="932224" algn="l" defTabSz="912802" rtl="0" fontAlgn="base">
        <a:spcBef>
          <a:spcPct val="0"/>
        </a:spcBef>
        <a:spcAft>
          <a:spcPct val="0"/>
        </a:spcAft>
        <a:defRPr sz="1900" b="1">
          <a:solidFill>
            <a:schemeClr val="tx2"/>
          </a:solidFill>
          <a:latin typeface="Arial" charset="0"/>
        </a:defRPr>
      </a:lvl7pPr>
      <a:lvl8pPr marL="1398338" algn="l" defTabSz="912802" rtl="0" fontAlgn="base">
        <a:spcBef>
          <a:spcPct val="0"/>
        </a:spcBef>
        <a:spcAft>
          <a:spcPct val="0"/>
        </a:spcAft>
        <a:defRPr sz="1900" b="1">
          <a:solidFill>
            <a:schemeClr val="tx2"/>
          </a:solidFill>
          <a:latin typeface="Arial" charset="0"/>
        </a:defRPr>
      </a:lvl8pPr>
      <a:lvl9pPr marL="1864449" algn="l" defTabSz="912802" rtl="0" fontAlgn="base">
        <a:spcBef>
          <a:spcPct val="0"/>
        </a:spcBef>
        <a:spcAft>
          <a:spcPct val="0"/>
        </a:spcAft>
        <a:defRPr sz="1900" b="1">
          <a:solidFill>
            <a:schemeClr val="tx2"/>
          </a:solidFill>
          <a:latin typeface="Arial" charset="0"/>
        </a:defRPr>
      </a:lvl9pPr>
    </p:titleStyle>
    <p:bodyStyle>
      <a:lvl1pPr algn="l" defTabSz="912802" rtl="0" fontAlgn="base">
        <a:spcBef>
          <a:spcPct val="0"/>
        </a:spcBef>
        <a:spcAft>
          <a:spcPct val="0"/>
        </a:spcAft>
        <a:buClr>
          <a:schemeClr val="tx2"/>
        </a:buClr>
        <a:defRPr sz="1600">
          <a:solidFill>
            <a:schemeClr val="tx1"/>
          </a:solidFill>
          <a:latin typeface="+mn-lt"/>
          <a:ea typeface="+mn-ea"/>
          <a:cs typeface="+mn-cs"/>
        </a:defRPr>
      </a:lvl1pPr>
      <a:lvl2pPr marL="197451" indent="-195833" algn="l" defTabSz="912802" rtl="0" fontAlgn="base">
        <a:spcBef>
          <a:spcPct val="0"/>
        </a:spcBef>
        <a:spcAft>
          <a:spcPct val="0"/>
        </a:spcAft>
        <a:buClr>
          <a:schemeClr val="tx1"/>
        </a:buClr>
        <a:buFont typeface="Arial" charset="0"/>
        <a:buChar char="▪"/>
        <a:defRPr sz="1600">
          <a:solidFill>
            <a:schemeClr val="tx1"/>
          </a:solidFill>
          <a:latin typeface="+mn-lt"/>
        </a:defRPr>
      </a:lvl2pPr>
      <a:lvl3pPr marL="466109" indent="-267046" algn="l" defTabSz="912802" rtl="0" fontAlgn="base">
        <a:spcBef>
          <a:spcPct val="0"/>
        </a:spcBef>
        <a:spcAft>
          <a:spcPct val="0"/>
        </a:spcAft>
        <a:buClr>
          <a:schemeClr val="tx1"/>
        </a:buClr>
        <a:buFont typeface="Arial" charset="0"/>
        <a:buChar char="–"/>
        <a:defRPr sz="1600">
          <a:solidFill>
            <a:schemeClr val="tx1"/>
          </a:solidFill>
          <a:latin typeface="+mn-lt"/>
        </a:defRPr>
      </a:lvl3pPr>
      <a:lvl4pPr marL="626340" indent="-158608" algn="l" defTabSz="912802" rtl="0" fontAlgn="base">
        <a:spcBef>
          <a:spcPct val="0"/>
        </a:spcBef>
        <a:spcAft>
          <a:spcPct val="0"/>
        </a:spcAft>
        <a:buClr>
          <a:schemeClr val="tx1"/>
        </a:buClr>
        <a:buFont typeface="Arial" charset="0"/>
        <a:buChar char="▫"/>
        <a:defRPr sz="1600">
          <a:solidFill>
            <a:schemeClr val="tx1"/>
          </a:solidFill>
          <a:latin typeface="+mn-lt"/>
        </a:defRPr>
      </a:lvl4pPr>
      <a:lvl5pPr marL="760670" indent="-132712" algn="l" defTabSz="912802" rtl="0" fontAlgn="base">
        <a:spcBef>
          <a:spcPct val="0"/>
        </a:spcBef>
        <a:spcAft>
          <a:spcPct val="0"/>
        </a:spcAft>
        <a:buClr>
          <a:schemeClr val="tx1"/>
        </a:buClr>
        <a:buFont typeface="Arial" charset="0"/>
        <a:buChar char="-"/>
        <a:defRPr sz="1600">
          <a:solidFill>
            <a:schemeClr val="tx1"/>
          </a:solidFill>
          <a:latin typeface="+mn-lt"/>
        </a:defRPr>
      </a:lvl5pPr>
      <a:lvl6pPr marL="1226783" indent="-132712" algn="l" defTabSz="912802" rtl="0" fontAlgn="base">
        <a:spcBef>
          <a:spcPct val="0"/>
        </a:spcBef>
        <a:spcAft>
          <a:spcPct val="0"/>
        </a:spcAft>
        <a:buClr>
          <a:schemeClr val="tx1"/>
        </a:buClr>
        <a:buFont typeface="Arial" charset="0"/>
        <a:buChar char="-"/>
        <a:defRPr sz="1600">
          <a:solidFill>
            <a:schemeClr val="tx1"/>
          </a:solidFill>
          <a:latin typeface="+mn-lt"/>
        </a:defRPr>
      </a:lvl6pPr>
      <a:lvl7pPr marL="1692894" indent="-132712" algn="l" defTabSz="912802" rtl="0" fontAlgn="base">
        <a:spcBef>
          <a:spcPct val="0"/>
        </a:spcBef>
        <a:spcAft>
          <a:spcPct val="0"/>
        </a:spcAft>
        <a:buClr>
          <a:schemeClr val="tx1"/>
        </a:buClr>
        <a:buFont typeface="Arial" charset="0"/>
        <a:buChar char="-"/>
        <a:defRPr sz="1600">
          <a:solidFill>
            <a:schemeClr val="tx1"/>
          </a:solidFill>
          <a:latin typeface="+mn-lt"/>
        </a:defRPr>
      </a:lvl7pPr>
      <a:lvl8pPr marL="2159007" indent="-132712" algn="l" defTabSz="912802" rtl="0" fontAlgn="base">
        <a:spcBef>
          <a:spcPct val="0"/>
        </a:spcBef>
        <a:spcAft>
          <a:spcPct val="0"/>
        </a:spcAft>
        <a:buClr>
          <a:schemeClr val="tx1"/>
        </a:buClr>
        <a:buFont typeface="Arial" charset="0"/>
        <a:buChar char="-"/>
        <a:defRPr sz="1600">
          <a:solidFill>
            <a:schemeClr val="tx1"/>
          </a:solidFill>
          <a:latin typeface="+mn-lt"/>
        </a:defRPr>
      </a:lvl8pPr>
      <a:lvl9pPr marL="2625118" indent="-132712" algn="l" defTabSz="912802" rtl="0" fontAlgn="base">
        <a:spcBef>
          <a:spcPct val="0"/>
        </a:spcBef>
        <a:spcAft>
          <a:spcPct val="0"/>
        </a:spcAft>
        <a:buClr>
          <a:schemeClr val="tx1"/>
        </a:buClr>
        <a:buFont typeface="Arial" charset="0"/>
        <a:buChar char="-"/>
        <a:defRPr sz="1600">
          <a:solidFill>
            <a:schemeClr val="tx1"/>
          </a:solidFill>
          <a:latin typeface="+mn-lt"/>
        </a:defRPr>
      </a:lvl9pPr>
    </p:bodyStyle>
    <p:otherStyle>
      <a:defPPr>
        <a:defRPr lang="en-US"/>
      </a:defPPr>
      <a:lvl1pPr marL="0" algn="l" defTabSz="932224" rtl="0" eaLnBrk="1" latinLnBrk="0" hangingPunct="1">
        <a:defRPr sz="1800" kern="1200">
          <a:solidFill>
            <a:schemeClr val="tx1"/>
          </a:solidFill>
          <a:latin typeface="+mn-lt"/>
          <a:ea typeface="+mn-ea"/>
          <a:cs typeface="+mn-cs"/>
        </a:defRPr>
      </a:lvl1pPr>
      <a:lvl2pPr marL="466109" algn="l" defTabSz="932224" rtl="0" eaLnBrk="1" latinLnBrk="0" hangingPunct="1">
        <a:defRPr sz="1800" kern="1200">
          <a:solidFill>
            <a:schemeClr val="tx1"/>
          </a:solidFill>
          <a:latin typeface="+mn-lt"/>
          <a:ea typeface="+mn-ea"/>
          <a:cs typeface="+mn-cs"/>
        </a:defRPr>
      </a:lvl2pPr>
      <a:lvl3pPr marL="932224" algn="l" defTabSz="932224" rtl="0" eaLnBrk="1" latinLnBrk="0" hangingPunct="1">
        <a:defRPr sz="1800" kern="1200">
          <a:solidFill>
            <a:schemeClr val="tx1"/>
          </a:solidFill>
          <a:latin typeface="+mn-lt"/>
          <a:ea typeface="+mn-ea"/>
          <a:cs typeface="+mn-cs"/>
        </a:defRPr>
      </a:lvl3pPr>
      <a:lvl4pPr marL="1398338" algn="l" defTabSz="932224" rtl="0" eaLnBrk="1" latinLnBrk="0" hangingPunct="1">
        <a:defRPr sz="1800" kern="1200">
          <a:solidFill>
            <a:schemeClr val="tx1"/>
          </a:solidFill>
          <a:latin typeface="+mn-lt"/>
          <a:ea typeface="+mn-ea"/>
          <a:cs typeface="+mn-cs"/>
        </a:defRPr>
      </a:lvl4pPr>
      <a:lvl5pPr marL="1864449" algn="l" defTabSz="932224" rtl="0" eaLnBrk="1" latinLnBrk="0" hangingPunct="1">
        <a:defRPr sz="1800" kern="1200">
          <a:solidFill>
            <a:schemeClr val="tx1"/>
          </a:solidFill>
          <a:latin typeface="+mn-lt"/>
          <a:ea typeface="+mn-ea"/>
          <a:cs typeface="+mn-cs"/>
        </a:defRPr>
      </a:lvl5pPr>
      <a:lvl6pPr marL="2330563" algn="l" defTabSz="932224" rtl="0" eaLnBrk="1" latinLnBrk="0" hangingPunct="1">
        <a:defRPr sz="1800" kern="1200">
          <a:solidFill>
            <a:schemeClr val="tx1"/>
          </a:solidFill>
          <a:latin typeface="+mn-lt"/>
          <a:ea typeface="+mn-ea"/>
          <a:cs typeface="+mn-cs"/>
        </a:defRPr>
      </a:lvl6pPr>
      <a:lvl7pPr marL="2796673" algn="l" defTabSz="932224" rtl="0" eaLnBrk="1" latinLnBrk="0" hangingPunct="1">
        <a:defRPr sz="1800" kern="1200">
          <a:solidFill>
            <a:schemeClr val="tx1"/>
          </a:solidFill>
          <a:latin typeface="+mn-lt"/>
          <a:ea typeface="+mn-ea"/>
          <a:cs typeface="+mn-cs"/>
        </a:defRPr>
      </a:lvl7pPr>
      <a:lvl8pPr marL="3262786" algn="l" defTabSz="932224" rtl="0" eaLnBrk="1" latinLnBrk="0" hangingPunct="1">
        <a:defRPr sz="1800" kern="1200">
          <a:solidFill>
            <a:schemeClr val="tx1"/>
          </a:solidFill>
          <a:latin typeface="+mn-lt"/>
          <a:ea typeface="+mn-ea"/>
          <a:cs typeface="+mn-cs"/>
        </a:defRPr>
      </a:lvl8pPr>
      <a:lvl9pPr marL="3728900" algn="l" defTabSz="932224"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DDDDDD"/>
        </a:solidFill>
        <a:effectLst/>
      </p:bgPr>
    </p:bg>
    <p:spTree>
      <p:nvGrpSpPr>
        <p:cNvPr id="1" name=""/>
        <p:cNvGrpSpPr/>
        <p:nvPr/>
      </p:nvGrpSpPr>
      <p:grpSpPr>
        <a:xfrm>
          <a:off x="0" y="0"/>
          <a:ext cx="0" cy="0"/>
          <a:chOff x="0" y="0"/>
          <a:chExt cx="0" cy="0"/>
        </a:xfrm>
      </p:grpSpPr>
      <p:sp>
        <p:nvSpPr>
          <p:cNvPr id="1033" name="Rectangle 9"/>
          <p:cNvSpPr>
            <a:spLocks noChangeArrowheads="1"/>
          </p:cNvSpPr>
          <p:nvPr userDrawn="1"/>
        </p:nvSpPr>
        <p:spPr bwMode="auto">
          <a:xfrm>
            <a:off x="3903663" y="2544763"/>
            <a:ext cx="9144000" cy="0"/>
          </a:xfrm>
          <a:prstGeom prst="rect">
            <a:avLst/>
          </a:prstGeom>
          <a:noFill/>
          <a:ln w="9525">
            <a:noFill/>
            <a:miter lim="800000"/>
            <a:headEnd/>
            <a:tailEnd/>
          </a:ln>
          <a:effectLst/>
        </p:spPr>
        <p:txBody>
          <a:bodyPr>
            <a:spAutoFit/>
          </a:bodyPr>
          <a:lstStyle/>
          <a:p>
            <a:endParaRPr lang="en-US"/>
          </a:p>
        </p:txBody>
      </p:sp>
      <p:pic>
        <p:nvPicPr>
          <p:cNvPr id="1589" name="Picture 565" descr="K-2973_AMTS_powerpoint_bg"/>
          <p:cNvPicPr>
            <a:picLocks noChangeAspect="1" noChangeArrowheads="1"/>
          </p:cNvPicPr>
          <p:nvPr userDrawn="1"/>
        </p:nvPicPr>
        <p:blipFill>
          <a:blip r:embed="rId4" cstate="print"/>
          <a:srcRect/>
          <a:stretch>
            <a:fillRect/>
          </a:stretch>
        </p:blipFill>
        <p:spPr bwMode="auto">
          <a:xfrm>
            <a:off x="0" y="0"/>
            <a:ext cx="9144000" cy="6858000"/>
          </a:xfrm>
          <a:prstGeom prst="rect">
            <a:avLst/>
          </a:prstGeom>
          <a:noFill/>
        </p:spPr>
      </p:pic>
      <p:graphicFrame>
        <p:nvGraphicFramePr>
          <p:cNvPr id="1590" name="Object 566"/>
          <p:cNvGraphicFramePr>
            <a:graphicFrameLocks noChangeAspect="1"/>
          </p:cNvGraphicFramePr>
          <p:nvPr/>
        </p:nvGraphicFramePr>
        <p:xfrm>
          <a:off x="3670300" y="3860800"/>
          <a:ext cx="5473700" cy="2692400"/>
        </p:xfrm>
        <a:graphic>
          <a:graphicData uri="http://schemas.openxmlformats.org/presentationml/2006/ole">
            <mc:AlternateContent xmlns:mc="http://schemas.openxmlformats.org/markup-compatibility/2006">
              <mc:Choice xmlns:v="urn:schemas-microsoft-com:vml" Requires="v">
                <p:oleObj spid="_x0000_s7178" name="Image" r:id="rId5" imgW="5473016" imgH="2692063" progId="">
                  <p:embed/>
                </p:oleObj>
              </mc:Choice>
              <mc:Fallback>
                <p:oleObj name="Image" r:id="rId5" imgW="5473016" imgH="2692063" progId="">
                  <p:embed/>
                  <p:pic>
                    <p:nvPicPr>
                      <p:cNvPr id="0" name="Object 566"/>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670300" y="3860800"/>
                        <a:ext cx="5473700" cy="2692400"/>
                      </a:xfrm>
                      <a:prstGeom prst="rect">
                        <a:avLst/>
                      </a:prstGeom>
                      <a:noFill/>
                      <a:ln>
                        <a:noFill/>
                      </a:ln>
                      <a:extLst>
                        <a:ext uri="{909E8E84-426E-40DD-AFC4-6F175D3DCCD1}">
                          <a14:hiddenFill xmlns:a14="http://schemas.microsoft.com/office/drawing/2010/main">
                            <a:solidFill>
                              <a:srgbClr val="00CC99"/>
                            </a:solidFill>
                          </a14:hiddenFill>
                        </a:ext>
                        <a:ext uri="{91240B29-F687-4F45-9708-019B960494DF}">
                          <a14:hiddenLine xmlns:a14="http://schemas.microsoft.com/office/drawing/2010/main" w="9525">
                            <a:solidFill>
                              <a:schemeClr val="tx1"/>
                            </a:solidFill>
                            <a:miter lim="800000"/>
                            <a:headEnd/>
                            <a:tailEnd/>
                          </a14:hiddenLine>
                        </a:ext>
                      </a:extLst>
                    </p:spPr>
                  </p:pic>
                </p:oleObj>
              </mc:Fallback>
            </mc:AlternateContent>
          </a:graphicData>
        </a:graphic>
      </p:graphicFrame>
      <p:sp>
        <p:nvSpPr>
          <p:cNvPr id="1591" name="Rectangle 567"/>
          <p:cNvSpPr>
            <a:spLocks noChangeArrowheads="1"/>
          </p:cNvSpPr>
          <p:nvPr userDrawn="1"/>
        </p:nvSpPr>
        <p:spPr bwMode="auto">
          <a:xfrm>
            <a:off x="7426325" y="0"/>
            <a:ext cx="1717675" cy="969963"/>
          </a:xfrm>
          <a:prstGeom prst="rect">
            <a:avLst/>
          </a:prstGeom>
          <a:solidFill>
            <a:schemeClr val="bg1"/>
          </a:solidFill>
          <a:ln w="9525">
            <a:solidFill>
              <a:schemeClr val="bg1"/>
            </a:solidFill>
            <a:miter lim="800000"/>
            <a:headEnd/>
            <a:tailEnd/>
          </a:ln>
          <a:effectLst/>
        </p:spPr>
        <p:txBody>
          <a:bodyPr wrap="none" anchor="ctr"/>
          <a:lstStyle/>
          <a:p>
            <a:pPr algn="ctr"/>
            <a:endParaRPr lang="en-GB" sz="2400">
              <a:solidFill>
                <a:schemeClr val="bg1"/>
              </a:solidFill>
            </a:endParaRPr>
          </a:p>
        </p:txBody>
      </p:sp>
    </p:spTree>
  </p:cSld>
  <p:clrMap bg1="lt1" tx1="dk1" bg2="lt2" tx2="dk2" accent1="accent1" accent2="accent2" accent3="accent3" accent4="accent4" accent5="accent5" accent6="accent6" hlink="hlink" folHlink="folHlink"/>
  <p:sldLayoutIdLst>
    <p:sldLayoutId id="2147483878" r:id="rId1"/>
  </p:sldLayoutIdLst>
  <p:txStyles>
    <p:titleStyle>
      <a:lvl1pPr algn="ctr" rtl="0" fontAlgn="base">
        <a:spcBef>
          <a:spcPct val="0"/>
        </a:spcBef>
        <a:spcAft>
          <a:spcPct val="0"/>
        </a:spcAft>
        <a:defRPr sz="4400">
          <a:solidFill>
            <a:schemeClr val="tx2"/>
          </a:solidFill>
          <a:latin typeface="+mj-lt"/>
          <a:ea typeface="+mj-ea"/>
          <a:cs typeface="+mj-cs"/>
        </a:defRPr>
      </a:lvl1pPr>
      <a:lvl2pPr algn="ctr" rtl="0" fontAlgn="base">
        <a:spcBef>
          <a:spcPct val="0"/>
        </a:spcBef>
        <a:spcAft>
          <a:spcPct val="0"/>
        </a:spcAft>
        <a:defRPr sz="4400">
          <a:solidFill>
            <a:schemeClr val="tx2"/>
          </a:solidFill>
          <a:latin typeface="Times New Roman" pitchFamily="18" charset="0"/>
        </a:defRPr>
      </a:lvl2pPr>
      <a:lvl3pPr algn="ctr" rtl="0" fontAlgn="base">
        <a:spcBef>
          <a:spcPct val="0"/>
        </a:spcBef>
        <a:spcAft>
          <a:spcPct val="0"/>
        </a:spcAft>
        <a:defRPr sz="4400">
          <a:solidFill>
            <a:schemeClr val="tx2"/>
          </a:solidFill>
          <a:latin typeface="Times New Roman" pitchFamily="18" charset="0"/>
        </a:defRPr>
      </a:lvl3pPr>
      <a:lvl4pPr algn="ctr" rtl="0" fontAlgn="base">
        <a:spcBef>
          <a:spcPct val="0"/>
        </a:spcBef>
        <a:spcAft>
          <a:spcPct val="0"/>
        </a:spcAft>
        <a:defRPr sz="4400">
          <a:solidFill>
            <a:schemeClr val="tx2"/>
          </a:solidFill>
          <a:latin typeface="Times New Roman" pitchFamily="18" charset="0"/>
        </a:defRPr>
      </a:lvl4pPr>
      <a:lvl5pPr algn="ctr" rtl="0" fontAlgn="base">
        <a:spcBef>
          <a:spcPct val="0"/>
        </a:spcBef>
        <a:spcAft>
          <a:spcPct val="0"/>
        </a:spcAft>
        <a:defRPr sz="4400">
          <a:solidFill>
            <a:schemeClr val="tx2"/>
          </a:solidFill>
          <a:latin typeface="Times New Roman" pitchFamily="18" charset="0"/>
        </a:defRPr>
      </a:lvl5pPr>
      <a:lvl6pPr marL="457200" algn="ctr" rtl="0" fontAlgn="base">
        <a:spcBef>
          <a:spcPct val="0"/>
        </a:spcBef>
        <a:spcAft>
          <a:spcPct val="0"/>
        </a:spcAft>
        <a:defRPr sz="4400">
          <a:solidFill>
            <a:schemeClr val="tx2"/>
          </a:solidFill>
          <a:latin typeface="Times New Roman" pitchFamily="18" charset="0"/>
        </a:defRPr>
      </a:lvl6pPr>
      <a:lvl7pPr marL="914400" algn="ctr" rtl="0" fontAlgn="base">
        <a:spcBef>
          <a:spcPct val="0"/>
        </a:spcBef>
        <a:spcAft>
          <a:spcPct val="0"/>
        </a:spcAft>
        <a:defRPr sz="4400">
          <a:solidFill>
            <a:schemeClr val="tx2"/>
          </a:solidFill>
          <a:latin typeface="Times New Roman" pitchFamily="18" charset="0"/>
        </a:defRPr>
      </a:lvl7pPr>
      <a:lvl8pPr marL="1371600" algn="ctr" rtl="0" fontAlgn="base">
        <a:spcBef>
          <a:spcPct val="0"/>
        </a:spcBef>
        <a:spcAft>
          <a:spcPct val="0"/>
        </a:spcAft>
        <a:defRPr sz="4400">
          <a:solidFill>
            <a:schemeClr val="tx2"/>
          </a:solidFill>
          <a:latin typeface="Times New Roman" pitchFamily="18" charset="0"/>
        </a:defRPr>
      </a:lvl8pPr>
      <a:lvl9pPr marL="1828800" algn="ctr" rtl="0" fontAlgn="base">
        <a:spcBef>
          <a:spcPct val="0"/>
        </a:spcBef>
        <a:spcAft>
          <a:spcPct val="0"/>
        </a:spcAft>
        <a:defRPr sz="4400">
          <a:solidFill>
            <a:schemeClr val="tx2"/>
          </a:solidFill>
          <a:latin typeface="Times New Roman" pitchFamily="18" charset="0"/>
        </a:defRPr>
      </a:lvl9pPr>
    </p:titleStyle>
    <p:bodyStyle>
      <a:lvl1pPr marL="342900" indent="-342900" algn="l" rtl="0" fontAlgn="base">
        <a:spcBef>
          <a:spcPct val="20000"/>
        </a:spcBef>
        <a:spcAft>
          <a:spcPct val="0"/>
        </a:spcAft>
        <a:buChar char="•"/>
        <a:defRPr sz="3200">
          <a:solidFill>
            <a:schemeClr val="tx1"/>
          </a:solidFill>
          <a:latin typeface="+mn-lt"/>
          <a:ea typeface="+mn-ea"/>
          <a:cs typeface="+mn-cs"/>
        </a:defRPr>
      </a:lvl1pPr>
      <a:lvl2pPr marL="742950" indent="-285750" algn="l" rtl="0" fontAlgn="base">
        <a:spcBef>
          <a:spcPct val="20000"/>
        </a:spcBef>
        <a:spcAft>
          <a:spcPct val="0"/>
        </a:spcAft>
        <a:buChar char="–"/>
        <a:defRPr sz="2800">
          <a:solidFill>
            <a:schemeClr val="tx1"/>
          </a:solidFill>
          <a:latin typeface="+mn-lt"/>
        </a:defRPr>
      </a:lvl2pPr>
      <a:lvl3pPr marL="1143000" indent="-228600" algn="l" rtl="0" fontAlgn="base">
        <a:spcBef>
          <a:spcPct val="20000"/>
        </a:spcBef>
        <a:spcAft>
          <a:spcPct val="0"/>
        </a:spcAft>
        <a:buChar char="•"/>
        <a:defRPr sz="2400">
          <a:solidFill>
            <a:schemeClr val="tx1"/>
          </a:solidFill>
          <a:latin typeface="+mn-lt"/>
        </a:defRPr>
      </a:lvl3pPr>
      <a:lvl4pPr marL="1600200" indent="-228600" algn="l" rtl="0" fontAlgn="base">
        <a:spcBef>
          <a:spcPct val="20000"/>
        </a:spcBef>
        <a:spcAft>
          <a:spcPct val="0"/>
        </a:spcAft>
        <a:buChar char="–"/>
        <a:defRPr sz="2000">
          <a:solidFill>
            <a:schemeClr val="tx1"/>
          </a:solidFill>
          <a:latin typeface="+mn-lt"/>
        </a:defRPr>
      </a:lvl4pPr>
      <a:lvl5pPr marL="2057400" indent="-228600" algn="l" rtl="0" fontAlgn="base">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407" name="Rectangle 383" hidden="1"/>
          <p:cNvGraphicFramePr>
            <a:graphicFrameLocks/>
          </p:cNvGraphicFramePr>
          <p:nvPr>
            <p:custDataLst>
              <p:tags r:id="rId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1203" name="think-cell Slide" r:id="rId31" imgW="0" imgH="0" progId="">
                  <p:embed/>
                </p:oleObj>
              </mc:Choice>
              <mc:Fallback>
                <p:oleObj name="think-cell Slide" r:id="rId3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06" name="Rectangle 382"/>
          <p:cNvSpPr>
            <a:spLocks noChangeArrowheads="1"/>
          </p:cNvSpPr>
          <p:nvPr>
            <p:custDataLst>
              <p:tags r:id="rId5"/>
            </p:custDataLst>
          </p:nvPr>
        </p:nvSpPr>
        <p:spPr bwMode="auto">
          <a:xfrm>
            <a:off x="0" y="6469263"/>
            <a:ext cx="9144000" cy="388739"/>
          </a:xfrm>
          <a:prstGeom prst="rect">
            <a:avLst/>
          </a:prstGeom>
          <a:solidFill>
            <a:schemeClr val="accent2"/>
          </a:solidFill>
          <a:ln w="9525">
            <a:noFill/>
            <a:miter lim="800000"/>
            <a:headEnd/>
            <a:tailEnd/>
          </a:ln>
          <a:effectLst/>
        </p:spPr>
        <p:txBody>
          <a:bodyPr wrap="none" lIns="93232" tIns="46615" rIns="93232" bIns="46615" anchor="ctr"/>
          <a:lstStyle/>
          <a:p>
            <a:endParaRPr lang="en-US" sz="1600" dirty="0">
              <a:solidFill>
                <a:srgbClr val="000000"/>
              </a:solidFill>
              <a:latin typeface="Arial" charset="0"/>
            </a:endParaRPr>
          </a:p>
        </p:txBody>
      </p:sp>
      <p:sp>
        <p:nvSpPr>
          <p:cNvPr id="1026" name="McK 2. Slide Title"/>
          <p:cNvSpPr>
            <a:spLocks noGrp="1" noChangeArrowheads="1"/>
          </p:cNvSpPr>
          <p:nvPr>
            <p:ph type="title"/>
            <p:custDataLst>
              <p:tags r:id="rId6"/>
            </p:custDataLst>
          </p:nvPr>
        </p:nvSpPr>
        <p:spPr bwMode="auto">
          <a:xfrm>
            <a:off x="121496" y="519651"/>
            <a:ext cx="8797353" cy="29832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076" name="McK 1. On-page tracker" hidden="1"/>
          <p:cNvSpPr>
            <a:spLocks noChangeArrowheads="1"/>
          </p:cNvSpPr>
          <p:nvPr>
            <p:custDataLst>
              <p:tags r:id="rId7"/>
            </p:custDataLst>
          </p:nvPr>
        </p:nvSpPr>
        <p:spPr bwMode="auto">
          <a:xfrm>
            <a:off x="121488" y="27537"/>
            <a:ext cx="859210" cy="215444"/>
          </a:xfrm>
          <a:prstGeom prst="rect">
            <a:avLst/>
          </a:prstGeom>
          <a:noFill/>
          <a:ln w="9525">
            <a:noFill/>
            <a:miter lim="800000"/>
            <a:headEnd/>
            <a:tailEnd/>
          </a:ln>
          <a:effectLst/>
        </p:spPr>
        <p:txBody>
          <a:bodyPr wrap="none" lIns="0" tIns="0" rIns="0" bIns="0">
            <a:spAutoFit/>
          </a:bodyPr>
          <a:lstStyle/>
          <a:p>
            <a:r>
              <a:rPr lang="en-US" sz="1400" dirty="0">
                <a:solidFill>
                  <a:srgbClr val="808080"/>
                </a:solidFill>
                <a:latin typeface="Arial" charset="0"/>
              </a:rPr>
              <a:t>TRACKER</a:t>
            </a:r>
          </a:p>
        </p:txBody>
      </p:sp>
      <p:grpSp>
        <p:nvGrpSpPr>
          <p:cNvPr id="2" name="McK Slide Elements"/>
          <p:cNvGrpSpPr>
            <a:grpSpLocks/>
          </p:cNvGrpSpPr>
          <p:nvPr userDrawn="1"/>
        </p:nvGrpSpPr>
        <p:grpSpPr bwMode="auto">
          <a:xfrm>
            <a:off x="121488" y="988046"/>
            <a:ext cx="7801152" cy="5776010"/>
            <a:chOff x="75" y="610"/>
            <a:chExt cx="4816" cy="3566"/>
          </a:xfrm>
        </p:grpSpPr>
        <p:sp>
          <p:nvSpPr>
            <p:cNvPr id="1032" name="McK 3. Unit of measure" hidden="1"/>
            <p:cNvSpPr txBox="1">
              <a:spLocks noChangeArrowheads="1"/>
            </p:cNvSpPr>
            <p:nvPr userDrawn="1"/>
          </p:nvSpPr>
          <p:spPr bwMode="auto">
            <a:xfrm>
              <a:off x="75" y="610"/>
              <a:ext cx="4816" cy="133"/>
            </a:xfrm>
            <a:prstGeom prst="rect">
              <a:avLst/>
            </a:prstGeom>
            <a:noFill/>
            <a:ln w="9525">
              <a:noFill/>
              <a:miter lim="800000"/>
              <a:headEnd/>
              <a:tailEnd/>
            </a:ln>
            <a:effectLst/>
          </p:spPr>
          <p:txBody>
            <a:bodyPr lIns="0" tIns="0" rIns="0" bIns="0">
              <a:spAutoFit/>
            </a:bodyPr>
            <a:lstStyle/>
            <a:p>
              <a:pPr defTabSz="912899"/>
              <a:r>
                <a:rPr lang="en-US" sz="1400" dirty="0">
                  <a:solidFill>
                    <a:srgbClr val="000000"/>
                  </a:solidFill>
                  <a:latin typeface="Arial" charset="0"/>
                </a:rPr>
                <a:t>Unit of measure</a:t>
              </a:r>
            </a:p>
          </p:txBody>
        </p:sp>
        <p:sp>
          <p:nvSpPr>
            <p:cNvPr id="1151" name="McK 4. Footnote" hidden="1"/>
            <p:cNvSpPr txBox="1">
              <a:spLocks noChangeArrowheads="1"/>
            </p:cNvSpPr>
            <p:nvPr userDrawn="1"/>
          </p:nvSpPr>
          <p:spPr bwMode="auto">
            <a:xfrm>
              <a:off x="75" y="3882"/>
              <a:ext cx="4775" cy="96"/>
            </a:xfrm>
            <a:prstGeom prst="rect">
              <a:avLst/>
            </a:prstGeom>
            <a:noFill/>
            <a:ln w="9525">
              <a:noFill/>
              <a:miter lim="800000"/>
              <a:headEnd/>
              <a:tailEnd/>
            </a:ln>
            <a:effectLst/>
          </p:spPr>
          <p:txBody>
            <a:bodyPr lIns="0" tIns="0" rIns="0" bIns="0" anchor="b">
              <a:spAutoFit/>
            </a:bodyPr>
            <a:lstStyle/>
            <a:p>
              <a:pPr marL="106829" indent="-106829" defTabSz="912899"/>
              <a:r>
                <a:rPr lang="en-US" sz="1000" dirty="0">
                  <a:solidFill>
                    <a:srgbClr val="000000"/>
                  </a:solidFill>
                  <a:latin typeface="Arial" charset="0"/>
                </a:rPr>
                <a:t>1 Footnote</a:t>
              </a:r>
            </a:p>
          </p:txBody>
        </p:sp>
        <p:sp>
          <p:nvSpPr>
            <p:cNvPr id="1154" name="McK 5. Source" hidden="1"/>
            <p:cNvSpPr>
              <a:spLocks noChangeArrowheads="1"/>
            </p:cNvSpPr>
            <p:nvPr userDrawn="1"/>
          </p:nvSpPr>
          <p:spPr bwMode="auto">
            <a:xfrm>
              <a:off x="75" y="4080"/>
              <a:ext cx="3833" cy="96"/>
            </a:xfrm>
            <a:prstGeom prst="rect">
              <a:avLst/>
            </a:prstGeom>
            <a:noFill/>
            <a:ln w="9525">
              <a:noFill/>
              <a:miter lim="800000"/>
              <a:headEnd/>
              <a:tailEnd/>
            </a:ln>
            <a:effectLst/>
          </p:spPr>
          <p:txBody>
            <a:bodyPr lIns="0" tIns="0" rIns="0" bIns="0" anchor="ctr">
              <a:spAutoFit/>
            </a:bodyPr>
            <a:lstStyle/>
            <a:p>
              <a:pPr marL="582702" indent="-582702" defTabSz="912899">
                <a:tabLst>
                  <a:tab pos="581084" algn="l"/>
                </a:tabLst>
              </a:pPr>
              <a:r>
                <a:rPr lang="en-US" sz="1000" dirty="0">
                  <a:solidFill>
                    <a:srgbClr val="000000"/>
                  </a:solidFill>
                  <a:latin typeface="Arial" charset="0"/>
                </a:rPr>
                <a:t>Source: Source</a:t>
              </a:r>
            </a:p>
          </p:txBody>
        </p:sp>
      </p:grpSp>
      <p:grpSp>
        <p:nvGrpSpPr>
          <p:cNvPr id="3" name="ACET" hidden="1"/>
          <p:cNvGrpSpPr>
            <a:grpSpLocks/>
          </p:cNvGrpSpPr>
          <p:nvPr>
            <p:custDataLst>
              <p:tags r:id="rId8"/>
            </p:custDataLst>
          </p:nvPr>
        </p:nvGrpSpPr>
        <p:grpSpPr bwMode="auto">
          <a:xfrm>
            <a:off x="121495" y="1355728"/>
            <a:ext cx="4352512" cy="510220"/>
            <a:chOff x="915" y="715"/>
            <a:chExt cx="2687" cy="315"/>
          </a:xfrm>
        </p:grpSpPr>
        <p:cxnSp>
          <p:nvCxnSpPr>
            <p:cNvPr id="1273" name="AutoShape 249" hidden="1"/>
            <p:cNvCxnSpPr>
              <a:cxnSpLocks noChangeShapeType="1"/>
              <a:stCxn id="1274" idx="4"/>
              <a:endCxn id="1274" idx="6"/>
            </p:cNvCxnSpPr>
            <p:nvPr/>
          </p:nvCxnSpPr>
          <p:spPr bwMode="auto">
            <a:xfrm rot="16200000" flipH="1">
              <a:off x="2258" y="-313"/>
              <a:ext cx="1" cy="2686"/>
            </a:xfrm>
            <a:prstGeom prst="straightConnector1">
              <a:avLst/>
            </a:prstGeom>
            <a:noFill/>
            <a:ln w="9525">
              <a:solidFill>
                <a:schemeClr val="tx1"/>
              </a:solidFill>
              <a:round/>
              <a:headEnd/>
              <a:tailEnd/>
            </a:ln>
            <a:effectLst/>
          </p:spPr>
        </p:cxnSp>
        <p:sp>
          <p:nvSpPr>
            <p:cNvPr id="1274" name="AutoShape 250" hidden="1"/>
            <p:cNvSpPr>
              <a:spLocks noChangeArrowheads="1"/>
            </p:cNvSpPr>
            <p:nvPr/>
          </p:nvSpPr>
          <p:spPr bwMode="auto">
            <a:xfrm>
              <a:off x="915" y="715"/>
              <a:ext cx="2686" cy="315"/>
            </a:xfrm>
            <a:prstGeom prst="leftRightArrow">
              <a:avLst>
                <a:gd name="adj1" fmla="val 100000"/>
                <a:gd name="adj2" fmla="val 0"/>
              </a:avLst>
            </a:prstGeom>
            <a:noFill/>
            <a:ln w="9525">
              <a:noFill/>
              <a:miter lim="800000"/>
              <a:headEnd/>
              <a:tailEnd/>
            </a:ln>
            <a:effectLst/>
          </p:spPr>
          <p:txBody>
            <a:bodyPr lIns="0" tIns="0" rIns="0" bIns="18288" anchor="b">
              <a:spAutoFit/>
            </a:bodyPr>
            <a:lstStyle/>
            <a:p>
              <a:r>
                <a:rPr lang="en-US" sz="1600" b="1" dirty="0" err="1">
                  <a:solidFill>
                    <a:srgbClr val="000000"/>
                  </a:solidFill>
                  <a:latin typeface="Arial" charset="0"/>
                </a:rPr>
                <a:t>Titel</a:t>
              </a:r>
              <a:endParaRPr lang="en-US" sz="1600" b="1" dirty="0">
                <a:solidFill>
                  <a:srgbClr val="000000"/>
                </a:solidFill>
                <a:latin typeface="Arial" charset="0"/>
              </a:endParaRPr>
            </a:p>
            <a:p>
              <a:r>
                <a:rPr lang="en-US" sz="1600" dirty="0">
                  <a:solidFill>
                    <a:srgbClr val="000000"/>
                  </a:solidFill>
                  <a:latin typeface="Arial" charset="0"/>
                </a:rPr>
                <a:t>Unit of measure</a:t>
              </a:r>
            </a:p>
          </p:txBody>
        </p:sp>
      </p:grpSp>
      <p:sp>
        <p:nvSpPr>
          <p:cNvPr id="1304" name="Rectangle 280"/>
          <p:cNvSpPr>
            <a:spLocks noGrp="1" noChangeArrowheads="1"/>
          </p:cNvSpPr>
          <p:nvPr>
            <p:ph type="sldNum" sz="quarter" idx="4"/>
            <p:custDataLst>
              <p:tags r:id="rId9"/>
            </p:custDataLst>
          </p:nvPr>
        </p:nvSpPr>
        <p:spPr bwMode="auto">
          <a:xfrm>
            <a:off x="8719602" y="6678209"/>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sz="1000">
                <a:solidFill>
                  <a:srgbClr val="000000"/>
                </a:solidFill>
              </a:defRPr>
            </a:lvl1pPr>
          </a:lstStyle>
          <a:p>
            <a:fld id="{34383EA8-7801-444F-BF26-B965F39592CA}" type="slidenum">
              <a:rPr lang="en-US">
                <a:latin typeface="Arial" charset="0"/>
              </a:rPr>
              <a:pPr/>
              <a:t>‹#›</a:t>
            </a:fld>
            <a:endParaRPr lang="en-US">
              <a:latin typeface="Arial" charset="0"/>
            </a:endParaRPr>
          </a:p>
        </p:txBody>
      </p:sp>
      <p:sp>
        <p:nvSpPr>
          <p:cNvPr id="1310" name="Rectangle 286"/>
          <p:cNvSpPr>
            <a:spLocks noGrp="1" noChangeArrowheads="1"/>
          </p:cNvSpPr>
          <p:nvPr>
            <p:ph type="body" idx="1"/>
            <p:custDataLst>
              <p:tags r:id="rId10"/>
            </p:custDataLst>
          </p:nvPr>
        </p:nvSpPr>
        <p:spPr bwMode="auto">
          <a:xfrm>
            <a:off x="121489" y="1990668"/>
            <a:ext cx="8722840" cy="124720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4" name="Sticker" hidden="1"/>
          <p:cNvGrpSpPr>
            <a:grpSpLocks/>
          </p:cNvGrpSpPr>
          <p:nvPr>
            <p:custDataLst>
              <p:tags r:id="rId11"/>
            </p:custDataLst>
          </p:nvPr>
        </p:nvGrpSpPr>
        <p:grpSpPr bwMode="auto">
          <a:xfrm>
            <a:off x="8238516" y="1025323"/>
            <a:ext cx="681953" cy="189512"/>
            <a:chOff x="1320" y="2181"/>
            <a:chExt cx="421" cy="117"/>
          </a:xfrm>
        </p:grpSpPr>
        <p:sp>
          <p:nvSpPr>
            <p:cNvPr id="1320" name="AutoShape 296" hidden="1"/>
            <p:cNvSpPr>
              <a:spLocks noChangeArrowheads="1"/>
            </p:cNvSpPr>
            <p:nvPr userDrawn="1"/>
          </p:nvSpPr>
          <p:spPr bwMode="auto">
            <a:xfrm>
              <a:off x="1320" y="2182"/>
              <a:ext cx="420" cy="116"/>
            </a:xfrm>
            <a:prstGeom prst="leftRightArrow">
              <a:avLst>
                <a:gd name="adj1" fmla="val 100000"/>
                <a:gd name="adj2" fmla="val 0"/>
              </a:avLst>
            </a:prstGeom>
            <a:noFill/>
            <a:ln w="9525">
              <a:noFill/>
              <a:miter lim="800000"/>
              <a:headEnd/>
              <a:tailEnd/>
            </a:ln>
            <a:effectLst/>
          </p:spPr>
          <p:txBody>
            <a:bodyPr wrap="none" lIns="0" tIns="0" rIns="0" bIns="0">
              <a:spAutoFit/>
            </a:bodyPr>
            <a:lstStyle/>
            <a:p>
              <a:pPr algn="r"/>
              <a:r>
                <a:rPr lang="en-US" sz="1200" dirty="0">
                  <a:solidFill>
                    <a:srgbClr val="000000"/>
                  </a:solidFill>
                  <a:latin typeface="Arial" charset="0"/>
                </a:rPr>
                <a:t>STICKER</a:t>
              </a:r>
            </a:p>
          </p:txBody>
        </p:sp>
        <p:cxnSp>
          <p:nvCxnSpPr>
            <p:cNvPr id="1321" name="AutoShape 297" hidden="1"/>
            <p:cNvCxnSpPr>
              <a:cxnSpLocks noChangeShapeType="1"/>
              <a:stCxn id="1320" idx="2"/>
              <a:endCxn id="1320" idx="0"/>
            </p:cNvCxnSpPr>
            <p:nvPr userDrawn="1"/>
          </p:nvCxnSpPr>
          <p:spPr bwMode="auto">
            <a:xfrm rot="5400000" flipH="1" flipV="1">
              <a:off x="1530" y="1972"/>
              <a:ext cx="1" cy="420"/>
            </a:xfrm>
            <a:prstGeom prst="straightConnector1">
              <a:avLst/>
            </a:prstGeom>
            <a:noFill/>
            <a:ln w="9525">
              <a:solidFill>
                <a:schemeClr val="tx1"/>
              </a:solidFill>
              <a:round/>
              <a:headEnd/>
              <a:tailEnd/>
            </a:ln>
            <a:effectLst/>
          </p:spPr>
        </p:cxnSp>
        <p:cxnSp>
          <p:nvCxnSpPr>
            <p:cNvPr id="1322" name="AutoShape 298" hidden="1"/>
            <p:cNvCxnSpPr>
              <a:cxnSpLocks noChangeShapeType="1"/>
              <a:stCxn id="1320" idx="4"/>
              <a:endCxn id="1320" idx="6"/>
            </p:cNvCxnSpPr>
            <p:nvPr userDrawn="1"/>
          </p:nvCxnSpPr>
          <p:spPr bwMode="auto">
            <a:xfrm rot="16200000" flipH="1">
              <a:off x="1530" y="2088"/>
              <a:ext cx="1" cy="420"/>
            </a:xfrm>
            <a:prstGeom prst="straightConnector1">
              <a:avLst/>
            </a:prstGeom>
            <a:noFill/>
            <a:ln w="9525">
              <a:solidFill>
                <a:schemeClr val="tx1"/>
              </a:solidFill>
              <a:round/>
              <a:headEnd/>
              <a:tailEnd/>
            </a:ln>
            <a:effectLst/>
          </p:spPr>
        </p:cxnSp>
      </p:grpSp>
      <p:grpSp>
        <p:nvGrpSpPr>
          <p:cNvPr id="5" name="LegendBoxes" hidden="1"/>
          <p:cNvGrpSpPr>
            <a:grpSpLocks/>
          </p:cNvGrpSpPr>
          <p:nvPr>
            <p:custDataLst>
              <p:tags r:id="rId12"/>
            </p:custDataLst>
          </p:nvPr>
        </p:nvGrpSpPr>
        <p:grpSpPr bwMode="auto">
          <a:xfrm>
            <a:off x="8058708" y="1023679"/>
            <a:ext cx="866614" cy="997764"/>
            <a:chOff x="3394" y="519"/>
            <a:chExt cx="535" cy="616"/>
          </a:xfrm>
        </p:grpSpPr>
        <p:sp>
          <p:nvSpPr>
            <p:cNvPr id="1324"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5"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6"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7"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8" name="Legend1" hidden="1"/>
            <p:cNvSpPr>
              <a:spLocks noChangeArrowheads="1"/>
            </p:cNvSpPr>
            <p:nvPr userDrawn="1"/>
          </p:nvSpPr>
          <p:spPr bwMode="auto">
            <a:xfrm>
              <a:off x="3554" y="51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29" name="Legend2" hidden="1"/>
            <p:cNvSpPr>
              <a:spLocks noChangeArrowheads="1"/>
            </p:cNvSpPr>
            <p:nvPr userDrawn="1"/>
          </p:nvSpPr>
          <p:spPr bwMode="auto">
            <a:xfrm>
              <a:off x="3554" y="68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30" name="Legend3" hidden="1"/>
            <p:cNvSpPr>
              <a:spLocks noChangeArrowheads="1"/>
            </p:cNvSpPr>
            <p:nvPr userDrawn="1"/>
          </p:nvSpPr>
          <p:spPr bwMode="auto">
            <a:xfrm>
              <a:off x="3554" y="84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sp>
          <p:nvSpPr>
            <p:cNvPr id="1331" name="Legend4" hidden="1"/>
            <p:cNvSpPr>
              <a:spLocks noChangeArrowheads="1"/>
            </p:cNvSpPr>
            <p:nvPr userDrawn="1"/>
          </p:nvSpPr>
          <p:spPr bwMode="auto">
            <a:xfrm>
              <a:off x="3554" y="101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4</a:t>
              </a:r>
            </a:p>
          </p:txBody>
        </p:sp>
      </p:grpSp>
      <p:grpSp>
        <p:nvGrpSpPr>
          <p:cNvPr id="6" name="LegendLines" hidden="1"/>
          <p:cNvGrpSpPr>
            <a:grpSpLocks/>
          </p:cNvGrpSpPr>
          <p:nvPr>
            <p:custDataLst>
              <p:tags r:id="rId13"/>
            </p:custDataLst>
          </p:nvPr>
        </p:nvGrpSpPr>
        <p:grpSpPr bwMode="auto">
          <a:xfrm>
            <a:off x="7734740" y="1023685"/>
            <a:ext cx="1190582" cy="722407"/>
            <a:chOff x="2411" y="2750"/>
            <a:chExt cx="735" cy="446"/>
          </a:xfrm>
        </p:grpSpPr>
        <p:sp>
          <p:nvSpPr>
            <p:cNvPr id="1333" name="LineLegend1" hidden="1"/>
            <p:cNvSpPr>
              <a:spLocks noChangeShapeType="1"/>
            </p:cNvSpPr>
            <p:nvPr userDrawn="1"/>
          </p:nvSpPr>
          <p:spPr bwMode="auto">
            <a:xfrm>
              <a:off x="2411" y="2807"/>
              <a:ext cx="288" cy="0"/>
            </a:xfrm>
            <a:prstGeom prst="line">
              <a:avLst/>
            </a:prstGeom>
            <a:noFill/>
            <a:ln w="28575">
              <a:solidFill>
                <a:schemeClr val="folHlink"/>
              </a:solidFill>
              <a:round/>
              <a:headEnd/>
              <a:tailEnd/>
            </a:ln>
            <a:effectLst/>
          </p:spPr>
          <p:txBody>
            <a:bodyPr/>
            <a:lstStyle/>
            <a:p>
              <a:endParaRPr lang="en-US" sz="1600">
                <a:solidFill>
                  <a:srgbClr val="000000"/>
                </a:solidFill>
                <a:latin typeface="Arial" charset="0"/>
              </a:endParaRPr>
            </a:p>
          </p:txBody>
        </p:sp>
        <p:sp>
          <p:nvSpPr>
            <p:cNvPr id="1334" name="LineLegend2" hidden="1"/>
            <p:cNvSpPr>
              <a:spLocks noChangeShapeType="1"/>
            </p:cNvSpPr>
            <p:nvPr userDrawn="1"/>
          </p:nvSpPr>
          <p:spPr bwMode="auto">
            <a:xfrm>
              <a:off x="2411" y="2972"/>
              <a:ext cx="288" cy="0"/>
            </a:xfrm>
            <a:prstGeom prst="line">
              <a:avLst/>
            </a:prstGeom>
            <a:noFill/>
            <a:ln w="28575">
              <a:solidFill>
                <a:schemeClr val="folHlink"/>
              </a:solidFill>
              <a:prstDash val="dash"/>
              <a:round/>
              <a:headEnd/>
              <a:tailEnd/>
            </a:ln>
            <a:effectLst/>
          </p:spPr>
          <p:txBody>
            <a:bodyPr/>
            <a:lstStyle/>
            <a:p>
              <a:endParaRPr lang="en-US" sz="1600">
                <a:solidFill>
                  <a:srgbClr val="000000"/>
                </a:solidFill>
                <a:latin typeface="Arial" charset="0"/>
              </a:endParaRPr>
            </a:p>
          </p:txBody>
        </p:sp>
        <p:sp>
          <p:nvSpPr>
            <p:cNvPr id="1335" name="LineLegend3" hidden="1"/>
            <p:cNvSpPr>
              <a:spLocks noChangeShapeType="1"/>
            </p:cNvSpPr>
            <p:nvPr userDrawn="1"/>
          </p:nvSpPr>
          <p:spPr bwMode="auto">
            <a:xfrm>
              <a:off x="2411" y="3137"/>
              <a:ext cx="288" cy="0"/>
            </a:xfrm>
            <a:prstGeom prst="line">
              <a:avLst/>
            </a:prstGeom>
            <a:noFill/>
            <a:ln w="28575">
              <a:solidFill>
                <a:schemeClr val="folHlink"/>
              </a:solidFill>
              <a:prstDash val="sysDot"/>
              <a:round/>
              <a:headEnd/>
              <a:tailEnd/>
            </a:ln>
            <a:effectLst/>
          </p:spPr>
          <p:txBody>
            <a:bodyPr/>
            <a:lstStyle/>
            <a:p>
              <a:endParaRPr lang="en-US" sz="1600">
                <a:solidFill>
                  <a:srgbClr val="000000"/>
                </a:solidFill>
                <a:latin typeface="Arial" charset="0"/>
              </a:endParaRPr>
            </a:p>
          </p:txBody>
        </p:sp>
        <p:sp>
          <p:nvSpPr>
            <p:cNvPr id="1336" name="Legend1" hidden="1"/>
            <p:cNvSpPr>
              <a:spLocks noChangeArrowheads="1"/>
            </p:cNvSpPr>
            <p:nvPr userDrawn="1"/>
          </p:nvSpPr>
          <p:spPr bwMode="auto">
            <a:xfrm>
              <a:off x="2771" y="2750"/>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37" name="Legend2" hidden="1"/>
            <p:cNvSpPr>
              <a:spLocks noChangeArrowheads="1"/>
            </p:cNvSpPr>
            <p:nvPr userDrawn="1"/>
          </p:nvSpPr>
          <p:spPr bwMode="auto">
            <a:xfrm>
              <a:off x="2771" y="2915"/>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38" name="Legend3" hidden="1"/>
            <p:cNvSpPr>
              <a:spLocks noChangeArrowheads="1"/>
            </p:cNvSpPr>
            <p:nvPr userDrawn="1"/>
          </p:nvSpPr>
          <p:spPr bwMode="auto">
            <a:xfrm>
              <a:off x="2771" y="3080"/>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grpSp>
      <p:grpSp>
        <p:nvGrpSpPr>
          <p:cNvPr id="7" name="LegendMoons" hidden="1"/>
          <p:cNvGrpSpPr>
            <a:grpSpLocks/>
          </p:cNvGrpSpPr>
          <p:nvPr>
            <p:custDataLst>
              <p:tags r:id="rId14"/>
            </p:custDataLst>
          </p:nvPr>
        </p:nvGrpSpPr>
        <p:grpSpPr bwMode="auto">
          <a:xfrm>
            <a:off x="8042516" y="1023684"/>
            <a:ext cx="882813" cy="1260163"/>
            <a:chOff x="4965" y="484"/>
            <a:chExt cx="545" cy="778"/>
          </a:xfrm>
        </p:grpSpPr>
        <p:grpSp>
          <p:nvGrpSpPr>
            <p:cNvPr id="8" name="MoonLegend1" hidden="1"/>
            <p:cNvGrpSpPr>
              <a:grpSpLocks noChangeAspect="1"/>
            </p:cNvGrpSpPr>
            <p:nvPr userDrawn="1">
              <p:custDataLst>
                <p:tags r:id="rId16"/>
              </p:custDataLst>
            </p:nvPr>
          </p:nvGrpSpPr>
          <p:grpSpPr bwMode="auto">
            <a:xfrm>
              <a:off x="4965" y="486"/>
              <a:ext cx="112" cy="112"/>
              <a:chOff x="4533" y="183"/>
              <a:chExt cx="144" cy="144"/>
            </a:xfrm>
          </p:grpSpPr>
          <p:sp>
            <p:nvSpPr>
              <p:cNvPr id="1341" name="Oval 317" hidden="1"/>
              <p:cNvSpPr>
                <a:spLocks noChangeAspect="1" noChangeArrowheads="1"/>
              </p:cNvSpPr>
              <p:nvPr userDrawn="1">
                <p:custDataLst>
                  <p:tags r:id="rId29"/>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2" name="Arc 318" hidden="1"/>
              <p:cNvSpPr>
                <a:spLocks noChangeAspect="1"/>
              </p:cNvSpPr>
              <p:nvPr userDrawn="1">
                <p:custDataLst>
                  <p:tags r:id="rId30"/>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9" name="MoonLegend2" hidden="1"/>
            <p:cNvGrpSpPr>
              <a:grpSpLocks noChangeAspect="1"/>
            </p:cNvGrpSpPr>
            <p:nvPr userDrawn="1">
              <p:custDataLst>
                <p:tags r:id="rId17"/>
              </p:custDataLst>
            </p:nvPr>
          </p:nvGrpSpPr>
          <p:grpSpPr bwMode="auto">
            <a:xfrm>
              <a:off x="4965" y="650"/>
              <a:ext cx="112" cy="112"/>
              <a:chOff x="1694" y="2044"/>
              <a:chExt cx="160" cy="160"/>
            </a:xfrm>
          </p:grpSpPr>
          <p:sp>
            <p:nvSpPr>
              <p:cNvPr id="1344" name="Oval 320" hidden="1"/>
              <p:cNvSpPr>
                <a:spLocks noChangeAspect="1" noChangeArrowheads="1"/>
              </p:cNvSpPr>
              <p:nvPr userDrawn="1">
                <p:custDataLst>
                  <p:tags r:id="rId27"/>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5" name="Arc 321" hidden="1"/>
              <p:cNvSpPr>
                <a:spLocks noChangeAspect="1"/>
              </p:cNvSpPr>
              <p:nvPr userDrawn="1">
                <p:custDataLst>
                  <p:tags r:id="rId28"/>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0" name="MoonLegend3" hidden="1"/>
            <p:cNvGrpSpPr>
              <a:grpSpLocks noChangeAspect="1"/>
            </p:cNvGrpSpPr>
            <p:nvPr userDrawn="1">
              <p:custDataLst>
                <p:tags r:id="rId18"/>
              </p:custDataLst>
            </p:nvPr>
          </p:nvGrpSpPr>
          <p:grpSpPr bwMode="auto">
            <a:xfrm>
              <a:off x="4965" y="815"/>
              <a:ext cx="112" cy="112"/>
              <a:chOff x="4495" y="897"/>
              <a:chExt cx="160" cy="160"/>
            </a:xfrm>
          </p:grpSpPr>
          <p:sp>
            <p:nvSpPr>
              <p:cNvPr id="1347" name="Oval 323" hidden="1"/>
              <p:cNvSpPr>
                <a:spLocks noChangeAspect="1" noChangeArrowheads="1"/>
              </p:cNvSpPr>
              <p:nvPr userDrawn="1">
                <p:custDataLst>
                  <p:tags r:id="rId25"/>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8" name="Arc 324" hidden="1"/>
              <p:cNvSpPr>
                <a:spLocks noChangeAspect="1"/>
              </p:cNvSpPr>
              <p:nvPr userDrawn="1">
                <p:custDataLst>
                  <p:tags r:id="rId26"/>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1" name="MoonLegend4" hidden="1"/>
            <p:cNvGrpSpPr>
              <a:grpSpLocks noChangeAspect="1"/>
            </p:cNvGrpSpPr>
            <p:nvPr userDrawn="1">
              <p:custDataLst>
                <p:tags r:id="rId19"/>
              </p:custDataLst>
            </p:nvPr>
          </p:nvGrpSpPr>
          <p:grpSpPr bwMode="auto">
            <a:xfrm>
              <a:off x="4965" y="982"/>
              <a:ext cx="112" cy="112"/>
              <a:chOff x="4495" y="1198"/>
              <a:chExt cx="160" cy="160"/>
            </a:xfrm>
          </p:grpSpPr>
          <p:sp>
            <p:nvSpPr>
              <p:cNvPr id="1350" name="Oval 326" hidden="1"/>
              <p:cNvSpPr>
                <a:spLocks noChangeAspect="1" noChangeArrowheads="1"/>
              </p:cNvSpPr>
              <p:nvPr userDrawn="1">
                <p:custDataLst>
                  <p:tags r:id="rId23"/>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51" name="Arc 327" hidden="1"/>
              <p:cNvSpPr>
                <a:spLocks noChangeAspect="1"/>
              </p:cNvSpPr>
              <p:nvPr userDrawn="1">
                <p:custDataLst>
                  <p:tags r:id="rId24"/>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2" name="MoonLegend5" hidden="1"/>
            <p:cNvGrpSpPr>
              <a:grpSpLocks noChangeAspect="1"/>
            </p:cNvGrpSpPr>
            <p:nvPr userDrawn="1">
              <p:custDataLst>
                <p:tags r:id="rId20"/>
              </p:custDataLst>
            </p:nvPr>
          </p:nvGrpSpPr>
          <p:grpSpPr bwMode="auto">
            <a:xfrm>
              <a:off x="4965" y="1147"/>
              <a:ext cx="112" cy="112"/>
              <a:chOff x="4495" y="1440"/>
              <a:chExt cx="160" cy="160"/>
            </a:xfrm>
          </p:grpSpPr>
          <p:sp>
            <p:nvSpPr>
              <p:cNvPr id="1353" name="Oval 329" hidden="1"/>
              <p:cNvSpPr>
                <a:spLocks noChangeAspect="1" noChangeArrowheads="1"/>
              </p:cNvSpPr>
              <p:nvPr userDrawn="1">
                <p:custDataLst>
                  <p:tags r:id="rId21"/>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54" name="Oval 330" hidden="1"/>
              <p:cNvSpPr>
                <a:spLocks noChangeAspect="1" noChangeArrowheads="1"/>
              </p:cNvSpPr>
              <p:nvPr userDrawn="1">
                <p:custDataLst>
                  <p:tags r:id="rId22"/>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sp>
          <p:nvSpPr>
            <p:cNvPr id="1355" name="Legend1" hidden="1"/>
            <p:cNvSpPr>
              <a:spLocks noChangeArrowheads="1"/>
            </p:cNvSpPr>
            <p:nvPr userDrawn="1"/>
          </p:nvSpPr>
          <p:spPr bwMode="auto">
            <a:xfrm>
              <a:off x="5135" y="48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56" name="Legend2" hidden="1"/>
            <p:cNvSpPr>
              <a:spLocks noChangeArrowheads="1"/>
            </p:cNvSpPr>
            <p:nvPr userDrawn="1"/>
          </p:nvSpPr>
          <p:spPr bwMode="auto">
            <a:xfrm>
              <a:off x="5135" y="64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57" name="Legend3" hidden="1"/>
            <p:cNvSpPr>
              <a:spLocks noChangeArrowheads="1"/>
            </p:cNvSpPr>
            <p:nvPr userDrawn="1"/>
          </p:nvSpPr>
          <p:spPr bwMode="auto">
            <a:xfrm>
              <a:off x="5135" y="81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sp>
          <p:nvSpPr>
            <p:cNvPr id="1358" name="Legend4" hidden="1"/>
            <p:cNvSpPr>
              <a:spLocks noChangeArrowheads="1"/>
            </p:cNvSpPr>
            <p:nvPr userDrawn="1"/>
          </p:nvSpPr>
          <p:spPr bwMode="auto">
            <a:xfrm>
              <a:off x="5135" y="981"/>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4</a:t>
              </a:r>
            </a:p>
          </p:txBody>
        </p:sp>
        <p:sp>
          <p:nvSpPr>
            <p:cNvPr id="1359" name="Legend5" hidden="1"/>
            <p:cNvSpPr>
              <a:spLocks noChangeArrowheads="1"/>
            </p:cNvSpPr>
            <p:nvPr userDrawn="1"/>
          </p:nvSpPr>
          <p:spPr bwMode="auto">
            <a:xfrm>
              <a:off x="5135" y="1146"/>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5</a:t>
              </a:r>
            </a:p>
          </p:txBody>
        </p:sp>
      </p:grpSp>
      <p:sp>
        <p:nvSpPr>
          <p:cNvPr id="1379" name="Line 355"/>
          <p:cNvSpPr>
            <a:spLocks noChangeShapeType="1"/>
          </p:cNvSpPr>
          <p:nvPr>
            <p:custDataLst>
              <p:tags r:id="rId15"/>
            </p:custDataLst>
          </p:nvPr>
        </p:nvSpPr>
        <p:spPr bwMode="auto">
          <a:xfrm>
            <a:off x="124736" y="877902"/>
            <a:ext cx="8794113" cy="0"/>
          </a:xfrm>
          <a:prstGeom prst="line">
            <a:avLst/>
          </a:prstGeom>
          <a:noFill/>
          <a:ln w="28575">
            <a:solidFill>
              <a:schemeClr val="tx2"/>
            </a:solidFill>
            <a:round/>
            <a:headEnd/>
            <a:tailEnd/>
          </a:ln>
          <a:effectLst/>
        </p:spPr>
        <p:txBody>
          <a:bodyPr lIns="93232" tIns="46615" rIns="93232" bIns="46615"/>
          <a:lstStyle/>
          <a:p>
            <a:endParaRPr lang="en-US" sz="1600" dirty="0">
              <a:solidFill>
                <a:srgbClr val="000000"/>
              </a:solidFill>
              <a:latin typeface="Arial" charset="0"/>
            </a:endParaRPr>
          </a:p>
        </p:txBody>
      </p:sp>
      <p:pic>
        <p:nvPicPr>
          <p:cNvPr id="1513" name="Picture 489" descr="ANDI Logo"/>
          <p:cNvPicPr>
            <a:picLocks noChangeAspect="1" noChangeArrowheads="1"/>
          </p:cNvPicPr>
          <p:nvPr userDrawn="1"/>
        </p:nvPicPr>
        <p:blipFill>
          <a:blip r:embed="rId32" cstate="print">
            <a:clrChange>
              <a:clrFrom>
                <a:srgbClr val="FFFFFF"/>
              </a:clrFrom>
              <a:clrTo>
                <a:srgbClr val="FFFFFF">
                  <a:alpha val="0"/>
                </a:srgbClr>
              </a:clrTo>
            </a:clrChange>
          </a:blip>
          <a:srcRect/>
          <a:stretch>
            <a:fillRect/>
          </a:stretch>
        </p:blipFill>
        <p:spPr bwMode="auto">
          <a:xfrm>
            <a:off x="7511208" y="6521095"/>
            <a:ext cx="1163045" cy="336907"/>
          </a:xfrm>
          <a:prstGeom prst="rect">
            <a:avLst/>
          </a:prstGeom>
          <a:noFill/>
        </p:spPr>
      </p:pic>
    </p:spTree>
    <p:extLst>
      <p:ext uri="{BB962C8B-B14F-4D97-AF65-F5344CB8AC3E}">
        <p14:creationId xmlns:p14="http://schemas.microsoft.com/office/powerpoint/2010/main" val="2523016380"/>
      </p:ext>
    </p:extLst>
  </p:cSld>
  <p:clrMap bg1="lt1" tx1="dk1" bg2="lt2" tx2="dk2" accent1="accent1" accent2="accent2" accent3="accent3" accent4="accent4" accent5="accent5" accent6="accent6" hlink="hlink" folHlink="folHlink"/>
  <p:sldLayoutIdLst>
    <p:sldLayoutId id="2147483929" r:id="rId1"/>
  </p:sldLayoutIdLst>
  <p:hf hdr="0" ftr="0" dt="0"/>
  <p:txStyles>
    <p:titleStyle>
      <a:lvl1pPr algn="l" defTabSz="912899" rtl="0" fontAlgn="base">
        <a:spcBef>
          <a:spcPct val="0"/>
        </a:spcBef>
        <a:spcAft>
          <a:spcPct val="0"/>
        </a:spcAft>
        <a:defRPr sz="1900" b="1">
          <a:solidFill>
            <a:schemeClr val="tx2"/>
          </a:solidFill>
          <a:latin typeface="+mj-lt"/>
          <a:ea typeface="+mj-ea"/>
          <a:cs typeface="+mj-cs"/>
        </a:defRPr>
      </a:lvl1pPr>
      <a:lvl2pPr algn="l" defTabSz="912899" rtl="0" fontAlgn="base">
        <a:spcBef>
          <a:spcPct val="0"/>
        </a:spcBef>
        <a:spcAft>
          <a:spcPct val="0"/>
        </a:spcAft>
        <a:defRPr sz="1900" b="1">
          <a:solidFill>
            <a:schemeClr val="tx2"/>
          </a:solidFill>
          <a:latin typeface="Arial" charset="0"/>
        </a:defRPr>
      </a:lvl2pPr>
      <a:lvl3pPr algn="l" defTabSz="912899" rtl="0" fontAlgn="base">
        <a:spcBef>
          <a:spcPct val="0"/>
        </a:spcBef>
        <a:spcAft>
          <a:spcPct val="0"/>
        </a:spcAft>
        <a:defRPr sz="1900" b="1">
          <a:solidFill>
            <a:schemeClr val="tx2"/>
          </a:solidFill>
          <a:latin typeface="Arial" charset="0"/>
        </a:defRPr>
      </a:lvl3pPr>
      <a:lvl4pPr algn="l" defTabSz="912899" rtl="0" fontAlgn="base">
        <a:spcBef>
          <a:spcPct val="0"/>
        </a:spcBef>
        <a:spcAft>
          <a:spcPct val="0"/>
        </a:spcAft>
        <a:defRPr sz="1900" b="1">
          <a:solidFill>
            <a:schemeClr val="tx2"/>
          </a:solidFill>
          <a:latin typeface="Arial" charset="0"/>
        </a:defRPr>
      </a:lvl4pPr>
      <a:lvl5pPr algn="l" defTabSz="912899" rtl="0" fontAlgn="base">
        <a:spcBef>
          <a:spcPct val="0"/>
        </a:spcBef>
        <a:spcAft>
          <a:spcPct val="0"/>
        </a:spcAft>
        <a:defRPr sz="1900" b="1">
          <a:solidFill>
            <a:schemeClr val="tx2"/>
          </a:solidFill>
          <a:latin typeface="Arial" charset="0"/>
        </a:defRPr>
      </a:lvl5pPr>
      <a:lvl6pPr marL="466159" algn="l" defTabSz="912899" rtl="0" fontAlgn="base">
        <a:spcBef>
          <a:spcPct val="0"/>
        </a:spcBef>
        <a:spcAft>
          <a:spcPct val="0"/>
        </a:spcAft>
        <a:defRPr sz="1900" b="1">
          <a:solidFill>
            <a:schemeClr val="tx2"/>
          </a:solidFill>
          <a:latin typeface="Arial" charset="0"/>
        </a:defRPr>
      </a:lvl6pPr>
      <a:lvl7pPr marL="932324" algn="l" defTabSz="912899" rtl="0" fontAlgn="base">
        <a:spcBef>
          <a:spcPct val="0"/>
        </a:spcBef>
        <a:spcAft>
          <a:spcPct val="0"/>
        </a:spcAft>
        <a:defRPr sz="1900" b="1">
          <a:solidFill>
            <a:schemeClr val="tx2"/>
          </a:solidFill>
          <a:latin typeface="Arial" charset="0"/>
        </a:defRPr>
      </a:lvl7pPr>
      <a:lvl8pPr marL="1398486" algn="l" defTabSz="912899" rtl="0" fontAlgn="base">
        <a:spcBef>
          <a:spcPct val="0"/>
        </a:spcBef>
        <a:spcAft>
          <a:spcPct val="0"/>
        </a:spcAft>
        <a:defRPr sz="1900" b="1">
          <a:solidFill>
            <a:schemeClr val="tx2"/>
          </a:solidFill>
          <a:latin typeface="Arial" charset="0"/>
        </a:defRPr>
      </a:lvl8pPr>
      <a:lvl9pPr marL="1864647" algn="l" defTabSz="912899" rtl="0" fontAlgn="base">
        <a:spcBef>
          <a:spcPct val="0"/>
        </a:spcBef>
        <a:spcAft>
          <a:spcPct val="0"/>
        </a:spcAft>
        <a:defRPr sz="1900" b="1">
          <a:solidFill>
            <a:schemeClr val="tx2"/>
          </a:solidFill>
          <a:latin typeface="Arial" charset="0"/>
        </a:defRPr>
      </a:lvl9pPr>
    </p:titleStyle>
    <p:bodyStyle>
      <a:lvl1pPr algn="l" defTabSz="912899" rtl="0" fontAlgn="base">
        <a:spcBef>
          <a:spcPct val="0"/>
        </a:spcBef>
        <a:spcAft>
          <a:spcPct val="0"/>
        </a:spcAft>
        <a:buClr>
          <a:schemeClr val="tx2"/>
        </a:buClr>
        <a:defRPr sz="1600">
          <a:solidFill>
            <a:schemeClr val="tx1"/>
          </a:solidFill>
          <a:latin typeface="+mn-lt"/>
          <a:ea typeface="+mn-ea"/>
          <a:cs typeface="+mn-cs"/>
        </a:defRPr>
      </a:lvl1pPr>
      <a:lvl2pPr marL="197473" indent="-195854" algn="l" defTabSz="912899" rtl="0" fontAlgn="base">
        <a:spcBef>
          <a:spcPct val="0"/>
        </a:spcBef>
        <a:spcAft>
          <a:spcPct val="0"/>
        </a:spcAft>
        <a:buClr>
          <a:schemeClr val="tx1"/>
        </a:buClr>
        <a:buFont typeface="Arial" charset="0"/>
        <a:buChar char="▪"/>
        <a:defRPr sz="1600">
          <a:solidFill>
            <a:schemeClr val="tx1"/>
          </a:solidFill>
          <a:latin typeface="+mn-lt"/>
        </a:defRPr>
      </a:lvl2pPr>
      <a:lvl3pPr marL="466159" indent="-267073" algn="l" defTabSz="912899" rtl="0" fontAlgn="base">
        <a:spcBef>
          <a:spcPct val="0"/>
        </a:spcBef>
        <a:spcAft>
          <a:spcPct val="0"/>
        </a:spcAft>
        <a:buClr>
          <a:schemeClr val="tx1"/>
        </a:buClr>
        <a:buFont typeface="Arial" charset="0"/>
        <a:buChar char="–"/>
        <a:defRPr sz="1600">
          <a:solidFill>
            <a:schemeClr val="tx1"/>
          </a:solidFill>
          <a:latin typeface="+mn-lt"/>
        </a:defRPr>
      </a:lvl3pPr>
      <a:lvl4pPr marL="626406" indent="-158625" algn="l" defTabSz="912899" rtl="0" fontAlgn="base">
        <a:spcBef>
          <a:spcPct val="0"/>
        </a:spcBef>
        <a:spcAft>
          <a:spcPct val="0"/>
        </a:spcAft>
        <a:buClr>
          <a:schemeClr val="tx1"/>
        </a:buClr>
        <a:buFont typeface="Arial" charset="0"/>
        <a:buChar char="▫"/>
        <a:defRPr sz="1600">
          <a:solidFill>
            <a:schemeClr val="tx1"/>
          </a:solidFill>
          <a:latin typeface="+mn-lt"/>
        </a:defRPr>
      </a:lvl4pPr>
      <a:lvl5pPr marL="760750" indent="-132726" algn="l" defTabSz="912899" rtl="0" fontAlgn="base">
        <a:spcBef>
          <a:spcPct val="0"/>
        </a:spcBef>
        <a:spcAft>
          <a:spcPct val="0"/>
        </a:spcAft>
        <a:buClr>
          <a:schemeClr val="tx1"/>
        </a:buClr>
        <a:buFont typeface="Arial" charset="0"/>
        <a:buChar char="-"/>
        <a:defRPr sz="1600">
          <a:solidFill>
            <a:schemeClr val="tx1"/>
          </a:solidFill>
          <a:latin typeface="+mn-lt"/>
        </a:defRPr>
      </a:lvl5pPr>
      <a:lvl6pPr marL="1226912" indent="-132726" algn="l" defTabSz="912899" rtl="0" fontAlgn="base">
        <a:spcBef>
          <a:spcPct val="0"/>
        </a:spcBef>
        <a:spcAft>
          <a:spcPct val="0"/>
        </a:spcAft>
        <a:buClr>
          <a:schemeClr val="tx1"/>
        </a:buClr>
        <a:buFont typeface="Arial" charset="0"/>
        <a:buChar char="-"/>
        <a:defRPr sz="1600">
          <a:solidFill>
            <a:schemeClr val="tx1"/>
          </a:solidFill>
          <a:latin typeface="+mn-lt"/>
        </a:defRPr>
      </a:lvl6pPr>
      <a:lvl7pPr marL="1693074" indent="-132726" algn="l" defTabSz="912899" rtl="0" fontAlgn="base">
        <a:spcBef>
          <a:spcPct val="0"/>
        </a:spcBef>
        <a:spcAft>
          <a:spcPct val="0"/>
        </a:spcAft>
        <a:buClr>
          <a:schemeClr val="tx1"/>
        </a:buClr>
        <a:buFont typeface="Arial" charset="0"/>
        <a:buChar char="-"/>
        <a:defRPr sz="1600">
          <a:solidFill>
            <a:schemeClr val="tx1"/>
          </a:solidFill>
          <a:latin typeface="+mn-lt"/>
        </a:defRPr>
      </a:lvl7pPr>
      <a:lvl8pPr marL="2159235" indent="-132726" algn="l" defTabSz="912899" rtl="0" fontAlgn="base">
        <a:spcBef>
          <a:spcPct val="0"/>
        </a:spcBef>
        <a:spcAft>
          <a:spcPct val="0"/>
        </a:spcAft>
        <a:buClr>
          <a:schemeClr val="tx1"/>
        </a:buClr>
        <a:buFont typeface="Arial" charset="0"/>
        <a:buChar char="-"/>
        <a:defRPr sz="1600">
          <a:solidFill>
            <a:schemeClr val="tx1"/>
          </a:solidFill>
          <a:latin typeface="+mn-lt"/>
        </a:defRPr>
      </a:lvl8pPr>
      <a:lvl9pPr marL="2625397" indent="-132726" algn="l" defTabSz="912899" rtl="0" fontAlgn="base">
        <a:spcBef>
          <a:spcPct val="0"/>
        </a:spcBef>
        <a:spcAft>
          <a:spcPct val="0"/>
        </a:spcAft>
        <a:buClr>
          <a:schemeClr val="tx1"/>
        </a:buClr>
        <a:buFont typeface="Arial" charset="0"/>
        <a:buChar char="-"/>
        <a:defRPr sz="1600">
          <a:solidFill>
            <a:schemeClr val="tx1"/>
          </a:solidFill>
          <a:latin typeface="+mn-lt"/>
        </a:defRPr>
      </a:lvl9pPr>
    </p:bodyStyle>
    <p:otherStyle>
      <a:defPPr>
        <a:defRPr lang="en-US"/>
      </a:defPPr>
      <a:lvl1pPr marL="0" algn="l" defTabSz="932324" rtl="0" eaLnBrk="1" latinLnBrk="0" hangingPunct="1">
        <a:defRPr sz="1800" kern="1200">
          <a:solidFill>
            <a:schemeClr val="tx1"/>
          </a:solidFill>
          <a:latin typeface="+mn-lt"/>
          <a:ea typeface="+mn-ea"/>
          <a:cs typeface="+mn-cs"/>
        </a:defRPr>
      </a:lvl1pPr>
      <a:lvl2pPr marL="466159" algn="l" defTabSz="932324" rtl="0" eaLnBrk="1" latinLnBrk="0" hangingPunct="1">
        <a:defRPr sz="1800" kern="1200">
          <a:solidFill>
            <a:schemeClr val="tx1"/>
          </a:solidFill>
          <a:latin typeface="+mn-lt"/>
          <a:ea typeface="+mn-ea"/>
          <a:cs typeface="+mn-cs"/>
        </a:defRPr>
      </a:lvl2pPr>
      <a:lvl3pPr marL="932324" algn="l" defTabSz="932324" rtl="0" eaLnBrk="1" latinLnBrk="0" hangingPunct="1">
        <a:defRPr sz="1800" kern="1200">
          <a:solidFill>
            <a:schemeClr val="tx1"/>
          </a:solidFill>
          <a:latin typeface="+mn-lt"/>
          <a:ea typeface="+mn-ea"/>
          <a:cs typeface="+mn-cs"/>
        </a:defRPr>
      </a:lvl3pPr>
      <a:lvl4pPr marL="1398486" algn="l" defTabSz="932324" rtl="0" eaLnBrk="1" latinLnBrk="0" hangingPunct="1">
        <a:defRPr sz="1800" kern="1200">
          <a:solidFill>
            <a:schemeClr val="tx1"/>
          </a:solidFill>
          <a:latin typeface="+mn-lt"/>
          <a:ea typeface="+mn-ea"/>
          <a:cs typeface="+mn-cs"/>
        </a:defRPr>
      </a:lvl4pPr>
      <a:lvl5pPr marL="1864647" algn="l" defTabSz="932324" rtl="0" eaLnBrk="1" latinLnBrk="0" hangingPunct="1">
        <a:defRPr sz="1800" kern="1200">
          <a:solidFill>
            <a:schemeClr val="tx1"/>
          </a:solidFill>
          <a:latin typeface="+mn-lt"/>
          <a:ea typeface="+mn-ea"/>
          <a:cs typeface="+mn-cs"/>
        </a:defRPr>
      </a:lvl5pPr>
      <a:lvl6pPr marL="2330810" algn="l" defTabSz="932324" rtl="0" eaLnBrk="1" latinLnBrk="0" hangingPunct="1">
        <a:defRPr sz="1800" kern="1200">
          <a:solidFill>
            <a:schemeClr val="tx1"/>
          </a:solidFill>
          <a:latin typeface="+mn-lt"/>
          <a:ea typeface="+mn-ea"/>
          <a:cs typeface="+mn-cs"/>
        </a:defRPr>
      </a:lvl6pPr>
      <a:lvl7pPr marL="2796969" algn="l" defTabSz="932324" rtl="0" eaLnBrk="1" latinLnBrk="0" hangingPunct="1">
        <a:defRPr sz="1800" kern="1200">
          <a:solidFill>
            <a:schemeClr val="tx1"/>
          </a:solidFill>
          <a:latin typeface="+mn-lt"/>
          <a:ea typeface="+mn-ea"/>
          <a:cs typeface="+mn-cs"/>
        </a:defRPr>
      </a:lvl7pPr>
      <a:lvl8pPr marL="3263132" algn="l" defTabSz="932324" rtl="0" eaLnBrk="1" latinLnBrk="0" hangingPunct="1">
        <a:defRPr sz="1800" kern="1200">
          <a:solidFill>
            <a:schemeClr val="tx1"/>
          </a:solidFill>
          <a:latin typeface="+mn-lt"/>
          <a:ea typeface="+mn-ea"/>
          <a:cs typeface="+mn-cs"/>
        </a:defRPr>
      </a:lvl8pPr>
      <a:lvl9pPr marL="3729295" algn="l" defTabSz="932324"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407" name="Rectangle 383" hidden="1"/>
          <p:cNvGraphicFramePr>
            <a:graphicFrameLocks/>
          </p:cNvGraphicFramePr>
          <p:nvPr>
            <p:custDataLst>
              <p:tags r:id="rId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2227" name="think-cell Slide" r:id="rId31" imgW="0" imgH="0" progId="">
                  <p:embed/>
                </p:oleObj>
              </mc:Choice>
              <mc:Fallback>
                <p:oleObj name="think-cell Slide" r:id="rId3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06" name="Rectangle 382"/>
          <p:cNvSpPr>
            <a:spLocks noChangeArrowheads="1"/>
          </p:cNvSpPr>
          <p:nvPr>
            <p:custDataLst>
              <p:tags r:id="rId5"/>
            </p:custDataLst>
          </p:nvPr>
        </p:nvSpPr>
        <p:spPr bwMode="auto">
          <a:xfrm>
            <a:off x="0" y="6469263"/>
            <a:ext cx="9144000" cy="388739"/>
          </a:xfrm>
          <a:prstGeom prst="rect">
            <a:avLst/>
          </a:prstGeom>
          <a:solidFill>
            <a:schemeClr val="accent2"/>
          </a:solidFill>
          <a:ln w="9525">
            <a:noFill/>
            <a:miter lim="800000"/>
            <a:headEnd/>
            <a:tailEnd/>
          </a:ln>
          <a:effectLst/>
        </p:spPr>
        <p:txBody>
          <a:bodyPr wrap="none" lIns="93252" tIns="46625" rIns="93252" bIns="46625" anchor="ctr"/>
          <a:lstStyle/>
          <a:p>
            <a:endParaRPr lang="en-US" sz="1600" dirty="0">
              <a:solidFill>
                <a:srgbClr val="000000"/>
              </a:solidFill>
              <a:latin typeface="Arial" charset="0"/>
            </a:endParaRPr>
          </a:p>
        </p:txBody>
      </p:sp>
      <p:sp>
        <p:nvSpPr>
          <p:cNvPr id="1026" name="McK 2. Slide Title"/>
          <p:cNvSpPr>
            <a:spLocks noGrp="1" noChangeArrowheads="1"/>
          </p:cNvSpPr>
          <p:nvPr>
            <p:ph type="title"/>
            <p:custDataLst>
              <p:tags r:id="rId6"/>
            </p:custDataLst>
          </p:nvPr>
        </p:nvSpPr>
        <p:spPr bwMode="auto">
          <a:xfrm>
            <a:off x="121494" y="519648"/>
            <a:ext cx="8797353" cy="29832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076" name="McK 1. On-page tracker" hidden="1"/>
          <p:cNvSpPr>
            <a:spLocks noChangeArrowheads="1"/>
          </p:cNvSpPr>
          <p:nvPr>
            <p:custDataLst>
              <p:tags r:id="rId7"/>
            </p:custDataLst>
          </p:nvPr>
        </p:nvSpPr>
        <p:spPr bwMode="auto">
          <a:xfrm>
            <a:off x="121488" y="27537"/>
            <a:ext cx="859210" cy="215444"/>
          </a:xfrm>
          <a:prstGeom prst="rect">
            <a:avLst/>
          </a:prstGeom>
          <a:noFill/>
          <a:ln w="9525">
            <a:noFill/>
            <a:miter lim="800000"/>
            <a:headEnd/>
            <a:tailEnd/>
          </a:ln>
          <a:effectLst/>
        </p:spPr>
        <p:txBody>
          <a:bodyPr wrap="none" lIns="0" tIns="0" rIns="0" bIns="0">
            <a:spAutoFit/>
          </a:bodyPr>
          <a:lstStyle/>
          <a:p>
            <a:r>
              <a:rPr lang="en-US" sz="1400" dirty="0">
                <a:solidFill>
                  <a:srgbClr val="808080"/>
                </a:solidFill>
                <a:latin typeface="Arial" charset="0"/>
              </a:rPr>
              <a:t>TRACKER</a:t>
            </a:r>
          </a:p>
        </p:txBody>
      </p:sp>
      <p:grpSp>
        <p:nvGrpSpPr>
          <p:cNvPr id="2" name="McK Slide Elements"/>
          <p:cNvGrpSpPr>
            <a:grpSpLocks/>
          </p:cNvGrpSpPr>
          <p:nvPr userDrawn="1"/>
        </p:nvGrpSpPr>
        <p:grpSpPr bwMode="auto">
          <a:xfrm>
            <a:off x="121488" y="988046"/>
            <a:ext cx="7801152" cy="5776010"/>
            <a:chOff x="75" y="610"/>
            <a:chExt cx="4816" cy="3566"/>
          </a:xfrm>
        </p:grpSpPr>
        <p:sp>
          <p:nvSpPr>
            <p:cNvPr id="1032" name="McK 3. Unit of measure" hidden="1"/>
            <p:cNvSpPr txBox="1">
              <a:spLocks noChangeArrowheads="1"/>
            </p:cNvSpPr>
            <p:nvPr userDrawn="1"/>
          </p:nvSpPr>
          <p:spPr bwMode="auto">
            <a:xfrm>
              <a:off x="75" y="610"/>
              <a:ext cx="4816" cy="133"/>
            </a:xfrm>
            <a:prstGeom prst="rect">
              <a:avLst/>
            </a:prstGeom>
            <a:noFill/>
            <a:ln w="9525">
              <a:noFill/>
              <a:miter lim="800000"/>
              <a:headEnd/>
              <a:tailEnd/>
            </a:ln>
            <a:effectLst/>
          </p:spPr>
          <p:txBody>
            <a:bodyPr lIns="0" tIns="0" rIns="0" bIns="0">
              <a:spAutoFit/>
            </a:bodyPr>
            <a:lstStyle/>
            <a:p>
              <a:pPr defTabSz="913093"/>
              <a:r>
                <a:rPr lang="en-US" sz="1400" dirty="0">
                  <a:solidFill>
                    <a:srgbClr val="000000"/>
                  </a:solidFill>
                  <a:latin typeface="Arial" charset="0"/>
                </a:rPr>
                <a:t>Unit of measure</a:t>
              </a:r>
            </a:p>
          </p:txBody>
        </p:sp>
        <p:sp>
          <p:nvSpPr>
            <p:cNvPr id="1151" name="McK 4. Footnote" hidden="1"/>
            <p:cNvSpPr txBox="1">
              <a:spLocks noChangeArrowheads="1"/>
            </p:cNvSpPr>
            <p:nvPr userDrawn="1"/>
          </p:nvSpPr>
          <p:spPr bwMode="auto">
            <a:xfrm>
              <a:off x="75" y="3882"/>
              <a:ext cx="4775" cy="96"/>
            </a:xfrm>
            <a:prstGeom prst="rect">
              <a:avLst/>
            </a:prstGeom>
            <a:noFill/>
            <a:ln w="9525">
              <a:noFill/>
              <a:miter lim="800000"/>
              <a:headEnd/>
              <a:tailEnd/>
            </a:ln>
            <a:effectLst/>
          </p:spPr>
          <p:txBody>
            <a:bodyPr lIns="0" tIns="0" rIns="0" bIns="0" anchor="b">
              <a:spAutoFit/>
            </a:bodyPr>
            <a:lstStyle/>
            <a:p>
              <a:pPr marL="106850" indent="-106850" defTabSz="913093"/>
              <a:r>
                <a:rPr lang="en-US" sz="1000" dirty="0">
                  <a:solidFill>
                    <a:srgbClr val="000000"/>
                  </a:solidFill>
                  <a:latin typeface="Arial" charset="0"/>
                </a:rPr>
                <a:t>1 Footnote</a:t>
              </a:r>
            </a:p>
          </p:txBody>
        </p:sp>
        <p:sp>
          <p:nvSpPr>
            <p:cNvPr id="1154" name="McK 5. Source" hidden="1"/>
            <p:cNvSpPr>
              <a:spLocks noChangeArrowheads="1"/>
            </p:cNvSpPr>
            <p:nvPr userDrawn="1"/>
          </p:nvSpPr>
          <p:spPr bwMode="auto">
            <a:xfrm>
              <a:off x="75" y="4080"/>
              <a:ext cx="3833" cy="96"/>
            </a:xfrm>
            <a:prstGeom prst="rect">
              <a:avLst/>
            </a:prstGeom>
            <a:noFill/>
            <a:ln w="9525">
              <a:noFill/>
              <a:miter lim="800000"/>
              <a:headEnd/>
              <a:tailEnd/>
            </a:ln>
            <a:effectLst/>
          </p:spPr>
          <p:txBody>
            <a:bodyPr lIns="0" tIns="0" rIns="0" bIns="0" anchor="ctr">
              <a:spAutoFit/>
            </a:bodyPr>
            <a:lstStyle/>
            <a:p>
              <a:pPr marL="582824" indent="-582824" defTabSz="913093">
                <a:tabLst>
                  <a:tab pos="581208" algn="l"/>
                </a:tabLst>
              </a:pPr>
              <a:r>
                <a:rPr lang="en-US" sz="1000" dirty="0">
                  <a:solidFill>
                    <a:srgbClr val="000000"/>
                  </a:solidFill>
                  <a:latin typeface="Arial" charset="0"/>
                </a:rPr>
                <a:t>Source: Source</a:t>
              </a:r>
            </a:p>
          </p:txBody>
        </p:sp>
      </p:grpSp>
      <p:grpSp>
        <p:nvGrpSpPr>
          <p:cNvPr id="3" name="ACET" hidden="1"/>
          <p:cNvGrpSpPr>
            <a:grpSpLocks/>
          </p:cNvGrpSpPr>
          <p:nvPr>
            <p:custDataLst>
              <p:tags r:id="rId8"/>
            </p:custDataLst>
          </p:nvPr>
        </p:nvGrpSpPr>
        <p:grpSpPr bwMode="auto">
          <a:xfrm>
            <a:off x="121493" y="1355728"/>
            <a:ext cx="4352512" cy="510220"/>
            <a:chOff x="915" y="715"/>
            <a:chExt cx="2687" cy="315"/>
          </a:xfrm>
        </p:grpSpPr>
        <p:cxnSp>
          <p:nvCxnSpPr>
            <p:cNvPr id="1273" name="AutoShape 249" hidden="1"/>
            <p:cNvCxnSpPr>
              <a:cxnSpLocks noChangeShapeType="1"/>
              <a:stCxn id="1274" idx="4"/>
              <a:endCxn id="1274" idx="6"/>
            </p:cNvCxnSpPr>
            <p:nvPr/>
          </p:nvCxnSpPr>
          <p:spPr bwMode="auto">
            <a:xfrm rot="16200000" flipH="1">
              <a:off x="2258" y="-313"/>
              <a:ext cx="1" cy="2686"/>
            </a:xfrm>
            <a:prstGeom prst="straightConnector1">
              <a:avLst/>
            </a:prstGeom>
            <a:noFill/>
            <a:ln w="9525">
              <a:solidFill>
                <a:schemeClr val="tx1"/>
              </a:solidFill>
              <a:round/>
              <a:headEnd/>
              <a:tailEnd/>
            </a:ln>
            <a:effectLst/>
          </p:spPr>
        </p:cxnSp>
        <p:sp>
          <p:nvSpPr>
            <p:cNvPr id="1274" name="AutoShape 250" hidden="1"/>
            <p:cNvSpPr>
              <a:spLocks noChangeArrowheads="1"/>
            </p:cNvSpPr>
            <p:nvPr/>
          </p:nvSpPr>
          <p:spPr bwMode="auto">
            <a:xfrm>
              <a:off x="915" y="715"/>
              <a:ext cx="2686" cy="315"/>
            </a:xfrm>
            <a:prstGeom prst="leftRightArrow">
              <a:avLst>
                <a:gd name="adj1" fmla="val 100000"/>
                <a:gd name="adj2" fmla="val 0"/>
              </a:avLst>
            </a:prstGeom>
            <a:noFill/>
            <a:ln w="9525">
              <a:noFill/>
              <a:miter lim="800000"/>
              <a:headEnd/>
              <a:tailEnd/>
            </a:ln>
            <a:effectLst/>
          </p:spPr>
          <p:txBody>
            <a:bodyPr lIns="0" tIns="0" rIns="0" bIns="18288" anchor="b">
              <a:spAutoFit/>
            </a:bodyPr>
            <a:lstStyle/>
            <a:p>
              <a:r>
                <a:rPr lang="en-US" sz="1600" b="1" dirty="0" err="1">
                  <a:solidFill>
                    <a:srgbClr val="000000"/>
                  </a:solidFill>
                  <a:latin typeface="Arial" charset="0"/>
                </a:rPr>
                <a:t>Titel</a:t>
              </a:r>
              <a:endParaRPr lang="en-US" sz="1600" b="1" dirty="0">
                <a:solidFill>
                  <a:srgbClr val="000000"/>
                </a:solidFill>
                <a:latin typeface="Arial" charset="0"/>
              </a:endParaRPr>
            </a:p>
            <a:p>
              <a:r>
                <a:rPr lang="en-US" sz="1600" dirty="0">
                  <a:solidFill>
                    <a:srgbClr val="000000"/>
                  </a:solidFill>
                  <a:latin typeface="Arial" charset="0"/>
                </a:rPr>
                <a:t>Unit of measure</a:t>
              </a:r>
            </a:p>
          </p:txBody>
        </p:sp>
      </p:grpSp>
      <p:sp>
        <p:nvSpPr>
          <p:cNvPr id="1304" name="Rectangle 280"/>
          <p:cNvSpPr>
            <a:spLocks noGrp="1" noChangeArrowheads="1"/>
          </p:cNvSpPr>
          <p:nvPr>
            <p:ph type="sldNum" sz="quarter" idx="4"/>
            <p:custDataLst>
              <p:tags r:id="rId9"/>
            </p:custDataLst>
          </p:nvPr>
        </p:nvSpPr>
        <p:spPr bwMode="auto">
          <a:xfrm>
            <a:off x="8719602" y="6678209"/>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sz="1000">
                <a:solidFill>
                  <a:srgbClr val="000000"/>
                </a:solidFill>
              </a:defRPr>
            </a:lvl1pPr>
          </a:lstStyle>
          <a:p>
            <a:fld id="{34383EA8-7801-444F-BF26-B965F39592CA}" type="slidenum">
              <a:rPr lang="en-US">
                <a:latin typeface="Arial" charset="0"/>
              </a:rPr>
              <a:pPr/>
              <a:t>‹#›</a:t>
            </a:fld>
            <a:endParaRPr lang="en-US">
              <a:latin typeface="Arial" charset="0"/>
            </a:endParaRPr>
          </a:p>
        </p:txBody>
      </p:sp>
      <p:sp>
        <p:nvSpPr>
          <p:cNvPr id="1310" name="Rectangle 286"/>
          <p:cNvSpPr>
            <a:spLocks noGrp="1" noChangeArrowheads="1"/>
          </p:cNvSpPr>
          <p:nvPr>
            <p:ph type="body" idx="1"/>
            <p:custDataLst>
              <p:tags r:id="rId10"/>
            </p:custDataLst>
          </p:nvPr>
        </p:nvSpPr>
        <p:spPr bwMode="auto">
          <a:xfrm>
            <a:off x="121489" y="1990668"/>
            <a:ext cx="8722840" cy="124720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4" name="Sticker" hidden="1"/>
          <p:cNvGrpSpPr>
            <a:grpSpLocks/>
          </p:cNvGrpSpPr>
          <p:nvPr>
            <p:custDataLst>
              <p:tags r:id="rId11"/>
            </p:custDataLst>
          </p:nvPr>
        </p:nvGrpSpPr>
        <p:grpSpPr bwMode="auto">
          <a:xfrm>
            <a:off x="8238514" y="1025321"/>
            <a:ext cx="681953" cy="189512"/>
            <a:chOff x="1320" y="2181"/>
            <a:chExt cx="421" cy="117"/>
          </a:xfrm>
        </p:grpSpPr>
        <p:sp>
          <p:nvSpPr>
            <p:cNvPr id="1320" name="AutoShape 296" hidden="1"/>
            <p:cNvSpPr>
              <a:spLocks noChangeArrowheads="1"/>
            </p:cNvSpPr>
            <p:nvPr userDrawn="1"/>
          </p:nvSpPr>
          <p:spPr bwMode="auto">
            <a:xfrm>
              <a:off x="1320" y="2182"/>
              <a:ext cx="420" cy="116"/>
            </a:xfrm>
            <a:prstGeom prst="leftRightArrow">
              <a:avLst>
                <a:gd name="adj1" fmla="val 100000"/>
                <a:gd name="adj2" fmla="val 0"/>
              </a:avLst>
            </a:prstGeom>
            <a:noFill/>
            <a:ln w="9525">
              <a:noFill/>
              <a:miter lim="800000"/>
              <a:headEnd/>
              <a:tailEnd/>
            </a:ln>
            <a:effectLst/>
          </p:spPr>
          <p:txBody>
            <a:bodyPr wrap="none" lIns="0" tIns="0" rIns="0" bIns="0">
              <a:spAutoFit/>
            </a:bodyPr>
            <a:lstStyle/>
            <a:p>
              <a:pPr algn="r"/>
              <a:r>
                <a:rPr lang="en-US" sz="1200" dirty="0">
                  <a:solidFill>
                    <a:srgbClr val="000000"/>
                  </a:solidFill>
                  <a:latin typeface="Arial" charset="0"/>
                </a:rPr>
                <a:t>STICKER</a:t>
              </a:r>
            </a:p>
          </p:txBody>
        </p:sp>
        <p:cxnSp>
          <p:nvCxnSpPr>
            <p:cNvPr id="1321" name="AutoShape 297" hidden="1"/>
            <p:cNvCxnSpPr>
              <a:cxnSpLocks noChangeShapeType="1"/>
              <a:stCxn id="1320" idx="2"/>
              <a:endCxn id="1320" idx="0"/>
            </p:cNvCxnSpPr>
            <p:nvPr userDrawn="1"/>
          </p:nvCxnSpPr>
          <p:spPr bwMode="auto">
            <a:xfrm rot="5400000" flipH="1" flipV="1">
              <a:off x="1530" y="1972"/>
              <a:ext cx="1" cy="420"/>
            </a:xfrm>
            <a:prstGeom prst="straightConnector1">
              <a:avLst/>
            </a:prstGeom>
            <a:noFill/>
            <a:ln w="9525">
              <a:solidFill>
                <a:schemeClr val="tx1"/>
              </a:solidFill>
              <a:round/>
              <a:headEnd/>
              <a:tailEnd/>
            </a:ln>
            <a:effectLst/>
          </p:spPr>
        </p:cxnSp>
        <p:cxnSp>
          <p:nvCxnSpPr>
            <p:cNvPr id="1322" name="AutoShape 298" hidden="1"/>
            <p:cNvCxnSpPr>
              <a:cxnSpLocks noChangeShapeType="1"/>
              <a:stCxn id="1320" idx="4"/>
              <a:endCxn id="1320" idx="6"/>
            </p:cNvCxnSpPr>
            <p:nvPr userDrawn="1"/>
          </p:nvCxnSpPr>
          <p:spPr bwMode="auto">
            <a:xfrm rot="16200000" flipH="1">
              <a:off x="1530" y="2088"/>
              <a:ext cx="1" cy="420"/>
            </a:xfrm>
            <a:prstGeom prst="straightConnector1">
              <a:avLst/>
            </a:prstGeom>
            <a:noFill/>
            <a:ln w="9525">
              <a:solidFill>
                <a:schemeClr val="tx1"/>
              </a:solidFill>
              <a:round/>
              <a:headEnd/>
              <a:tailEnd/>
            </a:ln>
            <a:effectLst/>
          </p:spPr>
        </p:cxnSp>
      </p:grpSp>
      <p:grpSp>
        <p:nvGrpSpPr>
          <p:cNvPr id="5" name="LegendBoxes" hidden="1"/>
          <p:cNvGrpSpPr>
            <a:grpSpLocks/>
          </p:cNvGrpSpPr>
          <p:nvPr>
            <p:custDataLst>
              <p:tags r:id="rId12"/>
            </p:custDataLst>
          </p:nvPr>
        </p:nvGrpSpPr>
        <p:grpSpPr bwMode="auto">
          <a:xfrm>
            <a:off x="8058708" y="1023679"/>
            <a:ext cx="866614" cy="997764"/>
            <a:chOff x="3394" y="519"/>
            <a:chExt cx="535" cy="616"/>
          </a:xfrm>
        </p:grpSpPr>
        <p:sp>
          <p:nvSpPr>
            <p:cNvPr id="1324"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5"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6"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7"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8" name="Legend1" hidden="1"/>
            <p:cNvSpPr>
              <a:spLocks noChangeArrowheads="1"/>
            </p:cNvSpPr>
            <p:nvPr userDrawn="1"/>
          </p:nvSpPr>
          <p:spPr bwMode="auto">
            <a:xfrm>
              <a:off x="3554" y="51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29" name="Legend2" hidden="1"/>
            <p:cNvSpPr>
              <a:spLocks noChangeArrowheads="1"/>
            </p:cNvSpPr>
            <p:nvPr userDrawn="1"/>
          </p:nvSpPr>
          <p:spPr bwMode="auto">
            <a:xfrm>
              <a:off x="3554" y="68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30" name="Legend3" hidden="1"/>
            <p:cNvSpPr>
              <a:spLocks noChangeArrowheads="1"/>
            </p:cNvSpPr>
            <p:nvPr userDrawn="1"/>
          </p:nvSpPr>
          <p:spPr bwMode="auto">
            <a:xfrm>
              <a:off x="3554" y="84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sp>
          <p:nvSpPr>
            <p:cNvPr id="1331" name="Legend4" hidden="1"/>
            <p:cNvSpPr>
              <a:spLocks noChangeArrowheads="1"/>
            </p:cNvSpPr>
            <p:nvPr userDrawn="1"/>
          </p:nvSpPr>
          <p:spPr bwMode="auto">
            <a:xfrm>
              <a:off x="3554" y="101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4</a:t>
              </a:r>
            </a:p>
          </p:txBody>
        </p:sp>
      </p:grpSp>
      <p:grpSp>
        <p:nvGrpSpPr>
          <p:cNvPr id="6" name="LegendLines" hidden="1"/>
          <p:cNvGrpSpPr>
            <a:grpSpLocks/>
          </p:cNvGrpSpPr>
          <p:nvPr>
            <p:custDataLst>
              <p:tags r:id="rId13"/>
            </p:custDataLst>
          </p:nvPr>
        </p:nvGrpSpPr>
        <p:grpSpPr bwMode="auto">
          <a:xfrm>
            <a:off x="7734740" y="1023685"/>
            <a:ext cx="1190582" cy="722407"/>
            <a:chOff x="2411" y="2750"/>
            <a:chExt cx="735" cy="446"/>
          </a:xfrm>
        </p:grpSpPr>
        <p:sp>
          <p:nvSpPr>
            <p:cNvPr id="1333" name="LineLegend1" hidden="1"/>
            <p:cNvSpPr>
              <a:spLocks noChangeShapeType="1"/>
            </p:cNvSpPr>
            <p:nvPr userDrawn="1"/>
          </p:nvSpPr>
          <p:spPr bwMode="auto">
            <a:xfrm>
              <a:off x="2411" y="2807"/>
              <a:ext cx="288" cy="0"/>
            </a:xfrm>
            <a:prstGeom prst="line">
              <a:avLst/>
            </a:prstGeom>
            <a:noFill/>
            <a:ln w="28575">
              <a:solidFill>
                <a:schemeClr val="folHlink"/>
              </a:solidFill>
              <a:round/>
              <a:headEnd/>
              <a:tailEnd/>
            </a:ln>
            <a:effectLst/>
          </p:spPr>
          <p:txBody>
            <a:bodyPr/>
            <a:lstStyle/>
            <a:p>
              <a:endParaRPr lang="en-US" sz="1600">
                <a:solidFill>
                  <a:srgbClr val="000000"/>
                </a:solidFill>
                <a:latin typeface="Arial" charset="0"/>
              </a:endParaRPr>
            </a:p>
          </p:txBody>
        </p:sp>
        <p:sp>
          <p:nvSpPr>
            <p:cNvPr id="1334" name="LineLegend2" hidden="1"/>
            <p:cNvSpPr>
              <a:spLocks noChangeShapeType="1"/>
            </p:cNvSpPr>
            <p:nvPr userDrawn="1"/>
          </p:nvSpPr>
          <p:spPr bwMode="auto">
            <a:xfrm>
              <a:off x="2411" y="2972"/>
              <a:ext cx="288" cy="0"/>
            </a:xfrm>
            <a:prstGeom prst="line">
              <a:avLst/>
            </a:prstGeom>
            <a:noFill/>
            <a:ln w="28575">
              <a:solidFill>
                <a:schemeClr val="folHlink"/>
              </a:solidFill>
              <a:prstDash val="dash"/>
              <a:round/>
              <a:headEnd/>
              <a:tailEnd/>
            </a:ln>
            <a:effectLst/>
          </p:spPr>
          <p:txBody>
            <a:bodyPr/>
            <a:lstStyle/>
            <a:p>
              <a:endParaRPr lang="en-US" sz="1600">
                <a:solidFill>
                  <a:srgbClr val="000000"/>
                </a:solidFill>
                <a:latin typeface="Arial" charset="0"/>
              </a:endParaRPr>
            </a:p>
          </p:txBody>
        </p:sp>
        <p:sp>
          <p:nvSpPr>
            <p:cNvPr id="1335" name="LineLegend3" hidden="1"/>
            <p:cNvSpPr>
              <a:spLocks noChangeShapeType="1"/>
            </p:cNvSpPr>
            <p:nvPr userDrawn="1"/>
          </p:nvSpPr>
          <p:spPr bwMode="auto">
            <a:xfrm>
              <a:off x="2411" y="3137"/>
              <a:ext cx="288" cy="0"/>
            </a:xfrm>
            <a:prstGeom prst="line">
              <a:avLst/>
            </a:prstGeom>
            <a:noFill/>
            <a:ln w="28575">
              <a:solidFill>
                <a:schemeClr val="folHlink"/>
              </a:solidFill>
              <a:prstDash val="sysDot"/>
              <a:round/>
              <a:headEnd/>
              <a:tailEnd/>
            </a:ln>
            <a:effectLst/>
          </p:spPr>
          <p:txBody>
            <a:bodyPr/>
            <a:lstStyle/>
            <a:p>
              <a:endParaRPr lang="en-US" sz="1600">
                <a:solidFill>
                  <a:srgbClr val="000000"/>
                </a:solidFill>
                <a:latin typeface="Arial" charset="0"/>
              </a:endParaRPr>
            </a:p>
          </p:txBody>
        </p:sp>
        <p:sp>
          <p:nvSpPr>
            <p:cNvPr id="1336" name="Legend1" hidden="1"/>
            <p:cNvSpPr>
              <a:spLocks noChangeArrowheads="1"/>
            </p:cNvSpPr>
            <p:nvPr userDrawn="1"/>
          </p:nvSpPr>
          <p:spPr bwMode="auto">
            <a:xfrm>
              <a:off x="2771" y="2750"/>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37" name="Legend2" hidden="1"/>
            <p:cNvSpPr>
              <a:spLocks noChangeArrowheads="1"/>
            </p:cNvSpPr>
            <p:nvPr userDrawn="1"/>
          </p:nvSpPr>
          <p:spPr bwMode="auto">
            <a:xfrm>
              <a:off x="2771" y="2915"/>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38" name="Legend3" hidden="1"/>
            <p:cNvSpPr>
              <a:spLocks noChangeArrowheads="1"/>
            </p:cNvSpPr>
            <p:nvPr userDrawn="1"/>
          </p:nvSpPr>
          <p:spPr bwMode="auto">
            <a:xfrm>
              <a:off x="2771" y="3080"/>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grpSp>
      <p:grpSp>
        <p:nvGrpSpPr>
          <p:cNvPr id="7" name="LegendMoons" hidden="1"/>
          <p:cNvGrpSpPr>
            <a:grpSpLocks/>
          </p:cNvGrpSpPr>
          <p:nvPr>
            <p:custDataLst>
              <p:tags r:id="rId14"/>
            </p:custDataLst>
          </p:nvPr>
        </p:nvGrpSpPr>
        <p:grpSpPr bwMode="auto">
          <a:xfrm>
            <a:off x="8042513" y="1023681"/>
            <a:ext cx="882813" cy="1260163"/>
            <a:chOff x="4965" y="484"/>
            <a:chExt cx="545" cy="778"/>
          </a:xfrm>
        </p:grpSpPr>
        <p:grpSp>
          <p:nvGrpSpPr>
            <p:cNvPr id="8" name="MoonLegend1" hidden="1"/>
            <p:cNvGrpSpPr>
              <a:grpSpLocks noChangeAspect="1"/>
            </p:cNvGrpSpPr>
            <p:nvPr userDrawn="1">
              <p:custDataLst>
                <p:tags r:id="rId16"/>
              </p:custDataLst>
            </p:nvPr>
          </p:nvGrpSpPr>
          <p:grpSpPr bwMode="auto">
            <a:xfrm>
              <a:off x="4965" y="486"/>
              <a:ext cx="112" cy="112"/>
              <a:chOff x="4533" y="183"/>
              <a:chExt cx="144" cy="144"/>
            </a:xfrm>
          </p:grpSpPr>
          <p:sp>
            <p:nvSpPr>
              <p:cNvPr id="1341" name="Oval 317" hidden="1"/>
              <p:cNvSpPr>
                <a:spLocks noChangeAspect="1" noChangeArrowheads="1"/>
              </p:cNvSpPr>
              <p:nvPr userDrawn="1">
                <p:custDataLst>
                  <p:tags r:id="rId29"/>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2" name="Arc 318" hidden="1"/>
              <p:cNvSpPr>
                <a:spLocks noChangeAspect="1"/>
              </p:cNvSpPr>
              <p:nvPr userDrawn="1">
                <p:custDataLst>
                  <p:tags r:id="rId30"/>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9" name="MoonLegend2" hidden="1"/>
            <p:cNvGrpSpPr>
              <a:grpSpLocks noChangeAspect="1"/>
            </p:cNvGrpSpPr>
            <p:nvPr userDrawn="1">
              <p:custDataLst>
                <p:tags r:id="rId17"/>
              </p:custDataLst>
            </p:nvPr>
          </p:nvGrpSpPr>
          <p:grpSpPr bwMode="auto">
            <a:xfrm>
              <a:off x="4965" y="650"/>
              <a:ext cx="112" cy="112"/>
              <a:chOff x="1694" y="2044"/>
              <a:chExt cx="160" cy="160"/>
            </a:xfrm>
          </p:grpSpPr>
          <p:sp>
            <p:nvSpPr>
              <p:cNvPr id="1344" name="Oval 320" hidden="1"/>
              <p:cNvSpPr>
                <a:spLocks noChangeAspect="1" noChangeArrowheads="1"/>
              </p:cNvSpPr>
              <p:nvPr userDrawn="1">
                <p:custDataLst>
                  <p:tags r:id="rId27"/>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5" name="Arc 321" hidden="1"/>
              <p:cNvSpPr>
                <a:spLocks noChangeAspect="1"/>
              </p:cNvSpPr>
              <p:nvPr userDrawn="1">
                <p:custDataLst>
                  <p:tags r:id="rId28"/>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0" name="MoonLegend3" hidden="1"/>
            <p:cNvGrpSpPr>
              <a:grpSpLocks noChangeAspect="1"/>
            </p:cNvGrpSpPr>
            <p:nvPr userDrawn="1">
              <p:custDataLst>
                <p:tags r:id="rId18"/>
              </p:custDataLst>
            </p:nvPr>
          </p:nvGrpSpPr>
          <p:grpSpPr bwMode="auto">
            <a:xfrm>
              <a:off x="4965" y="815"/>
              <a:ext cx="112" cy="112"/>
              <a:chOff x="4495" y="897"/>
              <a:chExt cx="160" cy="160"/>
            </a:xfrm>
          </p:grpSpPr>
          <p:sp>
            <p:nvSpPr>
              <p:cNvPr id="1347" name="Oval 323" hidden="1"/>
              <p:cNvSpPr>
                <a:spLocks noChangeAspect="1" noChangeArrowheads="1"/>
              </p:cNvSpPr>
              <p:nvPr userDrawn="1">
                <p:custDataLst>
                  <p:tags r:id="rId25"/>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8" name="Arc 324" hidden="1"/>
              <p:cNvSpPr>
                <a:spLocks noChangeAspect="1"/>
              </p:cNvSpPr>
              <p:nvPr userDrawn="1">
                <p:custDataLst>
                  <p:tags r:id="rId26"/>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1" name="MoonLegend4" hidden="1"/>
            <p:cNvGrpSpPr>
              <a:grpSpLocks noChangeAspect="1"/>
            </p:cNvGrpSpPr>
            <p:nvPr userDrawn="1">
              <p:custDataLst>
                <p:tags r:id="rId19"/>
              </p:custDataLst>
            </p:nvPr>
          </p:nvGrpSpPr>
          <p:grpSpPr bwMode="auto">
            <a:xfrm>
              <a:off x="4965" y="982"/>
              <a:ext cx="112" cy="112"/>
              <a:chOff x="4495" y="1198"/>
              <a:chExt cx="160" cy="160"/>
            </a:xfrm>
          </p:grpSpPr>
          <p:sp>
            <p:nvSpPr>
              <p:cNvPr id="1350" name="Oval 326" hidden="1"/>
              <p:cNvSpPr>
                <a:spLocks noChangeAspect="1" noChangeArrowheads="1"/>
              </p:cNvSpPr>
              <p:nvPr userDrawn="1">
                <p:custDataLst>
                  <p:tags r:id="rId23"/>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51" name="Arc 327" hidden="1"/>
              <p:cNvSpPr>
                <a:spLocks noChangeAspect="1"/>
              </p:cNvSpPr>
              <p:nvPr userDrawn="1">
                <p:custDataLst>
                  <p:tags r:id="rId24"/>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2" name="MoonLegend5" hidden="1"/>
            <p:cNvGrpSpPr>
              <a:grpSpLocks noChangeAspect="1"/>
            </p:cNvGrpSpPr>
            <p:nvPr userDrawn="1">
              <p:custDataLst>
                <p:tags r:id="rId20"/>
              </p:custDataLst>
            </p:nvPr>
          </p:nvGrpSpPr>
          <p:grpSpPr bwMode="auto">
            <a:xfrm>
              <a:off x="4965" y="1147"/>
              <a:ext cx="112" cy="112"/>
              <a:chOff x="4495" y="1440"/>
              <a:chExt cx="160" cy="160"/>
            </a:xfrm>
          </p:grpSpPr>
          <p:sp>
            <p:nvSpPr>
              <p:cNvPr id="1353" name="Oval 329" hidden="1"/>
              <p:cNvSpPr>
                <a:spLocks noChangeAspect="1" noChangeArrowheads="1"/>
              </p:cNvSpPr>
              <p:nvPr userDrawn="1">
                <p:custDataLst>
                  <p:tags r:id="rId21"/>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54" name="Oval 330" hidden="1"/>
              <p:cNvSpPr>
                <a:spLocks noChangeAspect="1" noChangeArrowheads="1"/>
              </p:cNvSpPr>
              <p:nvPr userDrawn="1">
                <p:custDataLst>
                  <p:tags r:id="rId22"/>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sp>
          <p:nvSpPr>
            <p:cNvPr id="1355" name="Legend1" hidden="1"/>
            <p:cNvSpPr>
              <a:spLocks noChangeArrowheads="1"/>
            </p:cNvSpPr>
            <p:nvPr userDrawn="1"/>
          </p:nvSpPr>
          <p:spPr bwMode="auto">
            <a:xfrm>
              <a:off x="5135" y="48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56" name="Legend2" hidden="1"/>
            <p:cNvSpPr>
              <a:spLocks noChangeArrowheads="1"/>
            </p:cNvSpPr>
            <p:nvPr userDrawn="1"/>
          </p:nvSpPr>
          <p:spPr bwMode="auto">
            <a:xfrm>
              <a:off x="5135" y="64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57" name="Legend3" hidden="1"/>
            <p:cNvSpPr>
              <a:spLocks noChangeArrowheads="1"/>
            </p:cNvSpPr>
            <p:nvPr userDrawn="1"/>
          </p:nvSpPr>
          <p:spPr bwMode="auto">
            <a:xfrm>
              <a:off x="5135" y="81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sp>
          <p:nvSpPr>
            <p:cNvPr id="1358" name="Legend4" hidden="1"/>
            <p:cNvSpPr>
              <a:spLocks noChangeArrowheads="1"/>
            </p:cNvSpPr>
            <p:nvPr userDrawn="1"/>
          </p:nvSpPr>
          <p:spPr bwMode="auto">
            <a:xfrm>
              <a:off x="5135" y="981"/>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4</a:t>
              </a:r>
            </a:p>
          </p:txBody>
        </p:sp>
        <p:sp>
          <p:nvSpPr>
            <p:cNvPr id="1359" name="Legend5" hidden="1"/>
            <p:cNvSpPr>
              <a:spLocks noChangeArrowheads="1"/>
            </p:cNvSpPr>
            <p:nvPr userDrawn="1"/>
          </p:nvSpPr>
          <p:spPr bwMode="auto">
            <a:xfrm>
              <a:off x="5135" y="1146"/>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5</a:t>
              </a:r>
            </a:p>
          </p:txBody>
        </p:sp>
      </p:grpSp>
      <p:sp>
        <p:nvSpPr>
          <p:cNvPr id="1379" name="Line 355"/>
          <p:cNvSpPr>
            <a:spLocks noChangeShapeType="1"/>
          </p:cNvSpPr>
          <p:nvPr>
            <p:custDataLst>
              <p:tags r:id="rId15"/>
            </p:custDataLst>
          </p:nvPr>
        </p:nvSpPr>
        <p:spPr bwMode="auto">
          <a:xfrm>
            <a:off x="124734" y="877902"/>
            <a:ext cx="8794113" cy="0"/>
          </a:xfrm>
          <a:prstGeom prst="line">
            <a:avLst/>
          </a:prstGeom>
          <a:noFill/>
          <a:ln w="28575">
            <a:solidFill>
              <a:schemeClr val="tx2"/>
            </a:solidFill>
            <a:round/>
            <a:headEnd/>
            <a:tailEnd/>
          </a:ln>
          <a:effectLst/>
        </p:spPr>
        <p:txBody>
          <a:bodyPr lIns="93252" tIns="46625" rIns="93252" bIns="46625"/>
          <a:lstStyle/>
          <a:p>
            <a:endParaRPr lang="en-US" sz="1600" dirty="0">
              <a:solidFill>
                <a:srgbClr val="000000"/>
              </a:solidFill>
              <a:latin typeface="Arial" charset="0"/>
            </a:endParaRPr>
          </a:p>
        </p:txBody>
      </p:sp>
      <p:pic>
        <p:nvPicPr>
          <p:cNvPr id="1513" name="Picture 489" descr="ANDI Logo"/>
          <p:cNvPicPr>
            <a:picLocks noChangeAspect="1" noChangeArrowheads="1"/>
          </p:cNvPicPr>
          <p:nvPr userDrawn="1"/>
        </p:nvPicPr>
        <p:blipFill>
          <a:blip r:embed="rId32" cstate="print">
            <a:clrChange>
              <a:clrFrom>
                <a:srgbClr val="FFFFFF"/>
              </a:clrFrom>
              <a:clrTo>
                <a:srgbClr val="FFFFFF">
                  <a:alpha val="0"/>
                </a:srgbClr>
              </a:clrTo>
            </a:clrChange>
          </a:blip>
          <a:srcRect/>
          <a:stretch>
            <a:fillRect/>
          </a:stretch>
        </p:blipFill>
        <p:spPr bwMode="auto">
          <a:xfrm>
            <a:off x="7511207" y="6521095"/>
            <a:ext cx="1163045" cy="336907"/>
          </a:xfrm>
          <a:prstGeom prst="rect">
            <a:avLst/>
          </a:prstGeom>
          <a:noFill/>
        </p:spPr>
      </p:pic>
    </p:spTree>
    <p:extLst>
      <p:ext uri="{BB962C8B-B14F-4D97-AF65-F5344CB8AC3E}">
        <p14:creationId xmlns:p14="http://schemas.microsoft.com/office/powerpoint/2010/main" val="2074242622"/>
      </p:ext>
    </p:extLst>
  </p:cSld>
  <p:clrMap bg1="lt1" tx1="dk1" bg2="lt2" tx2="dk2" accent1="accent1" accent2="accent2" accent3="accent3" accent4="accent4" accent5="accent5" accent6="accent6" hlink="hlink" folHlink="folHlink"/>
  <p:sldLayoutIdLst>
    <p:sldLayoutId id="2147483931" r:id="rId1"/>
  </p:sldLayoutIdLst>
  <p:hf hdr="0" ftr="0" dt="0"/>
  <p:txStyles>
    <p:titleStyle>
      <a:lvl1pPr algn="l" defTabSz="913093" rtl="0" fontAlgn="base">
        <a:spcBef>
          <a:spcPct val="0"/>
        </a:spcBef>
        <a:spcAft>
          <a:spcPct val="0"/>
        </a:spcAft>
        <a:defRPr sz="1900" b="1">
          <a:solidFill>
            <a:schemeClr val="tx2"/>
          </a:solidFill>
          <a:latin typeface="+mj-lt"/>
          <a:ea typeface="+mj-ea"/>
          <a:cs typeface="+mj-cs"/>
        </a:defRPr>
      </a:lvl1pPr>
      <a:lvl2pPr algn="l" defTabSz="913093" rtl="0" fontAlgn="base">
        <a:spcBef>
          <a:spcPct val="0"/>
        </a:spcBef>
        <a:spcAft>
          <a:spcPct val="0"/>
        </a:spcAft>
        <a:defRPr sz="1900" b="1">
          <a:solidFill>
            <a:schemeClr val="tx2"/>
          </a:solidFill>
          <a:latin typeface="Arial" charset="0"/>
        </a:defRPr>
      </a:lvl2pPr>
      <a:lvl3pPr algn="l" defTabSz="913093" rtl="0" fontAlgn="base">
        <a:spcBef>
          <a:spcPct val="0"/>
        </a:spcBef>
        <a:spcAft>
          <a:spcPct val="0"/>
        </a:spcAft>
        <a:defRPr sz="1900" b="1">
          <a:solidFill>
            <a:schemeClr val="tx2"/>
          </a:solidFill>
          <a:latin typeface="Arial" charset="0"/>
        </a:defRPr>
      </a:lvl3pPr>
      <a:lvl4pPr algn="l" defTabSz="913093" rtl="0" fontAlgn="base">
        <a:spcBef>
          <a:spcPct val="0"/>
        </a:spcBef>
        <a:spcAft>
          <a:spcPct val="0"/>
        </a:spcAft>
        <a:defRPr sz="1900" b="1">
          <a:solidFill>
            <a:schemeClr val="tx2"/>
          </a:solidFill>
          <a:latin typeface="Arial" charset="0"/>
        </a:defRPr>
      </a:lvl4pPr>
      <a:lvl5pPr algn="l" defTabSz="913093" rtl="0" fontAlgn="base">
        <a:spcBef>
          <a:spcPct val="0"/>
        </a:spcBef>
        <a:spcAft>
          <a:spcPct val="0"/>
        </a:spcAft>
        <a:defRPr sz="1900" b="1">
          <a:solidFill>
            <a:schemeClr val="tx2"/>
          </a:solidFill>
          <a:latin typeface="Arial" charset="0"/>
        </a:defRPr>
      </a:lvl5pPr>
      <a:lvl6pPr marL="466258" algn="l" defTabSz="913093" rtl="0" fontAlgn="base">
        <a:spcBef>
          <a:spcPct val="0"/>
        </a:spcBef>
        <a:spcAft>
          <a:spcPct val="0"/>
        </a:spcAft>
        <a:defRPr sz="1900" b="1">
          <a:solidFill>
            <a:schemeClr val="tx2"/>
          </a:solidFill>
          <a:latin typeface="Arial" charset="0"/>
        </a:defRPr>
      </a:lvl6pPr>
      <a:lvl7pPr marL="932521" algn="l" defTabSz="913093" rtl="0" fontAlgn="base">
        <a:spcBef>
          <a:spcPct val="0"/>
        </a:spcBef>
        <a:spcAft>
          <a:spcPct val="0"/>
        </a:spcAft>
        <a:defRPr sz="1900" b="1">
          <a:solidFill>
            <a:schemeClr val="tx2"/>
          </a:solidFill>
          <a:latin typeface="Arial" charset="0"/>
        </a:defRPr>
      </a:lvl7pPr>
      <a:lvl8pPr marL="1398782" algn="l" defTabSz="913093" rtl="0" fontAlgn="base">
        <a:spcBef>
          <a:spcPct val="0"/>
        </a:spcBef>
        <a:spcAft>
          <a:spcPct val="0"/>
        </a:spcAft>
        <a:defRPr sz="1900" b="1">
          <a:solidFill>
            <a:schemeClr val="tx2"/>
          </a:solidFill>
          <a:latin typeface="Arial" charset="0"/>
        </a:defRPr>
      </a:lvl8pPr>
      <a:lvl9pPr marL="1865043" algn="l" defTabSz="913093" rtl="0" fontAlgn="base">
        <a:spcBef>
          <a:spcPct val="0"/>
        </a:spcBef>
        <a:spcAft>
          <a:spcPct val="0"/>
        </a:spcAft>
        <a:defRPr sz="1900" b="1">
          <a:solidFill>
            <a:schemeClr val="tx2"/>
          </a:solidFill>
          <a:latin typeface="Arial" charset="0"/>
        </a:defRPr>
      </a:lvl9pPr>
    </p:titleStyle>
    <p:bodyStyle>
      <a:lvl1pPr algn="l" defTabSz="913093" rtl="0" fontAlgn="base">
        <a:spcBef>
          <a:spcPct val="0"/>
        </a:spcBef>
        <a:spcAft>
          <a:spcPct val="0"/>
        </a:spcAft>
        <a:buClr>
          <a:schemeClr val="tx2"/>
        </a:buClr>
        <a:defRPr sz="1600">
          <a:solidFill>
            <a:schemeClr val="tx1"/>
          </a:solidFill>
          <a:latin typeface="+mn-lt"/>
          <a:ea typeface="+mn-ea"/>
          <a:cs typeface="+mn-cs"/>
        </a:defRPr>
      </a:lvl1pPr>
      <a:lvl2pPr marL="197514" indent="-195895" algn="l" defTabSz="913093" rtl="0" fontAlgn="base">
        <a:spcBef>
          <a:spcPct val="0"/>
        </a:spcBef>
        <a:spcAft>
          <a:spcPct val="0"/>
        </a:spcAft>
        <a:buClr>
          <a:schemeClr val="tx1"/>
        </a:buClr>
        <a:buFont typeface="Arial" charset="0"/>
        <a:buChar char="▪"/>
        <a:defRPr sz="1600">
          <a:solidFill>
            <a:schemeClr val="tx1"/>
          </a:solidFill>
          <a:latin typeface="+mn-lt"/>
        </a:defRPr>
      </a:lvl2pPr>
      <a:lvl3pPr marL="466258" indent="-267128" algn="l" defTabSz="913093" rtl="0" fontAlgn="base">
        <a:spcBef>
          <a:spcPct val="0"/>
        </a:spcBef>
        <a:spcAft>
          <a:spcPct val="0"/>
        </a:spcAft>
        <a:buClr>
          <a:schemeClr val="tx1"/>
        </a:buClr>
        <a:buFont typeface="Arial" charset="0"/>
        <a:buChar char="–"/>
        <a:defRPr sz="1600">
          <a:solidFill>
            <a:schemeClr val="tx1"/>
          </a:solidFill>
          <a:latin typeface="+mn-lt"/>
        </a:defRPr>
      </a:lvl3pPr>
      <a:lvl4pPr marL="626539" indent="-158658" algn="l" defTabSz="913093" rtl="0" fontAlgn="base">
        <a:spcBef>
          <a:spcPct val="0"/>
        </a:spcBef>
        <a:spcAft>
          <a:spcPct val="0"/>
        </a:spcAft>
        <a:buClr>
          <a:schemeClr val="tx1"/>
        </a:buClr>
        <a:buFont typeface="Arial" charset="0"/>
        <a:buChar char="▫"/>
        <a:defRPr sz="1600">
          <a:solidFill>
            <a:schemeClr val="tx1"/>
          </a:solidFill>
          <a:latin typeface="+mn-lt"/>
        </a:defRPr>
      </a:lvl4pPr>
      <a:lvl5pPr marL="760912" indent="-132755" algn="l" defTabSz="913093" rtl="0" fontAlgn="base">
        <a:spcBef>
          <a:spcPct val="0"/>
        </a:spcBef>
        <a:spcAft>
          <a:spcPct val="0"/>
        </a:spcAft>
        <a:buClr>
          <a:schemeClr val="tx1"/>
        </a:buClr>
        <a:buFont typeface="Arial" charset="0"/>
        <a:buChar char="-"/>
        <a:defRPr sz="1600">
          <a:solidFill>
            <a:schemeClr val="tx1"/>
          </a:solidFill>
          <a:latin typeface="+mn-lt"/>
        </a:defRPr>
      </a:lvl5pPr>
      <a:lvl6pPr marL="1227172" indent="-132755" algn="l" defTabSz="913093" rtl="0" fontAlgn="base">
        <a:spcBef>
          <a:spcPct val="0"/>
        </a:spcBef>
        <a:spcAft>
          <a:spcPct val="0"/>
        </a:spcAft>
        <a:buClr>
          <a:schemeClr val="tx1"/>
        </a:buClr>
        <a:buFont typeface="Arial" charset="0"/>
        <a:buChar char="-"/>
        <a:defRPr sz="1600">
          <a:solidFill>
            <a:schemeClr val="tx1"/>
          </a:solidFill>
          <a:latin typeface="+mn-lt"/>
        </a:defRPr>
      </a:lvl6pPr>
      <a:lvl7pPr marL="1693433" indent="-132755" algn="l" defTabSz="913093" rtl="0" fontAlgn="base">
        <a:spcBef>
          <a:spcPct val="0"/>
        </a:spcBef>
        <a:spcAft>
          <a:spcPct val="0"/>
        </a:spcAft>
        <a:buClr>
          <a:schemeClr val="tx1"/>
        </a:buClr>
        <a:buFont typeface="Arial" charset="0"/>
        <a:buChar char="-"/>
        <a:defRPr sz="1600">
          <a:solidFill>
            <a:schemeClr val="tx1"/>
          </a:solidFill>
          <a:latin typeface="+mn-lt"/>
        </a:defRPr>
      </a:lvl7pPr>
      <a:lvl8pPr marL="2159694" indent="-132755" algn="l" defTabSz="913093" rtl="0" fontAlgn="base">
        <a:spcBef>
          <a:spcPct val="0"/>
        </a:spcBef>
        <a:spcAft>
          <a:spcPct val="0"/>
        </a:spcAft>
        <a:buClr>
          <a:schemeClr val="tx1"/>
        </a:buClr>
        <a:buFont typeface="Arial" charset="0"/>
        <a:buChar char="-"/>
        <a:defRPr sz="1600">
          <a:solidFill>
            <a:schemeClr val="tx1"/>
          </a:solidFill>
          <a:latin typeface="+mn-lt"/>
        </a:defRPr>
      </a:lvl8pPr>
      <a:lvl9pPr marL="2625953" indent="-132755" algn="l" defTabSz="913093" rtl="0" fontAlgn="base">
        <a:spcBef>
          <a:spcPct val="0"/>
        </a:spcBef>
        <a:spcAft>
          <a:spcPct val="0"/>
        </a:spcAft>
        <a:buClr>
          <a:schemeClr val="tx1"/>
        </a:buClr>
        <a:buFont typeface="Arial" charset="0"/>
        <a:buChar char="-"/>
        <a:defRPr sz="1600">
          <a:solidFill>
            <a:schemeClr val="tx1"/>
          </a:solidFill>
          <a:latin typeface="+mn-lt"/>
        </a:defRPr>
      </a:lvl9pPr>
    </p:bodyStyle>
    <p:otherStyle>
      <a:defPPr>
        <a:defRPr lang="en-US"/>
      </a:defPPr>
      <a:lvl1pPr marL="0" algn="l" defTabSz="932521" rtl="0" eaLnBrk="1" latinLnBrk="0" hangingPunct="1">
        <a:defRPr sz="1800" kern="1200">
          <a:solidFill>
            <a:schemeClr val="tx1"/>
          </a:solidFill>
          <a:latin typeface="+mn-lt"/>
          <a:ea typeface="+mn-ea"/>
          <a:cs typeface="+mn-cs"/>
        </a:defRPr>
      </a:lvl1pPr>
      <a:lvl2pPr marL="466258" algn="l" defTabSz="932521" rtl="0" eaLnBrk="1" latinLnBrk="0" hangingPunct="1">
        <a:defRPr sz="1800" kern="1200">
          <a:solidFill>
            <a:schemeClr val="tx1"/>
          </a:solidFill>
          <a:latin typeface="+mn-lt"/>
          <a:ea typeface="+mn-ea"/>
          <a:cs typeface="+mn-cs"/>
        </a:defRPr>
      </a:lvl2pPr>
      <a:lvl3pPr marL="932521" algn="l" defTabSz="932521" rtl="0" eaLnBrk="1" latinLnBrk="0" hangingPunct="1">
        <a:defRPr sz="1800" kern="1200">
          <a:solidFill>
            <a:schemeClr val="tx1"/>
          </a:solidFill>
          <a:latin typeface="+mn-lt"/>
          <a:ea typeface="+mn-ea"/>
          <a:cs typeface="+mn-cs"/>
        </a:defRPr>
      </a:lvl3pPr>
      <a:lvl4pPr marL="1398782" algn="l" defTabSz="932521" rtl="0" eaLnBrk="1" latinLnBrk="0" hangingPunct="1">
        <a:defRPr sz="1800" kern="1200">
          <a:solidFill>
            <a:schemeClr val="tx1"/>
          </a:solidFill>
          <a:latin typeface="+mn-lt"/>
          <a:ea typeface="+mn-ea"/>
          <a:cs typeface="+mn-cs"/>
        </a:defRPr>
      </a:lvl4pPr>
      <a:lvl5pPr marL="1865043" algn="l" defTabSz="932521" rtl="0" eaLnBrk="1" latinLnBrk="0" hangingPunct="1">
        <a:defRPr sz="1800" kern="1200">
          <a:solidFill>
            <a:schemeClr val="tx1"/>
          </a:solidFill>
          <a:latin typeface="+mn-lt"/>
          <a:ea typeface="+mn-ea"/>
          <a:cs typeface="+mn-cs"/>
        </a:defRPr>
      </a:lvl5pPr>
      <a:lvl6pPr marL="2331304" algn="l" defTabSz="932521" rtl="0" eaLnBrk="1" latinLnBrk="0" hangingPunct="1">
        <a:defRPr sz="1800" kern="1200">
          <a:solidFill>
            <a:schemeClr val="tx1"/>
          </a:solidFill>
          <a:latin typeface="+mn-lt"/>
          <a:ea typeface="+mn-ea"/>
          <a:cs typeface="+mn-cs"/>
        </a:defRPr>
      </a:lvl6pPr>
      <a:lvl7pPr marL="2797563" algn="l" defTabSz="932521" rtl="0" eaLnBrk="1" latinLnBrk="0" hangingPunct="1">
        <a:defRPr sz="1800" kern="1200">
          <a:solidFill>
            <a:schemeClr val="tx1"/>
          </a:solidFill>
          <a:latin typeface="+mn-lt"/>
          <a:ea typeface="+mn-ea"/>
          <a:cs typeface="+mn-cs"/>
        </a:defRPr>
      </a:lvl7pPr>
      <a:lvl8pPr marL="3263824" algn="l" defTabSz="932521" rtl="0" eaLnBrk="1" latinLnBrk="0" hangingPunct="1">
        <a:defRPr sz="1800" kern="1200">
          <a:solidFill>
            <a:schemeClr val="tx1"/>
          </a:solidFill>
          <a:latin typeface="+mn-lt"/>
          <a:ea typeface="+mn-ea"/>
          <a:cs typeface="+mn-cs"/>
        </a:defRPr>
      </a:lvl8pPr>
      <a:lvl9pPr marL="3730085" algn="l" defTabSz="932521"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407" name="Rectangle 383" hidden="1"/>
          <p:cNvGraphicFramePr>
            <a:graphicFrameLocks/>
          </p:cNvGraphicFramePr>
          <p:nvPr>
            <p:custDataLst>
              <p:tags r:id="rId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3251" name="think-cell Slide" r:id="rId31" imgW="0" imgH="0" progId="">
                  <p:embed/>
                </p:oleObj>
              </mc:Choice>
              <mc:Fallback>
                <p:oleObj name="think-cell Slide" r:id="rId3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406" name="Rectangle 382"/>
          <p:cNvSpPr>
            <a:spLocks noChangeArrowheads="1"/>
          </p:cNvSpPr>
          <p:nvPr>
            <p:custDataLst>
              <p:tags r:id="rId5"/>
            </p:custDataLst>
          </p:nvPr>
        </p:nvSpPr>
        <p:spPr bwMode="auto">
          <a:xfrm>
            <a:off x="0" y="6469263"/>
            <a:ext cx="9144000" cy="388739"/>
          </a:xfrm>
          <a:prstGeom prst="rect">
            <a:avLst/>
          </a:prstGeom>
          <a:solidFill>
            <a:schemeClr val="accent2"/>
          </a:solidFill>
          <a:ln w="9525">
            <a:noFill/>
            <a:miter lim="800000"/>
            <a:headEnd/>
            <a:tailEnd/>
          </a:ln>
          <a:effectLst/>
        </p:spPr>
        <p:txBody>
          <a:bodyPr wrap="none" lIns="93222" tIns="46612" rIns="93222" bIns="46612" anchor="ctr"/>
          <a:lstStyle/>
          <a:p>
            <a:endParaRPr lang="en-US" sz="1600" dirty="0">
              <a:solidFill>
                <a:srgbClr val="000000"/>
              </a:solidFill>
              <a:latin typeface="Arial" charset="0"/>
            </a:endParaRPr>
          </a:p>
        </p:txBody>
      </p:sp>
      <p:sp>
        <p:nvSpPr>
          <p:cNvPr id="1026" name="McK 2. Slide Title"/>
          <p:cNvSpPr>
            <a:spLocks noGrp="1" noChangeArrowheads="1"/>
          </p:cNvSpPr>
          <p:nvPr>
            <p:ph type="title"/>
            <p:custDataLst>
              <p:tags r:id="rId6"/>
            </p:custDataLst>
          </p:nvPr>
        </p:nvSpPr>
        <p:spPr bwMode="auto">
          <a:xfrm>
            <a:off x="121497" y="519652"/>
            <a:ext cx="8797353" cy="298327"/>
          </a:xfrm>
          <a:prstGeom prst="rect">
            <a:avLst/>
          </a:prstGeom>
          <a:noFill/>
          <a:ln w="9525">
            <a:noFill/>
            <a:miter lim="800000"/>
            <a:headEnd/>
            <a:tailEnd/>
          </a:ln>
          <a:effectLst/>
        </p:spPr>
        <p:txBody>
          <a:bodyPr vert="horz" wrap="square" lIns="0" tIns="0" rIns="0" bIns="0" numCol="1" anchor="b" anchorCtr="0" compatLnSpc="1">
            <a:prstTxWarp prst="textNoShape">
              <a:avLst/>
            </a:prstTxWarp>
            <a:spAutoFit/>
          </a:bodyPr>
          <a:lstStyle/>
          <a:p>
            <a:pPr lvl="0"/>
            <a:r>
              <a:rPr lang="en-US" smtClean="0"/>
              <a:t>Click to edit Master title style</a:t>
            </a:r>
          </a:p>
        </p:txBody>
      </p:sp>
      <p:sp>
        <p:nvSpPr>
          <p:cNvPr id="1076" name="McK 1. On-page tracker" hidden="1"/>
          <p:cNvSpPr>
            <a:spLocks noChangeArrowheads="1"/>
          </p:cNvSpPr>
          <p:nvPr>
            <p:custDataLst>
              <p:tags r:id="rId7"/>
            </p:custDataLst>
          </p:nvPr>
        </p:nvSpPr>
        <p:spPr bwMode="auto">
          <a:xfrm>
            <a:off x="121488" y="27537"/>
            <a:ext cx="859210" cy="215444"/>
          </a:xfrm>
          <a:prstGeom prst="rect">
            <a:avLst/>
          </a:prstGeom>
          <a:noFill/>
          <a:ln w="9525">
            <a:noFill/>
            <a:miter lim="800000"/>
            <a:headEnd/>
            <a:tailEnd/>
          </a:ln>
          <a:effectLst/>
        </p:spPr>
        <p:txBody>
          <a:bodyPr wrap="none" lIns="0" tIns="0" rIns="0" bIns="0">
            <a:spAutoFit/>
          </a:bodyPr>
          <a:lstStyle/>
          <a:p>
            <a:r>
              <a:rPr lang="en-US" sz="1400" dirty="0">
                <a:solidFill>
                  <a:srgbClr val="808080"/>
                </a:solidFill>
                <a:latin typeface="Arial" charset="0"/>
              </a:rPr>
              <a:t>TRACKER</a:t>
            </a:r>
          </a:p>
        </p:txBody>
      </p:sp>
      <p:grpSp>
        <p:nvGrpSpPr>
          <p:cNvPr id="2" name="McK Slide Elements"/>
          <p:cNvGrpSpPr>
            <a:grpSpLocks/>
          </p:cNvGrpSpPr>
          <p:nvPr userDrawn="1"/>
        </p:nvGrpSpPr>
        <p:grpSpPr bwMode="auto">
          <a:xfrm>
            <a:off x="121488" y="988046"/>
            <a:ext cx="7801152" cy="5776010"/>
            <a:chOff x="75" y="610"/>
            <a:chExt cx="4816" cy="3566"/>
          </a:xfrm>
        </p:grpSpPr>
        <p:sp>
          <p:nvSpPr>
            <p:cNvPr id="1032" name="McK 3. Unit of measure" hidden="1"/>
            <p:cNvSpPr txBox="1">
              <a:spLocks noChangeArrowheads="1"/>
            </p:cNvSpPr>
            <p:nvPr userDrawn="1"/>
          </p:nvSpPr>
          <p:spPr bwMode="auto">
            <a:xfrm>
              <a:off x="75" y="610"/>
              <a:ext cx="4816" cy="133"/>
            </a:xfrm>
            <a:prstGeom prst="rect">
              <a:avLst/>
            </a:prstGeom>
            <a:noFill/>
            <a:ln w="9525">
              <a:noFill/>
              <a:miter lim="800000"/>
              <a:headEnd/>
              <a:tailEnd/>
            </a:ln>
            <a:effectLst/>
          </p:spPr>
          <p:txBody>
            <a:bodyPr lIns="0" tIns="0" rIns="0" bIns="0">
              <a:spAutoFit/>
            </a:bodyPr>
            <a:lstStyle/>
            <a:p>
              <a:pPr defTabSz="912802"/>
              <a:r>
                <a:rPr lang="en-US" sz="1400" dirty="0">
                  <a:solidFill>
                    <a:srgbClr val="000000"/>
                  </a:solidFill>
                  <a:latin typeface="Arial" charset="0"/>
                </a:rPr>
                <a:t>Unit of measure</a:t>
              </a:r>
            </a:p>
          </p:txBody>
        </p:sp>
        <p:sp>
          <p:nvSpPr>
            <p:cNvPr id="1151" name="McK 4. Footnote" hidden="1"/>
            <p:cNvSpPr txBox="1">
              <a:spLocks noChangeArrowheads="1"/>
            </p:cNvSpPr>
            <p:nvPr userDrawn="1"/>
          </p:nvSpPr>
          <p:spPr bwMode="auto">
            <a:xfrm>
              <a:off x="75" y="3882"/>
              <a:ext cx="4775" cy="96"/>
            </a:xfrm>
            <a:prstGeom prst="rect">
              <a:avLst/>
            </a:prstGeom>
            <a:noFill/>
            <a:ln w="9525">
              <a:noFill/>
              <a:miter lim="800000"/>
              <a:headEnd/>
              <a:tailEnd/>
            </a:ln>
            <a:effectLst/>
          </p:spPr>
          <p:txBody>
            <a:bodyPr lIns="0" tIns="0" rIns="0" bIns="0" anchor="b">
              <a:spAutoFit/>
            </a:bodyPr>
            <a:lstStyle/>
            <a:p>
              <a:pPr marL="106817" indent="-106817" defTabSz="912802"/>
              <a:r>
                <a:rPr lang="en-US" sz="1000" dirty="0">
                  <a:solidFill>
                    <a:srgbClr val="000000"/>
                  </a:solidFill>
                  <a:latin typeface="Arial" charset="0"/>
                </a:rPr>
                <a:t>1 Footnote</a:t>
              </a:r>
            </a:p>
          </p:txBody>
        </p:sp>
        <p:sp>
          <p:nvSpPr>
            <p:cNvPr id="1154" name="McK 5. Source" hidden="1"/>
            <p:cNvSpPr>
              <a:spLocks noChangeArrowheads="1"/>
            </p:cNvSpPr>
            <p:nvPr userDrawn="1"/>
          </p:nvSpPr>
          <p:spPr bwMode="auto">
            <a:xfrm>
              <a:off x="75" y="4080"/>
              <a:ext cx="3833" cy="96"/>
            </a:xfrm>
            <a:prstGeom prst="rect">
              <a:avLst/>
            </a:prstGeom>
            <a:noFill/>
            <a:ln w="9525">
              <a:noFill/>
              <a:miter lim="800000"/>
              <a:headEnd/>
              <a:tailEnd/>
            </a:ln>
            <a:effectLst/>
          </p:spPr>
          <p:txBody>
            <a:bodyPr lIns="0" tIns="0" rIns="0" bIns="0" anchor="ctr">
              <a:spAutoFit/>
            </a:bodyPr>
            <a:lstStyle/>
            <a:p>
              <a:pPr marL="582639" indent="-582639" defTabSz="912802">
                <a:tabLst>
                  <a:tab pos="581023" algn="l"/>
                </a:tabLst>
              </a:pPr>
              <a:r>
                <a:rPr lang="en-US" sz="1000" dirty="0">
                  <a:solidFill>
                    <a:srgbClr val="000000"/>
                  </a:solidFill>
                  <a:latin typeface="Arial" charset="0"/>
                </a:rPr>
                <a:t>Source: Source</a:t>
              </a:r>
            </a:p>
          </p:txBody>
        </p:sp>
      </p:grpSp>
      <p:grpSp>
        <p:nvGrpSpPr>
          <p:cNvPr id="3" name="ACET" hidden="1"/>
          <p:cNvGrpSpPr>
            <a:grpSpLocks/>
          </p:cNvGrpSpPr>
          <p:nvPr>
            <p:custDataLst>
              <p:tags r:id="rId8"/>
            </p:custDataLst>
          </p:nvPr>
        </p:nvGrpSpPr>
        <p:grpSpPr bwMode="auto">
          <a:xfrm>
            <a:off x="121495" y="1355728"/>
            <a:ext cx="4352512" cy="510220"/>
            <a:chOff x="915" y="715"/>
            <a:chExt cx="2687" cy="315"/>
          </a:xfrm>
        </p:grpSpPr>
        <p:cxnSp>
          <p:nvCxnSpPr>
            <p:cNvPr id="1273" name="AutoShape 249" hidden="1"/>
            <p:cNvCxnSpPr>
              <a:cxnSpLocks noChangeShapeType="1"/>
              <a:stCxn id="1274" idx="4"/>
              <a:endCxn id="1274" idx="6"/>
            </p:cNvCxnSpPr>
            <p:nvPr/>
          </p:nvCxnSpPr>
          <p:spPr bwMode="auto">
            <a:xfrm rot="16200000" flipH="1">
              <a:off x="2258" y="-313"/>
              <a:ext cx="1" cy="2686"/>
            </a:xfrm>
            <a:prstGeom prst="straightConnector1">
              <a:avLst/>
            </a:prstGeom>
            <a:noFill/>
            <a:ln w="9525">
              <a:solidFill>
                <a:schemeClr val="tx1"/>
              </a:solidFill>
              <a:round/>
              <a:headEnd/>
              <a:tailEnd/>
            </a:ln>
            <a:effectLst/>
          </p:spPr>
        </p:cxnSp>
        <p:sp>
          <p:nvSpPr>
            <p:cNvPr id="1274" name="AutoShape 250" hidden="1"/>
            <p:cNvSpPr>
              <a:spLocks noChangeArrowheads="1"/>
            </p:cNvSpPr>
            <p:nvPr/>
          </p:nvSpPr>
          <p:spPr bwMode="auto">
            <a:xfrm>
              <a:off x="915" y="715"/>
              <a:ext cx="2686" cy="315"/>
            </a:xfrm>
            <a:prstGeom prst="leftRightArrow">
              <a:avLst>
                <a:gd name="adj1" fmla="val 100000"/>
                <a:gd name="adj2" fmla="val 0"/>
              </a:avLst>
            </a:prstGeom>
            <a:noFill/>
            <a:ln w="9525">
              <a:noFill/>
              <a:miter lim="800000"/>
              <a:headEnd/>
              <a:tailEnd/>
            </a:ln>
            <a:effectLst/>
          </p:spPr>
          <p:txBody>
            <a:bodyPr lIns="0" tIns="0" rIns="0" bIns="18288" anchor="b">
              <a:spAutoFit/>
            </a:bodyPr>
            <a:lstStyle/>
            <a:p>
              <a:r>
                <a:rPr lang="en-US" sz="1600" b="1" dirty="0" err="1">
                  <a:solidFill>
                    <a:srgbClr val="000000"/>
                  </a:solidFill>
                  <a:latin typeface="Arial" charset="0"/>
                </a:rPr>
                <a:t>Titel</a:t>
              </a:r>
              <a:endParaRPr lang="en-US" sz="1600" b="1" dirty="0">
                <a:solidFill>
                  <a:srgbClr val="000000"/>
                </a:solidFill>
                <a:latin typeface="Arial" charset="0"/>
              </a:endParaRPr>
            </a:p>
            <a:p>
              <a:r>
                <a:rPr lang="en-US" sz="1600" dirty="0">
                  <a:solidFill>
                    <a:srgbClr val="000000"/>
                  </a:solidFill>
                  <a:latin typeface="Arial" charset="0"/>
                </a:rPr>
                <a:t>Unit of measure</a:t>
              </a:r>
            </a:p>
          </p:txBody>
        </p:sp>
      </p:grpSp>
      <p:sp>
        <p:nvSpPr>
          <p:cNvPr id="1304" name="Rectangle 280"/>
          <p:cNvSpPr>
            <a:spLocks noGrp="1" noChangeArrowheads="1"/>
          </p:cNvSpPr>
          <p:nvPr>
            <p:ph type="sldNum" sz="quarter" idx="4"/>
            <p:custDataLst>
              <p:tags r:id="rId9"/>
            </p:custDataLst>
          </p:nvPr>
        </p:nvSpPr>
        <p:spPr bwMode="auto">
          <a:xfrm>
            <a:off x="8719602" y="6678209"/>
            <a:ext cx="199240" cy="155496"/>
          </a:xfrm>
          <a:prstGeom prst="rect">
            <a:avLst/>
          </a:prstGeom>
          <a:noFill/>
          <a:ln w="9525">
            <a:noFill/>
            <a:miter lim="800000"/>
            <a:headEnd/>
            <a:tailEnd/>
          </a:ln>
          <a:effectLst/>
        </p:spPr>
        <p:txBody>
          <a:bodyPr vert="horz" wrap="none" lIns="0" tIns="0" rIns="0" bIns="0" numCol="1" anchor="t" anchorCtr="0" compatLnSpc="1">
            <a:prstTxWarp prst="textNoShape">
              <a:avLst/>
            </a:prstTxWarp>
          </a:bodyPr>
          <a:lstStyle>
            <a:lvl1pPr algn="r">
              <a:defRPr sz="1000">
                <a:solidFill>
                  <a:srgbClr val="000000"/>
                </a:solidFill>
              </a:defRPr>
            </a:lvl1pPr>
          </a:lstStyle>
          <a:p>
            <a:fld id="{34383EA8-7801-444F-BF26-B965F39592CA}" type="slidenum">
              <a:rPr lang="en-US">
                <a:latin typeface="Arial" charset="0"/>
              </a:rPr>
              <a:pPr/>
              <a:t>‹#›</a:t>
            </a:fld>
            <a:endParaRPr lang="en-US">
              <a:latin typeface="Arial" charset="0"/>
            </a:endParaRPr>
          </a:p>
        </p:txBody>
      </p:sp>
      <p:sp>
        <p:nvSpPr>
          <p:cNvPr id="1310" name="Rectangle 286"/>
          <p:cNvSpPr>
            <a:spLocks noGrp="1" noChangeArrowheads="1"/>
          </p:cNvSpPr>
          <p:nvPr>
            <p:ph type="body" idx="1"/>
            <p:custDataLst>
              <p:tags r:id="rId10"/>
            </p:custDataLst>
          </p:nvPr>
        </p:nvSpPr>
        <p:spPr bwMode="auto">
          <a:xfrm>
            <a:off x="121489" y="1990668"/>
            <a:ext cx="8722840" cy="1247204"/>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grpSp>
        <p:nvGrpSpPr>
          <p:cNvPr id="4" name="Sticker" hidden="1"/>
          <p:cNvGrpSpPr>
            <a:grpSpLocks/>
          </p:cNvGrpSpPr>
          <p:nvPr>
            <p:custDataLst>
              <p:tags r:id="rId11"/>
            </p:custDataLst>
          </p:nvPr>
        </p:nvGrpSpPr>
        <p:grpSpPr bwMode="auto">
          <a:xfrm>
            <a:off x="8238517" y="1025324"/>
            <a:ext cx="681953" cy="189512"/>
            <a:chOff x="1320" y="2181"/>
            <a:chExt cx="421" cy="117"/>
          </a:xfrm>
        </p:grpSpPr>
        <p:sp>
          <p:nvSpPr>
            <p:cNvPr id="1320" name="AutoShape 296" hidden="1"/>
            <p:cNvSpPr>
              <a:spLocks noChangeArrowheads="1"/>
            </p:cNvSpPr>
            <p:nvPr userDrawn="1"/>
          </p:nvSpPr>
          <p:spPr bwMode="auto">
            <a:xfrm>
              <a:off x="1320" y="2182"/>
              <a:ext cx="420" cy="116"/>
            </a:xfrm>
            <a:prstGeom prst="leftRightArrow">
              <a:avLst>
                <a:gd name="adj1" fmla="val 100000"/>
                <a:gd name="adj2" fmla="val 0"/>
              </a:avLst>
            </a:prstGeom>
            <a:noFill/>
            <a:ln w="9525">
              <a:noFill/>
              <a:miter lim="800000"/>
              <a:headEnd/>
              <a:tailEnd/>
            </a:ln>
            <a:effectLst/>
          </p:spPr>
          <p:txBody>
            <a:bodyPr wrap="none" lIns="0" tIns="0" rIns="0" bIns="0">
              <a:spAutoFit/>
            </a:bodyPr>
            <a:lstStyle/>
            <a:p>
              <a:pPr algn="r"/>
              <a:r>
                <a:rPr lang="en-US" sz="1200" dirty="0">
                  <a:solidFill>
                    <a:srgbClr val="000000"/>
                  </a:solidFill>
                  <a:latin typeface="Arial" charset="0"/>
                </a:rPr>
                <a:t>STICKER</a:t>
              </a:r>
            </a:p>
          </p:txBody>
        </p:sp>
        <p:cxnSp>
          <p:nvCxnSpPr>
            <p:cNvPr id="1321" name="AutoShape 297" hidden="1"/>
            <p:cNvCxnSpPr>
              <a:cxnSpLocks noChangeShapeType="1"/>
              <a:stCxn id="1320" idx="2"/>
              <a:endCxn id="1320" idx="0"/>
            </p:cNvCxnSpPr>
            <p:nvPr userDrawn="1"/>
          </p:nvCxnSpPr>
          <p:spPr bwMode="auto">
            <a:xfrm rot="5400000" flipH="1" flipV="1">
              <a:off x="1530" y="1972"/>
              <a:ext cx="1" cy="420"/>
            </a:xfrm>
            <a:prstGeom prst="straightConnector1">
              <a:avLst/>
            </a:prstGeom>
            <a:noFill/>
            <a:ln w="9525">
              <a:solidFill>
                <a:schemeClr val="tx1"/>
              </a:solidFill>
              <a:round/>
              <a:headEnd/>
              <a:tailEnd/>
            </a:ln>
            <a:effectLst/>
          </p:spPr>
        </p:cxnSp>
        <p:cxnSp>
          <p:nvCxnSpPr>
            <p:cNvPr id="1322" name="AutoShape 298" hidden="1"/>
            <p:cNvCxnSpPr>
              <a:cxnSpLocks noChangeShapeType="1"/>
              <a:stCxn id="1320" idx="4"/>
              <a:endCxn id="1320" idx="6"/>
            </p:cNvCxnSpPr>
            <p:nvPr userDrawn="1"/>
          </p:nvCxnSpPr>
          <p:spPr bwMode="auto">
            <a:xfrm rot="16200000" flipH="1">
              <a:off x="1530" y="2088"/>
              <a:ext cx="1" cy="420"/>
            </a:xfrm>
            <a:prstGeom prst="straightConnector1">
              <a:avLst/>
            </a:prstGeom>
            <a:noFill/>
            <a:ln w="9525">
              <a:solidFill>
                <a:schemeClr val="tx1"/>
              </a:solidFill>
              <a:round/>
              <a:headEnd/>
              <a:tailEnd/>
            </a:ln>
            <a:effectLst/>
          </p:spPr>
        </p:cxnSp>
      </p:grpSp>
      <p:grpSp>
        <p:nvGrpSpPr>
          <p:cNvPr id="5" name="LegendBoxes" hidden="1"/>
          <p:cNvGrpSpPr>
            <a:grpSpLocks/>
          </p:cNvGrpSpPr>
          <p:nvPr>
            <p:custDataLst>
              <p:tags r:id="rId12"/>
            </p:custDataLst>
          </p:nvPr>
        </p:nvGrpSpPr>
        <p:grpSpPr bwMode="auto">
          <a:xfrm>
            <a:off x="8058708" y="1023679"/>
            <a:ext cx="866614" cy="997764"/>
            <a:chOff x="3394" y="519"/>
            <a:chExt cx="535" cy="616"/>
          </a:xfrm>
        </p:grpSpPr>
        <p:sp>
          <p:nvSpPr>
            <p:cNvPr id="1324" name="LegendRectangle1" hidden="1"/>
            <p:cNvSpPr>
              <a:spLocks noChangeArrowheads="1"/>
            </p:cNvSpPr>
            <p:nvPr userDrawn="1"/>
          </p:nvSpPr>
          <p:spPr bwMode="auto">
            <a:xfrm>
              <a:off x="3394" y="526"/>
              <a:ext cx="104" cy="101"/>
            </a:xfrm>
            <a:prstGeom prst="rect">
              <a:avLst/>
            </a:prstGeom>
            <a:solidFill>
              <a:schemeClr val="accent1"/>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5" name="LegendRectangle2" hidden="1"/>
            <p:cNvSpPr>
              <a:spLocks noChangeArrowheads="1"/>
            </p:cNvSpPr>
            <p:nvPr userDrawn="1"/>
          </p:nvSpPr>
          <p:spPr bwMode="auto">
            <a:xfrm>
              <a:off x="3394" y="693"/>
              <a:ext cx="104" cy="101"/>
            </a:xfrm>
            <a:prstGeom prst="rect">
              <a:avLst/>
            </a:prstGeom>
            <a:solidFill>
              <a:schemeClr val="accent2"/>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6" name="LegendRectangle3" hidden="1"/>
            <p:cNvSpPr>
              <a:spLocks noChangeArrowheads="1"/>
            </p:cNvSpPr>
            <p:nvPr userDrawn="1"/>
          </p:nvSpPr>
          <p:spPr bwMode="auto">
            <a:xfrm>
              <a:off x="3394" y="860"/>
              <a:ext cx="104" cy="101"/>
            </a:xfrm>
            <a:prstGeom prst="rect">
              <a:avLst/>
            </a:prstGeom>
            <a:solidFill>
              <a:schemeClr val="hlink"/>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7" name="LegendRectangle4" hidden="1"/>
            <p:cNvSpPr>
              <a:spLocks noChangeArrowheads="1"/>
            </p:cNvSpPr>
            <p:nvPr userDrawn="1"/>
          </p:nvSpPr>
          <p:spPr bwMode="auto">
            <a:xfrm>
              <a:off x="3394" y="1027"/>
              <a:ext cx="104" cy="101"/>
            </a:xfrm>
            <a:prstGeom prst="rect">
              <a:avLst/>
            </a:prstGeom>
            <a:solidFill>
              <a:schemeClr val="folHlink"/>
            </a:solidFill>
            <a:ln w="9525">
              <a:solidFill>
                <a:schemeClr val="tx1"/>
              </a:solidFill>
              <a:miter lim="800000"/>
              <a:headEnd/>
              <a:tailEnd/>
            </a:ln>
            <a:effectLst/>
          </p:spPr>
          <p:txBody>
            <a:bodyPr wrap="none"/>
            <a:lstStyle/>
            <a:p>
              <a:endParaRPr lang="en-US" sz="1600">
                <a:solidFill>
                  <a:srgbClr val="000000"/>
                </a:solidFill>
                <a:latin typeface="Arial" charset="0"/>
              </a:endParaRPr>
            </a:p>
          </p:txBody>
        </p:sp>
        <p:sp>
          <p:nvSpPr>
            <p:cNvPr id="1328" name="Legend1" hidden="1"/>
            <p:cNvSpPr>
              <a:spLocks noChangeArrowheads="1"/>
            </p:cNvSpPr>
            <p:nvPr userDrawn="1"/>
          </p:nvSpPr>
          <p:spPr bwMode="auto">
            <a:xfrm>
              <a:off x="3554" y="51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29" name="Legend2" hidden="1"/>
            <p:cNvSpPr>
              <a:spLocks noChangeArrowheads="1"/>
            </p:cNvSpPr>
            <p:nvPr userDrawn="1"/>
          </p:nvSpPr>
          <p:spPr bwMode="auto">
            <a:xfrm>
              <a:off x="3554" y="68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30" name="Legend3" hidden="1"/>
            <p:cNvSpPr>
              <a:spLocks noChangeArrowheads="1"/>
            </p:cNvSpPr>
            <p:nvPr userDrawn="1"/>
          </p:nvSpPr>
          <p:spPr bwMode="auto">
            <a:xfrm>
              <a:off x="3554" y="84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sp>
          <p:nvSpPr>
            <p:cNvPr id="1331" name="Legend4" hidden="1"/>
            <p:cNvSpPr>
              <a:spLocks noChangeArrowheads="1"/>
            </p:cNvSpPr>
            <p:nvPr userDrawn="1"/>
          </p:nvSpPr>
          <p:spPr bwMode="auto">
            <a:xfrm>
              <a:off x="3554" y="101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4</a:t>
              </a:r>
            </a:p>
          </p:txBody>
        </p:sp>
      </p:grpSp>
      <p:grpSp>
        <p:nvGrpSpPr>
          <p:cNvPr id="6" name="LegendLines" hidden="1"/>
          <p:cNvGrpSpPr>
            <a:grpSpLocks/>
          </p:cNvGrpSpPr>
          <p:nvPr>
            <p:custDataLst>
              <p:tags r:id="rId13"/>
            </p:custDataLst>
          </p:nvPr>
        </p:nvGrpSpPr>
        <p:grpSpPr bwMode="auto">
          <a:xfrm>
            <a:off x="7734740" y="1023685"/>
            <a:ext cx="1190582" cy="722407"/>
            <a:chOff x="2411" y="2750"/>
            <a:chExt cx="735" cy="446"/>
          </a:xfrm>
        </p:grpSpPr>
        <p:sp>
          <p:nvSpPr>
            <p:cNvPr id="1333" name="LineLegend1" hidden="1"/>
            <p:cNvSpPr>
              <a:spLocks noChangeShapeType="1"/>
            </p:cNvSpPr>
            <p:nvPr userDrawn="1"/>
          </p:nvSpPr>
          <p:spPr bwMode="auto">
            <a:xfrm>
              <a:off x="2411" y="2807"/>
              <a:ext cx="288" cy="0"/>
            </a:xfrm>
            <a:prstGeom prst="line">
              <a:avLst/>
            </a:prstGeom>
            <a:noFill/>
            <a:ln w="28575">
              <a:solidFill>
                <a:schemeClr val="folHlink"/>
              </a:solidFill>
              <a:round/>
              <a:headEnd/>
              <a:tailEnd/>
            </a:ln>
            <a:effectLst/>
          </p:spPr>
          <p:txBody>
            <a:bodyPr/>
            <a:lstStyle/>
            <a:p>
              <a:endParaRPr lang="en-US" sz="1600">
                <a:solidFill>
                  <a:srgbClr val="000000"/>
                </a:solidFill>
                <a:latin typeface="Arial" charset="0"/>
              </a:endParaRPr>
            </a:p>
          </p:txBody>
        </p:sp>
        <p:sp>
          <p:nvSpPr>
            <p:cNvPr id="1334" name="LineLegend2" hidden="1"/>
            <p:cNvSpPr>
              <a:spLocks noChangeShapeType="1"/>
            </p:cNvSpPr>
            <p:nvPr userDrawn="1"/>
          </p:nvSpPr>
          <p:spPr bwMode="auto">
            <a:xfrm>
              <a:off x="2411" y="2972"/>
              <a:ext cx="288" cy="0"/>
            </a:xfrm>
            <a:prstGeom prst="line">
              <a:avLst/>
            </a:prstGeom>
            <a:noFill/>
            <a:ln w="28575">
              <a:solidFill>
                <a:schemeClr val="folHlink"/>
              </a:solidFill>
              <a:prstDash val="dash"/>
              <a:round/>
              <a:headEnd/>
              <a:tailEnd/>
            </a:ln>
            <a:effectLst/>
          </p:spPr>
          <p:txBody>
            <a:bodyPr/>
            <a:lstStyle/>
            <a:p>
              <a:endParaRPr lang="en-US" sz="1600">
                <a:solidFill>
                  <a:srgbClr val="000000"/>
                </a:solidFill>
                <a:latin typeface="Arial" charset="0"/>
              </a:endParaRPr>
            </a:p>
          </p:txBody>
        </p:sp>
        <p:sp>
          <p:nvSpPr>
            <p:cNvPr id="1335" name="LineLegend3" hidden="1"/>
            <p:cNvSpPr>
              <a:spLocks noChangeShapeType="1"/>
            </p:cNvSpPr>
            <p:nvPr userDrawn="1"/>
          </p:nvSpPr>
          <p:spPr bwMode="auto">
            <a:xfrm>
              <a:off x="2411" y="3137"/>
              <a:ext cx="288" cy="0"/>
            </a:xfrm>
            <a:prstGeom prst="line">
              <a:avLst/>
            </a:prstGeom>
            <a:noFill/>
            <a:ln w="28575">
              <a:solidFill>
                <a:schemeClr val="folHlink"/>
              </a:solidFill>
              <a:prstDash val="sysDot"/>
              <a:round/>
              <a:headEnd/>
              <a:tailEnd/>
            </a:ln>
            <a:effectLst/>
          </p:spPr>
          <p:txBody>
            <a:bodyPr/>
            <a:lstStyle/>
            <a:p>
              <a:endParaRPr lang="en-US" sz="1600">
                <a:solidFill>
                  <a:srgbClr val="000000"/>
                </a:solidFill>
                <a:latin typeface="Arial" charset="0"/>
              </a:endParaRPr>
            </a:p>
          </p:txBody>
        </p:sp>
        <p:sp>
          <p:nvSpPr>
            <p:cNvPr id="1336" name="Legend1" hidden="1"/>
            <p:cNvSpPr>
              <a:spLocks noChangeArrowheads="1"/>
            </p:cNvSpPr>
            <p:nvPr userDrawn="1"/>
          </p:nvSpPr>
          <p:spPr bwMode="auto">
            <a:xfrm>
              <a:off x="2771" y="2750"/>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37" name="Legend2" hidden="1"/>
            <p:cNvSpPr>
              <a:spLocks noChangeArrowheads="1"/>
            </p:cNvSpPr>
            <p:nvPr userDrawn="1"/>
          </p:nvSpPr>
          <p:spPr bwMode="auto">
            <a:xfrm>
              <a:off x="2771" y="2915"/>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38" name="Legend3" hidden="1"/>
            <p:cNvSpPr>
              <a:spLocks noChangeArrowheads="1"/>
            </p:cNvSpPr>
            <p:nvPr userDrawn="1"/>
          </p:nvSpPr>
          <p:spPr bwMode="auto">
            <a:xfrm>
              <a:off x="2771" y="3080"/>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grpSp>
      <p:grpSp>
        <p:nvGrpSpPr>
          <p:cNvPr id="7" name="LegendMoons" hidden="1"/>
          <p:cNvGrpSpPr>
            <a:grpSpLocks/>
          </p:cNvGrpSpPr>
          <p:nvPr>
            <p:custDataLst>
              <p:tags r:id="rId14"/>
            </p:custDataLst>
          </p:nvPr>
        </p:nvGrpSpPr>
        <p:grpSpPr bwMode="auto">
          <a:xfrm>
            <a:off x="8042516" y="1023686"/>
            <a:ext cx="882813" cy="1260163"/>
            <a:chOff x="4965" y="484"/>
            <a:chExt cx="545" cy="778"/>
          </a:xfrm>
        </p:grpSpPr>
        <p:grpSp>
          <p:nvGrpSpPr>
            <p:cNvPr id="8" name="MoonLegend1" hidden="1"/>
            <p:cNvGrpSpPr>
              <a:grpSpLocks noChangeAspect="1"/>
            </p:cNvGrpSpPr>
            <p:nvPr userDrawn="1">
              <p:custDataLst>
                <p:tags r:id="rId16"/>
              </p:custDataLst>
            </p:nvPr>
          </p:nvGrpSpPr>
          <p:grpSpPr bwMode="auto">
            <a:xfrm>
              <a:off x="4965" y="486"/>
              <a:ext cx="112" cy="112"/>
              <a:chOff x="4533" y="183"/>
              <a:chExt cx="144" cy="144"/>
            </a:xfrm>
          </p:grpSpPr>
          <p:sp>
            <p:nvSpPr>
              <p:cNvPr id="1341" name="Oval 317" hidden="1"/>
              <p:cNvSpPr>
                <a:spLocks noChangeAspect="1" noChangeArrowheads="1"/>
              </p:cNvSpPr>
              <p:nvPr userDrawn="1">
                <p:custDataLst>
                  <p:tags r:id="rId29"/>
                </p:custDataLst>
              </p:nvPr>
            </p:nvSpPr>
            <p:spPr bwMode="blackWhite">
              <a:xfrm>
                <a:off x="4533" y="183"/>
                <a:ext cx="144" cy="144"/>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2" name="Arc 318" hidden="1"/>
              <p:cNvSpPr>
                <a:spLocks noChangeAspect="1"/>
              </p:cNvSpPr>
              <p:nvPr userDrawn="1">
                <p:custDataLst>
                  <p:tags r:id="rId30"/>
                </p:custDataLst>
              </p:nvPr>
            </p:nvSpPr>
            <p:spPr bwMode="black">
              <a:xfrm>
                <a:off x="4533" y="183"/>
                <a:ext cx="144" cy="144"/>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9" name="MoonLegend2" hidden="1"/>
            <p:cNvGrpSpPr>
              <a:grpSpLocks noChangeAspect="1"/>
            </p:cNvGrpSpPr>
            <p:nvPr userDrawn="1">
              <p:custDataLst>
                <p:tags r:id="rId17"/>
              </p:custDataLst>
            </p:nvPr>
          </p:nvGrpSpPr>
          <p:grpSpPr bwMode="auto">
            <a:xfrm>
              <a:off x="4965" y="650"/>
              <a:ext cx="112" cy="112"/>
              <a:chOff x="1694" y="2044"/>
              <a:chExt cx="160" cy="160"/>
            </a:xfrm>
          </p:grpSpPr>
          <p:sp>
            <p:nvSpPr>
              <p:cNvPr id="1344" name="Oval 320" hidden="1"/>
              <p:cNvSpPr>
                <a:spLocks noChangeAspect="1" noChangeArrowheads="1"/>
              </p:cNvSpPr>
              <p:nvPr userDrawn="1">
                <p:custDataLst>
                  <p:tags r:id="rId27"/>
                </p:custDataLst>
              </p:nvPr>
            </p:nvSpPr>
            <p:spPr bwMode="blackWhite">
              <a:xfrm>
                <a:off x="1694" y="2044"/>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5" name="Arc 321" hidden="1"/>
              <p:cNvSpPr>
                <a:spLocks noChangeAspect="1"/>
              </p:cNvSpPr>
              <p:nvPr userDrawn="1">
                <p:custDataLst>
                  <p:tags r:id="rId28"/>
                </p:custDataLst>
              </p:nvPr>
            </p:nvSpPr>
            <p:spPr bwMode="black">
              <a:xfrm>
                <a:off x="1774" y="2044"/>
                <a:ext cx="80" cy="80"/>
              </a:xfrm>
              <a:custGeom>
                <a:avLst/>
                <a:gdLst>
                  <a:gd name="G0" fmla="+- 0 0 0"/>
                  <a:gd name="G1" fmla="+- 21600 0 0"/>
                  <a:gd name="G2" fmla="+- 21600 0 0"/>
                  <a:gd name="T0" fmla="*/ 0 w 21600"/>
                  <a:gd name="T1" fmla="*/ 0 h 21600"/>
                  <a:gd name="T2" fmla="*/ 21600 w 21600"/>
                  <a:gd name="T3" fmla="*/ 21600 h 21600"/>
                  <a:gd name="T4" fmla="*/ 0 w 21600"/>
                  <a:gd name="T5" fmla="*/ 21600 h 21600"/>
                </a:gdLst>
                <a:ahLst/>
                <a:cxnLst>
                  <a:cxn ang="0">
                    <a:pos x="T0" y="T1"/>
                  </a:cxn>
                  <a:cxn ang="0">
                    <a:pos x="T2" y="T3"/>
                  </a:cxn>
                  <a:cxn ang="0">
                    <a:pos x="T4" y="T5"/>
                  </a:cxn>
                </a:cxnLst>
                <a:rect l="0" t="0" r="r" b="b"/>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0" name="MoonLegend3" hidden="1"/>
            <p:cNvGrpSpPr>
              <a:grpSpLocks noChangeAspect="1"/>
            </p:cNvGrpSpPr>
            <p:nvPr userDrawn="1">
              <p:custDataLst>
                <p:tags r:id="rId18"/>
              </p:custDataLst>
            </p:nvPr>
          </p:nvGrpSpPr>
          <p:grpSpPr bwMode="auto">
            <a:xfrm>
              <a:off x="4965" y="815"/>
              <a:ext cx="112" cy="112"/>
              <a:chOff x="4495" y="897"/>
              <a:chExt cx="160" cy="160"/>
            </a:xfrm>
          </p:grpSpPr>
          <p:sp>
            <p:nvSpPr>
              <p:cNvPr id="1347" name="Oval 323" hidden="1"/>
              <p:cNvSpPr>
                <a:spLocks noChangeAspect="1" noChangeArrowheads="1"/>
              </p:cNvSpPr>
              <p:nvPr userDrawn="1">
                <p:custDataLst>
                  <p:tags r:id="rId25"/>
                </p:custDataLst>
              </p:nvPr>
            </p:nvSpPr>
            <p:spPr bwMode="blackWhite">
              <a:xfrm>
                <a:off x="4495" y="897"/>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48" name="Arc 324" hidden="1"/>
              <p:cNvSpPr>
                <a:spLocks noChangeAspect="1"/>
              </p:cNvSpPr>
              <p:nvPr userDrawn="1">
                <p:custDataLst>
                  <p:tags r:id="rId26"/>
                </p:custDataLst>
              </p:nvPr>
            </p:nvSpPr>
            <p:spPr bwMode="black">
              <a:xfrm>
                <a:off x="4575" y="897"/>
                <a:ext cx="80" cy="160"/>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1" name="MoonLegend4" hidden="1"/>
            <p:cNvGrpSpPr>
              <a:grpSpLocks noChangeAspect="1"/>
            </p:cNvGrpSpPr>
            <p:nvPr userDrawn="1">
              <p:custDataLst>
                <p:tags r:id="rId19"/>
              </p:custDataLst>
            </p:nvPr>
          </p:nvGrpSpPr>
          <p:grpSpPr bwMode="auto">
            <a:xfrm>
              <a:off x="4965" y="982"/>
              <a:ext cx="112" cy="112"/>
              <a:chOff x="4495" y="1198"/>
              <a:chExt cx="160" cy="160"/>
            </a:xfrm>
          </p:grpSpPr>
          <p:sp>
            <p:nvSpPr>
              <p:cNvPr id="1350" name="Oval 326" hidden="1"/>
              <p:cNvSpPr>
                <a:spLocks noChangeAspect="1" noChangeArrowheads="1"/>
              </p:cNvSpPr>
              <p:nvPr userDrawn="1">
                <p:custDataLst>
                  <p:tags r:id="rId23"/>
                </p:custDataLst>
              </p:nvPr>
            </p:nvSpPr>
            <p:spPr bwMode="blackWhite">
              <a:xfrm>
                <a:off x="4495" y="1198"/>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51" name="Arc 327" hidden="1"/>
              <p:cNvSpPr>
                <a:spLocks noChangeAspect="1"/>
              </p:cNvSpPr>
              <p:nvPr userDrawn="1">
                <p:custDataLst>
                  <p:tags r:id="rId24"/>
                </p:custDataLst>
              </p:nvPr>
            </p:nvSpPr>
            <p:spPr bwMode="black">
              <a:xfrm>
                <a:off x="4495" y="1198"/>
                <a:ext cx="160" cy="160"/>
              </a:xfrm>
              <a:custGeom>
                <a:avLst/>
                <a:gdLst>
                  <a:gd name="G0" fmla="+- 21600 0 0"/>
                  <a:gd name="G1" fmla="+- 21600 0 0"/>
                  <a:gd name="G2" fmla="+- 21600 0 0"/>
                  <a:gd name="T0" fmla="*/ 21600 w 43200"/>
                  <a:gd name="T1" fmla="*/ 0 h 43200"/>
                  <a:gd name="T2" fmla="*/ 0 w 43200"/>
                  <a:gd name="T3" fmla="*/ 2160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cubicBezTo>
                      <a:pt x="33529" y="0"/>
                      <a:pt x="43200" y="9670"/>
                      <a:pt x="43200" y="21600"/>
                    </a:cubicBezTo>
                    <a:cubicBezTo>
                      <a:pt x="43200" y="33529"/>
                      <a:pt x="33529" y="43200"/>
                      <a:pt x="21600" y="43200"/>
                    </a:cubicBezTo>
                    <a:cubicBezTo>
                      <a:pt x="9670" y="43200"/>
                      <a:pt x="0" y="33529"/>
                      <a:pt x="0" y="21600"/>
                    </a:cubicBezTo>
                  </a:path>
                  <a:path w="43200" h="43200" stroke="0" extrusionOk="0">
                    <a:moveTo>
                      <a:pt x="21599" y="0"/>
                    </a:moveTo>
                    <a:cubicBezTo>
                      <a:pt x="33529" y="0"/>
                      <a:pt x="43200" y="9670"/>
                      <a:pt x="43200" y="21600"/>
                    </a:cubicBezTo>
                    <a:cubicBezTo>
                      <a:pt x="43200" y="33529"/>
                      <a:pt x="33529" y="43200"/>
                      <a:pt x="21600" y="43200"/>
                    </a:cubicBezTo>
                    <a:cubicBezTo>
                      <a:pt x="9670" y="43200"/>
                      <a:pt x="0" y="33529"/>
                      <a:pt x="0" y="21600"/>
                    </a:cubicBezTo>
                    <a:lnTo>
                      <a:pt x="21600" y="21600"/>
                    </a:lnTo>
                    <a:close/>
                  </a:path>
                </a:pathLst>
              </a:cu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grpSp>
          <p:nvGrpSpPr>
            <p:cNvPr id="12" name="MoonLegend5" hidden="1"/>
            <p:cNvGrpSpPr>
              <a:grpSpLocks noChangeAspect="1"/>
            </p:cNvGrpSpPr>
            <p:nvPr userDrawn="1">
              <p:custDataLst>
                <p:tags r:id="rId20"/>
              </p:custDataLst>
            </p:nvPr>
          </p:nvGrpSpPr>
          <p:grpSpPr bwMode="auto">
            <a:xfrm>
              <a:off x="4965" y="1147"/>
              <a:ext cx="112" cy="112"/>
              <a:chOff x="4495" y="1440"/>
              <a:chExt cx="160" cy="160"/>
            </a:xfrm>
          </p:grpSpPr>
          <p:sp>
            <p:nvSpPr>
              <p:cNvPr id="1353" name="Oval 329" hidden="1"/>
              <p:cNvSpPr>
                <a:spLocks noChangeAspect="1" noChangeArrowheads="1"/>
              </p:cNvSpPr>
              <p:nvPr userDrawn="1">
                <p:custDataLst>
                  <p:tags r:id="rId21"/>
                </p:custDataLst>
              </p:nvPr>
            </p:nvSpPr>
            <p:spPr bwMode="blackWhite">
              <a:xfrm>
                <a:off x="4495" y="1440"/>
                <a:ext cx="160" cy="160"/>
              </a:xfrm>
              <a:prstGeom prst="ellipse">
                <a:avLst/>
              </a:prstGeom>
              <a:solidFill>
                <a:schemeClr val="accent1"/>
              </a:solidFill>
              <a:ln w="9525">
                <a:solidFill>
                  <a:schemeClr val="tx1"/>
                </a:solidFill>
                <a:round/>
                <a:headEnd/>
                <a:tailEnd/>
              </a:ln>
              <a:effectLst/>
            </p:spPr>
            <p:txBody>
              <a:bodyPr wrap="none"/>
              <a:lstStyle/>
              <a:p>
                <a:endParaRPr lang="en-US" sz="1600">
                  <a:solidFill>
                    <a:srgbClr val="000000"/>
                  </a:solidFill>
                  <a:latin typeface="Arial" charset="0"/>
                </a:endParaRPr>
              </a:p>
            </p:txBody>
          </p:sp>
          <p:sp>
            <p:nvSpPr>
              <p:cNvPr id="1354" name="Oval 330" hidden="1"/>
              <p:cNvSpPr>
                <a:spLocks noChangeAspect="1" noChangeArrowheads="1"/>
              </p:cNvSpPr>
              <p:nvPr userDrawn="1">
                <p:custDataLst>
                  <p:tags r:id="rId22"/>
                </p:custDataLst>
              </p:nvPr>
            </p:nvSpPr>
            <p:spPr bwMode="black">
              <a:xfrm>
                <a:off x="4495" y="1440"/>
                <a:ext cx="160" cy="160"/>
              </a:xfrm>
              <a:prstGeom prst="ellipse">
                <a:avLst/>
              </a:prstGeom>
              <a:solidFill>
                <a:schemeClr val="folHlink"/>
              </a:solidFill>
              <a:ln w="9525">
                <a:solidFill>
                  <a:schemeClr val="tx1"/>
                </a:solidFill>
                <a:round/>
                <a:headEnd/>
                <a:tailEnd/>
              </a:ln>
              <a:effectLst/>
            </p:spPr>
            <p:txBody>
              <a:bodyPr wrap="none"/>
              <a:lstStyle/>
              <a:p>
                <a:endParaRPr lang="en-US" sz="1600">
                  <a:solidFill>
                    <a:srgbClr val="000000"/>
                  </a:solidFill>
                  <a:latin typeface="Arial" charset="0"/>
                </a:endParaRPr>
              </a:p>
            </p:txBody>
          </p:sp>
        </p:grpSp>
        <p:sp>
          <p:nvSpPr>
            <p:cNvPr id="1355" name="Legend1" hidden="1"/>
            <p:cNvSpPr>
              <a:spLocks noChangeArrowheads="1"/>
            </p:cNvSpPr>
            <p:nvPr userDrawn="1"/>
          </p:nvSpPr>
          <p:spPr bwMode="auto">
            <a:xfrm>
              <a:off x="5135" y="48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1</a:t>
              </a:r>
            </a:p>
          </p:txBody>
        </p:sp>
        <p:sp>
          <p:nvSpPr>
            <p:cNvPr id="1356" name="Legend2" hidden="1"/>
            <p:cNvSpPr>
              <a:spLocks noChangeArrowheads="1"/>
            </p:cNvSpPr>
            <p:nvPr userDrawn="1"/>
          </p:nvSpPr>
          <p:spPr bwMode="auto">
            <a:xfrm>
              <a:off x="5135" y="649"/>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2</a:t>
              </a:r>
            </a:p>
          </p:txBody>
        </p:sp>
        <p:sp>
          <p:nvSpPr>
            <p:cNvPr id="1357" name="Legend3" hidden="1"/>
            <p:cNvSpPr>
              <a:spLocks noChangeArrowheads="1"/>
            </p:cNvSpPr>
            <p:nvPr userDrawn="1"/>
          </p:nvSpPr>
          <p:spPr bwMode="auto">
            <a:xfrm>
              <a:off x="5135" y="814"/>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3</a:t>
              </a:r>
            </a:p>
          </p:txBody>
        </p:sp>
        <p:sp>
          <p:nvSpPr>
            <p:cNvPr id="1358" name="Legend4" hidden="1"/>
            <p:cNvSpPr>
              <a:spLocks noChangeArrowheads="1"/>
            </p:cNvSpPr>
            <p:nvPr userDrawn="1"/>
          </p:nvSpPr>
          <p:spPr bwMode="auto">
            <a:xfrm>
              <a:off x="5135" y="981"/>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4</a:t>
              </a:r>
            </a:p>
          </p:txBody>
        </p:sp>
        <p:sp>
          <p:nvSpPr>
            <p:cNvPr id="1359" name="Legend5" hidden="1"/>
            <p:cNvSpPr>
              <a:spLocks noChangeArrowheads="1"/>
            </p:cNvSpPr>
            <p:nvPr userDrawn="1"/>
          </p:nvSpPr>
          <p:spPr bwMode="auto">
            <a:xfrm>
              <a:off x="5135" y="1146"/>
              <a:ext cx="375" cy="116"/>
            </a:xfrm>
            <a:prstGeom prst="rect">
              <a:avLst/>
            </a:prstGeom>
            <a:noFill/>
            <a:ln w="9525">
              <a:noFill/>
              <a:miter lim="800000"/>
              <a:headEnd/>
              <a:tailEnd/>
            </a:ln>
            <a:effectLst/>
          </p:spPr>
          <p:txBody>
            <a:bodyPr wrap="none" lIns="0" tIns="0" rIns="0" bIns="0">
              <a:spAutoFit/>
            </a:bodyPr>
            <a:lstStyle/>
            <a:p>
              <a:r>
                <a:rPr lang="en-US" sz="1200" dirty="0">
                  <a:solidFill>
                    <a:srgbClr val="000000"/>
                  </a:solidFill>
                  <a:latin typeface="Arial" charset="0"/>
                </a:rPr>
                <a:t>Legend5</a:t>
              </a:r>
            </a:p>
          </p:txBody>
        </p:sp>
      </p:grpSp>
      <p:sp>
        <p:nvSpPr>
          <p:cNvPr id="1379" name="Line 355"/>
          <p:cNvSpPr>
            <a:spLocks noChangeShapeType="1"/>
          </p:cNvSpPr>
          <p:nvPr>
            <p:custDataLst>
              <p:tags r:id="rId15"/>
            </p:custDataLst>
          </p:nvPr>
        </p:nvSpPr>
        <p:spPr bwMode="auto">
          <a:xfrm>
            <a:off x="124737" y="877902"/>
            <a:ext cx="8794113" cy="0"/>
          </a:xfrm>
          <a:prstGeom prst="line">
            <a:avLst/>
          </a:prstGeom>
          <a:noFill/>
          <a:ln w="28575">
            <a:solidFill>
              <a:schemeClr val="tx2"/>
            </a:solidFill>
            <a:round/>
            <a:headEnd/>
            <a:tailEnd/>
          </a:ln>
          <a:effectLst/>
        </p:spPr>
        <p:txBody>
          <a:bodyPr lIns="93222" tIns="46612" rIns="93222" bIns="46612"/>
          <a:lstStyle/>
          <a:p>
            <a:endParaRPr lang="en-US" sz="1600" dirty="0">
              <a:solidFill>
                <a:srgbClr val="000000"/>
              </a:solidFill>
              <a:latin typeface="Arial" charset="0"/>
            </a:endParaRPr>
          </a:p>
        </p:txBody>
      </p:sp>
      <p:pic>
        <p:nvPicPr>
          <p:cNvPr id="1513" name="Picture 489" descr="ANDI Logo"/>
          <p:cNvPicPr>
            <a:picLocks noChangeAspect="1" noChangeArrowheads="1"/>
          </p:cNvPicPr>
          <p:nvPr userDrawn="1"/>
        </p:nvPicPr>
        <p:blipFill>
          <a:blip r:embed="rId32" cstate="print">
            <a:clrChange>
              <a:clrFrom>
                <a:srgbClr val="FFFFFF"/>
              </a:clrFrom>
              <a:clrTo>
                <a:srgbClr val="FFFFFF">
                  <a:alpha val="0"/>
                </a:srgbClr>
              </a:clrTo>
            </a:clrChange>
          </a:blip>
          <a:srcRect/>
          <a:stretch>
            <a:fillRect/>
          </a:stretch>
        </p:blipFill>
        <p:spPr bwMode="auto">
          <a:xfrm>
            <a:off x="7511209" y="6521095"/>
            <a:ext cx="1163045" cy="336907"/>
          </a:xfrm>
          <a:prstGeom prst="rect">
            <a:avLst/>
          </a:prstGeom>
          <a:noFill/>
        </p:spPr>
      </p:pic>
    </p:spTree>
    <p:extLst>
      <p:ext uri="{BB962C8B-B14F-4D97-AF65-F5344CB8AC3E}">
        <p14:creationId xmlns:p14="http://schemas.microsoft.com/office/powerpoint/2010/main" val="1830606035"/>
      </p:ext>
    </p:extLst>
  </p:cSld>
  <p:clrMap bg1="lt1" tx1="dk1" bg2="lt2" tx2="dk2" accent1="accent1" accent2="accent2" accent3="accent3" accent4="accent4" accent5="accent5" accent6="accent6" hlink="hlink" folHlink="folHlink"/>
  <p:sldLayoutIdLst>
    <p:sldLayoutId id="2147483933" r:id="rId1"/>
  </p:sldLayoutIdLst>
  <p:hf hdr="0" ftr="0" dt="0"/>
  <p:txStyles>
    <p:titleStyle>
      <a:lvl1pPr algn="l" defTabSz="912802" rtl="0" fontAlgn="base">
        <a:spcBef>
          <a:spcPct val="0"/>
        </a:spcBef>
        <a:spcAft>
          <a:spcPct val="0"/>
        </a:spcAft>
        <a:defRPr sz="1900" b="1">
          <a:solidFill>
            <a:schemeClr val="tx2"/>
          </a:solidFill>
          <a:latin typeface="+mj-lt"/>
          <a:ea typeface="+mj-ea"/>
          <a:cs typeface="+mj-cs"/>
        </a:defRPr>
      </a:lvl1pPr>
      <a:lvl2pPr algn="l" defTabSz="912802" rtl="0" fontAlgn="base">
        <a:spcBef>
          <a:spcPct val="0"/>
        </a:spcBef>
        <a:spcAft>
          <a:spcPct val="0"/>
        </a:spcAft>
        <a:defRPr sz="1900" b="1">
          <a:solidFill>
            <a:schemeClr val="tx2"/>
          </a:solidFill>
          <a:latin typeface="Arial" charset="0"/>
        </a:defRPr>
      </a:lvl2pPr>
      <a:lvl3pPr algn="l" defTabSz="912802" rtl="0" fontAlgn="base">
        <a:spcBef>
          <a:spcPct val="0"/>
        </a:spcBef>
        <a:spcAft>
          <a:spcPct val="0"/>
        </a:spcAft>
        <a:defRPr sz="1900" b="1">
          <a:solidFill>
            <a:schemeClr val="tx2"/>
          </a:solidFill>
          <a:latin typeface="Arial" charset="0"/>
        </a:defRPr>
      </a:lvl3pPr>
      <a:lvl4pPr algn="l" defTabSz="912802" rtl="0" fontAlgn="base">
        <a:spcBef>
          <a:spcPct val="0"/>
        </a:spcBef>
        <a:spcAft>
          <a:spcPct val="0"/>
        </a:spcAft>
        <a:defRPr sz="1900" b="1">
          <a:solidFill>
            <a:schemeClr val="tx2"/>
          </a:solidFill>
          <a:latin typeface="Arial" charset="0"/>
        </a:defRPr>
      </a:lvl4pPr>
      <a:lvl5pPr algn="l" defTabSz="912802" rtl="0" fontAlgn="base">
        <a:spcBef>
          <a:spcPct val="0"/>
        </a:spcBef>
        <a:spcAft>
          <a:spcPct val="0"/>
        </a:spcAft>
        <a:defRPr sz="1900" b="1">
          <a:solidFill>
            <a:schemeClr val="tx2"/>
          </a:solidFill>
          <a:latin typeface="Arial" charset="0"/>
        </a:defRPr>
      </a:lvl5pPr>
      <a:lvl6pPr marL="466109" algn="l" defTabSz="912802" rtl="0" fontAlgn="base">
        <a:spcBef>
          <a:spcPct val="0"/>
        </a:spcBef>
        <a:spcAft>
          <a:spcPct val="0"/>
        </a:spcAft>
        <a:defRPr sz="1900" b="1">
          <a:solidFill>
            <a:schemeClr val="tx2"/>
          </a:solidFill>
          <a:latin typeface="Arial" charset="0"/>
        </a:defRPr>
      </a:lvl6pPr>
      <a:lvl7pPr marL="932224" algn="l" defTabSz="912802" rtl="0" fontAlgn="base">
        <a:spcBef>
          <a:spcPct val="0"/>
        </a:spcBef>
        <a:spcAft>
          <a:spcPct val="0"/>
        </a:spcAft>
        <a:defRPr sz="1900" b="1">
          <a:solidFill>
            <a:schemeClr val="tx2"/>
          </a:solidFill>
          <a:latin typeface="Arial" charset="0"/>
        </a:defRPr>
      </a:lvl7pPr>
      <a:lvl8pPr marL="1398338" algn="l" defTabSz="912802" rtl="0" fontAlgn="base">
        <a:spcBef>
          <a:spcPct val="0"/>
        </a:spcBef>
        <a:spcAft>
          <a:spcPct val="0"/>
        </a:spcAft>
        <a:defRPr sz="1900" b="1">
          <a:solidFill>
            <a:schemeClr val="tx2"/>
          </a:solidFill>
          <a:latin typeface="Arial" charset="0"/>
        </a:defRPr>
      </a:lvl8pPr>
      <a:lvl9pPr marL="1864449" algn="l" defTabSz="912802" rtl="0" fontAlgn="base">
        <a:spcBef>
          <a:spcPct val="0"/>
        </a:spcBef>
        <a:spcAft>
          <a:spcPct val="0"/>
        </a:spcAft>
        <a:defRPr sz="1900" b="1">
          <a:solidFill>
            <a:schemeClr val="tx2"/>
          </a:solidFill>
          <a:latin typeface="Arial" charset="0"/>
        </a:defRPr>
      </a:lvl9pPr>
    </p:titleStyle>
    <p:bodyStyle>
      <a:lvl1pPr algn="l" defTabSz="912802" rtl="0" fontAlgn="base">
        <a:spcBef>
          <a:spcPct val="0"/>
        </a:spcBef>
        <a:spcAft>
          <a:spcPct val="0"/>
        </a:spcAft>
        <a:buClr>
          <a:schemeClr val="tx2"/>
        </a:buClr>
        <a:defRPr sz="1600">
          <a:solidFill>
            <a:schemeClr val="tx1"/>
          </a:solidFill>
          <a:latin typeface="+mn-lt"/>
          <a:ea typeface="+mn-ea"/>
          <a:cs typeface="+mn-cs"/>
        </a:defRPr>
      </a:lvl1pPr>
      <a:lvl2pPr marL="197451" indent="-195833" algn="l" defTabSz="912802" rtl="0" fontAlgn="base">
        <a:spcBef>
          <a:spcPct val="0"/>
        </a:spcBef>
        <a:spcAft>
          <a:spcPct val="0"/>
        </a:spcAft>
        <a:buClr>
          <a:schemeClr val="tx1"/>
        </a:buClr>
        <a:buFont typeface="Arial" charset="0"/>
        <a:buChar char="▪"/>
        <a:defRPr sz="1600">
          <a:solidFill>
            <a:schemeClr val="tx1"/>
          </a:solidFill>
          <a:latin typeface="+mn-lt"/>
        </a:defRPr>
      </a:lvl2pPr>
      <a:lvl3pPr marL="466109" indent="-267046" algn="l" defTabSz="912802" rtl="0" fontAlgn="base">
        <a:spcBef>
          <a:spcPct val="0"/>
        </a:spcBef>
        <a:spcAft>
          <a:spcPct val="0"/>
        </a:spcAft>
        <a:buClr>
          <a:schemeClr val="tx1"/>
        </a:buClr>
        <a:buFont typeface="Arial" charset="0"/>
        <a:buChar char="–"/>
        <a:defRPr sz="1600">
          <a:solidFill>
            <a:schemeClr val="tx1"/>
          </a:solidFill>
          <a:latin typeface="+mn-lt"/>
        </a:defRPr>
      </a:lvl3pPr>
      <a:lvl4pPr marL="626340" indent="-158608" algn="l" defTabSz="912802" rtl="0" fontAlgn="base">
        <a:spcBef>
          <a:spcPct val="0"/>
        </a:spcBef>
        <a:spcAft>
          <a:spcPct val="0"/>
        </a:spcAft>
        <a:buClr>
          <a:schemeClr val="tx1"/>
        </a:buClr>
        <a:buFont typeface="Arial" charset="0"/>
        <a:buChar char="▫"/>
        <a:defRPr sz="1600">
          <a:solidFill>
            <a:schemeClr val="tx1"/>
          </a:solidFill>
          <a:latin typeface="+mn-lt"/>
        </a:defRPr>
      </a:lvl4pPr>
      <a:lvl5pPr marL="760670" indent="-132712" algn="l" defTabSz="912802" rtl="0" fontAlgn="base">
        <a:spcBef>
          <a:spcPct val="0"/>
        </a:spcBef>
        <a:spcAft>
          <a:spcPct val="0"/>
        </a:spcAft>
        <a:buClr>
          <a:schemeClr val="tx1"/>
        </a:buClr>
        <a:buFont typeface="Arial" charset="0"/>
        <a:buChar char="-"/>
        <a:defRPr sz="1600">
          <a:solidFill>
            <a:schemeClr val="tx1"/>
          </a:solidFill>
          <a:latin typeface="+mn-lt"/>
        </a:defRPr>
      </a:lvl5pPr>
      <a:lvl6pPr marL="1226783" indent="-132712" algn="l" defTabSz="912802" rtl="0" fontAlgn="base">
        <a:spcBef>
          <a:spcPct val="0"/>
        </a:spcBef>
        <a:spcAft>
          <a:spcPct val="0"/>
        </a:spcAft>
        <a:buClr>
          <a:schemeClr val="tx1"/>
        </a:buClr>
        <a:buFont typeface="Arial" charset="0"/>
        <a:buChar char="-"/>
        <a:defRPr sz="1600">
          <a:solidFill>
            <a:schemeClr val="tx1"/>
          </a:solidFill>
          <a:latin typeface="+mn-lt"/>
        </a:defRPr>
      </a:lvl6pPr>
      <a:lvl7pPr marL="1692894" indent="-132712" algn="l" defTabSz="912802" rtl="0" fontAlgn="base">
        <a:spcBef>
          <a:spcPct val="0"/>
        </a:spcBef>
        <a:spcAft>
          <a:spcPct val="0"/>
        </a:spcAft>
        <a:buClr>
          <a:schemeClr val="tx1"/>
        </a:buClr>
        <a:buFont typeface="Arial" charset="0"/>
        <a:buChar char="-"/>
        <a:defRPr sz="1600">
          <a:solidFill>
            <a:schemeClr val="tx1"/>
          </a:solidFill>
          <a:latin typeface="+mn-lt"/>
        </a:defRPr>
      </a:lvl7pPr>
      <a:lvl8pPr marL="2159007" indent="-132712" algn="l" defTabSz="912802" rtl="0" fontAlgn="base">
        <a:spcBef>
          <a:spcPct val="0"/>
        </a:spcBef>
        <a:spcAft>
          <a:spcPct val="0"/>
        </a:spcAft>
        <a:buClr>
          <a:schemeClr val="tx1"/>
        </a:buClr>
        <a:buFont typeface="Arial" charset="0"/>
        <a:buChar char="-"/>
        <a:defRPr sz="1600">
          <a:solidFill>
            <a:schemeClr val="tx1"/>
          </a:solidFill>
          <a:latin typeface="+mn-lt"/>
        </a:defRPr>
      </a:lvl8pPr>
      <a:lvl9pPr marL="2625118" indent="-132712" algn="l" defTabSz="912802" rtl="0" fontAlgn="base">
        <a:spcBef>
          <a:spcPct val="0"/>
        </a:spcBef>
        <a:spcAft>
          <a:spcPct val="0"/>
        </a:spcAft>
        <a:buClr>
          <a:schemeClr val="tx1"/>
        </a:buClr>
        <a:buFont typeface="Arial" charset="0"/>
        <a:buChar char="-"/>
        <a:defRPr sz="1600">
          <a:solidFill>
            <a:schemeClr val="tx1"/>
          </a:solidFill>
          <a:latin typeface="+mn-lt"/>
        </a:defRPr>
      </a:lvl9pPr>
    </p:bodyStyle>
    <p:otherStyle>
      <a:defPPr>
        <a:defRPr lang="en-US"/>
      </a:defPPr>
      <a:lvl1pPr marL="0" algn="l" defTabSz="932224" rtl="0" eaLnBrk="1" latinLnBrk="0" hangingPunct="1">
        <a:defRPr sz="1800" kern="1200">
          <a:solidFill>
            <a:schemeClr val="tx1"/>
          </a:solidFill>
          <a:latin typeface="+mn-lt"/>
          <a:ea typeface="+mn-ea"/>
          <a:cs typeface="+mn-cs"/>
        </a:defRPr>
      </a:lvl1pPr>
      <a:lvl2pPr marL="466109" algn="l" defTabSz="932224" rtl="0" eaLnBrk="1" latinLnBrk="0" hangingPunct="1">
        <a:defRPr sz="1800" kern="1200">
          <a:solidFill>
            <a:schemeClr val="tx1"/>
          </a:solidFill>
          <a:latin typeface="+mn-lt"/>
          <a:ea typeface="+mn-ea"/>
          <a:cs typeface="+mn-cs"/>
        </a:defRPr>
      </a:lvl2pPr>
      <a:lvl3pPr marL="932224" algn="l" defTabSz="932224" rtl="0" eaLnBrk="1" latinLnBrk="0" hangingPunct="1">
        <a:defRPr sz="1800" kern="1200">
          <a:solidFill>
            <a:schemeClr val="tx1"/>
          </a:solidFill>
          <a:latin typeface="+mn-lt"/>
          <a:ea typeface="+mn-ea"/>
          <a:cs typeface="+mn-cs"/>
        </a:defRPr>
      </a:lvl3pPr>
      <a:lvl4pPr marL="1398338" algn="l" defTabSz="932224" rtl="0" eaLnBrk="1" latinLnBrk="0" hangingPunct="1">
        <a:defRPr sz="1800" kern="1200">
          <a:solidFill>
            <a:schemeClr val="tx1"/>
          </a:solidFill>
          <a:latin typeface="+mn-lt"/>
          <a:ea typeface="+mn-ea"/>
          <a:cs typeface="+mn-cs"/>
        </a:defRPr>
      </a:lvl4pPr>
      <a:lvl5pPr marL="1864449" algn="l" defTabSz="932224" rtl="0" eaLnBrk="1" latinLnBrk="0" hangingPunct="1">
        <a:defRPr sz="1800" kern="1200">
          <a:solidFill>
            <a:schemeClr val="tx1"/>
          </a:solidFill>
          <a:latin typeface="+mn-lt"/>
          <a:ea typeface="+mn-ea"/>
          <a:cs typeface="+mn-cs"/>
        </a:defRPr>
      </a:lvl5pPr>
      <a:lvl6pPr marL="2330563" algn="l" defTabSz="932224" rtl="0" eaLnBrk="1" latinLnBrk="0" hangingPunct="1">
        <a:defRPr sz="1800" kern="1200">
          <a:solidFill>
            <a:schemeClr val="tx1"/>
          </a:solidFill>
          <a:latin typeface="+mn-lt"/>
          <a:ea typeface="+mn-ea"/>
          <a:cs typeface="+mn-cs"/>
        </a:defRPr>
      </a:lvl6pPr>
      <a:lvl7pPr marL="2796673" algn="l" defTabSz="932224" rtl="0" eaLnBrk="1" latinLnBrk="0" hangingPunct="1">
        <a:defRPr sz="1800" kern="1200">
          <a:solidFill>
            <a:schemeClr val="tx1"/>
          </a:solidFill>
          <a:latin typeface="+mn-lt"/>
          <a:ea typeface="+mn-ea"/>
          <a:cs typeface="+mn-cs"/>
        </a:defRPr>
      </a:lvl7pPr>
      <a:lvl8pPr marL="3262786" algn="l" defTabSz="932224" rtl="0" eaLnBrk="1" latinLnBrk="0" hangingPunct="1">
        <a:defRPr sz="1800" kern="1200">
          <a:solidFill>
            <a:schemeClr val="tx1"/>
          </a:solidFill>
          <a:latin typeface="+mn-lt"/>
          <a:ea typeface="+mn-ea"/>
          <a:cs typeface="+mn-cs"/>
        </a:defRPr>
      </a:lvl8pPr>
      <a:lvl9pPr marL="3728900" algn="l" defTabSz="932224"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FFEBFA"/>
            </a:gs>
            <a:gs pos="100000">
              <a:srgbClr val="6699FF"/>
            </a:gs>
          </a:gsLst>
          <a:lin ang="0" scaled="1"/>
        </a:gra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79375" y="60325"/>
            <a:ext cx="8985250" cy="38100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smtClean="0"/>
              <a:t>edit Master title style</a:t>
            </a:r>
          </a:p>
        </p:txBody>
      </p:sp>
      <p:sp>
        <p:nvSpPr>
          <p:cNvPr id="3075" name="Rectangle 3"/>
          <p:cNvSpPr>
            <a:spLocks noGrp="1" noChangeArrowheads="1"/>
          </p:cNvSpPr>
          <p:nvPr>
            <p:ph type="body" idx="1"/>
          </p:nvPr>
        </p:nvSpPr>
        <p:spPr bwMode="auto">
          <a:xfrm>
            <a:off x="30163" y="550863"/>
            <a:ext cx="9067800" cy="5740400"/>
          </a:xfrm>
          <a:prstGeom prst="rect">
            <a:avLst/>
          </a:prstGeom>
          <a:solidFill>
            <a:schemeClr val="bg1"/>
          </a:solidFill>
          <a:ln w="6350">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038" name="Rectangle 14"/>
          <p:cNvSpPr>
            <a:spLocks noChangeArrowheads="1"/>
          </p:cNvSpPr>
          <p:nvPr userDrawn="1"/>
        </p:nvSpPr>
        <p:spPr bwMode="auto">
          <a:xfrm>
            <a:off x="1323975" y="6532605"/>
            <a:ext cx="6464300" cy="182562"/>
          </a:xfrm>
          <a:prstGeom prst="rect">
            <a:avLst/>
          </a:prstGeom>
          <a:noFill/>
          <a:ln w="9525">
            <a:noFill/>
            <a:miter lim="800000"/>
            <a:headEnd/>
            <a:tailEnd/>
          </a:ln>
          <a:effectLst/>
        </p:spPr>
        <p:txBody>
          <a:bodyPr lIns="0" tIns="0" rIns="0" bIns="0" anchor="ctr" anchorCtr="1">
            <a:spAutoFit/>
          </a:bodyPr>
          <a:lstStyle/>
          <a:p>
            <a:pPr algn="ctr" fontAlgn="auto">
              <a:spcBef>
                <a:spcPts val="0"/>
              </a:spcBef>
              <a:spcAft>
                <a:spcPts val="0"/>
              </a:spcAft>
              <a:defRPr/>
            </a:pPr>
            <a:r>
              <a:rPr lang="en-US" sz="1200" b="1" dirty="0">
                <a:solidFill>
                  <a:srgbClr val="724C00"/>
                </a:solidFill>
                <a:latin typeface="Times New Roman" pitchFamily="18" charset="0"/>
                <a:cs typeface="Times New Roman" pitchFamily="18" charset="0"/>
              </a:rPr>
              <a:t>Egypt Nanotechnology Center </a:t>
            </a:r>
          </a:p>
        </p:txBody>
      </p:sp>
      <p:sp>
        <p:nvSpPr>
          <p:cNvPr id="1041" name="Line 17"/>
          <p:cNvSpPr>
            <a:spLocks noChangeShapeType="1"/>
          </p:cNvSpPr>
          <p:nvPr userDrawn="1"/>
        </p:nvSpPr>
        <p:spPr bwMode="auto">
          <a:xfrm>
            <a:off x="0" y="473075"/>
            <a:ext cx="9144000" cy="0"/>
          </a:xfrm>
          <a:prstGeom prst="line">
            <a:avLst/>
          </a:prstGeom>
          <a:noFill/>
          <a:ln w="9525">
            <a:solidFill>
              <a:srgbClr val="E05B00"/>
            </a:solidFill>
            <a:round/>
            <a:headEnd/>
            <a:tailEnd/>
          </a:ln>
          <a:effectLst/>
        </p:spPr>
        <p:txBody>
          <a:bodyPr/>
          <a:lstStyle/>
          <a:p>
            <a:pPr fontAlgn="auto">
              <a:spcBef>
                <a:spcPts val="0"/>
              </a:spcBef>
              <a:spcAft>
                <a:spcPts val="0"/>
              </a:spcAft>
              <a:defRPr/>
            </a:pPr>
            <a:endParaRPr lang="en-US">
              <a:solidFill>
                <a:srgbClr val="000000"/>
              </a:solidFill>
              <a:latin typeface="Arial"/>
              <a:cs typeface="Arial"/>
            </a:endParaRPr>
          </a:p>
        </p:txBody>
      </p:sp>
      <p:pic>
        <p:nvPicPr>
          <p:cNvPr id="3079" name="Picture 19" descr="logo"/>
          <p:cNvPicPr>
            <a:picLocks noChangeAspect="1" noChangeArrowheads="1"/>
          </p:cNvPicPr>
          <p:nvPr userDrawn="1"/>
        </p:nvPicPr>
        <p:blipFill>
          <a:blip r:embed="rId3" cstate="print"/>
          <a:srcRect/>
          <a:stretch>
            <a:fillRect/>
          </a:stretch>
        </p:blipFill>
        <p:spPr bwMode="auto">
          <a:xfrm>
            <a:off x="55563" y="6392863"/>
            <a:ext cx="1014412" cy="447675"/>
          </a:xfrm>
          <a:prstGeom prst="rect">
            <a:avLst/>
          </a:prstGeom>
          <a:noFill/>
          <a:ln w="9525">
            <a:noFill/>
            <a:miter lim="800000"/>
            <a:headEnd/>
            <a:tailEnd/>
          </a:ln>
        </p:spPr>
      </p:pic>
      <p:sp>
        <p:nvSpPr>
          <p:cNvPr id="1044" name="Line 20"/>
          <p:cNvSpPr>
            <a:spLocks noChangeShapeType="1"/>
          </p:cNvSpPr>
          <p:nvPr userDrawn="1"/>
        </p:nvSpPr>
        <p:spPr bwMode="auto">
          <a:xfrm>
            <a:off x="-7938" y="6329363"/>
            <a:ext cx="9144001" cy="0"/>
          </a:xfrm>
          <a:prstGeom prst="line">
            <a:avLst/>
          </a:prstGeom>
          <a:noFill/>
          <a:ln w="12700">
            <a:solidFill>
              <a:srgbClr val="E05B00"/>
            </a:solidFill>
            <a:round/>
            <a:headEnd/>
            <a:tailEnd/>
          </a:ln>
          <a:effectLst/>
        </p:spPr>
        <p:txBody>
          <a:bodyPr/>
          <a:lstStyle/>
          <a:p>
            <a:pPr fontAlgn="auto">
              <a:spcBef>
                <a:spcPts val="0"/>
              </a:spcBef>
              <a:spcAft>
                <a:spcPts val="0"/>
              </a:spcAft>
              <a:defRPr/>
            </a:pPr>
            <a:endParaRPr lang="en-US">
              <a:solidFill>
                <a:srgbClr val="000000"/>
              </a:solidFill>
              <a:latin typeface="Arial"/>
              <a:cs typeface="Arial"/>
            </a:endParaRPr>
          </a:p>
        </p:txBody>
      </p:sp>
      <p:sp>
        <p:nvSpPr>
          <p:cNvPr id="9" name="Rectangle 12"/>
          <p:cNvSpPr txBox="1">
            <a:spLocks noChangeArrowheads="1"/>
          </p:cNvSpPr>
          <p:nvPr userDrawn="1"/>
        </p:nvSpPr>
        <p:spPr bwMode="auto">
          <a:xfrm>
            <a:off x="7675605" y="6532605"/>
            <a:ext cx="1265238" cy="2127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defRPr/>
            </a:lvl1pPr>
          </a:lstStyle>
          <a:p>
            <a:pPr algn="r">
              <a:defRPr/>
            </a:pPr>
            <a:fld id="{2431BE92-4107-41DD-88A3-15443D83970C}" type="slidenum">
              <a:rPr lang="en-US" sz="1400" b="1" smtClean="0">
                <a:solidFill>
                  <a:srgbClr val="724C00"/>
                </a:solidFill>
                <a:latin typeface="Microsoft Sans Serif"/>
                <a:cs typeface="Arial" charset="0"/>
              </a:rPr>
              <a:pPr algn="r">
                <a:defRPr/>
              </a:pPr>
              <a:t>‹#›</a:t>
            </a:fld>
            <a:endParaRPr lang="en-US" sz="1400" b="1" dirty="0">
              <a:solidFill>
                <a:srgbClr val="724C00"/>
              </a:solidFill>
              <a:latin typeface="Microsoft Sans Serif"/>
              <a:cs typeface="Arial" charset="0"/>
            </a:endParaRPr>
          </a:p>
        </p:txBody>
      </p:sp>
    </p:spTree>
    <p:extLst>
      <p:ext uri="{BB962C8B-B14F-4D97-AF65-F5344CB8AC3E}">
        <p14:creationId xmlns:p14="http://schemas.microsoft.com/office/powerpoint/2010/main" val="1904109129"/>
      </p:ext>
    </p:extLst>
  </p:cSld>
  <p:clrMap bg1="lt1" tx1="dk1" bg2="lt2" tx2="dk2" accent1="accent1" accent2="accent2" accent3="accent3" accent4="accent4" accent5="accent5" accent6="accent6" hlink="hlink" folHlink="folHlink"/>
  <p:sldLayoutIdLst>
    <p:sldLayoutId id="2147483935" r:id="rId1"/>
  </p:sldLayoutIdLst>
  <p:hf hdr="0" ftr="0" dt="0"/>
  <p:txStyles>
    <p:titleStyle>
      <a:lvl1pPr algn="ctr" rtl="0" eaLnBrk="0" fontAlgn="base" hangingPunct="0">
        <a:spcBef>
          <a:spcPct val="0"/>
        </a:spcBef>
        <a:spcAft>
          <a:spcPct val="0"/>
        </a:spcAft>
        <a:defRPr sz="2500">
          <a:solidFill>
            <a:srgbClr val="0038A8"/>
          </a:solidFill>
          <a:latin typeface="+mj-lt"/>
          <a:ea typeface="+mj-ea"/>
          <a:cs typeface="+mj-cs"/>
        </a:defRPr>
      </a:lvl1pPr>
      <a:lvl2pPr algn="ctr" rtl="0" eaLnBrk="0" fontAlgn="base" hangingPunct="0">
        <a:spcBef>
          <a:spcPct val="0"/>
        </a:spcBef>
        <a:spcAft>
          <a:spcPct val="0"/>
        </a:spcAft>
        <a:defRPr sz="2500">
          <a:solidFill>
            <a:srgbClr val="0038A8"/>
          </a:solidFill>
          <a:latin typeface="Microsoft Sans Serif" pitchFamily="34" charset="0"/>
        </a:defRPr>
      </a:lvl2pPr>
      <a:lvl3pPr algn="ctr" rtl="0" eaLnBrk="0" fontAlgn="base" hangingPunct="0">
        <a:spcBef>
          <a:spcPct val="0"/>
        </a:spcBef>
        <a:spcAft>
          <a:spcPct val="0"/>
        </a:spcAft>
        <a:defRPr sz="2500">
          <a:solidFill>
            <a:srgbClr val="0038A8"/>
          </a:solidFill>
          <a:latin typeface="Microsoft Sans Serif" pitchFamily="34" charset="0"/>
        </a:defRPr>
      </a:lvl3pPr>
      <a:lvl4pPr algn="ctr" rtl="0" eaLnBrk="0" fontAlgn="base" hangingPunct="0">
        <a:spcBef>
          <a:spcPct val="0"/>
        </a:spcBef>
        <a:spcAft>
          <a:spcPct val="0"/>
        </a:spcAft>
        <a:defRPr sz="2500">
          <a:solidFill>
            <a:srgbClr val="0038A8"/>
          </a:solidFill>
          <a:latin typeface="Microsoft Sans Serif" pitchFamily="34" charset="0"/>
        </a:defRPr>
      </a:lvl4pPr>
      <a:lvl5pPr algn="ctr" rtl="0" eaLnBrk="0" fontAlgn="base" hangingPunct="0">
        <a:spcBef>
          <a:spcPct val="0"/>
        </a:spcBef>
        <a:spcAft>
          <a:spcPct val="0"/>
        </a:spcAft>
        <a:defRPr sz="2500">
          <a:solidFill>
            <a:srgbClr val="0038A8"/>
          </a:solidFill>
          <a:latin typeface="Microsoft Sans Serif" pitchFamily="34" charset="0"/>
        </a:defRPr>
      </a:lvl5pPr>
      <a:lvl6pPr marL="457200" algn="ctr" rtl="0" fontAlgn="base">
        <a:spcBef>
          <a:spcPct val="0"/>
        </a:spcBef>
        <a:spcAft>
          <a:spcPct val="0"/>
        </a:spcAft>
        <a:defRPr sz="2500">
          <a:solidFill>
            <a:srgbClr val="0038A8"/>
          </a:solidFill>
          <a:latin typeface="Microsoft Sans Serif" pitchFamily="34" charset="0"/>
        </a:defRPr>
      </a:lvl6pPr>
      <a:lvl7pPr marL="914400" algn="ctr" rtl="0" fontAlgn="base">
        <a:spcBef>
          <a:spcPct val="0"/>
        </a:spcBef>
        <a:spcAft>
          <a:spcPct val="0"/>
        </a:spcAft>
        <a:defRPr sz="2500">
          <a:solidFill>
            <a:srgbClr val="0038A8"/>
          </a:solidFill>
          <a:latin typeface="Microsoft Sans Serif" pitchFamily="34" charset="0"/>
        </a:defRPr>
      </a:lvl7pPr>
      <a:lvl8pPr marL="1371600" algn="ctr" rtl="0" fontAlgn="base">
        <a:spcBef>
          <a:spcPct val="0"/>
        </a:spcBef>
        <a:spcAft>
          <a:spcPct val="0"/>
        </a:spcAft>
        <a:defRPr sz="2500">
          <a:solidFill>
            <a:srgbClr val="0038A8"/>
          </a:solidFill>
          <a:latin typeface="Microsoft Sans Serif" pitchFamily="34" charset="0"/>
        </a:defRPr>
      </a:lvl8pPr>
      <a:lvl9pPr marL="1828800" algn="ctr" rtl="0" fontAlgn="base">
        <a:spcBef>
          <a:spcPct val="0"/>
        </a:spcBef>
        <a:spcAft>
          <a:spcPct val="0"/>
        </a:spcAft>
        <a:defRPr sz="2500">
          <a:solidFill>
            <a:srgbClr val="0038A8"/>
          </a:solidFill>
          <a:latin typeface="Microsoft Sans Serif" pitchFamily="34" charset="0"/>
        </a:defRPr>
      </a:lvl9pPr>
    </p:titleStyle>
    <p:bodyStyle>
      <a:lvl1pPr marL="342900" indent="-342900" algn="l" rtl="0" eaLnBrk="0" fontAlgn="base" hangingPunct="0">
        <a:spcBef>
          <a:spcPct val="20000"/>
        </a:spcBef>
        <a:spcAft>
          <a:spcPct val="0"/>
        </a:spcAft>
        <a:buSzPct val="80000"/>
        <a:buFont typeface="Wingdings" pitchFamily="2" charset="2"/>
        <a:buChar char="¨"/>
        <a:defRPr sz="2300">
          <a:solidFill>
            <a:schemeClr val="tx1"/>
          </a:solidFill>
          <a:latin typeface="+mn-lt"/>
          <a:ea typeface="+mn-ea"/>
          <a:cs typeface="+mn-cs"/>
        </a:defRPr>
      </a:lvl1pPr>
      <a:lvl2pPr marL="742950" indent="-285750" algn="l" rtl="0" eaLnBrk="0" fontAlgn="base" hangingPunct="0">
        <a:spcBef>
          <a:spcPct val="20000"/>
        </a:spcBef>
        <a:spcAft>
          <a:spcPct val="0"/>
        </a:spcAft>
        <a:buSzPct val="70000"/>
        <a:buFont typeface="Wingdings" pitchFamily="2" charset="2"/>
        <a:buChar char="¡"/>
        <a:defRPr sz="21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cSld>
    <p:bg>
      <p:bgPr>
        <a:gradFill rotWithShape="0">
          <a:gsLst>
            <a:gs pos="0">
              <a:srgbClr val="FFEBFA"/>
            </a:gs>
            <a:gs pos="100000">
              <a:srgbClr val="6699FF"/>
            </a:gs>
          </a:gsLst>
          <a:lin ang="0" scaled="1"/>
        </a:gra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title"/>
          </p:nvPr>
        </p:nvSpPr>
        <p:spPr bwMode="auto">
          <a:xfrm>
            <a:off x="79375" y="60325"/>
            <a:ext cx="8985250" cy="381000"/>
          </a:xfrm>
          <a:prstGeom prst="rect">
            <a:avLst/>
          </a:prstGeom>
          <a:noFill/>
          <a:ln w="9525">
            <a:noFill/>
            <a:miter lim="800000"/>
            <a:headEnd/>
            <a:tailEnd/>
          </a:ln>
        </p:spPr>
        <p:txBody>
          <a:bodyPr vert="horz" wrap="square" lIns="0" tIns="0" rIns="0" bIns="0" numCol="1" anchor="ctr" anchorCtr="0" compatLnSpc="1">
            <a:prstTxWarp prst="textNoShape">
              <a:avLst/>
            </a:prstTxWarp>
            <a:spAutoFit/>
          </a:bodyPr>
          <a:lstStyle/>
          <a:p>
            <a:pPr lvl="0"/>
            <a:r>
              <a:rPr lang="en-US" smtClean="0"/>
              <a:t>edit Master title style</a:t>
            </a:r>
          </a:p>
        </p:txBody>
      </p:sp>
      <p:sp>
        <p:nvSpPr>
          <p:cNvPr id="3075" name="Rectangle 3"/>
          <p:cNvSpPr>
            <a:spLocks noGrp="1" noChangeArrowheads="1"/>
          </p:cNvSpPr>
          <p:nvPr>
            <p:ph type="body" idx="1"/>
          </p:nvPr>
        </p:nvSpPr>
        <p:spPr bwMode="auto">
          <a:xfrm>
            <a:off x="30163" y="550863"/>
            <a:ext cx="9067800" cy="5740400"/>
          </a:xfrm>
          <a:prstGeom prst="rect">
            <a:avLst/>
          </a:prstGeom>
          <a:solidFill>
            <a:schemeClr val="bg1"/>
          </a:solidFill>
          <a:ln w="6350">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p:txBody>
      </p:sp>
      <p:sp>
        <p:nvSpPr>
          <p:cNvPr id="1038" name="Rectangle 14"/>
          <p:cNvSpPr>
            <a:spLocks noChangeArrowheads="1"/>
          </p:cNvSpPr>
          <p:nvPr userDrawn="1"/>
        </p:nvSpPr>
        <p:spPr bwMode="auto">
          <a:xfrm>
            <a:off x="1323975" y="6532605"/>
            <a:ext cx="6464300" cy="182562"/>
          </a:xfrm>
          <a:prstGeom prst="rect">
            <a:avLst/>
          </a:prstGeom>
          <a:noFill/>
          <a:ln w="9525">
            <a:noFill/>
            <a:miter lim="800000"/>
            <a:headEnd/>
            <a:tailEnd/>
          </a:ln>
          <a:effectLst/>
        </p:spPr>
        <p:txBody>
          <a:bodyPr lIns="0" tIns="0" rIns="0" bIns="0" anchor="ctr" anchorCtr="1">
            <a:spAutoFit/>
          </a:bodyPr>
          <a:lstStyle/>
          <a:p>
            <a:pPr algn="ctr" fontAlgn="auto">
              <a:spcBef>
                <a:spcPts val="0"/>
              </a:spcBef>
              <a:spcAft>
                <a:spcPts val="0"/>
              </a:spcAft>
              <a:defRPr/>
            </a:pPr>
            <a:r>
              <a:rPr lang="en-US" sz="1200" b="1" dirty="0">
                <a:solidFill>
                  <a:srgbClr val="724C00"/>
                </a:solidFill>
                <a:latin typeface="Times New Roman" pitchFamily="18" charset="0"/>
                <a:cs typeface="Times New Roman" pitchFamily="18" charset="0"/>
              </a:rPr>
              <a:t>Egypt Nanotechnology Center </a:t>
            </a:r>
          </a:p>
        </p:txBody>
      </p:sp>
      <p:sp>
        <p:nvSpPr>
          <p:cNvPr id="1041" name="Line 17"/>
          <p:cNvSpPr>
            <a:spLocks noChangeShapeType="1"/>
          </p:cNvSpPr>
          <p:nvPr userDrawn="1"/>
        </p:nvSpPr>
        <p:spPr bwMode="auto">
          <a:xfrm>
            <a:off x="0" y="473075"/>
            <a:ext cx="9144000" cy="0"/>
          </a:xfrm>
          <a:prstGeom prst="line">
            <a:avLst/>
          </a:prstGeom>
          <a:noFill/>
          <a:ln w="9525">
            <a:solidFill>
              <a:srgbClr val="E05B00"/>
            </a:solidFill>
            <a:round/>
            <a:headEnd/>
            <a:tailEnd/>
          </a:ln>
          <a:effectLst/>
        </p:spPr>
        <p:txBody>
          <a:bodyPr/>
          <a:lstStyle/>
          <a:p>
            <a:pPr fontAlgn="auto">
              <a:spcBef>
                <a:spcPts val="0"/>
              </a:spcBef>
              <a:spcAft>
                <a:spcPts val="0"/>
              </a:spcAft>
              <a:defRPr/>
            </a:pPr>
            <a:endParaRPr lang="en-US">
              <a:solidFill>
                <a:srgbClr val="000000"/>
              </a:solidFill>
              <a:latin typeface="Arial"/>
              <a:cs typeface="Arial"/>
            </a:endParaRPr>
          </a:p>
        </p:txBody>
      </p:sp>
      <p:pic>
        <p:nvPicPr>
          <p:cNvPr id="3079" name="Picture 19" descr="logo"/>
          <p:cNvPicPr>
            <a:picLocks noChangeAspect="1" noChangeArrowheads="1"/>
          </p:cNvPicPr>
          <p:nvPr userDrawn="1"/>
        </p:nvPicPr>
        <p:blipFill>
          <a:blip r:embed="rId3" cstate="print"/>
          <a:srcRect/>
          <a:stretch>
            <a:fillRect/>
          </a:stretch>
        </p:blipFill>
        <p:spPr bwMode="auto">
          <a:xfrm>
            <a:off x="55563" y="6392863"/>
            <a:ext cx="1014412" cy="447675"/>
          </a:xfrm>
          <a:prstGeom prst="rect">
            <a:avLst/>
          </a:prstGeom>
          <a:noFill/>
          <a:ln w="9525">
            <a:noFill/>
            <a:miter lim="800000"/>
            <a:headEnd/>
            <a:tailEnd/>
          </a:ln>
        </p:spPr>
      </p:pic>
      <p:sp>
        <p:nvSpPr>
          <p:cNvPr id="1044" name="Line 20"/>
          <p:cNvSpPr>
            <a:spLocks noChangeShapeType="1"/>
          </p:cNvSpPr>
          <p:nvPr userDrawn="1"/>
        </p:nvSpPr>
        <p:spPr bwMode="auto">
          <a:xfrm>
            <a:off x="-7938" y="6329363"/>
            <a:ext cx="9144001" cy="0"/>
          </a:xfrm>
          <a:prstGeom prst="line">
            <a:avLst/>
          </a:prstGeom>
          <a:noFill/>
          <a:ln w="12700">
            <a:solidFill>
              <a:srgbClr val="E05B00"/>
            </a:solidFill>
            <a:round/>
            <a:headEnd/>
            <a:tailEnd/>
          </a:ln>
          <a:effectLst/>
        </p:spPr>
        <p:txBody>
          <a:bodyPr/>
          <a:lstStyle/>
          <a:p>
            <a:pPr fontAlgn="auto">
              <a:spcBef>
                <a:spcPts val="0"/>
              </a:spcBef>
              <a:spcAft>
                <a:spcPts val="0"/>
              </a:spcAft>
              <a:defRPr/>
            </a:pPr>
            <a:endParaRPr lang="en-US">
              <a:solidFill>
                <a:srgbClr val="000000"/>
              </a:solidFill>
              <a:latin typeface="Arial"/>
              <a:cs typeface="Arial"/>
            </a:endParaRPr>
          </a:p>
        </p:txBody>
      </p:sp>
      <p:sp>
        <p:nvSpPr>
          <p:cNvPr id="9" name="Rectangle 12"/>
          <p:cNvSpPr txBox="1">
            <a:spLocks noChangeArrowheads="1"/>
          </p:cNvSpPr>
          <p:nvPr userDrawn="1"/>
        </p:nvSpPr>
        <p:spPr bwMode="auto">
          <a:xfrm>
            <a:off x="7675605" y="6532605"/>
            <a:ext cx="1265238" cy="212725"/>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defRPr/>
            </a:lvl1pPr>
          </a:lstStyle>
          <a:p>
            <a:pPr algn="r">
              <a:defRPr/>
            </a:pPr>
            <a:fld id="{2431BE92-4107-41DD-88A3-15443D83970C}" type="slidenum">
              <a:rPr lang="en-US" sz="1400" b="1" smtClean="0">
                <a:solidFill>
                  <a:srgbClr val="724C00"/>
                </a:solidFill>
                <a:latin typeface="Microsoft Sans Serif"/>
                <a:cs typeface="Arial" charset="0"/>
              </a:rPr>
              <a:pPr algn="r">
                <a:defRPr/>
              </a:pPr>
              <a:t>‹#›</a:t>
            </a:fld>
            <a:endParaRPr lang="en-US" sz="1400" b="1" dirty="0">
              <a:solidFill>
                <a:srgbClr val="724C00"/>
              </a:solidFill>
              <a:latin typeface="Microsoft Sans Serif"/>
              <a:cs typeface="Arial" charset="0"/>
            </a:endParaRPr>
          </a:p>
        </p:txBody>
      </p:sp>
    </p:spTree>
    <p:extLst>
      <p:ext uri="{BB962C8B-B14F-4D97-AF65-F5344CB8AC3E}">
        <p14:creationId xmlns:p14="http://schemas.microsoft.com/office/powerpoint/2010/main" val="4047930821"/>
      </p:ext>
    </p:extLst>
  </p:cSld>
  <p:clrMap bg1="lt1" tx1="dk1" bg2="lt2" tx2="dk2" accent1="accent1" accent2="accent2" accent3="accent3" accent4="accent4" accent5="accent5" accent6="accent6" hlink="hlink" folHlink="folHlink"/>
  <p:sldLayoutIdLst>
    <p:sldLayoutId id="2147483937" r:id="rId1"/>
  </p:sldLayoutIdLst>
  <p:hf hdr="0" ftr="0" dt="0"/>
  <p:txStyles>
    <p:titleStyle>
      <a:lvl1pPr algn="ctr" rtl="0" eaLnBrk="0" fontAlgn="base" hangingPunct="0">
        <a:spcBef>
          <a:spcPct val="0"/>
        </a:spcBef>
        <a:spcAft>
          <a:spcPct val="0"/>
        </a:spcAft>
        <a:defRPr sz="2500">
          <a:solidFill>
            <a:srgbClr val="0038A8"/>
          </a:solidFill>
          <a:latin typeface="+mj-lt"/>
          <a:ea typeface="+mj-ea"/>
          <a:cs typeface="+mj-cs"/>
        </a:defRPr>
      </a:lvl1pPr>
      <a:lvl2pPr algn="ctr" rtl="0" eaLnBrk="0" fontAlgn="base" hangingPunct="0">
        <a:spcBef>
          <a:spcPct val="0"/>
        </a:spcBef>
        <a:spcAft>
          <a:spcPct val="0"/>
        </a:spcAft>
        <a:defRPr sz="2500">
          <a:solidFill>
            <a:srgbClr val="0038A8"/>
          </a:solidFill>
          <a:latin typeface="Microsoft Sans Serif" pitchFamily="34" charset="0"/>
        </a:defRPr>
      </a:lvl2pPr>
      <a:lvl3pPr algn="ctr" rtl="0" eaLnBrk="0" fontAlgn="base" hangingPunct="0">
        <a:spcBef>
          <a:spcPct val="0"/>
        </a:spcBef>
        <a:spcAft>
          <a:spcPct val="0"/>
        </a:spcAft>
        <a:defRPr sz="2500">
          <a:solidFill>
            <a:srgbClr val="0038A8"/>
          </a:solidFill>
          <a:latin typeface="Microsoft Sans Serif" pitchFamily="34" charset="0"/>
        </a:defRPr>
      </a:lvl3pPr>
      <a:lvl4pPr algn="ctr" rtl="0" eaLnBrk="0" fontAlgn="base" hangingPunct="0">
        <a:spcBef>
          <a:spcPct val="0"/>
        </a:spcBef>
        <a:spcAft>
          <a:spcPct val="0"/>
        </a:spcAft>
        <a:defRPr sz="2500">
          <a:solidFill>
            <a:srgbClr val="0038A8"/>
          </a:solidFill>
          <a:latin typeface="Microsoft Sans Serif" pitchFamily="34" charset="0"/>
        </a:defRPr>
      </a:lvl4pPr>
      <a:lvl5pPr algn="ctr" rtl="0" eaLnBrk="0" fontAlgn="base" hangingPunct="0">
        <a:spcBef>
          <a:spcPct val="0"/>
        </a:spcBef>
        <a:spcAft>
          <a:spcPct val="0"/>
        </a:spcAft>
        <a:defRPr sz="2500">
          <a:solidFill>
            <a:srgbClr val="0038A8"/>
          </a:solidFill>
          <a:latin typeface="Microsoft Sans Serif" pitchFamily="34" charset="0"/>
        </a:defRPr>
      </a:lvl5pPr>
      <a:lvl6pPr marL="457200" algn="ctr" rtl="0" fontAlgn="base">
        <a:spcBef>
          <a:spcPct val="0"/>
        </a:spcBef>
        <a:spcAft>
          <a:spcPct val="0"/>
        </a:spcAft>
        <a:defRPr sz="2500">
          <a:solidFill>
            <a:srgbClr val="0038A8"/>
          </a:solidFill>
          <a:latin typeface="Microsoft Sans Serif" pitchFamily="34" charset="0"/>
        </a:defRPr>
      </a:lvl6pPr>
      <a:lvl7pPr marL="914400" algn="ctr" rtl="0" fontAlgn="base">
        <a:spcBef>
          <a:spcPct val="0"/>
        </a:spcBef>
        <a:spcAft>
          <a:spcPct val="0"/>
        </a:spcAft>
        <a:defRPr sz="2500">
          <a:solidFill>
            <a:srgbClr val="0038A8"/>
          </a:solidFill>
          <a:latin typeface="Microsoft Sans Serif" pitchFamily="34" charset="0"/>
        </a:defRPr>
      </a:lvl7pPr>
      <a:lvl8pPr marL="1371600" algn="ctr" rtl="0" fontAlgn="base">
        <a:spcBef>
          <a:spcPct val="0"/>
        </a:spcBef>
        <a:spcAft>
          <a:spcPct val="0"/>
        </a:spcAft>
        <a:defRPr sz="2500">
          <a:solidFill>
            <a:srgbClr val="0038A8"/>
          </a:solidFill>
          <a:latin typeface="Microsoft Sans Serif" pitchFamily="34" charset="0"/>
        </a:defRPr>
      </a:lvl8pPr>
      <a:lvl9pPr marL="1828800" algn="ctr" rtl="0" fontAlgn="base">
        <a:spcBef>
          <a:spcPct val="0"/>
        </a:spcBef>
        <a:spcAft>
          <a:spcPct val="0"/>
        </a:spcAft>
        <a:defRPr sz="2500">
          <a:solidFill>
            <a:srgbClr val="0038A8"/>
          </a:solidFill>
          <a:latin typeface="Microsoft Sans Serif" pitchFamily="34" charset="0"/>
        </a:defRPr>
      </a:lvl9pPr>
    </p:titleStyle>
    <p:bodyStyle>
      <a:lvl1pPr marL="342900" indent="-342900" algn="l" rtl="0" eaLnBrk="0" fontAlgn="base" hangingPunct="0">
        <a:spcBef>
          <a:spcPct val="20000"/>
        </a:spcBef>
        <a:spcAft>
          <a:spcPct val="0"/>
        </a:spcAft>
        <a:buSzPct val="80000"/>
        <a:buFont typeface="Wingdings" pitchFamily="2" charset="2"/>
        <a:buChar char="¨"/>
        <a:defRPr sz="2300">
          <a:solidFill>
            <a:schemeClr val="tx1"/>
          </a:solidFill>
          <a:latin typeface="+mn-lt"/>
          <a:ea typeface="+mn-ea"/>
          <a:cs typeface="+mn-cs"/>
        </a:defRPr>
      </a:lvl1pPr>
      <a:lvl2pPr marL="742950" indent="-285750" algn="l" rtl="0" eaLnBrk="0" fontAlgn="base" hangingPunct="0">
        <a:spcBef>
          <a:spcPct val="20000"/>
        </a:spcBef>
        <a:spcAft>
          <a:spcPct val="0"/>
        </a:spcAft>
        <a:buSzPct val="70000"/>
        <a:buFont typeface="Wingdings" pitchFamily="2" charset="2"/>
        <a:buChar char="¡"/>
        <a:defRPr sz="2100">
          <a:solidFill>
            <a:schemeClr val="tx1"/>
          </a:solidFill>
          <a:latin typeface="+mn-lt"/>
          <a:cs typeface="+mn-cs"/>
        </a:defRPr>
      </a:lvl2pPr>
      <a:lvl3pPr marL="1143000" indent="-228600" algn="l" rtl="0" eaLnBrk="0" fontAlgn="base" hangingPunct="0">
        <a:spcBef>
          <a:spcPct val="20000"/>
        </a:spcBef>
        <a:spcAft>
          <a:spcPct val="0"/>
        </a:spcAft>
        <a:buChar char="•"/>
        <a:defRPr sz="2400">
          <a:solidFill>
            <a:schemeClr val="tx1"/>
          </a:solidFill>
          <a:latin typeface="+mn-lt"/>
          <a:cs typeface="+mn-cs"/>
        </a:defRPr>
      </a:lvl3pPr>
      <a:lvl4pPr marL="1600200" indent="-228600" algn="l" rtl="0" eaLnBrk="0" fontAlgn="base" hangingPunct="0">
        <a:spcBef>
          <a:spcPct val="20000"/>
        </a:spcBef>
        <a:spcAft>
          <a:spcPct val="0"/>
        </a:spcAft>
        <a:buChar char="–"/>
        <a:defRPr sz="20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bwMode="auto">
          <a:xfrm>
            <a:off x="554038" y="269875"/>
            <a:ext cx="7521575" cy="1143000"/>
          </a:xfrm>
          <a:prstGeom prst="rect">
            <a:avLst/>
          </a:prstGeom>
          <a:noFill/>
          <a:ln w="9525">
            <a:noFill/>
            <a:miter lim="800000"/>
            <a:headEnd/>
            <a:tailEnd/>
          </a:ln>
          <a:effectLst/>
        </p:spPr>
        <p:txBody>
          <a:bodyPr vert="horz" wrap="square" lIns="90488" tIns="44450" rIns="90488" bIns="44450" numCol="1" anchor="ctr" anchorCtr="0" compatLnSpc="1">
            <a:prstTxWarp prst="textNoShape">
              <a:avLst/>
            </a:prstTxWarp>
          </a:bodyPr>
          <a:lstStyle/>
          <a:p>
            <a:pPr lvl="0"/>
            <a:r>
              <a:rPr lang="en-US" altLang="sv-SE" smtClean="0"/>
              <a:t>Click to edit Master title style</a:t>
            </a:r>
          </a:p>
        </p:txBody>
      </p:sp>
      <p:sp>
        <p:nvSpPr>
          <p:cNvPr id="13315" name="Rectangle 3"/>
          <p:cNvSpPr>
            <a:spLocks noGrp="1" noChangeArrowheads="1"/>
          </p:cNvSpPr>
          <p:nvPr>
            <p:ph type="body" idx="1"/>
          </p:nvPr>
        </p:nvSpPr>
        <p:spPr bwMode="auto">
          <a:xfrm>
            <a:off x="561975" y="1676400"/>
            <a:ext cx="7537450" cy="4876800"/>
          </a:xfrm>
          <a:prstGeom prst="rect">
            <a:avLst/>
          </a:prstGeom>
          <a:noFill/>
          <a:ln w="9525">
            <a:noFill/>
            <a:miter lim="800000"/>
            <a:headEnd/>
            <a:tailEnd/>
          </a:ln>
          <a:effectLst/>
        </p:spPr>
        <p:txBody>
          <a:bodyPr vert="horz" wrap="square" lIns="90488" tIns="44450" rIns="90488" bIns="44450" numCol="1" anchor="t" anchorCtr="0" compatLnSpc="1">
            <a:prstTxWarp prst="textNoShape">
              <a:avLst/>
            </a:prstTxWarp>
          </a:bodyPr>
          <a:lstStyle/>
          <a:p>
            <a:pPr lvl="0"/>
            <a:r>
              <a:rPr lang="en-US" altLang="sv-SE" smtClean="0"/>
              <a:t>Click to edit Master text styles</a:t>
            </a:r>
          </a:p>
          <a:p>
            <a:pPr lvl="1"/>
            <a:r>
              <a:rPr lang="en-US" altLang="sv-SE" smtClean="0"/>
              <a:t>Second level</a:t>
            </a:r>
          </a:p>
          <a:p>
            <a:pPr lvl="2"/>
            <a:r>
              <a:rPr lang="en-US" altLang="sv-SE" smtClean="0"/>
              <a:t>Third level</a:t>
            </a:r>
          </a:p>
          <a:p>
            <a:pPr lvl="3"/>
            <a:r>
              <a:rPr lang="en-US" altLang="sv-SE" smtClean="0"/>
              <a:t>Fourth level</a:t>
            </a:r>
          </a:p>
          <a:p>
            <a:pPr lvl="4"/>
            <a:r>
              <a:rPr lang="en-US" altLang="sv-SE" smtClean="0"/>
              <a:t>Fifth level</a:t>
            </a:r>
          </a:p>
        </p:txBody>
      </p:sp>
    </p:spTree>
  </p:cSld>
  <p:clrMap bg1="lt1" tx1="dk1" bg2="lt2" tx2="dk2" accent1="accent1" accent2="accent2" accent3="accent3" accent4="accent4" accent5="accent5" accent6="accent6" hlink="hlink" folHlink="folHlink"/>
  <p:sldLayoutIdLst>
    <p:sldLayoutId id="2147483880" r:id="rId1"/>
  </p:sldLayoutIdLst>
  <p:transition spd="slow">
    <p:wipe dir="r"/>
  </p:transition>
  <p:txStyles>
    <p:titleStyle>
      <a:lvl1pPr algn="l" rtl="0" eaLnBrk="0" fontAlgn="base" hangingPunct="0">
        <a:spcBef>
          <a:spcPct val="0"/>
        </a:spcBef>
        <a:spcAft>
          <a:spcPct val="0"/>
        </a:spcAft>
        <a:defRPr sz="3200" b="1">
          <a:solidFill>
            <a:srgbClr val="003366"/>
          </a:solidFill>
          <a:latin typeface="+mj-lt"/>
          <a:ea typeface="+mj-ea"/>
          <a:cs typeface="+mj-cs"/>
        </a:defRPr>
      </a:lvl1pPr>
      <a:lvl2pPr algn="l" rtl="0" eaLnBrk="0" fontAlgn="base" hangingPunct="0">
        <a:spcBef>
          <a:spcPct val="0"/>
        </a:spcBef>
        <a:spcAft>
          <a:spcPct val="0"/>
        </a:spcAft>
        <a:defRPr sz="3200" b="1">
          <a:solidFill>
            <a:srgbClr val="003366"/>
          </a:solidFill>
          <a:latin typeface="Arial" charset="0"/>
        </a:defRPr>
      </a:lvl2pPr>
      <a:lvl3pPr algn="l" rtl="0" eaLnBrk="0" fontAlgn="base" hangingPunct="0">
        <a:spcBef>
          <a:spcPct val="0"/>
        </a:spcBef>
        <a:spcAft>
          <a:spcPct val="0"/>
        </a:spcAft>
        <a:defRPr sz="3200" b="1">
          <a:solidFill>
            <a:srgbClr val="003366"/>
          </a:solidFill>
          <a:latin typeface="Arial" charset="0"/>
        </a:defRPr>
      </a:lvl3pPr>
      <a:lvl4pPr algn="l" rtl="0" eaLnBrk="0" fontAlgn="base" hangingPunct="0">
        <a:spcBef>
          <a:spcPct val="0"/>
        </a:spcBef>
        <a:spcAft>
          <a:spcPct val="0"/>
        </a:spcAft>
        <a:defRPr sz="3200" b="1">
          <a:solidFill>
            <a:srgbClr val="003366"/>
          </a:solidFill>
          <a:latin typeface="Arial" charset="0"/>
        </a:defRPr>
      </a:lvl4pPr>
      <a:lvl5pPr algn="l" rtl="0" eaLnBrk="0" fontAlgn="base" hangingPunct="0">
        <a:spcBef>
          <a:spcPct val="0"/>
        </a:spcBef>
        <a:spcAft>
          <a:spcPct val="0"/>
        </a:spcAft>
        <a:defRPr sz="3200" b="1">
          <a:solidFill>
            <a:srgbClr val="003366"/>
          </a:solidFill>
          <a:latin typeface="Arial" charset="0"/>
        </a:defRPr>
      </a:lvl5pPr>
      <a:lvl6pPr marL="457200" algn="l" rtl="0" eaLnBrk="0" fontAlgn="base" hangingPunct="0">
        <a:spcBef>
          <a:spcPct val="0"/>
        </a:spcBef>
        <a:spcAft>
          <a:spcPct val="0"/>
        </a:spcAft>
        <a:defRPr sz="3200" b="1">
          <a:solidFill>
            <a:srgbClr val="003366"/>
          </a:solidFill>
          <a:latin typeface="Arial" charset="0"/>
        </a:defRPr>
      </a:lvl6pPr>
      <a:lvl7pPr marL="914400" algn="l" rtl="0" eaLnBrk="0" fontAlgn="base" hangingPunct="0">
        <a:spcBef>
          <a:spcPct val="0"/>
        </a:spcBef>
        <a:spcAft>
          <a:spcPct val="0"/>
        </a:spcAft>
        <a:defRPr sz="3200" b="1">
          <a:solidFill>
            <a:srgbClr val="003366"/>
          </a:solidFill>
          <a:latin typeface="Arial" charset="0"/>
        </a:defRPr>
      </a:lvl7pPr>
      <a:lvl8pPr marL="1371600" algn="l" rtl="0" eaLnBrk="0" fontAlgn="base" hangingPunct="0">
        <a:spcBef>
          <a:spcPct val="0"/>
        </a:spcBef>
        <a:spcAft>
          <a:spcPct val="0"/>
        </a:spcAft>
        <a:defRPr sz="3200" b="1">
          <a:solidFill>
            <a:srgbClr val="003366"/>
          </a:solidFill>
          <a:latin typeface="Arial" charset="0"/>
        </a:defRPr>
      </a:lvl8pPr>
      <a:lvl9pPr marL="1828800" algn="l" rtl="0" eaLnBrk="0" fontAlgn="base" hangingPunct="0">
        <a:spcBef>
          <a:spcPct val="0"/>
        </a:spcBef>
        <a:spcAft>
          <a:spcPct val="0"/>
        </a:spcAft>
        <a:defRPr sz="3200" b="1">
          <a:solidFill>
            <a:srgbClr val="003366"/>
          </a:solidFill>
          <a:latin typeface="Arial" charset="0"/>
        </a:defRPr>
      </a:lvl9pPr>
    </p:titleStyle>
    <p:bodyStyle>
      <a:lvl1pPr marL="285750" indent="-285750" algn="l" rtl="0" eaLnBrk="0" fontAlgn="base" hangingPunct="0">
        <a:spcBef>
          <a:spcPct val="20000"/>
        </a:spcBef>
        <a:spcAft>
          <a:spcPct val="0"/>
        </a:spcAft>
        <a:buClr>
          <a:srgbClr val="9294B7"/>
        </a:buClr>
        <a:buFont typeface="Wingdings" pitchFamily="2" charset="2"/>
        <a:buChar char="§"/>
        <a:defRPr sz="2400" b="1">
          <a:solidFill>
            <a:schemeClr val="tx1"/>
          </a:solidFill>
          <a:latin typeface="+mn-lt"/>
          <a:ea typeface="+mn-ea"/>
          <a:cs typeface="+mn-cs"/>
        </a:defRPr>
      </a:lvl1pPr>
      <a:lvl2pPr marL="560388" indent="-273050" algn="l" rtl="0" eaLnBrk="0" fontAlgn="base" hangingPunct="0">
        <a:spcBef>
          <a:spcPct val="20000"/>
        </a:spcBef>
        <a:spcAft>
          <a:spcPct val="0"/>
        </a:spcAft>
        <a:buClr>
          <a:srgbClr val="003366"/>
        </a:buClr>
        <a:buFont typeface="Wingdings" pitchFamily="2" charset="2"/>
        <a:buChar char="w"/>
        <a:defRPr sz="2000">
          <a:solidFill>
            <a:schemeClr val="tx1"/>
          </a:solidFill>
          <a:latin typeface="+mn-lt"/>
        </a:defRPr>
      </a:lvl2pPr>
      <a:lvl3pPr marL="787400" indent="-217488" algn="l" rtl="0" eaLnBrk="0" fontAlgn="base" hangingPunct="0">
        <a:spcBef>
          <a:spcPct val="20000"/>
        </a:spcBef>
        <a:spcAft>
          <a:spcPct val="0"/>
        </a:spcAft>
        <a:buClr>
          <a:srgbClr val="003366"/>
        </a:buClr>
        <a:buChar char="•"/>
        <a:defRPr>
          <a:solidFill>
            <a:schemeClr val="tx1"/>
          </a:solidFill>
          <a:latin typeface="+mn-lt"/>
        </a:defRPr>
      </a:lvl3pPr>
      <a:lvl4pPr marL="1087438" indent="-246063" algn="l" rtl="0" eaLnBrk="0" fontAlgn="base" hangingPunct="0">
        <a:spcBef>
          <a:spcPct val="20000"/>
        </a:spcBef>
        <a:spcAft>
          <a:spcPct val="0"/>
        </a:spcAft>
        <a:buClr>
          <a:srgbClr val="003366"/>
        </a:buClr>
        <a:buChar char="–"/>
        <a:defRPr sz="1600">
          <a:solidFill>
            <a:schemeClr val="tx1"/>
          </a:solidFill>
          <a:latin typeface="+mn-lt"/>
        </a:defRPr>
      </a:lvl4pPr>
      <a:lvl5pPr marL="1292225" indent="-203200" algn="l" rtl="0" eaLnBrk="0" fontAlgn="base" hangingPunct="0">
        <a:spcBef>
          <a:spcPct val="20000"/>
        </a:spcBef>
        <a:spcAft>
          <a:spcPct val="0"/>
        </a:spcAft>
        <a:buClr>
          <a:srgbClr val="003366"/>
        </a:buClr>
        <a:buChar char="•"/>
        <a:defRPr sz="1400">
          <a:solidFill>
            <a:schemeClr val="tx1"/>
          </a:solidFill>
          <a:latin typeface="+mn-lt"/>
        </a:defRPr>
      </a:lvl5pPr>
      <a:lvl6pPr marL="1749425" indent="-203200" algn="l" rtl="0" eaLnBrk="0" fontAlgn="base" hangingPunct="0">
        <a:spcBef>
          <a:spcPct val="20000"/>
        </a:spcBef>
        <a:spcAft>
          <a:spcPct val="0"/>
        </a:spcAft>
        <a:buClr>
          <a:srgbClr val="003366"/>
        </a:buClr>
        <a:buChar char="•"/>
        <a:defRPr sz="1400">
          <a:solidFill>
            <a:schemeClr val="tx1"/>
          </a:solidFill>
          <a:latin typeface="+mn-lt"/>
        </a:defRPr>
      </a:lvl6pPr>
      <a:lvl7pPr marL="2206625" indent="-203200" algn="l" rtl="0" eaLnBrk="0" fontAlgn="base" hangingPunct="0">
        <a:spcBef>
          <a:spcPct val="20000"/>
        </a:spcBef>
        <a:spcAft>
          <a:spcPct val="0"/>
        </a:spcAft>
        <a:buClr>
          <a:srgbClr val="003366"/>
        </a:buClr>
        <a:buChar char="•"/>
        <a:defRPr sz="1400">
          <a:solidFill>
            <a:schemeClr val="tx1"/>
          </a:solidFill>
          <a:latin typeface="+mn-lt"/>
        </a:defRPr>
      </a:lvl7pPr>
      <a:lvl8pPr marL="2663825" indent="-203200" algn="l" rtl="0" eaLnBrk="0" fontAlgn="base" hangingPunct="0">
        <a:spcBef>
          <a:spcPct val="20000"/>
        </a:spcBef>
        <a:spcAft>
          <a:spcPct val="0"/>
        </a:spcAft>
        <a:buClr>
          <a:srgbClr val="003366"/>
        </a:buClr>
        <a:buChar char="•"/>
        <a:defRPr sz="1400">
          <a:solidFill>
            <a:schemeClr val="tx1"/>
          </a:solidFill>
          <a:latin typeface="+mn-lt"/>
        </a:defRPr>
      </a:lvl8pPr>
      <a:lvl9pPr marL="3121025" indent="-203200" algn="l" rtl="0" eaLnBrk="0" fontAlgn="base" hangingPunct="0">
        <a:spcBef>
          <a:spcPct val="20000"/>
        </a:spcBef>
        <a:spcAft>
          <a:spcPct val="0"/>
        </a:spcAft>
        <a:buClr>
          <a:srgbClr val="003366"/>
        </a:buClr>
        <a:buChar char="•"/>
        <a:defRPr sz="14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3" descr="1"/>
          <p:cNvPicPr>
            <a:picLocks noChangeAspect="1" noChangeArrowheads="1"/>
          </p:cNvPicPr>
          <p:nvPr userDrawn="1"/>
        </p:nvPicPr>
        <p:blipFill>
          <a:blip r:embed="rId6" cstate="print"/>
          <a:srcRect/>
          <a:stretch>
            <a:fillRect/>
          </a:stretch>
        </p:blipFill>
        <p:spPr bwMode="auto">
          <a:xfrm>
            <a:off x="0" y="11"/>
            <a:ext cx="9144000" cy="6858000"/>
          </a:xfrm>
          <a:prstGeom prst="rect">
            <a:avLst/>
          </a:prstGeom>
          <a:noFill/>
          <a:ln w="9525">
            <a:noFill/>
            <a:miter lim="800000"/>
            <a:headEnd/>
            <a:tailEnd/>
          </a:ln>
        </p:spPr>
      </p:pic>
      <p:sp>
        <p:nvSpPr>
          <p:cNvPr id="1038" name="Rectangle 14"/>
          <p:cNvSpPr>
            <a:spLocks noGrp="1" noChangeArrowheads="1"/>
          </p:cNvSpPr>
          <p:nvPr>
            <p:ph type="sldNum" sz="quarter" idx="4"/>
          </p:nvPr>
        </p:nvSpPr>
        <p:spPr bwMode="auto">
          <a:xfrm>
            <a:off x="6975476" y="6586539"/>
            <a:ext cx="2133600" cy="476250"/>
          </a:xfrm>
          <a:prstGeom prst="rect">
            <a:avLst/>
          </a:prstGeom>
          <a:noFill/>
          <a:ln w="9525">
            <a:noFill/>
            <a:miter lim="800000"/>
            <a:headEnd/>
            <a:tailEnd/>
          </a:ln>
          <a:effectLst/>
        </p:spPr>
        <p:txBody>
          <a:bodyPr vert="horz" wrap="square" lIns="91320" tIns="45661" rIns="91320" bIns="45661" numCol="1" anchor="t" anchorCtr="0" compatLnSpc="1">
            <a:prstTxWarp prst="textNoShape">
              <a:avLst/>
            </a:prstTxWarp>
          </a:bodyPr>
          <a:lstStyle>
            <a:lvl1pPr algn="r">
              <a:defRPr sz="1400" b="1">
                <a:solidFill>
                  <a:schemeClr val="bg1"/>
                </a:solidFill>
                <a:latin typeface="Arial" pitchFamily="34" charset="0"/>
                <a:ea typeface="굴림" pitchFamily="34" charset="-127"/>
              </a:defRPr>
            </a:lvl1pPr>
          </a:lstStyle>
          <a:p>
            <a:pPr>
              <a:defRPr/>
            </a:pPr>
            <a:fld id="{B079E691-CE8C-4C69-801F-F615CE1A9DBD}" type="slidenum">
              <a:rPr lang="en-US" altLang="ko-KR"/>
              <a:pPr>
                <a:defRPr/>
              </a:pPr>
              <a:t>‹#›</a:t>
            </a:fld>
            <a:endParaRPr lang="en-US" altLang="ko-KR"/>
          </a:p>
        </p:txBody>
      </p:sp>
      <p:pic>
        <p:nvPicPr>
          <p:cNvPr id="1028" name="Picture 2" descr="eg-flag1 moving"/>
          <p:cNvPicPr>
            <a:picLocks noChangeAspect="1" noChangeArrowheads="1" noCrop="1"/>
          </p:cNvPicPr>
          <p:nvPr userDrawn="1"/>
        </p:nvPicPr>
        <p:blipFill>
          <a:blip r:embed="rId7" cstate="print"/>
          <a:srcRect/>
          <a:stretch>
            <a:fillRect/>
          </a:stretch>
        </p:blipFill>
        <p:spPr bwMode="auto">
          <a:xfrm>
            <a:off x="179401" y="115899"/>
            <a:ext cx="1152525" cy="666750"/>
          </a:xfrm>
          <a:prstGeom prst="rect">
            <a:avLst/>
          </a:prstGeom>
          <a:noFill/>
          <a:ln w="9525">
            <a:noFill/>
            <a:miter lim="800000"/>
            <a:headEnd/>
            <a:tailEnd/>
          </a:ln>
        </p:spPr>
      </p:pic>
      <p:pic>
        <p:nvPicPr>
          <p:cNvPr id="5" name="Picture 4" descr="logo2.gif"/>
          <p:cNvPicPr>
            <a:picLocks noChangeAspect="1"/>
          </p:cNvPicPr>
          <p:nvPr userDrawn="1"/>
        </p:nvPicPr>
        <p:blipFill>
          <a:blip r:embed="rId8" cstate="print">
            <a:extLst/>
          </a:blip>
          <a:stretch>
            <a:fillRect/>
          </a:stretch>
        </p:blipFill>
        <p:spPr>
          <a:xfrm>
            <a:off x="7884379" y="2705"/>
            <a:ext cx="1080120" cy="1083228"/>
          </a:xfrm>
          <a:prstGeom prst="rect">
            <a:avLst/>
          </a:prstGeom>
          <a:ln>
            <a:noFill/>
          </a:ln>
          <a:effectLst>
            <a:glow rad="88900">
              <a:schemeClr val="bg1">
                <a:alpha val="9000"/>
              </a:schemeClr>
            </a:glow>
            <a:outerShdw blurRad="190500" algn="tl" rotWithShape="0">
              <a:srgbClr val="000000">
                <a:alpha val="70000"/>
              </a:srgbClr>
            </a:outerShdw>
          </a:effectLst>
        </p:spPr>
      </p:pic>
    </p:spTree>
  </p:cSld>
  <p:clrMap bg1="lt1" tx1="dk1" bg2="lt2" tx2="dk2" accent1="accent1" accent2="accent2" accent3="accent3" accent4="accent4" accent5="accent5" accent6="accent6" hlink="hlink" folHlink="folHlink"/>
  <p:sldLayoutIdLst>
    <p:sldLayoutId id="2147483882" r:id="rId1"/>
    <p:sldLayoutId id="2147483883" r:id="rId2"/>
    <p:sldLayoutId id="2147483895" r:id="rId3"/>
    <p:sldLayoutId id="2147483896" r:id="rId4"/>
  </p:sldLayoutIdLst>
  <p:transition>
    <p:zoom/>
  </p:transition>
  <p:timing>
    <p:tnLst>
      <p:par>
        <p:cTn id="1" dur="indefinite" restart="never" nodeType="tmRoot"/>
      </p:par>
    </p:tnLst>
  </p:timing>
  <p:hf hdr="0" ftr="0" dt="0"/>
  <p:txStyles>
    <p:titleStyle>
      <a:lvl1pPr algn="l" rtl="0" eaLnBrk="0" fontAlgn="base" latinLnBrk="1" hangingPunct="0">
        <a:spcBef>
          <a:spcPct val="0"/>
        </a:spcBef>
        <a:spcAft>
          <a:spcPct val="0"/>
        </a:spcAft>
        <a:defRPr kumimoji="1" sz="3200">
          <a:solidFill>
            <a:srgbClr val="FFFF00"/>
          </a:solidFill>
          <a:latin typeface="+mj-lt"/>
          <a:ea typeface="+mj-ea"/>
          <a:cs typeface="HY헤드라인M" charset="0"/>
        </a:defRPr>
      </a:lvl1pPr>
      <a:lvl2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2pPr>
      <a:lvl3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3pPr>
      <a:lvl4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4pPr>
      <a:lvl5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5pPr>
      <a:lvl6pPr marL="456601"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6pPr>
      <a:lvl7pPr marL="913193"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7pPr>
      <a:lvl8pPr marL="136979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8pPr>
      <a:lvl9pPr marL="1826387"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9pPr>
    </p:titleStyle>
    <p:bodyStyle>
      <a:lvl1pPr marL="342447" indent="-342447" algn="l" rtl="0" eaLnBrk="0" fontAlgn="base" latinLnBrk="1" hangingPunct="0">
        <a:spcBef>
          <a:spcPct val="20000"/>
        </a:spcBef>
        <a:spcAft>
          <a:spcPct val="0"/>
        </a:spcAft>
        <a:buChar char="•"/>
        <a:defRPr kumimoji="1" sz="3200">
          <a:solidFill>
            <a:schemeClr val="tx1"/>
          </a:solidFill>
          <a:latin typeface="Gulim" pitchFamily="34" charset="-127"/>
          <a:ea typeface="Gulim" pitchFamily="34" charset="-127"/>
          <a:cs typeface="굴림" charset="0"/>
        </a:defRPr>
      </a:lvl1pPr>
      <a:lvl2pPr marL="741970" indent="-285374" algn="l" rtl="0" eaLnBrk="0" fontAlgn="base" latinLnBrk="1" hangingPunct="0">
        <a:spcBef>
          <a:spcPct val="20000"/>
        </a:spcBef>
        <a:spcAft>
          <a:spcPct val="0"/>
        </a:spcAft>
        <a:buChar char="–"/>
        <a:defRPr kumimoji="1" sz="2800">
          <a:solidFill>
            <a:schemeClr val="tx1"/>
          </a:solidFill>
          <a:latin typeface="Gulim" pitchFamily="34" charset="-127"/>
          <a:ea typeface="Gulim" pitchFamily="34" charset="-127"/>
          <a:cs typeface="굴림" charset="0"/>
        </a:defRPr>
      </a:lvl2pPr>
      <a:lvl3pPr marL="1141491" indent="-228295" algn="l" rtl="0" eaLnBrk="0" fontAlgn="base" latinLnBrk="1" hangingPunct="0">
        <a:spcBef>
          <a:spcPct val="20000"/>
        </a:spcBef>
        <a:spcAft>
          <a:spcPct val="0"/>
        </a:spcAft>
        <a:buChar char="•"/>
        <a:defRPr kumimoji="1" sz="2400">
          <a:solidFill>
            <a:schemeClr val="tx1"/>
          </a:solidFill>
          <a:latin typeface="Gulim" pitchFamily="34" charset="-127"/>
          <a:ea typeface="Gulim" pitchFamily="34" charset="-127"/>
          <a:cs typeface="굴림" charset="0"/>
        </a:defRPr>
      </a:lvl3pPr>
      <a:lvl4pPr marL="1598088"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4pPr>
      <a:lvl5pPr marL="2054686" indent="-228295" algn="l" rtl="0" eaLnBrk="0" fontAlgn="base" latinLnBrk="1" hangingPunct="0">
        <a:spcBef>
          <a:spcPct val="20000"/>
        </a:spcBef>
        <a:spcAft>
          <a:spcPct val="0"/>
        </a:spcAft>
        <a:buChar char="»"/>
        <a:defRPr kumimoji="1" sz="2000">
          <a:solidFill>
            <a:schemeClr val="tx1"/>
          </a:solidFill>
          <a:latin typeface="Gulim" pitchFamily="34" charset="-127"/>
          <a:ea typeface="Gulim" pitchFamily="34" charset="-127"/>
          <a:cs typeface="굴림" charset="0"/>
        </a:defRPr>
      </a:lvl5pPr>
      <a:lvl6pPr marL="2511281" indent="-228295" algn="l" rtl="0" fontAlgn="base" latinLnBrk="1">
        <a:spcBef>
          <a:spcPct val="20000"/>
        </a:spcBef>
        <a:spcAft>
          <a:spcPct val="0"/>
        </a:spcAft>
        <a:buChar char="»"/>
        <a:defRPr kumimoji="1" sz="2000">
          <a:solidFill>
            <a:schemeClr val="tx1"/>
          </a:solidFill>
          <a:latin typeface="+mn-lt"/>
          <a:ea typeface="+mn-ea"/>
        </a:defRPr>
      </a:lvl6pPr>
      <a:lvl7pPr marL="2967877" indent="-228295" algn="l" rtl="0" fontAlgn="base" latinLnBrk="1">
        <a:spcBef>
          <a:spcPct val="20000"/>
        </a:spcBef>
        <a:spcAft>
          <a:spcPct val="0"/>
        </a:spcAft>
        <a:buChar char="»"/>
        <a:defRPr kumimoji="1" sz="2000">
          <a:solidFill>
            <a:schemeClr val="tx1"/>
          </a:solidFill>
          <a:latin typeface="+mn-lt"/>
          <a:ea typeface="+mn-ea"/>
        </a:defRPr>
      </a:lvl7pPr>
      <a:lvl8pPr marL="3424474" indent="-228295" algn="l" rtl="0" fontAlgn="base" latinLnBrk="1">
        <a:spcBef>
          <a:spcPct val="20000"/>
        </a:spcBef>
        <a:spcAft>
          <a:spcPct val="0"/>
        </a:spcAft>
        <a:buChar char="»"/>
        <a:defRPr kumimoji="1" sz="2000">
          <a:solidFill>
            <a:schemeClr val="tx1"/>
          </a:solidFill>
          <a:latin typeface="+mn-lt"/>
          <a:ea typeface="+mn-ea"/>
        </a:defRPr>
      </a:lvl8pPr>
      <a:lvl9pPr marL="3881068" indent="-228295"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3193" rtl="0" eaLnBrk="1" latinLnBrk="1" hangingPunct="1">
        <a:defRPr sz="1800" kern="1200">
          <a:solidFill>
            <a:schemeClr val="tx1"/>
          </a:solidFill>
          <a:latin typeface="+mn-lt"/>
          <a:ea typeface="+mn-ea"/>
          <a:cs typeface="+mn-cs"/>
        </a:defRPr>
      </a:lvl1pPr>
      <a:lvl2pPr marL="456601" algn="l" defTabSz="913193" rtl="0" eaLnBrk="1" latinLnBrk="1" hangingPunct="1">
        <a:defRPr sz="1800" kern="1200">
          <a:solidFill>
            <a:schemeClr val="tx1"/>
          </a:solidFill>
          <a:latin typeface="+mn-lt"/>
          <a:ea typeface="+mn-ea"/>
          <a:cs typeface="+mn-cs"/>
        </a:defRPr>
      </a:lvl2pPr>
      <a:lvl3pPr marL="913193" algn="l" defTabSz="913193" rtl="0" eaLnBrk="1" latinLnBrk="1" hangingPunct="1">
        <a:defRPr sz="1800" kern="1200">
          <a:solidFill>
            <a:schemeClr val="tx1"/>
          </a:solidFill>
          <a:latin typeface="+mn-lt"/>
          <a:ea typeface="+mn-ea"/>
          <a:cs typeface="+mn-cs"/>
        </a:defRPr>
      </a:lvl3pPr>
      <a:lvl4pPr marL="1369790" algn="l" defTabSz="913193" rtl="0" eaLnBrk="1" latinLnBrk="1" hangingPunct="1">
        <a:defRPr sz="1800" kern="1200">
          <a:solidFill>
            <a:schemeClr val="tx1"/>
          </a:solidFill>
          <a:latin typeface="+mn-lt"/>
          <a:ea typeface="+mn-ea"/>
          <a:cs typeface="+mn-cs"/>
        </a:defRPr>
      </a:lvl4pPr>
      <a:lvl5pPr marL="1826387" algn="l" defTabSz="913193" rtl="0" eaLnBrk="1" latinLnBrk="1" hangingPunct="1">
        <a:defRPr sz="1800" kern="1200">
          <a:solidFill>
            <a:schemeClr val="tx1"/>
          </a:solidFill>
          <a:latin typeface="+mn-lt"/>
          <a:ea typeface="+mn-ea"/>
          <a:cs typeface="+mn-cs"/>
        </a:defRPr>
      </a:lvl5pPr>
      <a:lvl6pPr marL="2282983" algn="l" defTabSz="913193" rtl="0" eaLnBrk="1" latinLnBrk="1" hangingPunct="1">
        <a:defRPr sz="1800" kern="1200">
          <a:solidFill>
            <a:schemeClr val="tx1"/>
          </a:solidFill>
          <a:latin typeface="+mn-lt"/>
          <a:ea typeface="+mn-ea"/>
          <a:cs typeface="+mn-cs"/>
        </a:defRPr>
      </a:lvl6pPr>
      <a:lvl7pPr marL="2739579" algn="l" defTabSz="913193" rtl="0" eaLnBrk="1" latinLnBrk="1" hangingPunct="1">
        <a:defRPr sz="1800" kern="1200">
          <a:solidFill>
            <a:schemeClr val="tx1"/>
          </a:solidFill>
          <a:latin typeface="+mn-lt"/>
          <a:ea typeface="+mn-ea"/>
          <a:cs typeface="+mn-cs"/>
        </a:defRPr>
      </a:lvl7pPr>
      <a:lvl8pPr marL="3196176" algn="l" defTabSz="913193" rtl="0" eaLnBrk="1" latinLnBrk="1" hangingPunct="1">
        <a:defRPr sz="1800" kern="1200">
          <a:solidFill>
            <a:schemeClr val="tx1"/>
          </a:solidFill>
          <a:latin typeface="+mn-lt"/>
          <a:ea typeface="+mn-ea"/>
          <a:cs typeface="+mn-cs"/>
        </a:defRPr>
      </a:lvl8pPr>
      <a:lvl9pPr marL="3652772" algn="l" defTabSz="913193" rtl="0" eaLnBrk="1" latinLnBrk="1"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DB20B58-A921-7C4F-A0D6-93B1E4D4711B}" type="datetimeFigureOut">
              <a:rPr lang="en-US" smtClean="0"/>
              <a:pPr/>
              <a:t>5/6/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98804C3-C3AC-0B4A-A441-A7914BC894E0}" type="slidenum">
              <a:rPr lang="en-US" smtClean="0"/>
              <a:pPr/>
              <a:t>‹#›</a:t>
            </a:fld>
            <a:endParaRPr lang="en-US"/>
          </a:p>
        </p:txBody>
      </p:sp>
    </p:spTree>
    <p:extLst>
      <p:ext uri="{BB962C8B-B14F-4D97-AF65-F5344CB8AC3E}">
        <p14:creationId xmlns:p14="http://schemas.microsoft.com/office/powerpoint/2010/main" val="1009599114"/>
      </p:ext>
    </p:extLst>
  </p:cSld>
  <p:clrMap bg1="lt1" tx1="dk1" bg2="lt2" tx2="dk2" accent1="accent1" accent2="accent2" accent3="accent3" accent4="accent4" accent5="accent5" accent6="accent6" hlink="hlink" folHlink="folHlink"/>
  <p:sldLayoutIdLst>
    <p:sldLayoutId id="2147483885" r:id="rId1"/>
    <p:sldLayoutId id="2147483903" r:id="rId2"/>
    <p:sldLayoutId id="2147483904" r:id="rId3"/>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C8F0FF"/>
        </a:solidFill>
        <a:effectLst/>
      </p:bgPr>
    </p:bg>
    <p:spTree>
      <p:nvGrpSpPr>
        <p:cNvPr id="1" name=""/>
        <p:cNvGrpSpPr/>
        <p:nvPr/>
      </p:nvGrpSpPr>
      <p:grpSpPr>
        <a:xfrm>
          <a:off x="0" y="0"/>
          <a:ext cx="0" cy="0"/>
          <a:chOff x="0" y="0"/>
          <a:chExt cx="0" cy="0"/>
        </a:xfrm>
      </p:grpSpPr>
      <p:pic>
        <p:nvPicPr>
          <p:cNvPr id="3074" name="Picture 7" descr="eg-flag1 moving"/>
          <p:cNvPicPr>
            <a:picLocks noChangeAspect="1" noChangeArrowheads="1" noCrop="1"/>
          </p:cNvPicPr>
          <p:nvPr userDrawn="1"/>
        </p:nvPicPr>
        <p:blipFill>
          <a:blip r:embed="rId3" cstate="print"/>
          <a:srcRect/>
          <a:stretch>
            <a:fillRect/>
          </a:stretch>
        </p:blipFill>
        <p:spPr bwMode="auto">
          <a:xfrm>
            <a:off x="215900" y="152400"/>
            <a:ext cx="1350963" cy="781050"/>
          </a:xfrm>
          <a:prstGeom prst="rect">
            <a:avLst/>
          </a:prstGeom>
          <a:noFill/>
          <a:ln w="9525">
            <a:noFill/>
            <a:miter lim="800000"/>
            <a:headEnd/>
            <a:tailEnd/>
          </a:ln>
        </p:spPr>
      </p:pic>
      <p:sp>
        <p:nvSpPr>
          <p:cNvPr id="1037" name="Rectangle 13"/>
          <p:cNvSpPr>
            <a:spLocks noGrp="1" noChangeArrowheads="1"/>
          </p:cNvSpPr>
          <p:nvPr>
            <p:ph type="sldNum" sz="quarter" idx="4"/>
          </p:nvPr>
        </p:nvSpPr>
        <p:spPr bwMode="auto">
          <a:xfrm>
            <a:off x="287338" y="944563"/>
            <a:ext cx="431800" cy="4667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rtl="1">
              <a:lnSpc>
                <a:spcPct val="100000"/>
              </a:lnSpc>
              <a:spcBef>
                <a:spcPct val="0"/>
              </a:spcBef>
              <a:buFontTx/>
              <a:buNone/>
              <a:defRPr sz="1600" b="1">
                <a:solidFill>
                  <a:schemeClr val="tx1"/>
                </a:solidFill>
              </a:defRPr>
            </a:lvl1pPr>
          </a:lstStyle>
          <a:p>
            <a:pPr>
              <a:defRPr/>
            </a:pPr>
            <a:fld id="{198705C6-486E-41CF-BE24-A17EB8E807EE}" type="slidenum">
              <a:rPr lang="x-none"/>
              <a:pPr>
                <a:defRPr/>
              </a:pPr>
              <a:t>‹#›</a:t>
            </a:fld>
            <a:endParaRPr lang="en-US"/>
          </a:p>
        </p:txBody>
      </p:sp>
      <p:pic>
        <p:nvPicPr>
          <p:cNvPr id="3076" name="Picture 18" descr="eagle2"/>
          <p:cNvPicPr>
            <a:picLocks noChangeAspect="1" noChangeArrowheads="1"/>
          </p:cNvPicPr>
          <p:nvPr userDrawn="1"/>
        </p:nvPicPr>
        <p:blipFill>
          <a:blip r:embed="rId4" cstate="print"/>
          <a:srcRect/>
          <a:stretch>
            <a:fillRect/>
          </a:stretch>
        </p:blipFill>
        <p:spPr bwMode="auto">
          <a:xfrm>
            <a:off x="7488238" y="260350"/>
            <a:ext cx="454025" cy="573088"/>
          </a:xfrm>
          <a:prstGeom prst="rect">
            <a:avLst/>
          </a:prstGeom>
          <a:noFill/>
          <a:ln w="9525">
            <a:noFill/>
            <a:miter lim="800000"/>
            <a:headEnd/>
            <a:tailEnd/>
          </a:ln>
        </p:spPr>
      </p:pic>
      <p:sp>
        <p:nvSpPr>
          <p:cNvPr id="1043" name="Text Box 19"/>
          <p:cNvSpPr txBox="1">
            <a:spLocks noChangeArrowheads="1"/>
          </p:cNvSpPr>
          <p:nvPr userDrawn="1"/>
        </p:nvSpPr>
        <p:spPr bwMode="auto">
          <a:xfrm>
            <a:off x="6264275" y="873125"/>
            <a:ext cx="2879725" cy="336550"/>
          </a:xfrm>
          <a:prstGeom prst="rect">
            <a:avLst/>
          </a:prstGeom>
          <a:noFill/>
          <a:ln w="9525">
            <a:noFill/>
            <a:miter lim="800000"/>
            <a:headEnd/>
            <a:tailEnd/>
          </a:ln>
          <a:effectLst/>
        </p:spPr>
        <p:txBody>
          <a:bodyPr>
            <a:spAutoFit/>
          </a:bodyPr>
          <a:lstStyle/>
          <a:p>
            <a:pPr algn="ctr" rtl="1">
              <a:spcBef>
                <a:spcPct val="50000"/>
              </a:spcBef>
              <a:defRPr/>
            </a:pPr>
            <a:r>
              <a:rPr lang="en-US" sz="1600" b="1">
                <a:solidFill>
                  <a:schemeClr val="tx1"/>
                </a:solidFill>
                <a:latin typeface="Times New Roman" pitchFamily="18" charset="0"/>
                <a:cs typeface="Times New Roman" pitchFamily="18" charset="0"/>
              </a:rPr>
              <a:t>Ministry of Scientific Research</a:t>
            </a:r>
          </a:p>
        </p:txBody>
      </p:sp>
      <p:sp>
        <p:nvSpPr>
          <p:cNvPr id="1044" name="Text Box 20"/>
          <p:cNvSpPr txBox="1">
            <a:spLocks noChangeArrowheads="1"/>
          </p:cNvSpPr>
          <p:nvPr userDrawn="1"/>
        </p:nvSpPr>
        <p:spPr bwMode="auto">
          <a:xfrm>
            <a:off x="611188" y="4976813"/>
            <a:ext cx="1908175" cy="384175"/>
          </a:xfrm>
          <a:prstGeom prst="rect">
            <a:avLst/>
          </a:prstGeom>
          <a:noFill/>
          <a:ln w="9525" algn="ctr">
            <a:noFill/>
            <a:miter lim="800000"/>
            <a:headEnd/>
            <a:tailEnd/>
          </a:ln>
          <a:effectLst/>
        </p:spPr>
        <p:txBody>
          <a:bodyPr>
            <a:spAutoFit/>
          </a:bodyPr>
          <a:lstStyle/>
          <a:p>
            <a:pPr marL="609600" indent="-609600">
              <a:lnSpc>
                <a:spcPct val="80000"/>
              </a:lnSpc>
              <a:spcBef>
                <a:spcPct val="50000"/>
              </a:spcBef>
              <a:defRPr/>
            </a:pPr>
            <a:endParaRPr lang="en-US"/>
          </a:p>
        </p:txBody>
      </p:sp>
      <p:sp>
        <p:nvSpPr>
          <p:cNvPr id="1047" name="Rectangle 23"/>
          <p:cNvSpPr>
            <a:spLocks noGrp="1" noChangeArrowheads="1"/>
          </p:cNvSpPr>
          <p:nvPr>
            <p:ph type="ftr" sz="quarter" idx="3"/>
          </p:nvPr>
        </p:nvSpPr>
        <p:spPr bwMode="auto">
          <a:xfrm>
            <a:off x="2124075" y="6381750"/>
            <a:ext cx="3895725"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rtl="1">
              <a:lnSpc>
                <a:spcPct val="100000"/>
              </a:lnSpc>
              <a:spcBef>
                <a:spcPct val="0"/>
              </a:spcBef>
              <a:buFontTx/>
              <a:buNone/>
              <a:defRPr sz="1400">
                <a:solidFill>
                  <a:schemeClr val="tx1"/>
                </a:solidFill>
              </a:defRPr>
            </a:lvl1pPr>
          </a:lstStyle>
          <a:p>
            <a:pPr>
              <a:defRPr/>
            </a:pPr>
            <a:r>
              <a:rPr lang="en-US"/>
              <a:t>Towards Science, Technology and Innovation</a:t>
            </a:r>
          </a:p>
        </p:txBody>
      </p:sp>
      <p:sp>
        <p:nvSpPr>
          <p:cNvPr id="1050" name="Rectangle 26"/>
          <p:cNvSpPr>
            <a:spLocks noGrp="1" noChangeArrowheads="1"/>
          </p:cNvSpPr>
          <p:nvPr>
            <p:ph type="dt" sz="half" idx="2"/>
          </p:nvPr>
        </p:nvSpPr>
        <p:spPr bwMode="auto">
          <a:xfrm>
            <a:off x="6551613" y="6381750"/>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rtl="1">
              <a:lnSpc>
                <a:spcPct val="100000"/>
              </a:lnSpc>
              <a:spcBef>
                <a:spcPct val="0"/>
              </a:spcBef>
              <a:buFontTx/>
              <a:buNone/>
              <a:defRPr sz="1400">
                <a:solidFill>
                  <a:schemeClr val="tx1"/>
                </a:solidFill>
              </a:defRPr>
            </a:lvl1pPr>
          </a:lstStyle>
          <a:p>
            <a:pPr>
              <a:defRPr/>
            </a:pPr>
            <a:fld id="{A3FB15B6-F8BC-49BC-A62D-DDE9DABBA407}" type="datetime1">
              <a:rPr lang="en-US"/>
              <a:pPr>
                <a:defRPr/>
              </a:pPr>
              <a:t>5/6/2013</a:t>
            </a:fld>
            <a:endParaRPr lang="en-US"/>
          </a:p>
        </p:txBody>
      </p:sp>
    </p:spTree>
  </p:cSld>
  <p:clrMap bg1="lt1" tx1="dk1" bg2="lt2" tx2="dk2" accent1="accent1" accent2="accent2" accent3="accent3" accent4="accent4" accent5="accent5" accent6="accent6" hlink="hlink" folHlink="folHlink"/>
  <p:sldLayoutIdLst>
    <p:sldLayoutId id="2147483888" r:id="rId1"/>
  </p:sldLayoutIdLst>
  <p:timing>
    <p:tnLst>
      <p:par>
        <p:cTn id="1" dur="indefinite" restart="never" nodeType="tmRoot"/>
      </p:par>
    </p:tnLst>
  </p:timing>
  <p:hf hdr="0"/>
  <p:txStyles>
    <p:titleStyle>
      <a:lvl1pPr algn="ctr" rtl="1" eaLnBrk="0" fontAlgn="base" hangingPunct="0">
        <a:spcBef>
          <a:spcPct val="0"/>
        </a:spcBef>
        <a:spcAft>
          <a:spcPct val="0"/>
        </a:spcAft>
        <a:defRPr sz="4400">
          <a:solidFill>
            <a:schemeClr val="tx2"/>
          </a:solidFill>
          <a:latin typeface="+mj-lt"/>
          <a:ea typeface="+mj-ea"/>
          <a:cs typeface="+mj-cs"/>
        </a:defRPr>
      </a:lvl1pPr>
      <a:lvl2pPr algn="ctr" rtl="1" eaLnBrk="0" fontAlgn="base" hangingPunct="0">
        <a:spcBef>
          <a:spcPct val="0"/>
        </a:spcBef>
        <a:spcAft>
          <a:spcPct val="0"/>
        </a:spcAft>
        <a:defRPr sz="4400">
          <a:solidFill>
            <a:schemeClr val="tx2"/>
          </a:solidFill>
          <a:latin typeface="Arial" charset="0"/>
          <a:cs typeface="Arial" charset="0"/>
        </a:defRPr>
      </a:lvl2pPr>
      <a:lvl3pPr algn="ctr" rtl="1" eaLnBrk="0" fontAlgn="base" hangingPunct="0">
        <a:spcBef>
          <a:spcPct val="0"/>
        </a:spcBef>
        <a:spcAft>
          <a:spcPct val="0"/>
        </a:spcAft>
        <a:defRPr sz="4400">
          <a:solidFill>
            <a:schemeClr val="tx2"/>
          </a:solidFill>
          <a:latin typeface="Arial" charset="0"/>
          <a:cs typeface="Arial" charset="0"/>
        </a:defRPr>
      </a:lvl3pPr>
      <a:lvl4pPr algn="ctr" rtl="1" eaLnBrk="0" fontAlgn="base" hangingPunct="0">
        <a:spcBef>
          <a:spcPct val="0"/>
        </a:spcBef>
        <a:spcAft>
          <a:spcPct val="0"/>
        </a:spcAft>
        <a:defRPr sz="4400">
          <a:solidFill>
            <a:schemeClr val="tx2"/>
          </a:solidFill>
          <a:latin typeface="Arial" charset="0"/>
          <a:cs typeface="Arial" charset="0"/>
        </a:defRPr>
      </a:lvl4pPr>
      <a:lvl5pPr algn="ctr" rtl="1" eaLnBrk="0" fontAlgn="base" hangingPunct="0">
        <a:spcBef>
          <a:spcPct val="0"/>
        </a:spcBef>
        <a:spcAft>
          <a:spcPct val="0"/>
        </a:spcAft>
        <a:defRPr sz="4400">
          <a:solidFill>
            <a:schemeClr val="tx2"/>
          </a:solidFill>
          <a:latin typeface="Arial" charset="0"/>
          <a:cs typeface="Arial" charset="0"/>
        </a:defRPr>
      </a:lvl5pPr>
      <a:lvl6pPr marL="457200" algn="ctr" rtl="1" fontAlgn="base">
        <a:spcBef>
          <a:spcPct val="0"/>
        </a:spcBef>
        <a:spcAft>
          <a:spcPct val="0"/>
        </a:spcAft>
        <a:defRPr sz="4400">
          <a:solidFill>
            <a:schemeClr val="tx2"/>
          </a:solidFill>
          <a:latin typeface="Arial" charset="0"/>
          <a:cs typeface="Arial" charset="0"/>
        </a:defRPr>
      </a:lvl6pPr>
      <a:lvl7pPr marL="914400" algn="ctr" rtl="1" fontAlgn="base">
        <a:spcBef>
          <a:spcPct val="0"/>
        </a:spcBef>
        <a:spcAft>
          <a:spcPct val="0"/>
        </a:spcAft>
        <a:defRPr sz="4400">
          <a:solidFill>
            <a:schemeClr val="tx2"/>
          </a:solidFill>
          <a:latin typeface="Arial" charset="0"/>
          <a:cs typeface="Arial" charset="0"/>
        </a:defRPr>
      </a:lvl7pPr>
      <a:lvl8pPr marL="1371600" algn="ctr" rtl="1" fontAlgn="base">
        <a:spcBef>
          <a:spcPct val="0"/>
        </a:spcBef>
        <a:spcAft>
          <a:spcPct val="0"/>
        </a:spcAft>
        <a:defRPr sz="4400">
          <a:solidFill>
            <a:schemeClr val="tx2"/>
          </a:solidFill>
          <a:latin typeface="Arial" charset="0"/>
          <a:cs typeface="Arial" charset="0"/>
        </a:defRPr>
      </a:lvl8pPr>
      <a:lvl9pPr marL="1828800" algn="ctr" rtl="1" fontAlgn="base">
        <a:spcBef>
          <a:spcPct val="0"/>
        </a:spcBef>
        <a:spcAft>
          <a:spcPct val="0"/>
        </a:spcAft>
        <a:defRPr sz="4400">
          <a:solidFill>
            <a:schemeClr val="tx2"/>
          </a:solidFill>
          <a:latin typeface="Arial" charset="0"/>
          <a:cs typeface="Arial" charset="0"/>
        </a:defRPr>
      </a:lvl9pPr>
    </p:titleStyle>
    <p:bodyStyle>
      <a:lvl1pPr marL="342900" indent="-342900" algn="r" rtl="1" eaLnBrk="0" fontAlgn="base" hangingPunct="0">
        <a:spcBef>
          <a:spcPct val="20000"/>
        </a:spcBef>
        <a:spcAft>
          <a:spcPct val="0"/>
        </a:spcAft>
        <a:buChar char="•"/>
        <a:defRPr sz="3200">
          <a:solidFill>
            <a:schemeClr val="tx1"/>
          </a:solidFill>
          <a:latin typeface="+mn-lt"/>
          <a:ea typeface="+mn-ea"/>
          <a:cs typeface="+mn-cs"/>
        </a:defRPr>
      </a:lvl1pPr>
      <a:lvl2pPr marL="742950" indent="-285750" algn="r" rtl="1" eaLnBrk="0" fontAlgn="base" hangingPunct="0">
        <a:spcBef>
          <a:spcPct val="20000"/>
        </a:spcBef>
        <a:spcAft>
          <a:spcPct val="0"/>
        </a:spcAft>
        <a:buChar char="–"/>
        <a:defRPr sz="2800">
          <a:solidFill>
            <a:schemeClr val="tx1"/>
          </a:solidFill>
          <a:latin typeface="+mn-lt"/>
          <a:cs typeface="+mn-cs"/>
        </a:defRPr>
      </a:lvl2pPr>
      <a:lvl3pPr marL="1143000" indent="-228600" algn="r" rtl="1" eaLnBrk="0" fontAlgn="base" hangingPunct="0">
        <a:spcBef>
          <a:spcPct val="20000"/>
        </a:spcBef>
        <a:spcAft>
          <a:spcPct val="0"/>
        </a:spcAft>
        <a:buChar char="•"/>
        <a:defRPr sz="2400">
          <a:solidFill>
            <a:schemeClr val="tx1"/>
          </a:solidFill>
          <a:latin typeface="+mn-lt"/>
          <a:cs typeface="+mn-cs"/>
        </a:defRPr>
      </a:lvl3pPr>
      <a:lvl4pPr marL="1600200" indent="-228600" algn="r" rtl="1" eaLnBrk="0" fontAlgn="base" hangingPunct="0">
        <a:spcBef>
          <a:spcPct val="20000"/>
        </a:spcBef>
        <a:spcAft>
          <a:spcPct val="0"/>
        </a:spcAft>
        <a:buChar char="–"/>
        <a:defRPr sz="2000">
          <a:solidFill>
            <a:schemeClr val="tx1"/>
          </a:solidFill>
          <a:latin typeface="+mn-lt"/>
          <a:cs typeface="+mn-cs"/>
        </a:defRPr>
      </a:lvl4pPr>
      <a:lvl5pPr marL="2057400" indent="-228600" algn="r" rtl="1" eaLnBrk="0" fontAlgn="base" hangingPunct="0">
        <a:spcBef>
          <a:spcPct val="20000"/>
        </a:spcBef>
        <a:spcAft>
          <a:spcPct val="0"/>
        </a:spcAft>
        <a:buChar char="»"/>
        <a:defRPr sz="2000">
          <a:solidFill>
            <a:schemeClr val="tx1"/>
          </a:solidFill>
          <a:latin typeface="+mn-lt"/>
          <a:cs typeface="+mn-cs"/>
        </a:defRPr>
      </a:lvl5pPr>
      <a:lvl6pPr marL="2514600" indent="-228600" algn="r" rtl="1" fontAlgn="base">
        <a:spcBef>
          <a:spcPct val="20000"/>
        </a:spcBef>
        <a:spcAft>
          <a:spcPct val="0"/>
        </a:spcAft>
        <a:buChar char="»"/>
        <a:defRPr sz="2000">
          <a:solidFill>
            <a:schemeClr val="tx1"/>
          </a:solidFill>
          <a:latin typeface="+mn-lt"/>
          <a:cs typeface="+mn-cs"/>
        </a:defRPr>
      </a:lvl6pPr>
      <a:lvl7pPr marL="2971800" indent="-228600" algn="r" rtl="1" fontAlgn="base">
        <a:spcBef>
          <a:spcPct val="20000"/>
        </a:spcBef>
        <a:spcAft>
          <a:spcPct val="0"/>
        </a:spcAft>
        <a:buChar char="»"/>
        <a:defRPr sz="2000">
          <a:solidFill>
            <a:schemeClr val="tx1"/>
          </a:solidFill>
          <a:latin typeface="+mn-lt"/>
          <a:cs typeface="+mn-cs"/>
        </a:defRPr>
      </a:lvl7pPr>
      <a:lvl8pPr marL="3429000" indent="-228600" algn="r" rtl="1" fontAlgn="base">
        <a:spcBef>
          <a:spcPct val="20000"/>
        </a:spcBef>
        <a:spcAft>
          <a:spcPct val="0"/>
        </a:spcAft>
        <a:buChar char="»"/>
        <a:defRPr sz="2000">
          <a:solidFill>
            <a:schemeClr val="tx1"/>
          </a:solidFill>
          <a:latin typeface="+mn-lt"/>
          <a:cs typeface="+mn-cs"/>
        </a:defRPr>
      </a:lvl8pPr>
      <a:lvl9pPr marL="3886200" indent="-228600" algn="r" rtl="1" fontAlgn="base">
        <a:spcBef>
          <a:spcPct val="20000"/>
        </a:spcBef>
        <a:spcAft>
          <a:spcPct val="0"/>
        </a:spcAft>
        <a:buChar char="»"/>
        <a:defRPr sz="20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13" descr="1"/>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038" name="Rectangle 14"/>
          <p:cNvSpPr>
            <a:spLocks noGrp="1" noChangeArrowheads="1"/>
          </p:cNvSpPr>
          <p:nvPr>
            <p:ph type="sldNum" sz="quarter" idx="4"/>
          </p:nvPr>
        </p:nvSpPr>
        <p:spPr bwMode="auto">
          <a:xfrm>
            <a:off x="6975475" y="6586538"/>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b="1">
                <a:solidFill>
                  <a:schemeClr val="bg1"/>
                </a:solidFill>
                <a:latin typeface="Arial" charset="0"/>
              </a:defRPr>
            </a:lvl1pPr>
          </a:lstStyle>
          <a:p>
            <a:pPr defTabSz="914400" fontAlgn="base" latinLnBrk="1">
              <a:spcBef>
                <a:spcPct val="0"/>
              </a:spcBef>
              <a:spcAft>
                <a:spcPct val="0"/>
              </a:spcAft>
            </a:pPr>
            <a:fld id="{E92CFF53-95B4-1447-9879-CA232B807BB1}" type="slidenum">
              <a:rPr kumimoji="1" lang="en-US" altLang="ko-KR" smtClean="0">
                <a:solidFill>
                  <a:srgbClr val="FFFFFF"/>
                </a:solidFill>
                <a:ea typeface="굴림" charset="0"/>
                <a:cs typeface="굴림" charset="0"/>
              </a:rPr>
              <a:pPr defTabSz="914400" fontAlgn="base" latinLnBrk="1">
                <a:spcBef>
                  <a:spcPct val="0"/>
                </a:spcBef>
                <a:spcAft>
                  <a:spcPct val="0"/>
                </a:spcAft>
              </a:pPr>
              <a:t>‹#›</a:t>
            </a:fld>
            <a:endParaRPr kumimoji="1" lang="en-US" altLang="ko-KR" smtClean="0">
              <a:solidFill>
                <a:srgbClr val="FFFFFF"/>
              </a:solidFill>
              <a:ea typeface="굴림" charset="0"/>
              <a:cs typeface="굴림" charset="0"/>
            </a:endParaRPr>
          </a:p>
        </p:txBody>
      </p:sp>
      <p:pic>
        <p:nvPicPr>
          <p:cNvPr id="1028" name="Picture 2" descr="eg-flag1 moving"/>
          <p:cNvPicPr>
            <a:picLocks noChangeAspect="1" noChangeArrowheads="1" noCrop="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179388" y="115888"/>
            <a:ext cx="1152525" cy="666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5" name="Picture 4" descr="logo2.gif"/>
          <p:cNvPicPr>
            <a:picLocks noChangeAspect="1"/>
          </p:cNvPicPr>
          <p:nvPr userDrawn="1"/>
        </p:nvPicPr>
        <p:blipFill>
          <a:blip r:embed="rId5" cstate="print">
            <a:extLst/>
          </a:blip>
          <a:stretch>
            <a:fillRect/>
          </a:stretch>
        </p:blipFill>
        <p:spPr>
          <a:xfrm>
            <a:off x="7884368" y="2704"/>
            <a:ext cx="1080120" cy="1083228"/>
          </a:xfrm>
          <a:prstGeom prst="rect">
            <a:avLst/>
          </a:prstGeom>
          <a:ln>
            <a:noFill/>
          </a:ln>
          <a:effectLst>
            <a:glow rad="88900">
              <a:schemeClr val="bg1">
                <a:alpha val="9000"/>
              </a:schemeClr>
            </a:glow>
            <a:outerShdw blurRad="190500" algn="tl" rotWithShape="0">
              <a:srgbClr val="000000">
                <a:alpha val="70000"/>
              </a:srgbClr>
            </a:outerShdw>
          </a:effectLst>
        </p:spPr>
      </p:pic>
    </p:spTree>
  </p:cSld>
  <p:clrMap bg1="lt1" tx1="dk1" bg2="lt2" tx2="dk2" accent1="accent1" accent2="accent2" accent3="accent3" accent4="accent4" accent5="accent5" accent6="accent6" hlink="hlink" folHlink="folHlink"/>
  <p:sldLayoutIdLst>
    <p:sldLayoutId id="2147483890" r:id="rId1"/>
  </p:sldLayoutIdLst>
  <p:transition>
    <p:zoom/>
  </p:transition>
  <p:timing>
    <p:tnLst>
      <p:par>
        <p:cTn id="1" dur="indefinite" restart="never" nodeType="tmRoot"/>
      </p:par>
    </p:tnLst>
  </p:timing>
  <p:hf hdr="0" ftr="0" dt="0"/>
  <p:txStyles>
    <p:titleStyle>
      <a:lvl1pPr algn="l" rtl="0" eaLnBrk="0" fontAlgn="base" latinLnBrk="1" hangingPunct="0">
        <a:spcBef>
          <a:spcPct val="0"/>
        </a:spcBef>
        <a:spcAft>
          <a:spcPct val="0"/>
        </a:spcAft>
        <a:defRPr kumimoji="1" sz="3200">
          <a:solidFill>
            <a:srgbClr val="FFFF00"/>
          </a:solidFill>
          <a:latin typeface="+mj-lt"/>
          <a:ea typeface="+mj-ea"/>
          <a:cs typeface="HY헤드라인M" charset="0"/>
        </a:defRPr>
      </a:lvl1pPr>
      <a:lvl2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2pPr>
      <a:lvl3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3pPr>
      <a:lvl4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4pPr>
      <a:lvl5pPr algn="l" rtl="0" eaLnBrk="0" fontAlgn="base" latinLnBrk="1" hangingPunct="0">
        <a:spcBef>
          <a:spcPct val="0"/>
        </a:spcBef>
        <a:spcAft>
          <a:spcPct val="0"/>
        </a:spcAft>
        <a:defRPr kumimoji="1" sz="3200">
          <a:solidFill>
            <a:srgbClr val="FFFF00"/>
          </a:solidFill>
          <a:latin typeface="HY헤드라인M" pitchFamily="18" charset="-127"/>
          <a:ea typeface="HY헤드라인M" pitchFamily="18" charset="-127"/>
          <a:cs typeface="HY헤드라인M" charset="0"/>
        </a:defRPr>
      </a:lvl5pPr>
      <a:lvl6pPr marL="45720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6pPr>
      <a:lvl7pPr marL="91440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7pPr>
      <a:lvl8pPr marL="137160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8pPr>
      <a:lvl9pPr marL="1828800" algn="l" rtl="0" fontAlgn="base" latinLnBrk="1">
        <a:spcBef>
          <a:spcPct val="0"/>
        </a:spcBef>
        <a:spcAft>
          <a:spcPct val="0"/>
        </a:spcAft>
        <a:defRPr kumimoji="1" sz="3200">
          <a:solidFill>
            <a:srgbClr val="FFFF00"/>
          </a:solidFill>
          <a:latin typeface="HY헤드라인M" pitchFamily="18" charset="-127"/>
          <a:ea typeface="HY헤드라인M" pitchFamily="18" charset="-127"/>
        </a:defRPr>
      </a:lvl9pPr>
    </p:titleStyle>
    <p:bodyStyle>
      <a:lvl1pPr marL="342900" indent="-342900" algn="l" rtl="0" eaLnBrk="0" fontAlgn="base" latinLnBrk="1" hangingPunct="0">
        <a:spcBef>
          <a:spcPct val="20000"/>
        </a:spcBef>
        <a:spcAft>
          <a:spcPct val="0"/>
        </a:spcAft>
        <a:buChar char="•"/>
        <a:defRPr kumimoji="1" sz="3200">
          <a:solidFill>
            <a:schemeClr val="tx1"/>
          </a:solidFill>
          <a:latin typeface="+mn-lt"/>
          <a:ea typeface="+mn-ea"/>
          <a:cs typeface="굴림" charset="0"/>
        </a:defRPr>
      </a:lvl1pPr>
      <a:lvl2pPr marL="742950" indent="-285750" algn="l" rtl="0" eaLnBrk="0" fontAlgn="base" latinLnBrk="1" hangingPunct="0">
        <a:spcBef>
          <a:spcPct val="20000"/>
        </a:spcBef>
        <a:spcAft>
          <a:spcPct val="0"/>
        </a:spcAft>
        <a:buChar char="–"/>
        <a:defRPr kumimoji="1" sz="2800">
          <a:solidFill>
            <a:schemeClr val="tx1"/>
          </a:solidFill>
          <a:latin typeface="+mn-lt"/>
          <a:ea typeface="+mn-ea"/>
          <a:cs typeface="굴림" charset="0"/>
        </a:defRPr>
      </a:lvl2pPr>
      <a:lvl3pPr marL="1143000" indent="-228600" algn="l" rtl="0" eaLnBrk="0" fontAlgn="base" latinLnBrk="1" hangingPunct="0">
        <a:spcBef>
          <a:spcPct val="20000"/>
        </a:spcBef>
        <a:spcAft>
          <a:spcPct val="0"/>
        </a:spcAft>
        <a:buChar char="•"/>
        <a:defRPr kumimoji="1" sz="2400">
          <a:solidFill>
            <a:schemeClr val="tx1"/>
          </a:solidFill>
          <a:latin typeface="+mn-lt"/>
          <a:ea typeface="+mn-ea"/>
          <a:cs typeface="굴림" charset="0"/>
        </a:defRPr>
      </a:lvl3pPr>
      <a:lvl4pPr marL="1600200" indent="-228600" algn="l" rtl="0" eaLnBrk="0" fontAlgn="base" latinLnBrk="1" hangingPunct="0">
        <a:spcBef>
          <a:spcPct val="20000"/>
        </a:spcBef>
        <a:spcAft>
          <a:spcPct val="0"/>
        </a:spcAft>
        <a:buChar char="–"/>
        <a:defRPr kumimoji="1" sz="2000">
          <a:solidFill>
            <a:schemeClr val="tx1"/>
          </a:solidFill>
          <a:latin typeface="+mn-lt"/>
          <a:ea typeface="+mn-ea"/>
          <a:cs typeface="굴림" charset="0"/>
        </a:defRPr>
      </a:lvl4pPr>
      <a:lvl5pPr marL="2057400" indent="-228600" algn="l" rtl="0" eaLnBrk="0" fontAlgn="base" latinLnBrk="1" hangingPunct="0">
        <a:spcBef>
          <a:spcPct val="20000"/>
        </a:spcBef>
        <a:spcAft>
          <a:spcPct val="0"/>
        </a:spcAft>
        <a:buChar char="»"/>
        <a:defRPr kumimoji="1" sz="2000">
          <a:solidFill>
            <a:schemeClr val="tx1"/>
          </a:solidFill>
          <a:latin typeface="+mn-lt"/>
          <a:ea typeface="+mn-ea"/>
          <a:cs typeface="굴림" charset="0"/>
        </a:defRPr>
      </a:lvl5pPr>
      <a:lvl6pPr marL="2514600" indent="-228600" algn="l" rtl="0" fontAlgn="base" latinLnBrk="1">
        <a:spcBef>
          <a:spcPct val="20000"/>
        </a:spcBef>
        <a:spcAft>
          <a:spcPct val="0"/>
        </a:spcAft>
        <a:buChar char="»"/>
        <a:defRPr kumimoji="1" sz="2000">
          <a:solidFill>
            <a:schemeClr val="tx1"/>
          </a:solidFill>
          <a:latin typeface="+mn-lt"/>
          <a:ea typeface="+mn-ea"/>
        </a:defRPr>
      </a:lvl6pPr>
      <a:lvl7pPr marL="2971800" indent="-228600" algn="l" rtl="0" fontAlgn="base" latinLnBrk="1">
        <a:spcBef>
          <a:spcPct val="20000"/>
        </a:spcBef>
        <a:spcAft>
          <a:spcPct val="0"/>
        </a:spcAft>
        <a:buChar char="»"/>
        <a:defRPr kumimoji="1" sz="2000">
          <a:solidFill>
            <a:schemeClr val="tx1"/>
          </a:solidFill>
          <a:latin typeface="+mn-lt"/>
          <a:ea typeface="+mn-ea"/>
        </a:defRPr>
      </a:lvl7pPr>
      <a:lvl8pPr marL="3429000" indent="-228600" algn="l" rtl="0" fontAlgn="base" latinLnBrk="1">
        <a:spcBef>
          <a:spcPct val="20000"/>
        </a:spcBef>
        <a:spcAft>
          <a:spcPct val="0"/>
        </a:spcAft>
        <a:buChar char="»"/>
        <a:defRPr kumimoji="1" sz="2000">
          <a:solidFill>
            <a:schemeClr val="tx1"/>
          </a:solidFill>
          <a:latin typeface="+mn-lt"/>
          <a:ea typeface="+mn-ea"/>
        </a:defRPr>
      </a:lvl8pPr>
      <a:lvl9pPr marL="3886200" indent="-228600" algn="l" rtl="0" fontAlgn="base" latinLnBrk="1">
        <a:spcBef>
          <a:spcPct val="20000"/>
        </a:spcBef>
        <a:spcAft>
          <a:spcPct val="0"/>
        </a:spcAft>
        <a:buChar char="»"/>
        <a:defRPr kumimoji="1" sz="2000">
          <a:solidFill>
            <a:schemeClr val="tx1"/>
          </a:solidFill>
          <a:latin typeface="+mn-lt"/>
          <a:ea typeface="+mn-ea"/>
        </a:defRPr>
      </a:lvl9pPr>
    </p:bodyStyle>
    <p:otherStyle>
      <a:defPPr>
        <a:defRPr lang="ko-KR"/>
      </a:defPPr>
      <a:lvl1pPr marL="0" algn="l" defTabSz="914400" rtl="0" eaLnBrk="1" latinLnBrk="1" hangingPunct="1">
        <a:defRPr sz="1800" kern="1200">
          <a:solidFill>
            <a:schemeClr val="tx1"/>
          </a:solidFill>
          <a:latin typeface="+mn-lt"/>
          <a:ea typeface="+mn-ea"/>
          <a:cs typeface="+mn-cs"/>
        </a:defRPr>
      </a:lvl1pPr>
      <a:lvl2pPr marL="457200" algn="l" defTabSz="914400" rtl="0" eaLnBrk="1" latinLnBrk="1" hangingPunct="1">
        <a:defRPr sz="1800" kern="1200">
          <a:solidFill>
            <a:schemeClr val="tx1"/>
          </a:solidFill>
          <a:latin typeface="+mn-lt"/>
          <a:ea typeface="+mn-ea"/>
          <a:cs typeface="+mn-cs"/>
        </a:defRPr>
      </a:lvl2pPr>
      <a:lvl3pPr marL="914400" algn="l" defTabSz="914400" rtl="0" eaLnBrk="1" latinLnBrk="1" hangingPunct="1">
        <a:defRPr sz="1800" kern="1200">
          <a:solidFill>
            <a:schemeClr val="tx1"/>
          </a:solidFill>
          <a:latin typeface="+mn-lt"/>
          <a:ea typeface="+mn-ea"/>
          <a:cs typeface="+mn-cs"/>
        </a:defRPr>
      </a:lvl3pPr>
      <a:lvl4pPr marL="1371600" algn="l" defTabSz="914400" rtl="0" eaLnBrk="1" latinLnBrk="1" hangingPunct="1">
        <a:defRPr sz="1800" kern="1200">
          <a:solidFill>
            <a:schemeClr val="tx1"/>
          </a:solidFill>
          <a:latin typeface="+mn-lt"/>
          <a:ea typeface="+mn-ea"/>
          <a:cs typeface="+mn-cs"/>
        </a:defRPr>
      </a:lvl4pPr>
      <a:lvl5pPr marL="1828800" algn="l" defTabSz="914400" rtl="0" eaLnBrk="1" latinLnBrk="1" hangingPunct="1">
        <a:defRPr sz="1800" kern="1200">
          <a:solidFill>
            <a:schemeClr val="tx1"/>
          </a:solidFill>
          <a:latin typeface="+mn-lt"/>
          <a:ea typeface="+mn-ea"/>
          <a:cs typeface="+mn-cs"/>
        </a:defRPr>
      </a:lvl5pPr>
      <a:lvl6pPr marL="2286000" algn="l" defTabSz="914400" rtl="0" eaLnBrk="1" latinLnBrk="1" hangingPunct="1">
        <a:defRPr sz="1800" kern="1200">
          <a:solidFill>
            <a:schemeClr val="tx1"/>
          </a:solidFill>
          <a:latin typeface="+mn-lt"/>
          <a:ea typeface="+mn-ea"/>
          <a:cs typeface="+mn-cs"/>
        </a:defRPr>
      </a:lvl6pPr>
      <a:lvl7pPr marL="2743200" algn="l" defTabSz="914400" rtl="0" eaLnBrk="1" latinLnBrk="1" hangingPunct="1">
        <a:defRPr sz="1800" kern="1200">
          <a:solidFill>
            <a:schemeClr val="tx1"/>
          </a:solidFill>
          <a:latin typeface="+mn-lt"/>
          <a:ea typeface="+mn-ea"/>
          <a:cs typeface="+mn-cs"/>
        </a:defRPr>
      </a:lvl7pPr>
      <a:lvl8pPr marL="3200400" algn="l" defTabSz="914400" rtl="0" eaLnBrk="1" latinLnBrk="1" hangingPunct="1">
        <a:defRPr sz="1800" kern="1200">
          <a:solidFill>
            <a:schemeClr val="tx1"/>
          </a:solidFill>
          <a:latin typeface="+mn-lt"/>
          <a:ea typeface="+mn-ea"/>
          <a:cs typeface="+mn-cs"/>
        </a:defRPr>
      </a:lvl8pPr>
      <a:lvl9pPr marL="3657600" algn="l" defTabSz="914400" rtl="0" eaLnBrk="1" latinLnBrk="1"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E7F0FD"/>
            </a:gs>
            <a:gs pos="50000">
              <a:srgbClr val="E7F0FD">
                <a:gamma/>
                <a:tint val="0"/>
                <a:invGamma/>
              </a:srgbClr>
            </a:gs>
            <a:gs pos="100000">
              <a:srgbClr val="E7F0FD"/>
            </a:gs>
          </a:gsLst>
          <a:lin ang="5400000" scaled="1"/>
        </a:gradFill>
        <a:effectLst/>
      </p:bgPr>
    </p:bg>
    <p:spTree>
      <p:nvGrpSpPr>
        <p:cNvPr id="1" name=""/>
        <p:cNvGrpSpPr/>
        <p:nvPr/>
      </p:nvGrpSpPr>
      <p:grpSpPr>
        <a:xfrm>
          <a:off x="0" y="0"/>
          <a:ext cx="0" cy="0"/>
          <a:chOff x="0" y="0"/>
          <a:chExt cx="0" cy="0"/>
        </a:xfrm>
      </p:grpSpPr>
      <p:sp>
        <p:nvSpPr>
          <p:cNvPr id="75778" name="Rectangle 2"/>
          <p:cNvSpPr>
            <a:spLocks noGrp="1" noChangeArrowheads="1"/>
          </p:cNvSpPr>
          <p:nvPr>
            <p:ph type="title"/>
          </p:nvPr>
        </p:nvSpPr>
        <p:spPr bwMode="auto">
          <a:xfrm>
            <a:off x="685800" y="457200"/>
            <a:ext cx="77724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75779" name="Rectangle 3"/>
          <p:cNvSpPr>
            <a:spLocks noGrp="1" noChangeArrowheads="1"/>
          </p:cNvSpPr>
          <p:nvPr>
            <p:ph type="body" idx="1"/>
          </p:nvPr>
        </p:nvSpPr>
        <p:spPr bwMode="auto">
          <a:xfrm>
            <a:off x="685800" y="1828800"/>
            <a:ext cx="7772400" cy="411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cSld>
  <p:clrMap bg1="lt1" tx1="dk1" bg2="lt2" tx2="dk2" accent1="accent1" accent2="accent2" accent3="accent3" accent4="accent4" accent5="accent5" accent6="accent6" hlink="hlink" folHlink="folHlink"/>
  <p:sldLayoutIdLst>
    <p:sldLayoutId id="2147483893" r:id="rId1"/>
  </p:sldLayoutIdLs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5779">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5779">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75779">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75779">
                                            <p:txEl>
                                              <p:pRg st="3" end="3"/>
                                            </p:tx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75779">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5779" grpId="0" build="p">
        <p:tmplLst>
          <p:tmpl lvl="1">
            <p:tnLst>
              <p:par>
                <p:cTn presetID="1" presetClass="entr" presetSubtype="0" fill="hold" nodeType="clickEffect">
                  <p:stCondLst>
                    <p:cond delay="0"/>
                  </p:stCondLst>
                  <p:childTnLst>
                    <p:set>
                      <p:cBhvr>
                        <p:cTn dur="1" fill="hold">
                          <p:stCondLst>
                            <p:cond delay="0"/>
                          </p:stCondLst>
                        </p:cTn>
                        <p:tgtEl>
                          <p:spTgt spid="75779"/>
                        </p:tgtEl>
                        <p:attrNameLst>
                          <p:attrName>style.visibility</p:attrName>
                        </p:attrNameLst>
                      </p:cBhvr>
                      <p:to>
                        <p:strVal val="visible"/>
                      </p:to>
                    </p:set>
                  </p:childTnLst>
                </p:cTn>
              </p:par>
            </p:tnLst>
          </p:tmpl>
          <p:tmpl lvl="2">
            <p:tnLst>
              <p:par>
                <p:cTn presetID="1" presetClass="entr" presetSubtype="0" fill="hold" nodeType="withEffect">
                  <p:stCondLst>
                    <p:cond delay="0"/>
                  </p:stCondLst>
                  <p:childTnLst>
                    <p:set>
                      <p:cBhvr>
                        <p:cTn dur="1" fill="hold">
                          <p:stCondLst>
                            <p:cond delay="0"/>
                          </p:stCondLst>
                        </p:cTn>
                        <p:tgtEl>
                          <p:spTgt spid="75779"/>
                        </p:tgtEl>
                        <p:attrNameLst>
                          <p:attrName>style.visibility</p:attrName>
                        </p:attrNameLst>
                      </p:cBhvr>
                      <p:to>
                        <p:strVal val="visible"/>
                      </p:to>
                    </p:set>
                  </p:childTnLst>
                </p:cTn>
              </p:par>
            </p:tnLst>
          </p:tmpl>
          <p:tmpl lvl="3">
            <p:tnLst>
              <p:par>
                <p:cTn presetID="1" presetClass="entr" presetSubtype="0" fill="hold" nodeType="withEffect">
                  <p:stCondLst>
                    <p:cond delay="0"/>
                  </p:stCondLst>
                  <p:childTnLst>
                    <p:set>
                      <p:cBhvr>
                        <p:cTn dur="1" fill="hold">
                          <p:stCondLst>
                            <p:cond delay="0"/>
                          </p:stCondLst>
                        </p:cTn>
                        <p:tgtEl>
                          <p:spTgt spid="75779"/>
                        </p:tgtEl>
                        <p:attrNameLst>
                          <p:attrName>style.visibility</p:attrName>
                        </p:attrNameLst>
                      </p:cBhvr>
                      <p:to>
                        <p:strVal val="visible"/>
                      </p:to>
                    </p:set>
                  </p:childTnLst>
                </p:cTn>
              </p:par>
            </p:tnLst>
          </p:tmpl>
          <p:tmpl lvl="4">
            <p:tnLst>
              <p:par>
                <p:cTn presetID="1" presetClass="entr" presetSubtype="0" fill="hold" nodeType="withEffect">
                  <p:stCondLst>
                    <p:cond delay="0"/>
                  </p:stCondLst>
                  <p:childTnLst>
                    <p:set>
                      <p:cBhvr>
                        <p:cTn dur="1" fill="hold">
                          <p:stCondLst>
                            <p:cond delay="0"/>
                          </p:stCondLst>
                        </p:cTn>
                        <p:tgtEl>
                          <p:spTgt spid="75779"/>
                        </p:tgtEl>
                        <p:attrNameLst>
                          <p:attrName>style.visibility</p:attrName>
                        </p:attrNameLst>
                      </p:cBhvr>
                      <p:to>
                        <p:strVal val="visible"/>
                      </p:to>
                    </p:set>
                  </p:childTnLst>
                </p:cTn>
              </p:par>
            </p:tnLst>
          </p:tmpl>
          <p:tmpl lvl="5">
            <p:tnLst>
              <p:par>
                <p:cTn presetID="1" presetClass="entr" presetSubtype="0" fill="hold" nodeType="withEffect">
                  <p:stCondLst>
                    <p:cond delay="0"/>
                  </p:stCondLst>
                  <p:childTnLst>
                    <p:set>
                      <p:cBhvr>
                        <p:cTn dur="1" fill="hold">
                          <p:stCondLst>
                            <p:cond delay="0"/>
                          </p:stCondLst>
                        </p:cTn>
                        <p:tgtEl>
                          <p:spTgt spid="75779"/>
                        </p:tgtEl>
                        <p:attrNameLst>
                          <p:attrName>style.visibility</p:attrName>
                        </p:attrNameLst>
                      </p:cBhvr>
                      <p:to>
                        <p:strVal val="visible"/>
                      </p:to>
                    </p:set>
                  </p:childTnLst>
                </p:cTn>
              </p:par>
            </p:tnLst>
          </p:tmpl>
        </p:tmplLst>
      </p:bldP>
    </p:bldLst>
  </p:timing>
  <p:txStyles>
    <p:titleStyle>
      <a:lvl1pPr algn="ctr" rtl="0" fontAlgn="base">
        <a:spcBef>
          <a:spcPct val="0"/>
        </a:spcBef>
        <a:spcAft>
          <a:spcPct val="0"/>
        </a:spcAft>
        <a:defRPr sz="4400">
          <a:solidFill>
            <a:srgbClr val="D73A29"/>
          </a:solidFill>
          <a:latin typeface="+mj-lt"/>
          <a:ea typeface="+mj-ea"/>
          <a:cs typeface="+mj-cs"/>
        </a:defRPr>
      </a:lvl1pPr>
      <a:lvl2pPr algn="ctr" rtl="0" fontAlgn="base">
        <a:spcBef>
          <a:spcPct val="0"/>
        </a:spcBef>
        <a:spcAft>
          <a:spcPct val="0"/>
        </a:spcAft>
        <a:defRPr sz="4400">
          <a:solidFill>
            <a:srgbClr val="333399"/>
          </a:solidFill>
          <a:latin typeface="Arial" charset="0"/>
        </a:defRPr>
      </a:lvl2pPr>
      <a:lvl3pPr algn="ctr" rtl="0" fontAlgn="base">
        <a:spcBef>
          <a:spcPct val="0"/>
        </a:spcBef>
        <a:spcAft>
          <a:spcPct val="0"/>
        </a:spcAft>
        <a:defRPr sz="4400">
          <a:solidFill>
            <a:srgbClr val="333399"/>
          </a:solidFill>
          <a:latin typeface="Arial" charset="0"/>
        </a:defRPr>
      </a:lvl3pPr>
      <a:lvl4pPr algn="ctr" rtl="0" fontAlgn="base">
        <a:spcBef>
          <a:spcPct val="0"/>
        </a:spcBef>
        <a:spcAft>
          <a:spcPct val="0"/>
        </a:spcAft>
        <a:defRPr sz="4400">
          <a:solidFill>
            <a:srgbClr val="333399"/>
          </a:solidFill>
          <a:latin typeface="Arial" charset="0"/>
        </a:defRPr>
      </a:lvl4pPr>
      <a:lvl5pPr algn="ctr" rtl="0" fontAlgn="base">
        <a:spcBef>
          <a:spcPct val="0"/>
        </a:spcBef>
        <a:spcAft>
          <a:spcPct val="0"/>
        </a:spcAft>
        <a:defRPr sz="4400">
          <a:solidFill>
            <a:srgbClr val="333399"/>
          </a:solidFill>
          <a:latin typeface="Arial" charset="0"/>
        </a:defRPr>
      </a:lvl5pPr>
      <a:lvl6pPr marL="457200" algn="ctr" rtl="0" fontAlgn="base">
        <a:spcBef>
          <a:spcPct val="0"/>
        </a:spcBef>
        <a:spcAft>
          <a:spcPct val="0"/>
        </a:spcAft>
        <a:defRPr sz="4400">
          <a:solidFill>
            <a:srgbClr val="333399"/>
          </a:solidFill>
          <a:latin typeface="Arial" charset="0"/>
        </a:defRPr>
      </a:lvl6pPr>
      <a:lvl7pPr marL="914400" algn="ctr" rtl="0" fontAlgn="base">
        <a:spcBef>
          <a:spcPct val="0"/>
        </a:spcBef>
        <a:spcAft>
          <a:spcPct val="0"/>
        </a:spcAft>
        <a:defRPr sz="4400">
          <a:solidFill>
            <a:srgbClr val="333399"/>
          </a:solidFill>
          <a:latin typeface="Arial" charset="0"/>
        </a:defRPr>
      </a:lvl7pPr>
      <a:lvl8pPr marL="1371600" algn="ctr" rtl="0" fontAlgn="base">
        <a:spcBef>
          <a:spcPct val="0"/>
        </a:spcBef>
        <a:spcAft>
          <a:spcPct val="0"/>
        </a:spcAft>
        <a:defRPr sz="4400">
          <a:solidFill>
            <a:srgbClr val="333399"/>
          </a:solidFill>
          <a:latin typeface="Arial" charset="0"/>
        </a:defRPr>
      </a:lvl8pPr>
      <a:lvl9pPr marL="1828800" algn="ctr" rtl="0" fontAlgn="base">
        <a:spcBef>
          <a:spcPct val="0"/>
        </a:spcBef>
        <a:spcAft>
          <a:spcPct val="0"/>
        </a:spcAft>
        <a:defRPr sz="4400">
          <a:solidFill>
            <a:srgbClr val="333399"/>
          </a:solidFill>
          <a:latin typeface="Arial" charset="0"/>
        </a:defRPr>
      </a:lvl9pPr>
    </p:titleStyle>
    <p:bodyStyle>
      <a:lvl1pPr marL="342900" indent="-342900" algn="l" rtl="0" fontAlgn="base">
        <a:spcBef>
          <a:spcPct val="20000"/>
        </a:spcBef>
        <a:spcAft>
          <a:spcPct val="0"/>
        </a:spcAft>
        <a:buChar char="•"/>
        <a:defRPr sz="3200">
          <a:solidFill>
            <a:srgbClr val="333399"/>
          </a:solidFill>
          <a:latin typeface="+mn-lt"/>
          <a:ea typeface="+mn-ea"/>
          <a:cs typeface="+mn-cs"/>
        </a:defRPr>
      </a:lvl1pPr>
      <a:lvl2pPr marL="742950" indent="-285750" algn="l" rtl="0" fontAlgn="base">
        <a:spcBef>
          <a:spcPct val="20000"/>
        </a:spcBef>
        <a:spcAft>
          <a:spcPct val="0"/>
        </a:spcAft>
        <a:buChar char="–"/>
        <a:defRPr sz="2800">
          <a:solidFill>
            <a:srgbClr val="333399"/>
          </a:solidFill>
          <a:latin typeface="+mn-lt"/>
        </a:defRPr>
      </a:lvl2pPr>
      <a:lvl3pPr marL="1143000" indent="-228600" algn="l" rtl="0" fontAlgn="base">
        <a:spcBef>
          <a:spcPct val="20000"/>
        </a:spcBef>
        <a:spcAft>
          <a:spcPct val="0"/>
        </a:spcAft>
        <a:buChar char="•"/>
        <a:defRPr sz="2400">
          <a:solidFill>
            <a:srgbClr val="333399"/>
          </a:solidFill>
          <a:latin typeface="+mn-lt"/>
        </a:defRPr>
      </a:lvl3pPr>
      <a:lvl4pPr marL="1600200" indent="-228600" algn="l" rtl="0" fontAlgn="base">
        <a:spcBef>
          <a:spcPct val="20000"/>
        </a:spcBef>
        <a:spcAft>
          <a:spcPct val="0"/>
        </a:spcAft>
        <a:buChar char="–"/>
        <a:defRPr sz="2000">
          <a:solidFill>
            <a:srgbClr val="333399"/>
          </a:solidFill>
          <a:latin typeface="+mn-lt"/>
        </a:defRPr>
      </a:lvl4pPr>
      <a:lvl5pPr marL="2057400" indent="-228600" algn="l" rtl="0" fontAlgn="base">
        <a:spcBef>
          <a:spcPct val="20000"/>
        </a:spcBef>
        <a:spcAft>
          <a:spcPct val="0"/>
        </a:spcAft>
        <a:buChar char="»"/>
        <a:defRPr sz="2000">
          <a:solidFill>
            <a:srgbClr val="333399"/>
          </a:solidFill>
          <a:latin typeface="+mn-lt"/>
        </a:defRPr>
      </a:lvl5pPr>
      <a:lvl6pPr marL="2514600" indent="-228600" algn="l" rtl="0" fontAlgn="base">
        <a:spcBef>
          <a:spcPct val="20000"/>
        </a:spcBef>
        <a:spcAft>
          <a:spcPct val="0"/>
        </a:spcAft>
        <a:buChar char="»"/>
        <a:defRPr sz="2000">
          <a:solidFill>
            <a:srgbClr val="333399"/>
          </a:solidFill>
          <a:latin typeface="+mn-lt"/>
        </a:defRPr>
      </a:lvl6pPr>
      <a:lvl7pPr marL="2971800" indent="-228600" algn="l" rtl="0" fontAlgn="base">
        <a:spcBef>
          <a:spcPct val="20000"/>
        </a:spcBef>
        <a:spcAft>
          <a:spcPct val="0"/>
        </a:spcAft>
        <a:buChar char="»"/>
        <a:defRPr sz="2000">
          <a:solidFill>
            <a:srgbClr val="333399"/>
          </a:solidFill>
          <a:latin typeface="+mn-lt"/>
        </a:defRPr>
      </a:lvl7pPr>
      <a:lvl8pPr marL="3429000" indent="-228600" algn="l" rtl="0" fontAlgn="base">
        <a:spcBef>
          <a:spcPct val="20000"/>
        </a:spcBef>
        <a:spcAft>
          <a:spcPct val="0"/>
        </a:spcAft>
        <a:buChar char="»"/>
        <a:defRPr sz="2000">
          <a:solidFill>
            <a:srgbClr val="333399"/>
          </a:solidFill>
          <a:latin typeface="+mn-lt"/>
        </a:defRPr>
      </a:lvl8pPr>
      <a:lvl9pPr marL="3886200" indent="-228600" algn="l" rtl="0" fontAlgn="base">
        <a:spcBef>
          <a:spcPct val="20000"/>
        </a:spcBef>
        <a:spcAft>
          <a:spcPct val="0"/>
        </a:spcAft>
        <a:buChar char="»"/>
        <a:defRPr sz="2000">
          <a:solidFill>
            <a:srgbClr val="333399"/>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033D341-2E64-4DA8-9600-D92903B7408D}" type="datetimeFigureOut">
              <a:rPr lang="en-US" smtClean="0"/>
              <a:pPr/>
              <a:t>5/6/201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AE0BA04-8BFF-4FEB-B9B1-FC777C644F50}" type="slidenum">
              <a:rPr lang="en-US" smtClean="0"/>
              <a:pPr/>
              <a:t>‹#›</a:t>
            </a:fld>
            <a:endParaRPr lang="en-US"/>
          </a:p>
        </p:txBody>
      </p:sp>
      <p:pic>
        <p:nvPicPr>
          <p:cNvPr id="7" name="Picture 13" descr="1"/>
          <p:cNvPicPr>
            <a:picLocks noChangeAspect="1" noChangeArrowheads="1"/>
          </p:cNvPicPr>
          <p:nvPr userDrawn="1"/>
        </p:nvPicPr>
        <p:blipFill>
          <a:blip r:embed="rId7" cstate="print"/>
          <a:srcRect/>
          <a:stretch>
            <a:fillRect/>
          </a:stretch>
        </p:blipFill>
        <p:spPr bwMode="auto">
          <a:xfrm>
            <a:off x="0" y="11"/>
            <a:ext cx="9144000" cy="6858000"/>
          </a:xfrm>
          <a:prstGeom prst="rect">
            <a:avLst/>
          </a:prstGeom>
          <a:noFill/>
          <a:ln w="9525">
            <a:noFill/>
            <a:miter lim="800000"/>
            <a:headEnd/>
            <a:tailEnd/>
          </a:ln>
        </p:spPr>
      </p:pic>
      <p:pic>
        <p:nvPicPr>
          <p:cNvPr id="8" name="Picture 2" descr="eg-flag1 moving"/>
          <p:cNvPicPr>
            <a:picLocks noChangeAspect="1" noChangeArrowheads="1" noCrop="1"/>
          </p:cNvPicPr>
          <p:nvPr userDrawn="1"/>
        </p:nvPicPr>
        <p:blipFill>
          <a:blip r:embed="rId8" cstate="print"/>
          <a:srcRect/>
          <a:stretch>
            <a:fillRect/>
          </a:stretch>
        </p:blipFill>
        <p:spPr bwMode="auto">
          <a:xfrm>
            <a:off x="179401" y="115899"/>
            <a:ext cx="1152525" cy="666750"/>
          </a:xfrm>
          <a:prstGeom prst="rect">
            <a:avLst/>
          </a:prstGeom>
          <a:noFill/>
          <a:ln w="9525">
            <a:noFill/>
            <a:miter lim="800000"/>
            <a:headEnd/>
            <a:tailEnd/>
          </a:ln>
        </p:spPr>
      </p:pic>
      <p:pic>
        <p:nvPicPr>
          <p:cNvPr id="9" name="Picture 2" descr="C:\Users\admin\Desktop\asrt logo copy.gif"/>
          <p:cNvPicPr>
            <a:picLocks noChangeAspect="1" noChangeArrowheads="1"/>
          </p:cNvPicPr>
          <p:nvPr userDrawn="1"/>
        </p:nvPicPr>
        <p:blipFill>
          <a:blip r:embed="rId9" cstate="print"/>
          <a:srcRect/>
          <a:stretch>
            <a:fillRect/>
          </a:stretch>
        </p:blipFill>
        <p:spPr bwMode="auto">
          <a:xfrm>
            <a:off x="7467600" y="-152400"/>
            <a:ext cx="1676400" cy="1626555"/>
          </a:xfrm>
          <a:prstGeom prst="rect">
            <a:avLst/>
          </a:prstGeom>
          <a:noFill/>
          <a:effectLst>
            <a:glow rad="139700">
              <a:schemeClr val="accent1">
                <a:satMod val="175000"/>
                <a:alpha val="40000"/>
              </a:schemeClr>
            </a:glow>
            <a:outerShdw blurRad="850900" dir="5100000" algn="ctr" rotWithShape="0">
              <a:schemeClr val="bg1"/>
            </a:outerShdw>
          </a:effectLst>
        </p:spPr>
      </p:pic>
    </p:spTree>
  </p:cSld>
  <p:clrMap bg1="lt1" tx1="dk1" bg2="lt2" tx2="dk2" accent1="accent1" accent2="accent2" accent3="accent3" accent4="accent4" accent5="accent5" accent6="accent6" hlink="hlink" folHlink="folHlink"/>
  <p:sldLayoutIdLst>
    <p:sldLayoutId id="2147483898" r:id="rId1"/>
    <p:sldLayoutId id="2147483899" r:id="rId2"/>
    <p:sldLayoutId id="2147483900" r:id="rId3"/>
    <p:sldLayoutId id="2147483901" r:id="rId4"/>
    <p:sldLayoutId id="2147483902" r:id="rId5"/>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notesSlide" Target="../notesSlides/notesSlide7.xml"/><Relationship Id="rId16" Type="http://schemas.openxmlformats.org/officeDocument/2006/relationships/image" Target="../media/image48.png"/><Relationship Id="rId1" Type="http://schemas.openxmlformats.org/officeDocument/2006/relationships/slideLayout" Target="../slideLayouts/slideLayout15.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6.png"/><Relationship Id="rId1" Type="http://schemas.openxmlformats.org/officeDocument/2006/relationships/slideLayout" Target="../slideLayouts/slideLayout36.xml"/><Relationship Id="rId5" Type="http://schemas.openxmlformats.org/officeDocument/2006/relationships/image" Target="../media/image49.png"/><Relationship Id="rId4" Type="http://schemas.openxmlformats.org/officeDocument/2006/relationships/image" Target="../media/image51.png"/></Relationships>
</file>

<file path=ppt/slides/_rels/slide12.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notesSlide" Target="../notesSlides/notesSlide8.xml"/><Relationship Id="rId1" Type="http://schemas.openxmlformats.org/officeDocument/2006/relationships/slideLayout" Target="../slideLayouts/slideLayout22.xml"/><Relationship Id="rId6" Type="http://schemas.openxmlformats.org/officeDocument/2006/relationships/image" Target="../media/image53.jpeg"/><Relationship Id="rId5" Type="http://schemas.openxmlformats.org/officeDocument/2006/relationships/image" Target="../media/image35.png"/><Relationship Id="rId10" Type="http://schemas.openxmlformats.org/officeDocument/2006/relationships/image" Target="../media/image51.png"/><Relationship Id="rId4" Type="http://schemas.openxmlformats.org/officeDocument/2006/relationships/image" Target="../media/image36.png"/><Relationship Id="rId9" Type="http://schemas.openxmlformats.org/officeDocument/2006/relationships/image" Target="../media/image50.png"/></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7.xml"/><Relationship Id="rId1" Type="http://schemas.openxmlformats.org/officeDocument/2006/relationships/vmlDrawing" Target="../drawings/vmlDrawing10.vml"/><Relationship Id="rId5" Type="http://schemas.openxmlformats.org/officeDocument/2006/relationships/image" Target="../media/image55.emf"/><Relationship Id="rId4" Type="http://schemas.openxmlformats.org/officeDocument/2006/relationships/oleObject" Target="../embeddings/Microsoft_Excel_97-2003_Worksheet1.xls"/></Relationships>
</file>

<file path=ppt/slides/_rels/slide1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9.xml"/><Relationship Id="rId1" Type="http://schemas.openxmlformats.org/officeDocument/2006/relationships/slideLayout" Target="../slideLayouts/slideLayout15.xml"/><Relationship Id="rId4" Type="http://schemas.openxmlformats.org/officeDocument/2006/relationships/image" Target="../media/image57.png"/></Relationships>
</file>

<file path=ppt/slides/_rels/slide18.xml.rels><?xml version="1.0" encoding="UTF-8" standalone="yes"?>
<Relationships xmlns="http://schemas.openxmlformats.org/package/2006/relationships"><Relationship Id="rId2" Type="http://schemas.openxmlformats.org/officeDocument/2006/relationships/image" Target="../media/image58.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36.png"/><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2.xml.rels><?xml version="1.0" encoding="UTF-8" standalone="yes"?>
<Relationships xmlns="http://schemas.openxmlformats.org/package/2006/relationships"><Relationship Id="rId2" Type="http://schemas.openxmlformats.org/officeDocument/2006/relationships/image" Target="../media/image59.jpeg"/><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2" Type="http://schemas.openxmlformats.org/officeDocument/2006/relationships/image" Target="../media/image60.wmf"/><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9.xml"/><Relationship Id="rId5" Type="http://schemas.openxmlformats.org/officeDocument/2006/relationships/image" Target="../media/image64.png"/><Relationship Id="rId4" Type="http://schemas.openxmlformats.org/officeDocument/2006/relationships/image" Target="../media/image63.png"/></Relationships>
</file>

<file path=ppt/slides/_rels/slide2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66.png"/></Relationships>
</file>

<file path=ppt/slides/_rels/slide27.xml.rels><?xml version="1.0" encoding="UTF-8" standalone="yes"?>
<Relationships xmlns="http://schemas.openxmlformats.org/package/2006/relationships"><Relationship Id="rId8" Type="http://schemas.openxmlformats.org/officeDocument/2006/relationships/tags" Target="../tags/tag449.xml"/><Relationship Id="rId13" Type="http://schemas.openxmlformats.org/officeDocument/2006/relationships/tags" Target="../tags/tag454.xml"/><Relationship Id="rId18" Type="http://schemas.openxmlformats.org/officeDocument/2006/relationships/tags" Target="../tags/tag459.xml"/><Relationship Id="rId26" Type="http://schemas.openxmlformats.org/officeDocument/2006/relationships/tags" Target="../tags/tag467.xml"/><Relationship Id="rId39" Type="http://schemas.openxmlformats.org/officeDocument/2006/relationships/tags" Target="../tags/tag480.xml"/><Relationship Id="rId3" Type="http://schemas.openxmlformats.org/officeDocument/2006/relationships/tags" Target="../tags/tag444.xml"/><Relationship Id="rId21" Type="http://schemas.openxmlformats.org/officeDocument/2006/relationships/tags" Target="../tags/tag462.xml"/><Relationship Id="rId34" Type="http://schemas.openxmlformats.org/officeDocument/2006/relationships/tags" Target="../tags/tag475.xml"/><Relationship Id="rId42" Type="http://schemas.openxmlformats.org/officeDocument/2006/relationships/notesSlide" Target="../notesSlides/notesSlide12.xml"/><Relationship Id="rId47" Type="http://schemas.openxmlformats.org/officeDocument/2006/relationships/image" Target="../media/image70.png"/><Relationship Id="rId7" Type="http://schemas.openxmlformats.org/officeDocument/2006/relationships/tags" Target="../tags/tag448.xml"/><Relationship Id="rId12" Type="http://schemas.openxmlformats.org/officeDocument/2006/relationships/tags" Target="../tags/tag453.xml"/><Relationship Id="rId17" Type="http://schemas.openxmlformats.org/officeDocument/2006/relationships/tags" Target="../tags/tag458.xml"/><Relationship Id="rId25" Type="http://schemas.openxmlformats.org/officeDocument/2006/relationships/tags" Target="../tags/tag466.xml"/><Relationship Id="rId33" Type="http://schemas.openxmlformats.org/officeDocument/2006/relationships/tags" Target="../tags/tag474.xml"/><Relationship Id="rId38" Type="http://schemas.openxmlformats.org/officeDocument/2006/relationships/tags" Target="../tags/tag479.xml"/><Relationship Id="rId46" Type="http://schemas.openxmlformats.org/officeDocument/2006/relationships/image" Target="../media/image69.emf"/><Relationship Id="rId2" Type="http://schemas.openxmlformats.org/officeDocument/2006/relationships/tags" Target="../tags/tag443.xml"/><Relationship Id="rId16" Type="http://schemas.openxmlformats.org/officeDocument/2006/relationships/tags" Target="../tags/tag457.xml"/><Relationship Id="rId20" Type="http://schemas.openxmlformats.org/officeDocument/2006/relationships/tags" Target="../tags/tag461.xml"/><Relationship Id="rId29" Type="http://schemas.openxmlformats.org/officeDocument/2006/relationships/tags" Target="../tags/tag470.xml"/><Relationship Id="rId41" Type="http://schemas.openxmlformats.org/officeDocument/2006/relationships/slideLayout" Target="../slideLayouts/slideLayout20.xml"/><Relationship Id="rId1" Type="http://schemas.openxmlformats.org/officeDocument/2006/relationships/vmlDrawing" Target="../drawings/vmlDrawing11.vml"/><Relationship Id="rId6" Type="http://schemas.openxmlformats.org/officeDocument/2006/relationships/tags" Target="../tags/tag447.xml"/><Relationship Id="rId11" Type="http://schemas.openxmlformats.org/officeDocument/2006/relationships/tags" Target="../tags/tag452.xml"/><Relationship Id="rId24" Type="http://schemas.openxmlformats.org/officeDocument/2006/relationships/tags" Target="../tags/tag465.xml"/><Relationship Id="rId32" Type="http://schemas.openxmlformats.org/officeDocument/2006/relationships/tags" Target="../tags/tag473.xml"/><Relationship Id="rId37" Type="http://schemas.openxmlformats.org/officeDocument/2006/relationships/tags" Target="../tags/tag478.xml"/><Relationship Id="rId40" Type="http://schemas.openxmlformats.org/officeDocument/2006/relationships/tags" Target="../tags/tag481.xml"/><Relationship Id="rId45" Type="http://schemas.openxmlformats.org/officeDocument/2006/relationships/image" Target="../media/image68.emf"/><Relationship Id="rId5" Type="http://schemas.openxmlformats.org/officeDocument/2006/relationships/tags" Target="../tags/tag446.xml"/><Relationship Id="rId15" Type="http://schemas.openxmlformats.org/officeDocument/2006/relationships/tags" Target="../tags/tag456.xml"/><Relationship Id="rId23" Type="http://schemas.openxmlformats.org/officeDocument/2006/relationships/tags" Target="../tags/tag464.xml"/><Relationship Id="rId28" Type="http://schemas.openxmlformats.org/officeDocument/2006/relationships/tags" Target="../tags/tag469.xml"/><Relationship Id="rId36" Type="http://schemas.openxmlformats.org/officeDocument/2006/relationships/tags" Target="../tags/tag477.xml"/><Relationship Id="rId10" Type="http://schemas.openxmlformats.org/officeDocument/2006/relationships/tags" Target="../tags/tag451.xml"/><Relationship Id="rId19" Type="http://schemas.openxmlformats.org/officeDocument/2006/relationships/tags" Target="../tags/tag460.xml"/><Relationship Id="rId31" Type="http://schemas.openxmlformats.org/officeDocument/2006/relationships/tags" Target="../tags/tag472.xml"/><Relationship Id="rId44" Type="http://schemas.openxmlformats.org/officeDocument/2006/relationships/image" Target="../media/image67.emf"/><Relationship Id="rId4" Type="http://schemas.openxmlformats.org/officeDocument/2006/relationships/tags" Target="../tags/tag445.xml"/><Relationship Id="rId9" Type="http://schemas.openxmlformats.org/officeDocument/2006/relationships/tags" Target="../tags/tag450.xml"/><Relationship Id="rId14" Type="http://schemas.openxmlformats.org/officeDocument/2006/relationships/tags" Target="../tags/tag455.xml"/><Relationship Id="rId22" Type="http://schemas.openxmlformats.org/officeDocument/2006/relationships/tags" Target="../tags/tag463.xml"/><Relationship Id="rId27" Type="http://schemas.openxmlformats.org/officeDocument/2006/relationships/tags" Target="../tags/tag468.xml"/><Relationship Id="rId30" Type="http://schemas.openxmlformats.org/officeDocument/2006/relationships/tags" Target="../tags/tag471.xml"/><Relationship Id="rId35" Type="http://schemas.openxmlformats.org/officeDocument/2006/relationships/tags" Target="../tags/tag476.xml"/><Relationship Id="rId43" Type="http://schemas.openxmlformats.org/officeDocument/2006/relationships/oleObject" Target="../embeddings/oleObject11.bin"/></Relationships>
</file>

<file path=ppt/slides/_rels/slide2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20.xml"/></Relationships>
</file>

<file path=ppt/slides/_rels/slide29.xml.rels><?xml version="1.0" encoding="UTF-8" standalone="yes"?>
<Relationships xmlns="http://schemas.openxmlformats.org/package/2006/relationships"><Relationship Id="rId3" Type="http://schemas.openxmlformats.org/officeDocument/2006/relationships/tags" Target="../tags/tag484.xml"/><Relationship Id="rId7" Type="http://schemas.openxmlformats.org/officeDocument/2006/relationships/image" Target="../media/image74.png"/><Relationship Id="rId2" Type="http://schemas.openxmlformats.org/officeDocument/2006/relationships/tags" Target="../tags/tag483.xml"/><Relationship Id="rId1" Type="http://schemas.openxmlformats.org/officeDocument/2006/relationships/tags" Target="../tags/tag482.xml"/><Relationship Id="rId6" Type="http://schemas.openxmlformats.org/officeDocument/2006/relationships/image" Target="../media/image73.png"/><Relationship Id="rId5" Type="http://schemas.openxmlformats.org/officeDocument/2006/relationships/image" Target="../media/image72.png"/><Relationship Id="rId4"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6.xml"/><Relationship Id="rId4" Type="http://schemas.openxmlformats.org/officeDocument/2006/relationships/image" Target="../media/image16.png"/></Relationships>
</file>

<file path=ppt/slides/_rels/slide30.xml.rels><?xml version="1.0" encoding="UTF-8" standalone="yes"?>
<Relationships xmlns="http://schemas.openxmlformats.org/package/2006/relationships"><Relationship Id="rId3" Type="http://schemas.openxmlformats.org/officeDocument/2006/relationships/tags" Target="../tags/tag487.xml"/><Relationship Id="rId2" Type="http://schemas.openxmlformats.org/officeDocument/2006/relationships/tags" Target="../tags/tag486.xml"/><Relationship Id="rId1" Type="http://schemas.openxmlformats.org/officeDocument/2006/relationships/tags" Target="../tags/tag485.xml"/><Relationship Id="rId6" Type="http://schemas.openxmlformats.org/officeDocument/2006/relationships/image" Target="../media/image76.png"/><Relationship Id="rId5" Type="http://schemas.openxmlformats.org/officeDocument/2006/relationships/image" Target="../media/image75.png"/><Relationship Id="rId4" Type="http://schemas.openxmlformats.org/officeDocument/2006/relationships/slideLayout" Target="../slideLayouts/slideLayout20.xml"/></Relationships>
</file>

<file path=ppt/slides/_rels/slide31.xml.rels><?xml version="1.0" encoding="UTF-8" standalone="yes"?>
<Relationships xmlns="http://schemas.openxmlformats.org/package/2006/relationships"><Relationship Id="rId8" Type="http://schemas.openxmlformats.org/officeDocument/2006/relationships/image" Target="../media/image82.png"/><Relationship Id="rId3" Type="http://schemas.openxmlformats.org/officeDocument/2006/relationships/image" Target="../media/image77.png"/><Relationship Id="rId7" Type="http://schemas.openxmlformats.org/officeDocument/2006/relationships/image" Target="../media/image81.png"/><Relationship Id="rId2" Type="http://schemas.openxmlformats.org/officeDocument/2006/relationships/notesSlide" Target="../notesSlides/notesSlide13.xml"/><Relationship Id="rId1" Type="http://schemas.openxmlformats.org/officeDocument/2006/relationships/slideLayout" Target="../slideLayouts/slideLayout29.xml"/><Relationship Id="rId6" Type="http://schemas.openxmlformats.org/officeDocument/2006/relationships/image" Target="../media/image80.png"/><Relationship Id="rId5" Type="http://schemas.openxmlformats.org/officeDocument/2006/relationships/image" Target="../media/image79.png"/><Relationship Id="rId4" Type="http://schemas.openxmlformats.org/officeDocument/2006/relationships/image" Target="../media/image78.png"/></Relationships>
</file>

<file path=ppt/slides/_rels/slide32.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4.xml"/><Relationship Id="rId1" Type="http://schemas.openxmlformats.org/officeDocument/2006/relationships/slideLayout" Target="../slideLayouts/slideLayout30.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s>
</file>

<file path=ppt/slides/_rels/slide33.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15.xml"/><Relationship Id="rId1" Type="http://schemas.openxmlformats.org/officeDocument/2006/relationships/slideLayout" Target="../slideLayouts/slideLayout31.xml"/><Relationship Id="rId4" Type="http://schemas.openxmlformats.org/officeDocument/2006/relationships/image" Target="../media/image90.png"/></Relationships>
</file>

<file path=ppt/slides/_rels/slide34.xml.rels><?xml version="1.0" encoding="UTF-8" standalone="yes"?>
<Relationships xmlns="http://schemas.openxmlformats.org/package/2006/relationships"><Relationship Id="rId2" Type="http://schemas.openxmlformats.org/officeDocument/2006/relationships/image" Target="../media/image91.png"/><Relationship Id="rId1" Type="http://schemas.openxmlformats.org/officeDocument/2006/relationships/slideLayout" Target="../slideLayouts/slideLayout3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3" Type="http://schemas.openxmlformats.org/officeDocument/2006/relationships/image" Target="../media/image93.jpeg"/><Relationship Id="rId7" Type="http://schemas.openxmlformats.org/officeDocument/2006/relationships/image" Target="../media/image97.jpeg"/><Relationship Id="rId2" Type="http://schemas.openxmlformats.org/officeDocument/2006/relationships/image" Target="../media/image92.tiff"/><Relationship Id="rId1" Type="http://schemas.openxmlformats.org/officeDocument/2006/relationships/slideLayout" Target="../slideLayouts/slideLayout7.xml"/><Relationship Id="rId6" Type="http://schemas.openxmlformats.org/officeDocument/2006/relationships/image" Target="../media/image96.gif"/><Relationship Id="rId5" Type="http://schemas.openxmlformats.org/officeDocument/2006/relationships/image" Target="../media/image95.jpeg"/><Relationship Id="rId4" Type="http://schemas.openxmlformats.org/officeDocument/2006/relationships/image" Target="../media/image94.jpeg"/></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21.xml"/><Relationship Id="rId5" Type="http://schemas.openxmlformats.org/officeDocument/2006/relationships/image" Target="../media/image19.png"/><Relationship Id="rId4" Type="http://schemas.openxmlformats.org/officeDocument/2006/relationships/image" Target="../media/image18.png"/></Relationships>
</file>

<file path=ppt/slides/_rels/slide40.xml.rels><?xml version="1.0" encoding="UTF-8" standalone="yes"?>
<Relationships xmlns="http://schemas.openxmlformats.org/package/2006/relationships"><Relationship Id="rId3" Type="http://schemas.openxmlformats.org/officeDocument/2006/relationships/image" Target="../media/image99.jpeg"/><Relationship Id="rId2" Type="http://schemas.openxmlformats.org/officeDocument/2006/relationships/image" Target="../media/image98.jpeg"/><Relationship Id="rId1" Type="http://schemas.openxmlformats.org/officeDocument/2006/relationships/slideLayout" Target="../slideLayouts/slideLayout2.xml"/><Relationship Id="rId4" Type="http://schemas.openxmlformats.org/officeDocument/2006/relationships/image" Target="../media/image100.jpeg"/></Relationships>
</file>

<file path=ppt/slides/_rels/slide41.xml.rels><?xml version="1.0" encoding="UTF-8" standalone="yes"?>
<Relationships xmlns="http://schemas.openxmlformats.org/package/2006/relationships"><Relationship Id="rId2" Type="http://schemas.openxmlformats.org/officeDocument/2006/relationships/image" Target="../media/image101.png"/><Relationship Id="rId1" Type="http://schemas.openxmlformats.org/officeDocument/2006/relationships/slideLayout" Target="../slideLayouts/slideLayout33.xml"/></Relationships>
</file>

<file path=ppt/slides/_rels/slide42.xml.rels><?xml version="1.0" encoding="UTF-8" standalone="yes"?>
<Relationships xmlns="http://schemas.openxmlformats.org/package/2006/relationships"><Relationship Id="rId2" Type="http://schemas.openxmlformats.org/officeDocument/2006/relationships/image" Target="../media/image102.png"/><Relationship Id="rId1" Type="http://schemas.openxmlformats.org/officeDocument/2006/relationships/slideLayout" Target="../slideLayouts/slideLayout34.xml"/></Relationships>
</file>

<file path=ppt/slides/_rels/slide43.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34.xml"/></Relationships>
</file>

<file path=ppt/slides/_rels/slide44.xml.rels><?xml version="1.0" encoding="UTF-8" standalone="yes"?>
<Relationships xmlns="http://schemas.openxmlformats.org/package/2006/relationships"><Relationship Id="rId2" Type="http://schemas.openxmlformats.org/officeDocument/2006/relationships/image" Target="../media/image104.png"/><Relationship Id="rId1" Type="http://schemas.openxmlformats.org/officeDocument/2006/relationships/slideLayout" Target="../slideLayouts/slideLayout34.xml"/></Relationships>
</file>

<file path=ppt/slides/_rels/slide45.xml.rels><?xml version="1.0" encoding="UTF-8" standalone="yes"?>
<Relationships xmlns="http://schemas.openxmlformats.org/package/2006/relationships"><Relationship Id="rId2" Type="http://schemas.openxmlformats.org/officeDocument/2006/relationships/image" Target="../media/image105.jpeg"/><Relationship Id="rId1" Type="http://schemas.openxmlformats.org/officeDocument/2006/relationships/slideLayout" Target="../slideLayouts/slideLayout35.xml"/></Relationships>
</file>

<file path=ppt/slides/_rels/slide46.xml.rels><?xml version="1.0" encoding="UTF-8" standalone="yes"?>
<Relationships xmlns="http://schemas.openxmlformats.org/package/2006/relationships"><Relationship Id="rId2" Type="http://schemas.openxmlformats.org/officeDocument/2006/relationships/image" Target="../media/image106.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107.jpeg"/><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8" Type="http://schemas.openxmlformats.org/officeDocument/2006/relationships/image" Target="../media/image112.jpeg"/><Relationship Id="rId3" Type="http://schemas.openxmlformats.org/officeDocument/2006/relationships/hyperlink" Target="Photos/124_2436.JPG" TargetMode="External"/><Relationship Id="rId7" Type="http://schemas.openxmlformats.org/officeDocument/2006/relationships/image" Target="../media/image111.jpeg"/><Relationship Id="rId2" Type="http://schemas.openxmlformats.org/officeDocument/2006/relationships/image" Target="../media/image108.jpeg"/><Relationship Id="rId1" Type="http://schemas.openxmlformats.org/officeDocument/2006/relationships/slideLayout" Target="../slideLayouts/slideLayout25.xml"/><Relationship Id="rId6" Type="http://schemas.openxmlformats.org/officeDocument/2006/relationships/image" Target="../media/image110.jpeg"/><Relationship Id="rId5" Type="http://schemas.openxmlformats.org/officeDocument/2006/relationships/image" Target="../media/image109.jpeg"/><Relationship Id="rId10" Type="http://schemas.openxmlformats.org/officeDocument/2006/relationships/image" Target="../media/image114.jpeg"/><Relationship Id="rId4" Type="http://schemas.openxmlformats.org/officeDocument/2006/relationships/hyperlink" Target="Photos/124_2433.JPG" TargetMode="External"/><Relationship Id="rId9" Type="http://schemas.openxmlformats.org/officeDocument/2006/relationships/image" Target="../media/image113.jpeg"/></Relationships>
</file>

<file path=ppt/slides/_rels/slide49.xml.rels><?xml version="1.0" encoding="UTF-8" standalone="yes"?>
<Relationships xmlns="http://schemas.openxmlformats.org/package/2006/relationships"><Relationship Id="rId2" Type="http://schemas.openxmlformats.org/officeDocument/2006/relationships/image" Target="../media/image115.jpeg"/><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8" Type="http://schemas.openxmlformats.org/officeDocument/2006/relationships/image" Target="../media/image25.jpeg"/><Relationship Id="rId13" Type="http://schemas.openxmlformats.org/officeDocument/2006/relationships/image" Target="../media/image30.jpeg"/><Relationship Id="rId3" Type="http://schemas.openxmlformats.org/officeDocument/2006/relationships/image" Target="../media/image20.png"/><Relationship Id="rId7" Type="http://schemas.openxmlformats.org/officeDocument/2006/relationships/image" Target="../media/image24.png"/><Relationship Id="rId12" Type="http://schemas.openxmlformats.org/officeDocument/2006/relationships/image" Target="../media/image29.jpeg"/><Relationship Id="rId2" Type="http://schemas.openxmlformats.org/officeDocument/2006/relationships/notesSlide" Target="../notesSlides/notesSlide2.xml"/><Relationship Id="rId1" Type="http://schemas.openxmlformats.org/officeDocument/2006/relationships/slideLayout" Target="../slideLayouts/slideLayout38.xml"/><Relationship Id="rId6" Type="http://schemas.openxmlformats.org/officeDocument/2006/relationships/image" Target="../media/image23.jpeg"/><Relationship Id="rId11" Type="http://schemas.openxmlformats.org/officeDocument/2006/relationships/image" Target="../media/image28.jpeg"/><Relationship Id="rId5" Type="http://schemas.openxmlformats.org/officeDocument/2006/relationships/image" Target="../media/image22.png"/><Relationship Id="rId15" Type="http://schemas.openxmlformats.org/officeDocument/2006/relationships/image" Target="../media/image32.png"/><Relationship Id="rId10" Type="http://schemas.openxmlformats.org/officeDocument/2006/relationships/image" Target="../media/image27.png"/><Relationship Id="rId4" Type="http://schemas.openxmlformats.org/officeDocument/2006/relationships/image" Target="../media/image21.png"/><Relationship Id="rId9" Type="http://schemas.openxmlformats.org/officeDocument/2006/relationships/image" Target="../media/image26.jpeg"/><Relationship Id="rId14" Type="http://schemas.openxmlformats.org/officeDocument/2006/relationships/image" Target="../media/image31.png"/></Relationships>
</file>

<file path=ppt/slides/_rels/slide50.xml.rels><?xml version="1.0" encoding="UTF-8" standalone="yes"?>
<Relationships xmlns="http://schemas.openxmlformats.org/package/2006/relationships"><Relationship Id="rId2" Type="http://schemas.openxmlformats.org/officeDocument/2006/relationships/image" Target="../media/image116.jpeg"/><Relationship Id="rId1" Type="http://schemas.openxmlformats.org/officeDocument/2006/relationships/slideLayout" Target="../slideLayouts/slideLayout27.xml"/></Relationships>
</file>

<file path=ppt/slides/_rels/slide51.xml.rels><?xml version="1.0" encoding="UTF-8" standalone="yes"?>
<Relationships xmlns="http://schemas.openxmlformats.org/package/2006/relationships"><Relationship Id="rId3" Type="http://schemas.openxmlformats.org/officeDocument/2006/relationships/image" Target="../media/image117.jpeg"/><Relationship Id="rId2" Type="http://schemas.openxmlformats.org/officeDocument/2006/relationships/notesSlide" Target="../notesSlides/notesSlide16.xml"/><Relationship Id="rId1" Type="http://schemas.openxmlformats.org/officeDocument/2006/relationships/slideLayout" Target="../slideLayouts/slideLayout26.xml"/></Relationships>
</file>

<file path=ppt/slides/_rels/slide52.xml.rels><?xml version="1.0" encoding="UTF-8" standalone="yes"?>
<Relationships xmlns="http://schemas.openxmlformats.org/package/2006/relationships"><Relationship Id="rId2" Type="http://schemas.openxmlformats.org/officeDocument/2006/relationships/image" Target="../media/image118.png"/><Relationship Id="rId1" Type="http://schemas.openxmlformats.org/officeDocument/2006/relationships/slideLayout" Target="../slideLayouts/slideLayout28.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2" Type="http://schemas.openxmlformats.org/officeDocument/2006/relationships/image" Target="../media/image119.jpeg"/><Relationship Id="rId1" Type="http://schemas.openxmlformats.org/officeDocument/2006/relationships/slideLayout" Target="../slideLayouts/slideLayout43.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3" Type="http://schemas.openxmlformats.org/officeDocument/2006/relationships/image" Target="../media/image120.jpeg"/><Relationship Id="rId2" Type="http://schemas.openxmlformats.org/officeDocument/2006/relationships/notesSlide" Target="../notesSlides/notesSlide17.xml"/><Relationship Id="rId1" Type="http://schemas.openxmlformats.org/officeDocument/2006/relationships/slideLayout" Target="../slideLayouts/slideLayout37.xml"/></Relationships>
</file>

<file path=ppt/slides/_rels/slide6.xml.rels><?xml version="1.0" encoding="UTF-8" standalone="yes"?>
<Relationships xmlns="http://schemas.openxmlformats.org/package/2006/relationships"><Relationship Id="rId3" Type="http://schemas.openxmlformats.org/officeDocument/2006/relationships/tags" Target="../tags/tag110.xml"/><Relationship Id="rId7" Type="http://schemas.openxmlformats.org/officeDocument/2006/relationships/image" Target="../media/image33.png"/><Relationship Id="rId2" Type="http://schemas.openxmlformats.org/officeDocument/2006/relationships/tags" Target="../tags/tag10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39.xml"/></Relationships>
</file>

<file path=ppt/slides/_rels/slide7.xml.rels><?xml version="1.0" encoding="UTF-8" standalone="yes"?>
<Relationships xmlns="http://schemas.openxmlformats.org/package/2006/relationships"><Relationship Id="rId117" Type="http://schemas.openxmlformats.org/officeDocument/2006/relationships/tags" Target="../tags/tag226.xml"/><Relationship Id="rId21" Type="http://schemas.openxmlformats.org/officeDocument/2006/relationships/tags" Target="../tags/tag130.xml"/><Relationship Id="rId42" Type="http://schemas.openxmlformats.org/officeDocument/2006/relationships/tags" Target="../tags/tag151.xml"/><Relationship Id="rId63" Type="http://schemas.openxmlformats.org/officeDocument/2006/relationships/tags" Target="../tags/tag172.xml"/><Relationship Id="rId84" Type="http://schemas.openxmlformats.org/officeDocument/2006/relationships/tags" Target="../tags/tag193.xml"/><Relationship Id="rId138" Type="http://schemas.openxmlformats.org/officeDocument/2006/relationships/tags" Target="../tags/tag247.xml"/><Relationship Id="rId159" Type="http://schemas.openxmlformats.org/officeDocument/2006/relationships/tags" Target="../tags/tag268.xml"/><Relationship Id="rId170" Type="http://schemas.openxmlformats.org/officeDocument/2006/relationships/tags" Target="../tags/tag279.xml"/><Relationship Id="rId191" Type="http://schemas.openxmlformats.org/officeDocument/2006/relationships/tags" Target="../tags/tag300.xml"/><Relationship Id="rId205" Type="http://schemas.openxmlformats.org/officeDocument/2006/relationships/tags" Target="../tags/tag314.xml"/><Relationship Id="rId226" Type="http://schemas.openxmlformats.org/officeDocument/2006/relationships/tags" Target="../tags/tag335.xml"/><Relationship Id="rId247" Type="http://schemas.openxmlformats.org/officeDocument/2006/relationships/tags" Target="../tags/tag356.xml"/><Relationship Id="rId107" Type="http://schemas.openxmlformats.org/officeDocument/2006/relationships/tags" Target="../tags/tag216.xml"/><Relationship Id="rId11" Type="http://schemas.openxmlformats.org/officeDocument/2006/relationships/tags" Target="../tags/tag120.xml"/><Relationship Id="rId32" Type="http://schemas.openxmlformats.org/officeDocument/2006/relationships/tags" Target="../tags/tag141.xml"/><Relationship Id="rId53" Type="http://schemas.openxmlformats.org/officeDocument/2006/relationships/tags" Target="../tags/tag162.xml"/><Relationship Id="rId74" Type="http://schemas.openxmlformats.org/officeDocument/2006/relationships/tags" Target="../tags/tag183.xml"/><Relationship Id="rId128" Type="http://schemas.openxmlformats.org/officeDocument/2006/relationships/tags" Target="../tags/tag237.xml"/><Relationship Id="rId149" Type="http://schemas.openxmlformats.org/officeDocument/2006/relationships/tags" Target="../tags/tag258.xml"/><Relationship Id="rId5" Type="http://schemas.openxmlformats.org/officeDocument/2006/relationships/tags" Target="../tags/tag114.xml"/><Relationship Id="rId95" Type="http://schemas.openxmlformats.org/officeDocument/2006/relationships/tags" Target="../tags/tag204.xml"/><Relationship Id="rId160" Type="http://schemas.openxmlformats.org/officeDocument/2006/relationships/tags" Target="../tags/tag269.xml"/><Relationship Id="rId181" Type="http://schemas.openxmlformats.org/officeDocument/2006/relationships/tags" Target="../tags/tag290.xml"/><Relationship Id="rId216" Type="http://schemas.openxmlformats.org/officeDocument/2006/relationships/tags" Target="../tags/tag325.xml"/><Relationship Id="rId237" Type="http://schemas.openxmlformats.org/officeDocument/2006/relationships/tags" Target="../tags/tag346.xml"/><Relationship Id="rId258" Type="http://schemas.openxmlformats.org/officeDocument/2006/relationships/tags" Target="../tags/tag367.xml"/><Relationship Id="rId22" Type="http://schemas.openxmlformats.org/officeDocument/2006/relationships/tags" Target="../tags/tag131.xml"/><Relationship Id="rId43" Type="http://schemas.openxmlformats.org/officeDocument/2006/relationships/tags" Target="../tags/tag152.xml"/><Relationship Id="rId64" Type="http://schemas.openxmlformats.org/officeDocument/2006/relationships/tags" Target="../tags/tag173.xml"/><Relationship Id="rId118" Type="http://schemas.openxmlformats.org/officeDocument/2006/relationships/tags" Target="../tags/tag227.xml"/><Relationship Id="rId139" Type="http://schemas.openxmlformats.org/officeDocument/2006/relationships/tags" Target="../tags/tag248.xml"/><Relationship Id="rId85" Type="http://schemas.openxmlformats.org/officeDocument/2006/relationships/tags" Target="../tags/tag194.xml"/><Relationship Id="rId150" Type="http://schemas.openxmlformats.org/officeDocument/2006/relationships/tags" Target="../tags/tag259.xml"/><Relationship Id="rId171" Type="http://schemas.openxmlformats.org/officeDocument/2006/relationships/tags" Target="../tags/tag280.xml"/><Relationship Id="rId192" Type="http://schemas.openxmlformats.org/officeDocument/2006/relationships/tags" Target="../tags/tag301.xml"/><Relationship Id="rId206" Type="http://schemas.openxmlformats.org/officeDocument/2006/relationships/tags" Target="../tags/tag315.xml"/><Relationship Id="rId227" Type="http://schemas.openxmlformats.org/officeDocument/2006/relationships/tags" Target="../tags/tag336.xml"/><Relationship Id="rId248" Type="http://schemas.openxmlformats.org/officeDocument/2006/relationships/tags" Target="../tags/tag357.xml"/><Relationship Id="rId12" Type="http://schemas.openxmlformats.org/officeDocument/2006/relationships/tags" Target="../tags/tag121.xml"/><Relationship Id="rId33" Type="http://schemas.openxmlformats.org/officeDocument/2006/relationships/tags" Target="../tags/tag142.xml"/><Relationship Id="rId108" Type="http://schemas.openxmlformats.org/officeDocument/2006/relationships/tags" Target="../tags/tag217.xml"/><Relationship Id="rId129" Type="http://schemas.openxmlformats.org/officeDocument/2006/relationships/tags" Target="../tags/tag238.xml"/><Relationship Id="rId54" Type="http://schemas.openxmlformats.org/officeDocument/2006/relationships/tags" Target="../tags/tag163.xml"/><Relationship Id="rId75" Type="http://schemas.openxmlformats.org/officeDocument/2006/relationships/tags" Target="../tags/tag184.xml"/><Relationship Id="rId96" Type="http://schemas.openxmlformats.org/officeDocument/2006/relationships/tags" Target="../tags/tag205.xml"/><Relationship Id="rId140" Type="http://schemas.openxmlformats.org/officeDocument/2006/relationships/tags" Target="../tags/tag249.xml"/><Relationship Id="rId161" Type="http://schemas.openxmlformats.org/officeDocument/2006/relationships/tags" Target="../tags/tag270.xml"/><Relationship Id="rId182" Type="http://schemas.openxmlformats.org/officeDocument/2006/relationships/tags" Target="../tags/tag291.xml"/><Relationship Id="rId217" Type="http://schemas.openxmlformats.org/officeDocument/2006/relationships/tags" Target="../tags/tag326.xml"/><Relationship Id="rId1" Type="http://schemas.openxmlformats.org/officeDocument/2006/relationships/vmlDrawing" Target="../drawings/vmlDrawing7.vml"/><Relationship Id="rId6" Type="http://schemas.openxmlformats.org/officeDocument/2006/relationships/tags" Target="../tags/tag115.xml"/><Relationship Id="rId212" Type="http://schemas.openxmlformats.org/officeDocument/2006/relationships/tags" Target="../tags/tag321.xml"/><Relationship Id="rId233" Type="http://schemas.openxmlformats.org/officeDocument/2006/relationships/tags" Target="../tags/tag342.xml"/><Relationship Id="rId238" Type="http://schemas.openxmlformats.org/officeDocument/2006/relationships/tags" Target="../tags/tag347.xml"/><Relationship Id="rId254" Type="http://schemas.openxmlformats.org/officeDocument/2006/relationships/tags" Target="../tags/tag363.xml"/><Relationship Id="rId259" Type="http://schemas.openxmlformats.org/officeDocument/2006/relationships/tags" Target="../tags/tag368.xml"/><Relationship Id="rId23" Type="http://schemas.openxmlformats.org/officeDocument/2006/relationships/tags" Target="../tags/tag132.xml"/><Relationship Id="rId28" Type="http://schemas.openxmlformats.org/officeDocument/2006/relationships/tags" Target="../tags/tag137.xml"/><Relationship Id="rId49" Type="http://schemas.openxmlformats.org/officeDocument/2006/relationships/tags" Target="../tags/tag158.xml"/><Relationship Id="rId114" Type="http://schemas.openxmlformats.org/officeDocument/2006/relationships/tags" Target="../tags/tag223.xml"/><Relationship Id="rId119" Type="http://schemas.openxmlformats.org/officeDocument/2006/relationships/tags" Target="../tags/tag228.xml"/><Relationship Id="rId44" Type="http://schemas.openxmlformats.org/officeDocument/2006/relationships/tags" Target="../tags/tag153.xml"/><Relationship Id="rId60" Type="http://schemas.openxmlformats.org/officeDocument/2006/relationships/tags" Target="../tags/tag169.xml"/><Relationship Id="rId65" Type="http://schemas.openxmlformats.org/officeDocument/2006/relationships/tags" Target="../tags/tag174.xml"/><Relationship Id="rId81" Type="http://schemas.openxmlformats.org/officeDocument/2006/relationships/tags" Target="../tags/tag190.xml"/><Relationship Id="rId86" Type="http://schemas.openxmlformats.org/officeDocument/2006/relationships/tags" Target="../tags/tag195.xml"/><Relationship Id="rId130" Type="http://schemas.openxmlformats.org/officeDocument/2006/relationships/tags" Target="../tags/tag239.xml"/><Relationship Id="rId135" Type="http://schemas.openxmlformats.org/officeDocument/2006/relationships/tags" Target="../tags/tag244.xml"/><Relationship Id="rId151" Type="http://schemas.openxmlformats.org/officeDocument/2006/relationships/tags" Target="../tags/tag260.xml"/><Relationship Id="rId156" Type="http://schemas.openxmlformats.org/officeDocument/2006/relationships/tags" Target="../tags/tag265.xml"/><Relationship Id="rId177" Type="http://schemas.openxmlformats.org/officeDocument/2006/relationships/tags" Target="../tags/tag286.xml"/><Relationship Id="rId198" Type="http://schemas.openxmlformats.org/officeDocument/2006/relationships/tags" Target="../tags/tag307.xml"/><Relationship Id="rId172" Type="http://schemas.openxmlformats.org/officeDocument/2006/relationships/tags" Target="../tags/tag281.xml"/><Relationship Id="rId193" Type="http://schemas.openxmlformats.org/officeDocument/2006/relationships/tags" Target="../tags/tag302.xml"/><Relationship Id="rId202" Type="http://schemas.openxmlformats.org/officeDocument/2006/relationships/tags" Target="../tags/tag311.xml"/><Relationship Id="rId207" Type="http://schemas.openxmlformats.org/officeDocument/2006/relationships/tags" Target="../tags/tag316.xml"/><Relationship Id="rId223" Type="http://schemas.openxmlformats.org/officeDocument/2006/relationships/tags" Target="../tags/tag332.xml"/><Relationship Id="rId228" Type="http://schemas.openxmlformats.org/officeDocument/2006/relationships/tags" Target="../tags/tag337.xml"/><Relationship Id="rId244" Type="http://schemas.openxmlformats.org/officeDocument/2006/relationships/tags" Target="../tags/tag353.xml"/><Relationship Id="rId249" Type="http://schemas.openxmlformats.org/officeDocument/2006/relationships/tags" Target="../tags/tag358.xml"/><Relationship Id="rId13" Type="http://schemas.openxmlformats.org/officeDocument/2006/relationships/tags" Target="../tags/tag122.xml"/><Relationship Id="rId18" Type="http://schemas.openxmlformats.org/officeDocument/2006/relationships/tags" Target="../tags/tag127.xml"/><Relationship Id="rId39" Type="http://schemas.openxmlformats.org/officeDocument/2006/relationships/tags" Target="../tags/tag148.xml"/><Relationship Id="rId109" Type="http://schemas.openxmlformats.org/officeDocument/2006/relationships/tags" Target="../tags/tag218.xml"/><Relationship Id="rId260" Type="http://schemas.openxmlformats.org/officeDocument/2006/relationships/tags" Target="../tags/tag369.xml"/><Relationship Id="rId34" Type="http://schemas.openxmlformats.org/officeDocument/2006/relationships/tags" Target="../tags/tag143.xml"/><Relationship Id="rId50" Type="http://schemas.openxmlformats.org/officeDocument/2006/relationships/tags" Target="../tags/tag159.xml"/><Relationship Id="rId55" Type="http://schemas.openxmlformats.org/officeDocument/2006/relationships/tags" Target="../tags/tag164.xml"/><Relationship Id="rId76" Type="http://schemas.openxmlformats.org/officeDocument/2006/relationships/tags" Target="../tags/tag185.xml"/><Relationship Id="rId97" Type="http://schemas.openxmlformats.org/officeDocument/2006/relationships/tags" Target="../tags/tag206.xml"/><Relationship Id="rId104" Type="http://schemas.openxmlformats.org/officeDocument/2006/relationships/tags" Target="../tags/tag213.xml"/><Relationship Id="rId120" Type="http://schemas.openxmlformats.org/officeDocument/2006/relationships/tags" Target="../tags/tag229.xml"/><Relationship Id="rId125" Type="http://schemas.openxmlformats.org/officeDocument/2006/relationships/tags" Target="../tags/tag234.xml"/><Relationship Id="rId141" Type="http://schemas.openxmlformats.org/officeDocument/2006/relationships/tags" Target="../tags/tag250.xml"/><Relationship Id="rId146" Type="http://schemas.openxmlformats.org/officeDocument/2006/relationships/tags" Target="../tags/tag255.xml"/><Relationship Id="rId167" Type="http://schemas.openxmlformats.org/officeDocument/2006/relationships/tags" Target="../tags/tag276.xml"/><Relationship Id="rId188" Type="http://schemas.openxmlformats.org/officeDocument/2006/relationships/tags" Target="../tags/tag297.xml"/><Relationship Id="rId7" Type="http://schemas.openxmlformats.org/officeDocument/2006/relationships/tags" Target="../tags/tag116.xml"/><Relationship Id="rId71" Type="http://schemas.openxmlformats.org/officeDocument/2006/relationships/tags" Target="../tags/tag180.xml"/><Relationship Id="rId92" Type="http://schemas.openxmlformats.org/officeDocument/2006/relationships/tags" Target="../tags/tag201.xml"/><Relationship Id="rId162" Type="http://schemas.openxmlformats.org/officeDocument/2006/relationships/tags" Target="../tags/tag271.xml"/><Relationship Id="rId183" Type="http://schemas.openxmlformats.org/officeDocument/2006/relationships/tags" Target="../tags/tag292.xml"/><Relationship Id="rId213" Type="http://schemas.openxmlformats.org/officeDocument/2006/relationships/tags" Target="../tags/tag322.xml"/><Relationship Id="rId218" Type="http://schemas.openxmlformats.org/officeDocument/2006/relationships/tags" Target="../tags/tag327.xml"/><Relationship Id="rId234" Type="http://schemas.openxmlformats.org/officeDocument/2006/relationships/tags" Target="../tags/tag343.xml"/><Relationship Id="rId239" Type="http://schemas.openxmlformats.org/officeDocument/2006/relationships/tags" Target="../tags/tag348.xml"/><Relationship Id="rId2" Type="http://schemas.openxmlformats.org/officeDocument/2006/relationships/tags" Target="../tags/tag111.xml"/><Relationship Id="rId29" Type="http://schemas.openxmlformats.org/officeDocument/2006/relationships/tags" Target="../tags/tag138.xml"/><Relationship Id="rId250" Type="http://schemas.openxmlformats.org/officeDocument/2006/relationships/tags" Target="../tags/tag359.xml"/><Relationship Id="rId255" Type="http://schemas.openxmlformats.org/officeDocument/2006/relationships/tags" Target="../tags/tag364.xml"/><Relationship Id="rId24" Type="http://schemas.openxmlformats.org/officeDocument/2006/relationships/tags" Target="../tags/tag133.xml"/><Relationship Id="rId40" Type="http://schemas.openxmlformats.org/officeDocument/2006/relationships/tags" Target="../tags/tag149.xml"/><Relationship Id="rId45" Type="http://schemas.openxmlformats.org/officeDocument/2006/relationships/tags" Target="../tags/tag154.xml"/><Relationship Id="rId66" Type="http://schemas.openxmlformats.org/officeDocument/2006/relationships/tags" Target="../tags/tag175.xml"/><Relationship Id="rId87" Type="http://schemas.openxmlformats.org/officeDocument/2006/relationships/tags" Target="../tags/tag196.xml"/><Relationship Id="rId110" Type="http://schemas.openxmlformats.org/officeDocument/2006/relationships/tags" Target="../tags/tag219.xml"/><Relationship Id="rId115" Type="http://schemas.openxmlformats.org/officeDocument/2006/relationships/tags" Target="../tags/tag224.xml"/><Relationship Id="rId131" Type="http://schemas.openxmlformats.org/officeDocument/2006/relationships/tags" Target="../tags/tag240.xml"/><Relationship Id="rId136" Type="http://schemas.openxmlformats.org/officeDocument/2006/relationships/tags" Target="../tags/tag245.xml"/><Relationship Id="rId157" Type="http://schemas.openxmlformats.org/officeDocument/2006/relationships/tags" Target="../tags/tag266.xml"/><Relationship Id="rId178" Type="http://schemas.openxmlformats.org/officeDocument/2006/relationships/tags" Target="../tags/tag287.xml"/><Relationship Id="rId61" Type="http://schemas.openxmlformats.org/officeDocument/2006/relationships/tags" Target="../tags/tag170.xml"/><Relationship Id="rId82" Type="http://schemas.openxmlformats.org/officeDocument/2006/relationships/tags" Target="../tags/tag191.xml"/><Relationship Id="rId152" Type="http://schemas.openxmlformats.org/officeDocument/2006/relationships/tags" Target="../tags/tag261.xml"/><Relationship Id="rId173" Type="http://schemas.openxmlformats.org/officeDocument/2006/relationships/tags" Target="../tags/tag282.xml"/><Relationship Id="rId194" Type="http://schemas.openxmlformats.org/officeDocument/2006/relationships/tags" Target="../tags/tag303.xml"/><Relationship Id="rId199" Type="http://schemas.openxmlformats.org/officeDocument/2006/relationships/tags" Target="../tags/tag308.xml"/><Relationship Id="rId203" Type="http://schemas.openxmlformats.org/officeDocument/2006/relationships/tags" Target="../tags/tag312.xml"/><Relationship Id="rId208" Type="http://schemas.openxmlformats.org/officeDocument/2006/relationships/tags" Target="../tags/tag317.xml"/><Relationship Id="rId229" Type="http://schemas.openxmlformats.org/officeDocument/2006/relationships/tags" Target="../tags/tag338.xml"/><Relationship Id="rId19" Type="http://schemas.openxmlformats.org/officeDocument/2006/relationships/tags" Target="../tags/tag128.xml"/><Relationship Id="rId224" Type="http://schemas.openxmlformats.org/officeDocument/2006/relationships/tags" Target="../tags/tag333.xml"/><Relationship Id="rId240" Type="http://schemas.openxmlformats.org/officeDocument/2006/relationships/tags" Target="../tags/tag349.xml"/><Relationship Id="rId245" Type="http://schemas.openxmlformats.org/officeDocument/2006/relationships/tags" Target="../tags/tag354.xml"/><Relationship Id="rId261" Type="http://schemas.openxmlformats.org/officeDocument/2006/relationships/tags" Target="../tags/tag370.xml"/><Relationship Id="rId14" Type="http://schemas.openxmlformats.org/officeDocument/2006/relationships/tags" Target="../tags/tag123.xml"/><Relationship Id="rId30" Type="http://schemas.openxmlformats.org/officeDocument/2006/relationships/tags" Target="../tags/tag139.xml"/><Relationship Id="rId35" Type="http://schemas.openxmlformats.org/officeDocument/2006/relationships/tags" Target="../tags/tag144.xml"/><Relationship Id="rId56" Type="http://schemas.openxmlformats.org/officeDocument/2006/relationships/tags" Target="../tags/tag165.xml"/><Relationship Id="rId77" Type="http://schemas.openxmlformats.org/officeDocument/2006/relationships/tags" Target="../tags/tag186.xml"/><Relationship Id="rId100" Type="http://schemas.openxmlformats.org/officeDocument/2006/relationships/tags" Target="../tags/tag209.xml"/><Relationship Id="rId105" Type="http://schemas.openxmlformats.org/officeDocument/2006/relationships/tags" Target="../tags/tag214.xml"/><Relationship Id="rId126" Type="http://schemas.openxmlformats.org/officeDocument/2006/relationships/tags" Target="../tags/tag235.xml"/><Relationship Id="rId147" Type="http://schemas.openxmlformats.org/officeDocument/2006/relationships/tags" Target="../tags/tag256.xml"/><Relationship Id="rId168" Type="http://schemas.openxmlformats.org/officeDocument/2006/relationships/tags" Target="../tags/tag277.xml"/><Relationship Id="rId8" Type="http://schemas.openxmlformats.org/officeDocument/2006/relationships/tags" Target="../tags/tag117.xml"/><Relationship Id="rId51" Type="http://schemas.openxmlformats.org/officeDocument/2006/relationships/tags" Target="../tags/tag160.xml"/><Relationship Id="rId72" Type="http://schemas.openxmlformats.org/officeDocument/2006/relationships/tags" Target="../tags/tag181.xml"/><Relationship Id="rId93" Type="http://schemas.openxmlformats.org/officeDocument/2006/relationships/tags" Target="../tags/tag202.xml"/><Relationship Id="rId98" Type="http://schemas.openxmlformats.org/officeDocument/2006/relationships/tags" Target="../tags/tag207.xml"/><Relationship Id="rId121" Type="http://schemas.openxmlformats.org/officeDocument/2006/relationships/tags" Target="../tags/tag230.xml"/><Relationship Id="rId142" Type="http://schemas.openxmlformats.org/officeDocument/2006/relationships/tags" Target="../tags/tag251.xml"/><Relationship Id="rId163" Type="http://schemas.openxmlformats.org/officeDocument/2006/relationships/tags" Target="../tags/tag272.xml"/><Relationship Id="rId184" Type="http://schemas.openxmlformats.org/officeDocument/2006/relationships/tags" Target="../tags/tag293.xml"/><Relationship Id="rId189" Type="http://schemas.openxmlformats.org/officeDocument/2006/relationships/tags" Target="../tags/tag298.xml"/><Relationship Id="rId219" Type="http://schemas.openxmlformats.org/officeDocument/2006/relationships/tags" Target="../tags/tag328.xml"/><Relationship Id="rId3" Type="http://schemas.openxmlformats.org/officeDocument/2006/relationships/tags" Target="../tags/tag112.xml"/><Relationship Id="rId214" Type="http://schemas.openxmlformats.org/officeDocument/2006/relationships/tags" Target="../tags/tag323.xml"/><Relationship Id="rId230" Type="http://schemas.openxmlformats.org/officeDocument/2006/relationships/tags" Target="../tags/tag339.xml"/><Relationship Id="rId235" Type="http://schemas.openxmlformats.org/officeDocument/2006/relationships/tags" Target="../tags/tag344.xml"/><Relationship Id="rId251" Type="http://schemas.openxmlformats.org/officeDocument/2006/relationships/tags" Target="../tags/tag360.xml"/><Relationship Id="rId256" Type="http://schemas.openxmlformats.org/officeDocument/2006/relationships/tags" Target="../tags/tag365.xml"/><Relationship Id="rId25" Type="http://schemas.openxmlformats.org/officeDocument/2006/relationships/tags" Target="../tags/tag134.xml"/><Relationship Id="rId46" Type="http://schemas.openxmlformats.org/officeDocument/2006/relationships/tags" Target="../tags/tag155.xml"/><Relationship Id="rId67" Type="http://schemas.openxmlformats.org/officeDocument/2006/relationships/tags" Target="../tags/tag176.xml"/><Relationship Id="rId116" Type="http://schemas.openxmlformats.org/officeDocument/2006/relationships/tags" Target="../tags/tag225.xml"/><Relationship Id="rId137" Type="http://schemas.openxmlformats.org/officeDocument/2006/relationships/tags" Target="../tags/tag246.xml"/><Relationship Id="rId158" Type="http://schemas.openxmlformats.org/officeDocument/2006/relationships/tags" Target="../tags/tag267.xml"/><Relationship Id="rId20" Type="http://schemas.openxmlformats.org/officeDocument/2006/relationships/tags" Target="../tags/tag129.xml"/><Relationship Id="rId41" Type="http://schemas.openxmlformats.org/officeDocument/2006/relationships/tags" Target="../tags/tag150.xml"/><Relationship Id="rId62" Type="http://schemas.openxmlformats.org/officeDocument/2006/relationships/tags" Target="../tags/tag171.xml"/><Relationship Id="rId83" Type="http://schemas.openxmlformats.org/officeDocument/2006/relationships/tags" Target="../tags/tag192.xml"/><Relationship Id="rId88" Type="http://schemas.openxmlformats.org/officeDocument/2006/relationships/tags" Target="../tags/tag197.xml"/><Relationship Id="rId111" Type="http://schemas.openxmlformats.org/officeDocument/2006/relationships/tags" Target="../tags/tag220.xml"/><Relationship Id="rId132" Type="http://schemas.openxmlformats.org/officeDocument/2006/relationships/tags" Target="../tags/tag241.xml"/><Relationship Id="rId153" Type="http://schemas.openxmlformats.org/officeDocument/2006/relationships/tags" Target="../tags/tag262.xml"/><Relationship Id="rId174" Type="http://schemas.openxmlformats.org/officeDocument/2006/relationships/tags" Target="../tags/tag283.xml"/><Relationship Id="rId179" Type="http://schemas.openxmlformats.org/officeDocument/2006/relationships/tags" Target="../tags/tag288.xml"/><Relationship Id="rId195" Type="http://schemas.openxmlformats.org/officeDocument/2006/relationships/tags" Target="../tags/tag304.xml"/><Relationship Id="rId209" Type="http://schemas.openxmlformats.org/officeDocument/2006/relationships/tags" Target="../tags/tag318.xml"/><Relationship Id="rId190" Type="http://schemas.openxmlformats.org/officeDocument/2006/relationships/tags" Target="../tags/tag299.xml"/><Relationship Id="rId204" Type="http://schemas.openxmlformats.org/officeDocument/2006/relationships/tags" Target="../tags/tag313.xml"/><Relationship Id="rId220" Type="http://schemas.openxmlformats.org/officeDocument/2006/relationships/tags" Target="../tags/tag329.xml"/><Relationship Id="rId225" Type="http://schemas.openxmlformats.org/officeDocument/2006/relationships/tags" Target="../tags/tag334.xml"/><Relationship Id="rId241" Type="http://schemas.openxmlformats.org/officeDocument/2006/relationships/tags" Target="../tags/tag350.xml"/><Relationship Id="rId246" Type="http://schemas.openxmlformats.org/officeDocument/2006/relationships/tags" Target="../tags/tag355.xml"/><Relationship Id="rId15" Type="http://schemas.openxmlformats.org/officeDocument/2006/relationships/tags" Target="../tags/tag124.xml"/><Relationship Id="rId36" Type="http://schemas.openxmlformats.org/officeDocument/2006/relationships/tags" Target="../tags/tag145.xml"/><Relationship Id="rId57" Type="http://schemas.openxmlformats.org/officeDocument/2006/relationships/tags" Target="../tags/tag166.xml"/><Relationship Id="rId106" Type="http://schemas.openxmlformats.org/officeDocument/2006/relationships/tags" Target="../tags/tag215.xml"/><Relationship Id="rId127" Type="http://schemas.openxmlformats.org/officeDocument/2006/relationships/tags" Target="../tags/tag236.xml"/><Relationship Id="rId262" Type="http://schemas.openxmlformats.org/officeDocument/2006/relationships/slideLayout" Target="../slideLayouts/slideLayout40.xml"/><Relationship Id="rId10" Type="http://schemas.openxmlformats.org/officeDocument/2006/relationships/tags" Target="../tags/tag119.xml"/><Relationship Id="rId31" Type="http://schemas.openxmlformats.org/officeDocument/2006/relationships/tags" Target="../tags/tag140.xml"/><Relationship Id="rId52" Type="http://schemas.openxmlformats.org/officeDocument/2006/relationships/tags" Target="../tags/tag161.xml"/><Relationship Id="rId73" Type="http://schemas.openxmlformats.org/officeDocument/2006/relationships/tags" Target="../tags/tag182.xml"/><Relationship Id="rId78" Type="http://schemas.openxmlformats.org/officeDocument/2006/relationships/tags" Target="../tags/tag187.xml"/><Relationship Id="rId94" Type="http://schemas.openxmlformats.org/officeDocument/2006/relationships/tags" Target="../tags/tag203.xml"/><Relationship Id="rId99" Type="http://schemas.openxmlformats.org/officeDocument/2006/relationships/tags" Target="../tags/tag208.xml"/><Relationship Id="rId101" Type="http://schemas.openxmlformats.org/officeDocument/2006/relationships/tags" Target="../tags/tag210.xml"/><Relationship Id="rId122" Type="http://schemas.openxmlformats.org/officeDocument/2006/relationships/tags" Target="../tags/tag231.xml"/><Relationship Id="rId143" Type="http://schemas.openxmlformats.org/officeDocument/2006/relationships/tags" Target="../tags/tag252.xml"/><Relationship Id="rId148" Type="http://schemas.openxmlformats.org/officeDocument/2006/relationships/tags" Target="../tags/tag257.xml"/><Relationship Id="rId164" Type="http://schemas.openxmlformats.org/officeDocument/2006/relationships/tags" Target="../tags/tag273.xml"/><Relationship Id="rId169" Type="http://schemas.openxmlformats.org/officeDocument/2006/relationships/tags" Target="../tags/tag278.xml"/><Relationship Id="rId185" Type="http://schemas.openxmlformats.org/officeDocument/2006/relationships/tags" Target="../tags/tag294.xml"/><Relationship Id="rId4" Type="http://schemas.openxmlformats.org/officeDocument/2006/relationships/tags" Target="../tags/tag113.xml"/><Relationship Id="rId9" Type="http://schemas.openxmlformats.org/officeDocument/2006/relationships/tags" Target="../tags/tag118.xml"/><Relationship Id="rId180" Type="http://schemas.openxmlformats.org/officeDocument/2006/relationships/tags" Target="../tags/tag289.xml"/><Relationship Id="rId210" Type="http://schemas.openxmlformats.org/officeDocument/2006/relationships/tags" Target="../tags/tag319.xml"/><Relationship Id="rId215" Type="http://schemas.openxmlformats.org/officeDocument/2006/relationships/tags" Target="../tags/tag324.xml"/><Relationship Id="rId236" Type="http://schemas.openxmlformats.org/officeDocument/2006/relationships/tags" Target="../tags/tag345.xml"/><Relationship Id="rId257" Type="http://schemas.openxmlformats.org/officeDocument/2006/relationships/tags" Target="../tags/tag366.xml"/><Relationship Id="rId26" Type="http://schemas.openxmlformats.org/officeDocument/2006/relationships/tags" Target="../tags/tag135.xml"/><Relationship Id="rId231" Type="http://schemas.openxmlformats.org/officeDocument/2006/relationships/tags" Target="../tags/tag340.xml"/><Relationship Id="rId252" Type="http://schemas.openxmlformats.org/officeDocument/2006/relationships/tags" Target="../tags/tag361.xml"/><Relationship Id="rId47" Type="http://schemas.openxmlformats.org/officeDocument/2006/relationships/tags" Target="../tags/tag156.xml"/><Relationship Id="rId68" Type="http://schemas.openxmlformats.org/officeDocument/2006/relationships/tags" Target="../tags/tag177.xml"/><Relationship Id="rId89" Type="http://schemas.openxmlformats.org/officeDocument/2006/relationships/tags" Target="../tags/tag198.xml"/><Relationship Id="rId112" Type="http://schemas.openxmlformats.org/officeDocument/2006/relationships/tags" Target="../tags/tag221.xml"/><Relationship Id="rId133" Type="http://schemas.openxmlformats.org/officeDocument/2006/relationships/tags" Target="../tags/tag242.xml"/><Relationship Id="rId154" Type="http://schemas.openxmlformats.org/officeDocument/2006/relationships/tags" Target="../tags/tag263.xml"/><Relationship Id="rId175" Type="http://schemas.openxmlformats.org/officeDocument/2006/relationships/tags" Target="../tags/tag284.xml"/><Relationship Id="rId196" Type="http://schemas.openxmlformats.org/officeDocument/2006/relationships/tags" Target="../tags/tag305.xml"/><Relationship Id="rId200" Type="http://schemas.openxmlformats.org/officeDocument/2006/relationships/tags" Target="../tags/tag309.xml"/><Relationship Id="rId16" Type="http://schemas.openxmlformats.org/officeDocument/2006/relationships/tags" Target="../tags/tag125.xml"/><Relationship Id="rId221" Type="http://schemas.openxmlformats.org/officeDocument/2006/relationships/tags" Target="../tags/tag330.xml"/><Relationship Id="rId242" Type="http://schemas.openxmlformats.org/officeDocument/2006/relationships/tags" Target="../tags/tag351.xml"/><Relationship Id="rId263" Type="http://schemas.openxmlformats.org/officeDocument/2006/relationships/notesSlide" Target="../notesSlides/notesSlide4.xml"/><Relationship Id="rId37" Type="http://schemas.openxmlformats.org/officeDocument/2006/relationships/tags" Target="../tags/tag146.xml"/><Relationship Id="rId58" Type="http://schemas.openxmlformats.org/officeDocument/2006/relationships/tags" Target="../tags/tag167.xml"/><Relationship Id="rId79" Type="http://schemas.openxmlformats.org/officeDocument/2006/relationships/tags" Target="../tags/tag188.xml"/><Relationship Id="rId102" Type="http://schemas.openxmlformats.org/officeDocument/2006/relationships/tags" Target="../tags/tag211.xml"/><Relationship Id="rId123" Type="http://schemas.openxmlformats.org/officeDocument/2006/relationships/tags" Target="../tags/tag232.xml"/><Relationship Id="rId144" Type="http://schemas.openxmlformats.org/officeDocument/2006/relationships/tags" Target="../tags/tag253.xml"/><Relationship Id="rId90" Type="http://schemas.openxmlformats.org/officeDocument/2006/relationships/tags" Target="../tags/tag199.xml"/><Relationship Id="rId165" Type="http://schemas.openxmlformats.org/officeDocument/2006/relationships/tags" Target="../tags/tag274.xml"/><Relationship Id="rId186" Type="http://schemas.openxmlformats.org/officeDocument/2006/relationships/tags" Target="../tags/tag295.xml"/><Relationship Id="rId211" Type="http://schemas.openxmlformats.org/officeDocument/2006/relationships/tags" Target="../tags/tag320.xml"/><Relationship Id="rId232" Type="http://schemas.openxmlformats.org/officeDocument/2006/relationships/tags" Target="../tags/tag341.xml"/><Relationship Id="rId253" Type="http://schemas.openxmlformats.org/officeDocument/2006/relationships/tags" Target="../tags/tag362.xml"/><Relationship Id="rId27" Type="http://schemas.openxmlformats.org/officeDocument/2006/relationships/tags" Target="../tags/tag136.xml"/><Relationship Id="rId48" Type="http://schemas.openxmlformats.org/officeDocument/2006/relationships/tags" Target="../tags/tag157.xml"/><Relationship Id="rId69" Type="http://schemas.openxmlformats.org/officeDocument/2006/relationships/tags" Target="../tags/tag178.xml"/><Relationship Id="rId113" Type="http://schemas.openxmlformats.org/officeDocument/2006/relationships/tags" Target="../tags/tag222.xml"/><Relationship Id="rId134" Type="http://schemas.openxmlformats.org/officeDocument/2006/relationships/tags" Target="../tags/tag243.xml"/><Relationship Id="rId80" Type="http://schemas.openxmlformats.org/officeDocument/2006/relationships/tags" Target="../tags/tag189.xml"/><Relationship Id="rId155" Type="http://schemas.openxmlformats.org/officeDocument/2006/relationships/tags" Target="../tags/tag264.xml"/><Relationship Id="rId176" Type="http://schemas.openxmlformats.org/officeDocument/2006/relationships/tags" Target="../tags/tag285.xml"/><Relationship Id="rId197" Type="http://schemas.openxmlformats.org/officeDocument/2006/relationships/tags" Target="../tags/tag306.xml"/><Relationship Id="rId201" Type="http://schemas.openxmlformats.org/officeDocument/2006/relationships/tags" Target="../tags/tag310.xml"/><Relationship Id="rId222" Type="http://schemas.openxmlformats.org/officeDocument/2006/relationships/tags" Target="../tags/tag331.xml"/><Relationship Id="rId243" Type="http://schemas.openxmlformats.org/officeDocument/2006/relationships/tags" Target="../tags/tag352.xml"/><Relationship Id="rId264" Type="http://schemas.openxmlformats.org/officeDocument/2006/relationships/oleObject" Target="../embeddings/oleObject7.bin"/><Relationship Id="rId17" Type="http://schemas.openxmlformats.org/officeDocument/2006/relationships/tags" Target="../tags/tag126.xml"/><Relationship Id="rId38" Type="http://schemas.openxmlformats.org/officeDocument/2006/relationships/tags" Target="../tags/tag147.xml"/><Relationship Id="rId59" Type="http://schemas.openxmlformats.org/officeDocument/2006/relationships/tags" Target="../tags/tag168.xml"/><Relationship Id="rId103" Type="http://schemas.openxmlformats.org/officeDocument/2006/relationships/tags" Target="../tags/tag212.xml"/><Relationship Id="rId124" Type="http://schemas.openxmlformats.org/officeDocument/2006/relationships/tags" Target="../tags/tag233.xml"/><Relationship Id="rId70" Type="http://schemas.openxmlformats.org/officeDocument/2006/relationships/tags" Target="../tags/tag179.xml"/><Relationship Id="rId91" Type="http://schemas.openxmlformats.org/officeDocument/2006/relationships/tags" Target="../tags/tag200.xml"/><Relationship Id="rId145" Type="http://schemas.openxmlformats.org/officeDocument/2006/relationships/tags" Target="../tags/tag254.xml"/><Relationship Id="rId166" Type="http://schemas.openxmlformats.org/officeDocument/2006/relationships/tags" Target="../tags/tag275.xml"/><Relationship Id="rId187" Type="http://schemas.openxmlformats.org/officeDocument/2006/relationships/tags" Target="../tags/tag296.xml"/></Relationships>
</file>

<file path=ppt/slides/_rels/slide8.xml.rels><?xml version="1.0" encoding="UTF-8" standalone="yes"?>
<Relationships xmlns="http://schemas.openxmlformats.org/package/2006/relationships"><Relationship Id="rId13" Type="http://schemas.openxmlformats.org/officeDocument/2006/relationships/tags" Target="../tags/tag382.xml"/><Relationship Id="rId18" Type="http://schemas.openxmlformats.org/officeDocument/2006/relationships/tags" Target="../tags/tag387.xml"/><Relationship Id="rId26" Type="http://schemas.openxmlformats.org/officeDocument/2006/relationships/tags" Target="../tags/tag395.xml"/><Relationship Id="rId39" Type="http://schemas.openxmlformats.org/officeDocument/2006/relationships/tags" Target="../tags/tag408.xml"/><Relationship Id="rId21" Type="http://schemas.openxmlformats.org/officeDocument/2006/relationships/tags" Target="../tags/tag390.xml"/><Relationship Id="rId34" Type="http://schemas.openxmlformats.org/officeDocument/2006/relationships/tags" Target="../tags/tag403.xml"/><Relationship Id="rId42" Type="http://schemas.openxmlformats.org/officeDocument/2006/relationships/tags" Target="../tags/tag411.xml"/><Relationship Id="rId47" Type="http://schemas.openxmlformats.org/officeDocument/2006/relationships/tags" Target="../tags/tag416.xml"/><Relationship Id="rId50" Type="http://schemas.openxmlformats.org/officeDocument/2006/relationships/tags" Target="../tags/tag419.xml"/><Relationship Id="rId55" Type="http://schemas.openxmlformats.org/officeDocument/2006/relationships/tags" Target="../tags/tag424.xml"/><Relationship Id="rId63" Type="http://schemas.openxmlformats.org/officeDocument/2006/relationships/tags" Target="../tags/tag432.xml"/><Relationship Id="rId68" Type="http://schemas.openxmlformats.org/officeDocument/2006/relationships/notesSlide" Target="../notesSlides/notesSlide5.xml"/><Relationship Id="rId7" Type="http://schemas.openxmlformats.org/officeDocument/2006/relationships/tags" Target="../tags/tag376.xml"/><Relationship Id="rId2" Type="http://schemas.openxmlformats.org/officeDocument/2006/relationships/tags" Target="../tags/tag371.xml"/><Relationship Id="rId16" Type="http://schemas.openxmlformats.org/officeDocument/2006/relationships/tags" Target="../tags/tag385.xml"/><Relationship Id="rId29" Type="http://schemas.openxmlformats.org/officeDocument/2006/relationships/tags" Target="../tags/tag398.xml"/><Relationship Id="rId1" Type="http://schemas.openxmlformats.org/officeDocument/2006/relationships/vmlDrawing" Target="../drawings/vmlDrawing8.vml"/><Relationship Id="rId6" Type="http://schemas.openxmlformats.org/officeDocument/2006/relationships/tags" Target="../tags/tag375.xml"/><Relationship Id="rId11" Type="http://schemas.openxmlformats.org/officeDocument/2006/relationships/tags" Target="../tags/tag380.xml"/><Relationship Id="rId24" Type="http://schemas.openxmlformats.org/officeDocument/2006/relationships/tags" Target="../tags/tag393.xml"/><Relationship Id="rId32" Type="http://schemas.openxmlformats.org/officeDocument/2006/relationships/tags" Target="../tags/tag401.xml"/><Relationship Id="rId37" Type="http://schemas.openxmlformats.org/officeDocument/2006/relationships/tags" Target="../tags/tag406.xml"/><Relationship Id="rId40" Type="http://schemas.openxmlformats.org/officeDocument/2006/relationships/tags" Target="../tags/tag409.xml"/><Relationship Id="rId45" Type="http://schemas.openxmlformats.org/officeDocument/2006/relationships/tags" Target="../tags/tag414.xml"/><Relationship Id="rId53" Type="http://schemas.openxmlformats.org/officeDocument/2006/relationships/tags" Target="../tags/tag422.xml"/><Relationship Id="rId58" Type="http://schemas.openxmlformats.org/officeDocument/2006/relationships/tags" Target="../tags/tag427.xml"/><Relationship Id="rId66" Type="http://schemas.openxmlformats.org/officeDocument/2006/relationships/tags" Target="../tags/tag435.xml"/><Relationship Id="rId5" Type="http://schemas.openxmlformats.org/officeDocument/2006/relationships/tags" Target="../tags/tag374.xml"/><Relationship Id="rId15" Type="http://schemas.openxmlformats.org/officeDocument/2006/relationships/tags" Target="../tags/tag384.xml"/><Relationship Id="rId23" Type="http://schemas.openxmlformats.org/officeDocument/2006/relationships/tags" Target="../tags/tag392.xml"/><Relationship Id="rId28" Type="http://schemas.openxmlformats.org/officeDocument/2006/relationships/tags" Target="../tags/tag397.xml"/><Relationship Id="rId36" Type="http://schemas.openxmlformats.org/officeDocument/2006/relationships/tags" Target="../tags/tag405.xml"/><Relationship Id="rId49" Type="http://schemas.openxmlformats.org/officeDocument/2006/relationships/tags" Target="../tags/tag418.xml"/><Relationship Id="rId57" Type="http://schemas.openxmlformats.org/officeDocument/2006/relationships/tags" Target="../tags/tag426.xml"/><Relationship Id="rId61" Type="http://schemas.openxmlformats.org/officeDocument/2006/relationships/tags" Target="../tags/tag430.xml"/><Relationship Id="rId10" Type="http://schemas.openxmlformats.org/officeDocument/2006/relationships/tags" Target="../tags/tag379.xml"/><Relationship Id="rId19" Type="http://schemas.openxmlformats.org/officeDocument/2006/relationships/tags" Target="../tags/tag388.xml"/><Relationship Id="rId31" Type="http://schemas.openxmlformats.org/officeDocument/2006/relationships/tags" Target="../tags/tag400.xml"/><Relationship Id="rId44" Type="http://schemas.openxmlformats.org/officeDocument/2006/relationships/tags" Target="../tags/tag413.xml"/><Relationship Id="rId52" Type="http://schemas.openxmlformats.org/officeDocument/2006/relationships/tags" Target="../tags/tag421.xml"/><Relationship Id="rId60" Type="http://schemas.openxmlformats.org/officeDocument/2006/relationships/tags" Target="../tags/tag429.xml"/><Relationship Id="rId65" Type="http://schemas.openxmlformats.org/officeDocument/2006/relationships/tags" Target="../tags/tag434.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tags" Target="../tags/tag383.xml"/><Relationship Id="rId22" Type="http://schemas.openxmlformats.org/officeDocument/2006/relationships/tags" Target="../tags/tag391.xml"/><Relationship Id="rId27" Type="http://schemas.openxmlformats.org/officeDocument/2006/relationships/tags" Target="../tags/tag396.xml"/><Relationship Id="rId30" Type="http://schemas.openxmlformats.org/officeDocument/2006/relationships/tags" Target="../tags/tag399.xml"/><Relationship Id="rId35" Type="http://schemas.openxmlformats.org/officeDocument/2006/relationships/tags" Target="../tags/tag404.xml"/><Relationship Id="rId43" Type="http://schemas.openxmlformats.org/officeDocument/2006/relationships/tags" Target="../tags/tag412.xml"/><Relationship Id="rId48" Type="http://schemas.openxmlformats.org/officeDocument/2006/relationships/tags" Target="../tags/tag417.xml"/><Relationship Id="rId56" Type="http://schemas.openxmlformats.org/officeDocument/2006/relationships/tags" Target="../tags/tag425.xml"/><Relationship Id="rId64" Type="http://schemas.openxmlformats.org/officeDocument/2006/relationships/tags" Target="../tags/tag433.xml"/><Relationship Id="rId69" Type="http://schemas.openxmlformats.org/officeDocument/2006/relationships/image" Target="../media/image34.emf"/><Relationship Id="rId8" Type="http://schemas.openxmlformats.org/officeDocument/2006/relationships/tags" Target="../tags/tag377.xml"/><Relationship Id="rId51" Type="http://schemas.openxmlformats.org/officeDocument/2006/relationships/tags" Target="../tags/tag420.xml"/><Relationship Id="rId3" Type="http://schemas.openxmlformats.org/officeDocument/2006/relationships/tags" Target="../tags/tag372.xml"/><Relationship Id="rId12" Type="http://schemas.openxmlformats.org/officeDocument/2006/relationships/tags" Target="../tags/tag381.xml"/><Relationship Id="rId17" Type="http://schemas.openxmlformats.org/officeDocument/2006/relationships/tags" Target="../tags/tag386.xml"/><Relationship Id="rId25" Type="http://schemas.openxmlformats.org/officeDocument/2006/relationships/tags" Target="../tags/tag394.xml"/><Relationship Id="rId33" Type="http://schemas.openxmlformats.org/officeDocument/2006/relationships/tags" Target="../tags/tag402.xml"/><Relationship Id="rId38" Type="http://schemas.openxmlformats.org/officeDocument/2006/relationships/tags" Target="../tags/tag407.xml"/><Relationship Id="rId46" Type="http://schemas.openxmlformats.org/officeDocument/2006/relationships/tags" Target="../tags/tag415.xml"/><Relationship Id="rId59" Type="http://schemas.openxmlformats.org/officeDocument/2006/relationships/tags" Target="../tags/tag428.xml"/><Relationship Id="rId67" Type="http://schemas.openxmlformats.org/officeDocument/2006/relationships/slideLayout" Target="../slideLayouts/slideLayout41.xml"/><Relationship Id="rId20" Type="http://schemas.openxmlformats.org/officeDocument/2006/relationships/tags" Target="../tags/tag389.xml"/><Relationship Id="rId41" Type="http://schemas.openxmlformats.org/officeDocument/2006/relationships/tags" Target="../tags/tag410.xml"/><Relationship Id="rId54" Type="http://schemas.openxmlformats.org/officeDocument/2006/relationships/tags" Target="../tags/tag423.xml"/><Relationship Id="rId62" Type="http://schemas.openxmlformats.org/officeDocument/2006/relationships/tags" Target="../tags/tag431.xml"/><Relationship Id="rId70"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8" Type="http://schemas.openxmlformats.org/officeDocument/2006/relationships/tags" Target="../tags/tag442.xml"/><Relationship Id="rId3" Type="http://schemas.openxmlformats.org/officeDocument/2006/relationships/tags" Target="../tags/tag437.xml"/><Relationship Id="rId7" Type="http://schemas.openxmlformats.org/officeDocument/2006/relationships/tags" Target="../tags/tag441.xml"/><Relationship Id="rId2" Type="http://schemas.openxmlformats.org/officeDocument/2006/relationships/tags" Target="../tags/tag436.xml"/><Relationship Id="rId1" Type="http://schemas.openxmlformats.org/officeDocument/2006/relationships/vmlDrawing" Target="../drawings/vmlDrawing9.vml"/><Relationship Id="rId6" Type="http://schemas.openxmlformats.org/officeDocument/2006/relationships/tags" Target="../tags/tag440.xml"/><Relationship Id="rId11" Type="http://schemas.openxmlformats.org/officeDocument/2006/relationships/oleObject" Target="../embeddings/oleObject9.bin"/><Relationship Id="rId5" Type="http://schemas.openxmlformats.org/officeDocument/2006/relationships/tags" Target="../tags/tag439.xml"/><Relationship Id="rId10" Type="http://schemas.openxmlformats.org/officeDocument/2006/relationships/notesSlide" Target="../notesSlides/notesSlide6.xml"/><Relationship Id="rId4" Type="http://schemas.openxmlformats.org/officeDocument/2006/relationships/tags" Target="../tags/tag438.xml"/><Relationship Id="rId9" Type="http://schemas.openxmlformats.org/officeDocument/2006/relationships/slideLayout" Target="../slideLayouts/slideLayout4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Title 1"/>
          <p:cNvSpPr>
            <a:spLocks noGrp="1"/>
          </p:cNvSpPr>
          <p:nvPr>
            <p:ph type="ctrTitle" idx="4294967295"/>
          </p:nvPr>
        </p:nvSpPr>
        <p:spPr bwMode="auto">
          <a:xfrm>
            <a:off x="685800" y="2130437"/>
            <a:ext cx="7772400" cy="1470025"/>
          </a:xfrm>
          <a:prstGeom prst="rect">
            <a:avLst/>
          </a:prstGeom>
          <a:noFill/>
          <a:ln>
            <a:miter lim="800000"/>
            <a:headEnd/>
            <a:tailEnd/>
          </a:ln>
        </p:spPr>
        <p:txBody>
          <a:bodyPr lIns="91320" tIns="45661" rIns="91320" bIns="45661"/>
          <a:lstStyle/>
          <a:p>
            <a:endParaRPr lang="en-US" smtClean="0"/>
          </a:p>
        </p:txBody>
      </p:sp>
      <p:sp>
        <p:nvSpPr>
          <p:cNvPr id="43011" name="Subtitle 2"/>
          <p:cNvSpPr>
            <a:spLocks noGrp="1"/>
          </p:cNvSpPr>
          <p:nvPr>
            <p:ph type="subTitle" idx="4294967295"/>
          </p:nvPr>
        </p:nvSpPr>
        <p:spPr bwMode="auto">
          <a:xfrm>
            <a:off x="1371601" y="3886201"/>
            <a:ext cx="6400800" cy="1752600"/>
          </a:xfrm>
          <a:prstGeom prst="rect">
            <a:avLst/>
          </a:prstGeom>
          <a:noFill/>
          <a:ln>
            <a:miter lim="800000"/>
            <a:headEnd/>
            <a:tailEnd/>
          </a:ln>
        </p:spPr>
        <p:txBody>
          <a:bodyPr lIns="91320" tIns="45661" rIns="91320" bIns="45661"/>
          <a:lstStyle/>
          <a:p>
            <a:endParaRPr lang="en-US" smtClean="0"/>
          </a:p>
        </p:txBody>
      </p:sp>
      <p:sp>
        <p:nvSpPr>
          <p:cNvPr id="43012" name="Slide Number Placeholder 3"/>
          <p:cNvSpPr>
            <a:spLocks noGrp="1"/>
          </p:cNvSpPr>
          <p:nvPr>
            <p:ph type="sldNum" sz="quarter" idx="10"/>
          </p:nvPr>
        </p:nvSpPr>
        <p:spPr>
          <a:noFill/>
        </p:spPr>
        <p:txBody>
          <a:bodyPr/>
          <a:lstStyle/>
          <a:p>
            <a:fld id="{3005CC52-51DE-4E11-8A27-5812D5B18550}" type="slidenum">
              <a:rPr lang="en-US" altLang="ko-KR" smtClean="0">
                <a:solidFill>
                  <a:srgbClr val="FFFFFF"/>
                </a:solidFill>
                <a:ea typeface="Gulim" pitchFamily="34" charset="-127"/>
              </a:rPr>
              <a:pPr/>
              <a:t>1</a:t>
            </a:fld>
            <a:endParaRPr lang="en-US" altLang="ko-KR" smtClean="0">
              <a:solidFill>
                <a:srgbClr val="FFFFFF"/>
              </a:solidFill>
              <a:ea typeface="Gulim" pitchFamily="34" charset="-127"/>
            </a:endParaRPr>
          </a:p>
        </p:txBody>
      </p:sp>
      <p:pic>
        <p:nvPicPr>
          <p:cNvPr id="61441" name="Picture 1" descr="C:\Users\admin\Desktop\egypt_pyramids_at_sunset.jpg"/>
          <p:cNvPicPr>
            <a:picLocks noChangeAspect="1" noChangeArrowheads="1"/>
          </p:cNvPicPr>
          <p:nvPr/>
        </p:nvPicPr>
        <p:blipFill>
          <a:blip r:embed="rId2" cstate="print"/>
          <a:srcRect/>
          <a:stretch>
            <a:fillRect/>
          </a:stretch>
        </p:blipFill>
        <p:spPr bwMode="auto">
          <a:xfrm>
            <a:off x="0" y="0"/>
            <a:ext cx="9144000" cy="6857999"/>
          </a:xfrm>
          <a:prstGeom prst="rect">
            <a:avLst/>
          </a:prstGeom>
          <a:noFill/>
        </p:spPr>
      </p:pic>
    </p:spTree>
  </p:cSld>
  <p:clrMapOvr>
    <a:masterClrMapping/>
  </p:clrMapOvr>
  <p:transition>
    <p:zoom/>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14"/>
          <p:cNvSpPr>
            <a:spLocks noGrp="1" noChangeArrowheads="1"/>
          </p:cNvSpPr>
          <p:nvPr>
            <p:ph type="sldNum" sz="quarter" idx="10"/>
          </p:nvPr>
        </p:nvSpPr>
        <p:spPr>
          <a:noFill/>
        </p:spPr>
        <p:txBody>
          <a:bodyPr/>
          <a:lstStyle/>
          <a:p>
            <a:pPr eaLnBrk="0" hangingPunct="0"/>
            <a:fld id="{ED163251-D1DE-4763-BB90-BA677013020B}" type="slidenum">
              <a:rPr lang="ko-KR" altLang="en-US" smtClean="0">
                <a:solidFill>
                  <a:schemeClr val="tx1"/>
                </a:solidFill>
                <a:ea typeface="HY견고딕" pitchFamily="18" charset="-127"/>
              </a:rPr>
              <a:pPr eaLnBrk="0" hangingPunct="0"/>
              <a:t>10</a:t>
            </a:fld>
            <a:endParaRPr lang="en-US" altLang="ko-KR" smtClean="0">
              <a:solidFill>
                <a:schemeClr val="tx1"/>
              </a:solidFill>
              <a:ea typeface="HY견고딕" pitchFamily="18" charset="-127"/>
            </a:endParaRPr>
          </a:p>
        </p:txBody>
      </p:sp>
      <p:sp>
        <p:nvSpPr>
          <p:cNvPr id="32770" name="AutoShape 3"/>
          <p:cNvSpPr>
            <a:spLocks noChangeArrowheads="1"/>
          </p:cNvSpPr>
          <p:nvPr/>
        </p:nvSpPr>
        <p:spPr bwMode="auto">
          <a:xfrm>
            <a:off x="4665676" y="3933838"/>
            <a:ext cx="4192587" cy="2519363"/>
          </a:xfrm>
          <a:prstGeom prst="roundRect">
            <a:avLst>
              <a:gd name="adj" fmla="val 2185"/>
            </a:avLst>
          </a:prstGeom>
          <a:gradFill rotWithShape="1">
            <a:gsLst>
              <a:gs pos="0">
                <a:srgbClr val="98C2E8"/>
              </a:gs>
              <a:gs pos="100000">
                <a:srgbClr val="3767BD"/>
              </a:gs>
            </a:gsLst>
            <a:lin ang="5400000" scaled="1"/>
          </a:gradFill>
          <a:ln w="9525">
            <a:solidFill>
              <a:srgbClr val="336699"/>
            </a:solidFill>
            <a:round/>
            <a:headEnd/>
            <a:tailEnd/>
          </a:ln>
          <a:effectLst>
            <a:outerShdw dist="35921" dir="2700000" algn="ctr" rotWithShape="0">
              <a:srgbClr val="002040"/>
            </a:outerShdw>
          </a:effectLst>
        </p:spPr>
        <p:txBody>
          <a:bodyPr wrap="none" lIns="91320" tIns="45661" rIns="91320" bIns="45661" anchor="ctr"/>
          <a:lstStyle/>
          <a:p>
            <a:endParaRPr lang="ko-KR" altLang="en-US"/>
          </a:p>
        </p:txBody>
      </p:sp>
      <p:sp>
        <p:nvSpPr>
          <p:cNvPr id="7172" name="AutoShape 4"/>
          <p:cNvSpPr>
            <a:spLocks noChangeArrowheads="1"/>
          </p:cNvSpPr>
          <p:nvPr/>
        </p:nvSpPr>
        <p:spPr bwMode="auto">
          <a:xfrm>
            <a:off x="4711713" y="4294201"/>
            <a:ext cx="4106863" cy="2109787"/>
          </a:xfrm>
          <a:prstGeom prst="roundRect">
            <a:avLst>
              <a:gd name="adj" fmla="val 2782"/>
            </a:avLst>
          </a:prstGeom>
          <a:solidFill>
            <a:schemeClr val="bg1"/>
          </a:solidFill>
          <a:ln w="6350">
            <a:solidFill>
              <a:srgbClr val="B2B2B2"/>
            </a:solidFill>
            <a:round/>
            <a:headEnd/>
            <a:tailEnd/>
          </a:ln>
        </p:spPr>
        <p:txBody>
          <a:bodyPr wrap="none" lIns="305597" tIns="45661" rIns="91320" bIns="45661" anchor="ctr"/>
          <a:lstStyle/>
          <a:p>
            <a:endParaRPr lang="ko-KR" altLang="en-US"/>
          </a:p>
        </p:txBody>
      </p:sp>
      <p:sp>
        <p:nvSpPr>
          <p:cNvPr id="7173" name="Rectangle 15"/>
          <p:cNvSpPr>
            <a:spLocks noChangeArrowheads="1"/>
          </p:cNvSpPr>
          <p:nvPr/>
        </p:nvSpPr>
        <p:spPr bwMode="auto">
          <a:xfrm>
            <a:off x="4665665" y="3986225"/>
            <a:ext cx="4156075" cy="312145"/>
          </a:xfrm>
          <a:prstGeom prst="rect">
            <a:avLst/>
          </a:prstGeom>
          <a:noFill/>
          <a:ln w="9525">
            <a:noFill/>
            <a:miter lim="800000"/>
            <a:headEnd/>
            <a:tailEnd/>
          </a:ln>
        </p:spPr>
        <p:txBody>
          <a:bodyPr lIns="91320" tIns="45661" rIns="91320" bIns="45661">
            <a:spAutoFit/>
          </a:bodyPr>
          <a:lstStyle/>
          <a:p>
            <a:r>
              <a:rPr lang="en-US" altLang="ko-KR" sz="1400" dirty="0">
                <a:latin typeface="Arial" pitchFamily="34" charset="0"/>
                <a:cs typeface="Arial" pitchFamily="34" charset="0"/>
              </a:rPr>
              <a:t>Researchers per million people</a:t>
            </a:r>
          </a:p>
        </p:txBody>
      </p:sp>
      <p:sp>
        <p:nvSpPr>
          <p:cNvPr id="32773" name="AutoShape 25"/>
          <p:cNvSpPr>
            <a:spLocks noChangeArrowheads="1"/>
          </p:cNvSpPr>
          <p:nvPr/>
        </p:nvSpPr>
        <p:spPr bwMode="auto">
          <a:xfrm>
            <a:off x="4664075" y="1211274"/>
            <a:ext cx="4191000" cy="2578100"/>
          </a:xfrm>
          <a:prstGeom prst="roundRect">
            <a:avLst>
              <a:gd name="adj" fmla="val 2185"/>
            </a:avLst>
          </a:prstGeom>
          <a:gradFill rotWithShape="1">
            <a:gsLst>
              <a:gs pos="0">
                <a:srgbClr val="98C2E8"/>
              </a:gs>
              <a:gs pos="100000">
                <a:srgbClr val="3767BD"/>
              </a:gs>
            </a:gsLst>
            <a:lin ang="5400000" scaled="1"/>
          </a:gradFill>
          <a:ln w="9525">
            <a:solidFill>
              <a:srgbClr val="336699"/>
            </a:solidFill>
            <a:round/>
            <a:headEnd/>
            <a:tailEnd/>
          </a:ln>
          <a:effectLst>
            <a:outerShdw dist="35921" dir="2700000" algn="ctr" rotWithShape="0">
              <a:srgbClr val="002040"/>
            </a:outerShdw>
          </a:effectLst>
        </p:spPr>
        <p:txBody>
          <a:bodyPr wrap="none" lIns="91320" tIns="45661" rIns="91320" bIns="45661" anchor="ctr"/>
          <a:lstStyle/>
          <a:p>
            <a:endParaRPr lang="ko-KR" altLang="en-US"/>
          </a:p>
        </p:txBody>
      </p:sp>
      <p:sp>
        <p:nvSpPr>
          <p:cNvPr id="7175" name="AutoShape 26"/>
          <p:cNvSpPr>
            <a:spLocks noChangeArrowheads="1"/>
          </p:cNvSpPr>
          <p:nvPr/>
        </p:nvSpPr>
        <p:spPr bwMode="auto">
          <a:xfrm>
            <a:off x="4710125" y="1590675"/>
            <a:ext cx="4097337" cy="2159000"/>
          </a:xfrm>
          <a:prstGeom prst="roundRect">
            <a:avLst>
              <a:gd name="adj" fmla="val 2426"/>
            </a:avLst>
          </a:prstGeom>
          <a:solidFill>
            <a:schemeClr val="bg1"/>
          </a:solidFill>
          <a:ln w="6350">
            <a:solidFill>
              <a:srgbClr val="B2B2B2"/>
            </a:solidFill>
            <a:round/>
            <a:headEnd/>
            <a:tailEnd/>
          </a:ln>
        </p:spPr>
        <p:txBody>
          <a:bodyPr wrap="none" lIns="305597" tIns="45661" rIns="91320" bIns="45661" anchor="ctr"/>
          <a:lstStyle/>
          <a:p>
            <a:endParaRPr lang="ko-KR" altLang="en-US"/>
          </a:p>
        </p:txBody>
      </p:sp>
      <p:sp>
        <p:nvSpPr>
          <p:cNvPr id="7176" name="Rectangle 41"/>
          <p:cNvSpPr>
            <a:spLocks noChangeArrowheads="1"/>
          </p:cNvSpPr>
          <p:nvPr/>
        </p:nvSpPr>
        <p:spPr bwMode="auto">
          <a:xfrm>
            <a:off x="5356626" y="1220789"/>
            <a:ext cx="2864644" cy="369213"/>
          </a:xfrm>
          <a:prstGeom prst="rect">
            <a:avLst/>
          </a:prstGeom>
          <a:noFill/>
          <a:ln w="9525">
            <a:noFill/>
            <a:miter lim="800000"/>
            <a:headEnd/>
            <a:tailEnd/>
          </a:ln>
        </p:spPr>
        <p:txBody>
          <a:bodyPr wrap="none" lIns="91320" tIns="45661" rIns="91320" bIns="45661">
            <a:spAutoFit/>
          </a:bodyPr>
          <a:lstStyle/>
          <a:p>
            <a:r>
              <a:rPr lang="en-US" altLang="ko-KR">
                <a:latin typeface="Arial" pitchFamily="34" charset="0"/>
                <a:cs typeface="Arial" pitchFamily="34" charset="0"/>
              </a:rPr>
              <a:t>Government R&amp;D Budget </a:t>
            </a:r>
          </a:p>
        </p:txBody>
      </p:sp>
      <p:sp>
        <p:nvSpPr>
          <p:cNvPr id="32776" name="AutoShape 51"/>
          <p:cNvSpPr>
            <a:spLocks noChangeArrowheads="1"/>
          </p:cNvSpPr>
          <p:nvPr/>
        </p:nvSpPr>
        <p:spPr bwMode="auto">
          <a:xfrm>
            <a:off x="295275" y="3933838"/>
            <a:ext cx="4191000" cy="2519363"/>
          </a:xfrm>
          <a:prstGeom prst="roundRect">
            <a:avLst>
              <a:gd name="adj" fmla="val 2185"/>
            </a:avLst>
          </a:prstGeom>
          <a:gradFill rotWithShape="1">
            <a:gsLst>
              <a:gs pos="0">
                <a:srgbClr val="98C2E8"/>
              </a:gs>
              <a:gs pos="100000">
                <a:srgbClr val="3767BD"/>
              </a:gs>
            </a:gsLst>
            <a:lin ang="5400000" scaled="1"/>
          </a:gradFill>
          <a:ln w="9525">
            <a:solidFill>
              <a:srgbClr val="336699"/>
            </a:solidFill>
            <a:round/>
            <a:headEnd/>
            <a:tailEnd/>
          </a:ln>
          <a:effectLst>
            <a:outerShdw dist="35921" dir="2700000" algn="ctr" rotWithShape="0">
              <a:srgbClr val="002040"/>
            </a:outerShdw>
          </a:effectLst>
        </p:spPr>
        <p:txBody>
          <a:bodyPr wrap="none" lIns="91320" tIns="45661" rIns="91320" bIns="45661" anchor="ctr"/>
          <a:lstStyle/>
          <a:p>
            <a:endParaRPr lang="ko-KR" altLang="en-US"/>
          </a:p>
        </p:txBody>
      </p:sp>
      <p:sp>
        <p:nvSpPr>
          <p:cNvPr id="7178" name="Rectangle 63"/>
          <p:cNvSpPr>
            <a:spLocks noChangeArrowheads="1"/>
          </p:cNvSpPr>
          <p:nvPr/>
        </p:nvSpPr>
        <p:spPr bwMode="auto">
          <a:xfrm>
            <a:off x="1046091" y="3965576"/>
            <a:ext cx="2633812" cy="369213"/>
          </a:xfrm>
          <a:prstGeom prst="rect">
            <a:avLst/>
          </a:prstGeom>
          <a:noFill/>
          <a:ln w="9525">
            <a:noFill/>
            <a:miter lim="800000"/>
            <a:headEnd/>
            <a:tailEnd/>
          </a:ln>
        </p:spPr>
        <p:txBody>
          <a:bodyPr wrap="none" lIns="91320" tIns="45661" rIns="91320" bIns="45661">
            <a:spAutoFit/>
          </a:bodyPr>
          <a:lstStyle/>
          <a:p>
            <a:r>
              <a:rPr lang="en-US" altLang="ko-KR">
                <a:latin typeface="Arial" pitchFamily="34" charset="0"/>
                <a:cs typeface="Arial" pitchFamily="34" charset="0"/>
              </a:rPr>
              <a:t>Number of Researchers</a:t>
            </a:r>
          </a:p>
        </p:txBody>
      </p:sp>
      <p:sp>
        <p:nvSpPr>
          <p:cNvPr id="7179" name="Text Box 79"/>
          <p:cNvSpPr txBox="1">
            <a:spLocks noChangeArrowheads="1"/>
          </p:cNvSpPr>
          <p:nvPr/>
        </p:nvSpPr>
        <p:spPr bwMode="auto">
          <a:xfrm>
            <a:off x="3042970" y="2089379"/>
            <a:ext cx="878446"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33,902(7</a:t>
            </a:r>
            <a:r>
              <a:rPr lang="en-US" altLang="ko-KR" sz="1400" b="1" baseline="30000" dirty="0">
                <a:solidFill>
                  <a:srgbClr val="663300"/>
                </a:solidFill>
                <a:latin typeface="Arial" pitchFamily="34" charset="0"/>
                <a:ea typeface="HY견고딕" pitchFamily="18" charset="-127"/>
              </a:rPr>
              <a:t>th</a:t>
            </a:r>
            <a:r>
              <a:rPr lang="en-US" altLang="ko-KR" sz="1400" b="1" dirty="0">
                <a:solidFill>
                  <a:srgbClr val="663300"/>
                </a:solidFill>
                <a:latin typeface="Arial" pitchFamily="34" charset="0"/>
                <a:ea typeface="HY견고딕" pitchFamily="18" charset="-127"/>
              </a:rPr>
              <a:t>)</a:t>
            </a:r>
          </a:p>
        </p:txBody>
      </p:sp>
      <p:cxnSp>
        <p:nvCxnSpPr>
          <p:cNvPr id="7180" name="AutoShape 80"/>
          <p:cNvCxnSpPr>
            <a:cxnSpLocks noChangeShapeType="1"/>
          </p:cNvCxnSpPr>
          <p:nvPr/>
        </p:nvCxnSpPr>
        <p:spPr bwMode="auto">
          <a:xfrm>
            <a:off x="3633788" y="2089150"/>
            <a:ext cx="0" cy="0"/>
          </a:xfrm>
          <a:prstGeom prst="straightConnector1">
            <a:avLst/>
          </a:prstGeom>
          <a:noFill/>
          <a:ln w="9525">
            <a:solidFill>
              <a:schemeClr val="tx1"/>
            </a:solidFill>
            <a:round/>
            <a:headEnd/>
            <a:tailEnd/>
          </a:ln>
        </p:spPr>
      </p:cxnSp>
      <p:pic>
        <p:nvPicPr>
          <p:cNvPr id="7181" name="Picture 81" descr="1"/>
          <p:cNvPicPr>
            <a:picLocks noChangeAspect="1" noChangeArrowheads="1"/>
          </p:cNvPicPr>
          <p:nvPr/>
        </p:nvPicPr>
        <p:blipFill>
          <a:blip r:embed="rId3" cstate="print"/>
          <a:srcRect/>
          <a:stretch>
            <a:fillRect/>
          </a:stretch>
        </p:blipFill>
        <p:spPr bwMode="auto">
          <a:xfrm>
            <a:off x="1168413" y="2528899"/>
            <a:ext cx="684213" cy="420687"/>
          </a:xfrm>
          <a:prstGeom prst="rect">
            <a:avLst/>
          </a:prstGeom>
          <a:noFill/>
          <a:ln w="9525">
            <a:noFill/>
            <a:miter lim="800000"/>
            <a:headEnd/>
            <a:tailEnd/>
          </a:ln>
        </p:spPr>
      </p:pic>
      <p:sp>
        <p:nvSpPr>
          <p:cNvPr id="32781" name="AutoShape 73"/>
          <p:cNvSpPr>
            <a:spLocks noChangeArrowheads="1"/>
          </p:cNvSpPr>
          <p:nvPr/>
        </p:nvSpPr>
        <p:spPr bwMode="auto">
          <a:xfrm>
            <a:off x="292100" y="1211274"/>
            <a:ext cx="4191000" cy="2578100"/>
          </a:xfrm>
          <a:prstGeom prst="roundRect">
            <a:avLst>
              <a:gd name="adj" fmla="val 2185"/>
            </a:avLst>
          </a:prstGeom>
          <a:gradFill rotWithShape="1">
            <a:gsLst>
              <a:gs pos="0">
                <a:srgbClr val="98C2E8"/>
              </a:gs>
              <a:gs pos="100000">
                <a:srgbClr val="3767BD"/>
              </a:gs>
            </a:gsLst>
            <a:lin ang="5400000" scaled="1"/>
          </a:gradFill>
          <a:ln w="9525">
            <a:solidFill>
              <a:srgbClr val="336699"/>
            </a:solidFill>
            <a:round/>
            <a:headEnd/>
            <a:tailEnd/>
          </a:ln>
          <a:effectLst>
            <a:outerShdw dist="35921" dir="2700000" algn="ctr" rotWithShape="0">
              <a:srgbClr val="002040"/>
            </a:outerShdw>
          </a:effectLst>
        </p:spPr>
        <p:txBody>
          <a:bodyPr wrap="none" lIns="91320" tIns="45661" rIns="91320" bIns="45661" anchor="ctr"/>
          <a:lstStyle/>
          <a:p>
            <a:endParaRPr lang="ko-KR" altLang="en-US"/>
          </a:p>
        </p:txBody>
      </p:sp>
      <p:sp>
        <p:nvSpPr>
          <p:cNvPr id="7183" name="AutoShape 74"/>
          <p:cNvSpPr>
            <a:spLocks noChangeArrowheads="1"/>
          </p:cNvSpPr>
          <p:nvPr/>
        </p:nvSpPr>
        <p:spPr bwMode="auto">
          <a:xfrm>
            <a:off x="339737" y="1600200"/>
            <a:ext cx="4087813" cy="2159000"/>
          </a:xfrm>
          <a:prstGeom prst="roundRect">
            <a:avLst>
              <a:gd name="adj" fmla="val 2426"/>
            </a:avLst>
          </a:prstGeom>
          <a:solidFill>
            <a:schemeClr val="bg1"/>
          </a:solidFill>
          <a:ln w="6350">
            <a:solidFill>
              <a:srgbClr val="B2B2B2"/>
            </a:solidFill>
            <a:round/>
            <a:headEnd/>
            <a:tailEnd/>
          </a:ln>
        </p:spPr>
        <p:txBody>
          <a:bodyPr wrap="none" lIns="305597" tIns="45661" rIns="91320" bIns="45661" anchor="ctr"/>
          <a:lstStyle/>
          <a:p>
            <a:endParaRPr lang="ko-KR" altLang="en-US"/>
          </a:p>
        </p:txBody>
      </p:sp>
      <p:sp>
        <p:nvSpPr>
          <p:cNvPr id="7184" name="Rectangle 85"/>
          <p:cNvSpPr>
            <a:spLocks noChangeArrowheads="1"/>
          </p:cNvSpPr>
          <p:nvPr/>
        </p:nvSpPr>
        <p:spPr bwMode="auto">
          <a:xfrm>
            <a:off x="620158" y="1246189"/>
            <a:ext cx="3552333" cy="369213"/>
          </a:xfrm>
          <a:prstGeom prst="rect">
            <a:avLst/>
          </a:prstGeom>
          <a:noFill/>
          <a:ln w="9525">
            <a:noFill/>
            <a:miter lim="800000"/>
            <a:headEnd/>
            <a:tailEnd/>
          </a:ln>
        </p:spPr>
        <p:txBody>
          <a:bodyPr wrap="none" lIns="91320" tIns="45661" rIns="91320" bIns="45661">
            <a:spAutoFit/>
          </a:bodyPr>
          <a:lstStyle/>
          <a:p>
            <a:r>
              <a:rPr lang="en-US" altLang="ko-KR" dirty="0">
                <a:latin typeface="Arial" pitchFamily="34" charset="0"/>
                <a:cs typeface="Arial" pitchFamily="34" charset="0"/>
              </a:rPr>
              <a:t>GERD </a:t>
            </a:r>
            <a:r>
              <a:rPr lang="en-US" altLang="ko-KR" sz="1200" dirty="0">
                <a:latin typeface="Arial" pitchFamily="34" charset="0"/>
                <a:cs typeface="Arial" pitchFamily="34" charset="0"/>
              </a:rPr>
              <a:t>(Gross Domestic Expenditure on R&amp;D)</a:t>
            </a:r>
          </a:p>
        </p:txBody>
      </p:sp>
      <p:sp>
        <p:nvSpPr>
          <p:cNvPr id="7185" name="Text Box 90"/>
          <p:cNvSpPr txBox="1">
            <a:spLocks noChangeArrowheads="1"/>
          </p:cNvSpPr>
          <p:nvPr/>
        </p:nvSpPr>
        <p:spPr bwMode="auto">
          <a:xfrm>
            <a:off x="2061606" y="2390403"/>
            <a:ext cx="248466"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2.4</a:t>
            </a:r>
          </a:p>
        </p:txBody>
      </p:sp>
      <p:pic>
        <p:nvPicPr>
          <p:cNvPr id="7186" name="Picture 106" descr="065"/>
          <p:cNvPicPr>
            <a:picLocks noChangeAspect="1" noChangeArrowheads="1"/>
          </p:cNvPicPr>
          <p:nvPr/>
        </p:nvPicPr>
        <p:blipFill>
          <a:blip r:embed="rId4" cstate="print">
            <a:lum bright="12000" contrast="12000"/>
            <a:grayscl/>
          </a:blip>
          <a:srcRect t="76198"/>
          <a:stretch>
            <a:fillRect/>
          </a:stretch>
        </p:blipFill>
        <p:spPr bwMode="auto">
          <a:xfrm>
            <a:off x="323850" y="2857513"/>
            <a:ext cx="4249738" cy="671513"/>
          </a:xfrm>
          <a:prstGeom prst="rect">
            <a:avLst/>
          </a:prstGeom>
          <a:noFill/>
          <a:ln w="9525">
            <a:noFill/>
            <a:miter lim="800000"/>
            <a:headEnd/>
            <a:tailEnd/>
          </a:ln>
        </p:spPr>
      </p:pic>
      <p:pic>
        <p:nvPicPr>
          <p:cNvPr id="7187" name="Picture 92" descr="1"/>
          <p:cNvPicPr>
            <a:picLocks noChangeAspect="1" noChangeArrowheads="1"/>
          </p:cNvPicPr>
          <p:nvPr/>
        </p:nvPicPr>
        <p:blipFill>
          <a:blip r:embed="rId3" cstate="print"/>
          <a:srcRect/>
          <a:stretch>
            <a:fillRect/>
          </a:stretch>
        </p:blipFill>
        <p:spPr bwMode="auto">
          <a:xfrm>
            <a:off x="2481264" y="2216151"/>
            <a:ext cx="614362" cy="420688"/>
          </a:xfrm>
          <a:prstGeom prst="rect">
            <a:avLst/>
          </a:prstGeom>
          <a:noFill/>
          <a:ln w="9525">
            <a:noFill/>
            <a:miter lim="800000"/>
            <a:headEnd/>
            <a:tailEnd/>
          </a:ln>
        </p:spPr>
      </p:pic>
      <p:sp>
        <p:nvSpPr>
          <p:cNvPr id="7188" name="Text Box 93"/>
          <p:cNvSpPr txBox="1">
            <a:spLocks noChangeArrowheads="1"/>
          </p:cNvSpPr>
          <p:nvPr/>
        </p:nvSpPr>
        <p:spPr bwMode="auto">
          <a:xfrm>
            <a:off x="3272049" y="1641103"/>
            <a:ext cx="408766" cy="215444"/>
          </a:xfrm>
          <a:prstGeom prst="rect">
            <a:avLst/>
          </a:prstGeom>
          <a:noFill/>
          <a:ln w="9525">
            <a:noFill/>
            <a:miter lim="800000"/>
            <a:headEnd/>
            <a:tailEnd/>
          </a:ln>
        </p:spPr>
        <p:txBody>
          <a:bodyPr wrap="none" lIns="0" tIns="0" rIns="0" bIns="0" anchor="ctr">
            <a:spAutoFit/>
          </a:bodyPr>
          <a:lstStyle/>
          <a:p>
            <a:r>
              <a:rPr lang="en-US" altLang="ko-KR" sz="1400" b="1" dirty="0">
                <a:solidFill>
                  <a:schemeClr val="accent2"/>
                </a:solidFill>
                <a:latin typeface="Arial" pitchFamily="34" charset="0"/>
                <a:ea typeface="HY견고딕" pitchFamily="18" charset="-127"/>
              </a:rPr>
              <a:t>0.4%</a:t>
            </a:r>
            <a:endParaRPr lang="en-US" altLang="ko-KR" sz="1200" b="1" dirty="0">
              <a:solidFill>
                <a:schemeClr val="accent2"/>
              </a:solidFill>
              <a:latin typeface="Arial" pitchFamily="34" charset="0"/>
              <a:ea typeface="HY견고딕" pitchFamily="18" charset="-127"/>
            </a:endParaRPr>
          </a:p>
        </p:txBody>
      </p:sp>
      <p:sp>
        <p:nvSpPr>
          <p:cNvPr id="7189" name="Text Box 94"/>
          <p:cNvSpPr txBox="1">
            <a:spLocks noChangeArrowheads="1"/>
          </p:cNvSpPr>
          <p:nvPr/>
        </p:nvSpPr>
        <p:spPr bwMode="auto">
          <a:xfrm>
            <a:off x="2018017" y="1925266"/>
            <a:ext cx="508152" cy="215444"/>
          </a:xfrm>
          <a:prstGeom prst="rect">
            <a:avLst/>
          </a:prstGeom>
          <a:noFill/>
          <a:ln w="9525">
            <a:noFill/>
            <a:miter lim="800000"/>
            <a:headEnd/>
            <a:tailEnd/>
          </a:ln>
        </p:spPr>
        <p:txBody>
          <a:bodyPr wrap="none" lIns="0" tIns="0" rIns="0" bIns="0" anchor="ctr">
            <a:spAutoFit/>
          </a:bodyPr>
          <a:lstStyle/>
          <a:p>
            <a:r>
              <a:rPr lang="en-US" altLang="ko-KR" sz="1400" b="1" dirty="0">
                <a:solidFill>
                  <a:schemeClr val="accent2"/>
                </a:solidFill>
                <a:latin typeface="Arial" pitchFamily="34" charset="0"/>
                <a:ea typeface="HY견고딕" pitchFamily="18" charset="-127"/>
              </a:rPr>
              <a:t>0.27%</a:t>
            </a:r>
          </a:p>
        </p:txBody>
      </p:sp>
      <p:sp>
        <p:nvSpPr>
          <p:cNvPr id="7190" name="Text Box 95"/>
          <p:cNvSpPr txBox="1">
            <a:spLocks noChangeArrowheads="1"/>
          </p:cNvSpPr>
          <p:nvPr/>
        </p:nvSpPr>
        <p:spPr bwMode="auto">
          <a:xfrm>
            <a:off x="894862" y="2022104"/>
            <a:ext cx="508152" cy="215444"/>
          </a:xfrm>
          <a:prstGeom prst="rect">
            <a:avLst/>
          </a:prstGeom>
          <a:noFill/>
          <a:ln w="9525">
            <a:noFill/>
            <a:miter lim="800000"/>
            <a:headEnd/>
            <a:tailEnd/>
          </a:ln>
        </p:spPr>
        <p:txBody>
          <a:bodyPr wrap="none" lIns="0" tIns="0" rIns="0" bIns="0" anchor="ctr">
            <a:spAutoFit/>
          </a:bodyPr>
          <a:lstStyle/>
          <a:p>
            <a:r>
              <a:rPr lang="en-US" altLang="ko-KR" sz="1400" b="1" dirty="0">
                <a:solidFill>
                  <a:schemeClr val="accent2"/>
                </a:solidFill>
                <a:latin typeface="Arial" pitchFamily="34" charset="0"/>
                <a:ea typeface="HY견고딕" pitchFamily="18" charset="-127"/>
              </a:rPr>
              <a:t>0.26%</a:t>
            </a:r>
          </a:p>
        </p:txBody>
      </p:sp>
      <p:pic>
        <p:nvPicPr>
          <p:cNvPr id="20502" name="Picture 102" descr="1"/>
          <p:cNvPicPr>
            <a:picLocks noChangeAspect="1" noChangeArrowheads="1"/>
          </p:cNvPicPr>
          <p:nvPr/>
        </p:nvPicPr>
        <p:blipFill>
          <a:blip r:embed="rId5" cstate="print"/>
          <a:srcRect/>
          <a:stretch>
            <a:fillRect/>
          </a:stretch>
        </p:blipFill>
        <p:spPr bwMode="auto">
          <a:xfrm>
            <a:off x="1943102" y="2649551"/>
            <a:ext cx="685800" cy="479425"/>
          </a:xfrm>
          <a:prstGeom prst="rect">
            <a:avLst/>
          </a:prstGeom>
          <a:noFill/>
          <a:ln w="9525">
            <a:noFill/>
            <a:miter lim="800000"/>
            <a:headEnd/>
            <a:tailEnd/>
          </a:ln>
          <a:effectLst>
            <a:outerShdw dist="17961" dir="13500000" algn="ctr" rotWithShape="0">
              <a:srgbClr val="663300"/>
            </a:outerShdw>
          </a:effectLst>
        </p:spPr>
      </p:pic>
      <p:pic>
        <p:nvPicPr>
          <p:cNvPr id="20503" name="Picture 103" descr="1"/>
          <p:cNvPicPr>
            <a:picLocks noChangeAspect="1" noChangeArrowheads="1"/>
          </p:cNvPicPr>
          <p:nvPr/>
        </p:nvPicPr>
        <p:blipFill>
          <a:blip r:embed="rId6" cstate="print"/>
          <a:srcRect/>
          <a:stretch>
            <a:fillRect/>
          </a:stretch>
        </p:blipFill>
        <p:spPr bwMode="auto">
          <a:xfrm>
            <a:off x="3143262" y="2143125"/>
            <a:ext cx="1077913" cy="990600"/>
          </a:xfrm>
          <a:prstGeom prst="rect">
            <a:avLst/>
          </a:prstGeom>
          <a:noFill/>
          <a:ln w="9525">
            <a:noFill/>
            <a:miter lim="800000"/>
            <a:headEnd/>
            <a:tailEnd/>
          </a:ln>
          <a:effectLst>
            <a:outerShdw dist="17961" dir="13500000" algn="ctr" rotWithShape="0">
              <a:srgbClr val="663300"/>
            </a:outerShdw>
          </a:effectLst>
        </p:spPr>
      </p:pic>
      <p:pic>
        <p:nvPicPr>
          <p:cNvPr id="7193" name="Picture 105" descr="3"/>
          <p:cNvPicPr>
            <a:picLocks noChangeAspect="1" noChangeArrowheads="1"/>
          </p:cNvPicPr>
          <p:nvPr/>
        </p:nvPicPr>
        <p:blipFill>
          <a:blip r:embed="rId7" cstate="print"/>
          <a:srcRect/>
          <a:stretch>
            <a:fillRect/>
          </a:stretch>
        </p:blipFill>
        <p:spPr bwMode="auto">
          <a:xfrm>
            <a:off x="1619250" y="188913"/>
            <a:ext cx="5811838" cy="431800"/>
          </a:xfrm>
          <a:prstGeom prst="rect">
            <a:avLst/>
          </a:prstGeom>
          <a:noFill/>
          <a:ln w="9525">
            <a:noFill/>
            <a:miter lim="800000"/>
            <a:headEnd/>
            <a:tailEnd/>
          </a:ln>
        </p:spPr>
      </p:pic>
      <p:pic>
        <p:nvPicPr>
          <p:cNvPr id="20505" name="Picture 101" descr="1"/>
          <p:cNvPicPr>
            <a:picLocks noChangeAspect="1" noChangeArrowheads="1"/>
          </p:cNvPicPr>
          <p:nvPr/>
        </p:nvPicPr>
        <p:blipFill>
          <a:blip r:embed="rId8" cstate="print"/>
          <a:srcRect/>
          <a:stretch>
            <a:fillRect/>
          </a:stretch>
        </p:blipFill>
        <p:spPr bwMode="auto">
          <a:xfrm>
            <a:off x="919165" y="2878139"/>
            <a:ext cx="422275" cy="244475"/>
          </a:xfrm>
          <a:prstGeom prst="rect">
            <a:avLst/>
          </a:prstGeom>
          <a:noFill/>
          <a:ln w="9525">
            <a:noFill/>
            <a:miter lim="800000"/>
            <a:headEnd/>
            <a:tailEnd/>
          </a:ln>
          <a:effectLst>
            <a:outerShdw dist="12700" dir="16200000" algn="ctr" rotWithShape="0">
              <a:srgbClr val="663300"/>
            </a:outerShdw>
          </a:effectLst>
        </p:spPr>
      </p:pic>
      <p:sp>
        <p:nvSpPr>
          <p:cNvPr id="7195" name="Text Box 91"/>
          <p:cNvSpPr txBox="1">
            <a:spLocks noChangeArrowheads="1"/>
          </p:cNvSpPr>
          <p:nvPr/>
        </p:nvSpPr>
        <p:spPr bwMode="auto">
          <a:xfrm>
            <a:off x="992425" y="2669802"/>
            <a:ext cx="248466"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1.6</a:t>
            </a:r>
          </a:p>
        </p:txBody>
      </p:sp>
      <p:pic>
        <p:nvPicPr>
          <p:cNvPr id="7196" name="Picture 107" descr="065"/>
          <p:cNvPicPr>
            <a:picLocks noChangeAspect="1" noChangeArrowheads="1"/>
          </p:cNvPicPr>
          <p:nvPr/>
        </p:nvPicPr>
        <p:blipFill>
          <a:blip r:embed="rId4" cstate="print">
            <a:lum bright="12000" contrast="12000"/>
            <a:grayscl/>
          </a:blip>
          <a:srcRect t="76198"/>
          <a:stretch>
            <a:fillRect/>
          </a:stretch>
        </p:blipFill>
        <p:spPr bwMode="auto">
          <a:xfrm>
            <a:off x="4667250" y="2857513"/>
            <a:ext cx="4249738" cy="671513"/>
          </a:xfrm>
          <a:prstGeom prst="rect">
            <a:avLst/>
          </a:prstGeom>
          <a:noFill/>
          <a:ln w="9525">
            <a:noFill/>
            <a:miter lim="800000"/>
            <a:headEnd/>
            <a:tailEnd/>
          </a:ln>
        </p:spPr>
      </p:pic>
      <p:pic>
        <p:nvPicPr>
          <p:cNvPr id="7197" name="Picture 33" descr="1"/>
          <p:cNvPicPr>
            <a:picLocks noChangeAspect="1" noChangeArrowheads="1"/>
          </p:cNvPicPr>
          <p:nvPr/>
        </p:nvPicPr>
        <p:blipFill>
          <a:blip r:embed="rId3" cstate="print"/>
          <a:srcRect/>
          <a:stretch>
            <a:fillRect/>
          </a:stretch>
        </p:blipFill>
        <p:spPr bwMode="auto">
          <a:xfrm>
            <a:off x="5756275" y="2457451"/>
            <a:ext cx="687388" cy="468313"/>
          </a:xfrm>
          <a:prstGeom prst="rect">
            <a:avLst/>
          </a:prstGeom>
          <a:noFill/>
          <a:ln w="9525">
            <a:noFill/>
            <a:miter lim="800000"/>
            <a:headEnd/>
            <a:tailEnd/>
          </a:ln>
        </p:spPr>
      </p:pic>
      <p:pic>
        <p:nvPicPr>
          <p:cNvPr id="7198" name="Picture 35" descr="075"/>
          <p:cNvPicPr>
            <a:picLocks noChangeAspect="1" noChangeArrowheads="1"/>
          </p:cNvPicPr>
          <p:nvPr/>
        </p:nvPicPr>
        <p:blipFill>
          <a:blip r:embed="rId9" cstate="print">
            <a:lum bright="6000"/>
          </a:blip>
          <a:srcRect t="13893" r="2348" b="65343"/>
          <a:stretch>
            <a:fillRect/>
          </a:stretch>
        </p:blipFill>
        <p:spPr bwMode="auto">
          <a:xfrm>
            <a:off x="5189538" y="2928939"/>
            <a:ext cx="654050" cy="139700"/>
          </a:xfrm>
          <a:prstGeom prst="rect">
            <a:avLst/>
          </a:prstGeom>
          <a:noFill/>
          <a:ln w="9525">
            <a:noFill/>
            <a:miter lim="800000"/>
            <a:headEnd/>
            <a:tailEnd/>
          </a:ln>
        </p:spPr>
      </p:pic>
      <p:pic>
        <p:nvPicPr>
          <p:cNvPr id="7199" name="Picture 40" descr="075"/>
          <p:cNvPicPr>
            <a:picLocks noChangeAspect="1" noChangeArrowheads="1"/>
          </p:cNvPicPr>
          <p:nvPr/>
        </p:nvPicPr>
        <p:blipFill>
          <a:blip r:embed="rId9" cstate="print">
            <a:lum bright="6000"/>
          </a:blip>
          <a:srcRect b="22443"/>
          <a:stretch>
            <a:fillRect/>
          </a:stretch>
        </p:blipFill>
        <p:spPr bwMode="auto">
          <a:xfrm>
            <a:off x="6381751" y="2566989"/>
            <a:ext cx="669925" cy="522287"/>
          </a:xfrm>
          <a:prstGeom prst="rect">
            <a:avLst/>
          </a:prstGeom>
          <a:noFill/>
          <a:ln w="9525">
            <a:noFill/>
            <a:miter lim="800000"/>
            <a:headEnd/>
            <a:tailEnd/>
          </a:ln>
        </p:spPr>
      </p:pic>
      <p:sp>
        <p:nvSpPr>
          <p:cNvPr id="7200" name="Text Box 45"/>
          <p:cNvSpPr txBox="1">
            <a:spLocks noChangeArrowheads="1"/>
          </p:cNvSpPr>
          <p:nvPr/>
        </p:nvSpPr>
        <p:spPr bwMode="auto">
          <a:xfrm>
            <a:off x="6573280" y="2452315"/>
            <a:ext cx="248466"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2.4</a:t>
            </a:r>
          </a:p>
        </p:txBody>
      </p:sp>
      <p:sp>
        <p:nvSpPr>
          <p:cNvPr id="7201" name="Text Box 46"/>
          <p:cNvSpPr txBox="1">
            <a:spLocks noChangeArrowheads="1"/>
          </p:cNvSpPr>
          <p:nvPr/>
        </p:nvSpPr>
        <p:spPr bwMode="auto">
          <a:xfrm>
            <a:off x="5392180" y="2669802"/>
            <a:ext cx="248466"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1.6</a:t>
            </a:r>
          </a:p>
        </p:txBody>
      </p:sp>
      <p:pic>
        <p:nvPicPr>
          <p:cNvPr id="7202" name="Picture 47" descr="1"/>
          <p:cNvPicPr>
            <a:picLocks noChangeAspect="1" noChangeArrowheads="1"/>
          </p:cNvPicPr>
          <p:nvPr/>
        </p:nvPicPr>
        <p:blipFill>
          <a:blip r:embed="rId3" cstate="print"/>
          <a:srcRect/>
          <a:stretch>
            <a:fillRect/>
          </a:stretch>
        </p:blipFill>
        <p:spPr bwMode="auto">
          <a:xfrm>
            <a:off x="6996113" y="1871675"/>
            <a:ext cx="684212" cy="542925"/>
          </a:xfrm>
          <a:prstGeom prst="rect">
            <a:avLst/>
          </a:prstGeom>
          <a:noFill/>
          <a:ln w="9525">
            <a:noFill/>
            <a:miter lim="800000"/>
            <a:headEnd/>
            <a:tailEnd/>
          </a:ln>
        </p:spPr>
      </p:pic>
      <p:grpSp>
        <p:nvGrpSpPr>
          <p:cNvPr id="2" name="Group 125"/>
          <p:cNvGrpSpPr>
            <a:grpSpLocks/>
          </p:cNvGrpSpPr>
          <p:nvPr/>
        </p:nvGrpSpPr>
        <p:grpSpPr bwMode="auto">
          <a:xfrm>
            <a:off x="7610476" y="1829009"/>
            <a:ext cx="914400" cy="1331717"/>
            <a:chOff x="4794" y="1034"/>
            <a:chExt cx="576" cy="957"/>
          </a:xfrm>
        </p:grpSpPr>
        <p:sp>
          <p:nvSpPr>
            <p:cNvPr id="7252" name="Text Box 31"/>
            <p:cNvSpPr txBox="1">
              <a:spLocks noChangeArrowheads="1"/>
            </p:cNvSpPr>
            <p:nvPr/>
          </p:nvSpPr>
          <p:spPr bwMode="auto">
            <a:xfrm>
              <a:off x="4920" y="1034"/>
              <a:ext cx="157" cy="155"/>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4.7</a:t>
              </a:r>
            </a:p>
          </p:txBody>
        </p:sp>
        <p:cxnSp>
          <p:nvCxnSpPr>
            <p:cNvPr id="7253" name="AutoShape 32"/>
            <p:cNvCxnSpPr>
              <a:cxnSpLocks noChangeShapeType="1"/>
            </p:cNvCxnSpPr>
            <p:nvPr/>
          </p:nvCxnSpPr>
          <p:spPr bwMode="auto">
            <a:xfrm>
              <a:off x="5370" y="1316"/>
              <a:ext cx="0" cy="0"/>
            </a:xfrm>
            <a:prstGeom prst="straightConnector1">
              <a:avLst/>
            </a:prstGeom>
            <a:noFill/>
            <a:ln w="9525">
              <a:solidFill>
                <a:schemeClr val="tx1"/>
              </a:solidFill>
              <a:round/>
              <a:headEnd/>
              <a:tailEnd/>
            </a:ln>
          </p:spPr>
        </p:cxnSp>
        <p:pic>
          <p:nvPicPr>
            <p:cNvPr id="7254" name="Picture 36" descr="075"/>
            <p:cNvPicPr>
              <a:picLocks noChangeAspect="1" noChangeArrowheads="1"/>
            </p:cNvPicPr>
            <p:nvPr/>
          </p:nvPicPr>
          <p:blipFill>
            <a:blip r:embed="rId9" cstate="print">
              <a:lum bright="6000"/>
            </a:blip>
            <a:srcRect/>
            <a:stretch>
              <a:fillRect/>
            </a:stretch>
          </p:blipFill>
          <p:spPr bwMode="auto">
            <a:xfrm>
              <a:off x="4794" y="1566"/>
              <a:ext cx="424" cy="425"/>
            </a:xfrm>
            <a:prstGeom prst="rect">
              <a:avLst/>
            </a:prstGeom>
            <a:noFill/>
            <a:ln w="9525">
              <a:noFill/>
              <a:miter lim="800000"/>
              <a:headEnd/>
              <a:tailEnd/>
            </a:ln>
          </p:spPr>
        </p:pic>
        <p:pic>
          <p:nvPicPr>
            <p:cNvPr id="7255" name="Picture 39" descr="075"/>
            <p:cNvPicPr>
              <a:picLocks noChangeAspect="1" noChangeArrowheads="1"/>
            </p:cNvPicPr>
            <p:nvPr/>
          </p:nvPicPr>
          <p:blipFill>
            <a:blip r:embed="rId9" cstate="print">
              <a:lum bright="6000"/>
            </a:blip>
            <a:srcRect/>
            <a:stretch>
              <a:fillRect/>
            </a:stretch>
          </p:blipFill>
          <p:spPr bwMode="auto">
            <a:xfrm>
              <a:off x="4794" y="1330"/>
              <a:ext cx="424" cy="426"/>
            </a:xfrm>
            <a:prstGeom prst="rect">
              <a:avLst/>
            </a:prstGeom>
            <a:noFill/>
            <a:ln w="9525">
              <a:noFill/>
              <a:miter lim="800000"/>
              <a:headEnd/>
              <a:tailEnd/>
            </a:ln>
          </p:spPr>
        </p:pic>
        <p:pic>
          <p:nvPicPr>
            <p:cNvPr id="7256" name="Picture 48" descr="075"/>
            <p:cNvPicPr>
              <a:picLocks noChangeAspect="1" noChangeArrowheads="1"/>
            </p:cNvPicPr>
            <p:nvPr/>
          </p:nvPicPr>
          <p:blipFill>
            <a:blip r:embed="rId9" cstate="print">
              <a:lum bright="6000"/>
            </a:blip>
            <a:srcRect/>
            <a:stretch>
              <a:fillRect/>
            </a:stretch>
          </p:blipFill>
          <p:spPr bwMode="auto">
            <a:xfrm>
              <a:off x="4796" y="1091"/>
              <a:ext cx="424" cy="425"/>
            </a:xfrm>
            <a:prstGeom prst="rect">
              <a:avLst/>
            </a:prstGeom>
            <a:noFill/>
            <a:ln w="9525">
              <a:noFill/>
              <a:miter lim="800000"/>
              <a:headEnd/>
              <a:tailEnd/>
            </a:ln>
          </p:spPr>
        </p:pic>
      </p:grpSp>
      <p:sp>
        <p:nvSpPr>
          <p:cNvPr id="7204" name="AutoShape 52"/>
          <p:cNvSpPr>
            <a:spLocks noChangeArrowheads="1"/>
          </p:cNvSpPr>
          <p:nvPr/>
        </p:nvSpPr>
        <p:spPr bwMode="auto">
          <a:xfrm>
            <a:off x="333388" y="4303726"/>
            <a:ext cx="4106863" cy="2109787"/>
          </a:xfrm>
          <a:prstGeom prst="roundRect">
            <a:avLst>
              <a:gd name="adj" fmla="val 2782"/>
            </a:avLst>
          </a:prstGeom>
          <a:solidFill>
            <a:schemeClr val="bg1"/>
          </a:solidFill>
          <a:ln w="6350">
            <a:solidFill>
              <a:srgbClr val="B2B2B2"/>
            </a:solidFill>
            <a:round/>
            <a:headEnd/>
            <a:tailEnd/>
          </a:ln>
        </p:spPr>
        <p:txBody>
          <a:bodyPr wrap="none" lIns="305597" tIns="45661" rIns="91320" bIns="45661" anchor="ctr"/>
          <a:lstStyle/>
          <a:p>
            <a:endParaRPr lang="ko-KR" altLang="en-US"/>
          </a:p>
        </p:txBody>
      </p:sp>
      <p:pic>
        <p:nvPicPr>
          <p:cNvPr id="7205" name="Picture 108" descr="065"/>
          <p:cNvPicPr>
            <a:picLocks noChangeAspect="1" noChangeArrowheads="1"/>
          </p:cNvPicPr>
          <p:nvPr/>
        </p:nvPicPr>
        <p:blipFill>
          <a:blip r:embed="rId4" cstate="print">
            <a:lum bright="12000" contrast="12000"/>
            <a:grayscl/>
          </a:blip>
          <a:srcRect t="76198"/>
          <a:stretch>
            <a:fillRect/>
          </a:stretch>
        </p:blipFill>
        <p:spPr bwMode="auto">
          <a:xfrm>
            <a:off x="315914" y="5519738"/>
            <a:ext cx="4249737" cy="671512"/>
          </a:xfrm>
          <a:prstGeom prst="rect">
            <a:avLst/>
          </a:prstGeom>
          <a:noFill/>
          <a:ln w="9525">
            <a:noFill/>
            <a:miter lim="800000"/>
            <a:headEnd/>
            <a:tailEnd/>
          </a:ln>
        </p:spPr>
      </p:pic>
      <p:sp>
        <p:nvSpPr>
          <p:cNvPr id="7206" name="Text Box 57"/>
          <p:cNvSpPr txBox="1">
            <a:spLocks noChangeArrowheads="1"/>
          </p:cNvSpPr>
          <p:nvPr/>
        </p:nvSpPr>
        <p:spPr bwMode="auto">
          <a:xfrm>
            <a:off x="3187437" y="4450979"/>
            <a:ext cx="546625"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98,201</a:t>
            </a:r>
          </a:p>
        </p:txBody>
      </p:sp>
      <p:cxnSp>
        <p:nvCxnSpPr>
          <p:cNvPr id="7207" name="AutoShape 58"/>
          <p:cNvCxnSpPr>
            <a:cxnSpLocks noChangeShapeType="1"/>
          </p:cNvCxnSpPr>
          <p:nvPr/>
        </p:nvCxnSpPr>
        <p:spPr bwMode="auto">
          <a:xfrm>
            <a:off x="3752850" y="4791075"/>
            <a:ext cx="0" cy="0"/>
          </a:xfrm>
          <a:prstGeom prst="straightConnector1">
            <a:avLst/>
          </a:prstGeom>
          <a:noFill/>
          <a:ln w="9525">
            <a:solidFill>
              <a:schemeClr val="tx1"/>
            </a:solidFill>
            <a:round/>
            <a:headEnd/>
            <a:tailEnd/>
          </a:ln>
        </p:spPr>
      </p:cxnSp>
      <p:pic>
        <p:nvPicPr>
          <p:cNvPr id="7208" name="Picture 59" descr="1"/>
          <p:cNvPicPr>
            <a:picLocks noChangeAspect="1" noChangeArrowheads="1"/>
          </p:cNvPicPr>
          <p:nvPr/>
        </p:nvPicPr>
        <p:blipFill>
          <a:blip r:embed="rId3" cstate="print"/>
          <a:srcRect/>
          <a:stretch>
            <a:fillRect/>
          </a:stretch>
        </p:blipFill>
        <p:spPr bwMode="auto">
          <a:xfrm>
            <a:off x="1295413" y="5157799"/>
            <a:ext cx="684213" cy="411162"/>
          </a:xfrm>
          <a:prstGeom prst="rect">
            <a:avLst/>
          </a:prstGeom>
          <a:noFill/>
          <a:ln w="9525">
            <a:noFill/>
            <a:miter lim="800000"/>
            <a:headEnd/>
            <a:tailEnd/>
          </a:ln>
        </p:spPr>
      </p:pic>
      <p:sp>
        <p:nvSpPr>
          <p:cNvPr id="7209" name="Text Box 66"/>
          <p:cNvSpPr txBox="1">
            <a:spLocks noChangeArrowheads="1"/>
          </p:cNvSpPr>
          <p:nvPr/>
        </p:nvSpPr>
        <p:spPr bwMode="auto">
          <a:xfrm>
            <a:off x="1994433" y="4789115"/>
            <a:ext cx="546625"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96,500</a:t>
            </a:r>
          </a:p>
        </p:txBody>
      </p:sp>
      <p:sp>
        <p:nvSpPr>
          <p:cNvPr id="7210" name="Text Box 67"/>
          <p:cNvSpPr txBox="1">
            <a:spLocks noChangeArrowheads="1"/>
          </p:cNvSpPr>
          <p:nvPr/>
        </p:nvSpPr>
        <p:spPr bwMode="auto">
          <a:xfrm>
            <a:off x="868100" y="5216154"/>
            <a:ext cx="546625"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92,320</a:t>
            </a:r>
          </a:p>
        </p:txBody>
      </p:sp>
      <p:pic>
        <p:nvPicPr>
          <p:cNvPr id="7211" name="Picture 68" descr="1"/>
          <p:cNvPicPr>
            <a:picLocks noChangeAspect="1" noChangeArrowheads="1"/>
          </p:cNvPicPr>
          <p:nvPr/>
        </p:nvPicPr>
        <p:blipFill>
          <a:blip r:embed="rId3" cstate="print"/>
          <a:srcRect/>
          <a:stretch>
            <a:fillRect/>
          </a:stretch>
        </p:blipFill>
        <p:spPr bwMode="auto">
          <a:xfrm>
            <a:off x="2519377" y="4754574"/>
            <a:ext cx="611187" cy="411162"/>
          </a:xfrm>
          <a:prstGeom prst="rect">
            <a:avLst/>
          </a:prstGeom>
          <a:noFill/>
          <a:ln w="9525">
            <a:noFill/>
            <a:miter lim="800000"/>
            <a:headEnd/>
            <a:tailEnd/>
          </a:ln>
        </p:spPr>
      </p:pic>
      <p:pic>
        <p:nvPicPr>
          <p:cNvPr id="7212" name="Picture 69" descr="1"/>
          <p:cNvPicPr>
            <a:picLocks noChangeAspect="1" noChangeArrowheads="1"/>
          </p:cNvPicPr>
          <p:nvPr/>
        </p:nvPicPr>
        <p:blipFill>
          <a:blip r:embed="rId10" cstate="print"/>
          <a:srcRect/>
          <a:stretch>
            <a:fillRect/>
          </a:stretch>
        </p:blipFill>
        <p:spPr bwMode="auto">
          <a:xfrm>
            <a:off x="2968625" y="4578363"/>
            <a:ext cx="1060450" cy="1344613"/>
          </a:xfrm>
          <a:prstGeom prst="rect">
            <a:avLst/>
          </a:prstGeom>
          <a:noFill/>
          <a:ln w="9525">
            <a:noFill/>
            <a:miter lim="800000"/>
            <a:headEnd/>
            <a:tailEnd/>
          </a:ln>
        </p:spPr>
      </p:pic>
      <p:pic>
        <p:nvPicPr>
          <p:cNvPr id="7213" name="Picture 70" descr="1"/>
          <p:cNvPicPr>
            <a:picLocks noChangeAspect="1" noChangeArrowheads="1"/>
          </p:cNvPicPr>
          <p:nvPr/>
        </p:nvPicPr>
        <p:blipFill>
          <a:blip r:embed="rId10" cstate="print"/>
          <a:srcRect/>
          <a:stretch>
            <a:fillRect/>
          </a:stretch>
        </p:blipFill>
        <p:spPr bwMode="auto">
          <a:xfrm>
            <a:off x="1971675" y="4987938"/>
            <a:ext cx="698500" cy="879475"/>
          </a:xfrm>
          <a:prstGeom prst="rect">
            <a:avLst/>
          </a:prstGeom>
          <a:noFill/>
          <a:ln w="9525">
            <a:noFill/>
            <a:miter lim="800000"/>
            <a:headEnd/>
            <a:tailEnd/>
          </a:ln>
        </p:spPr>
      </p:pic>
      <p:pic>
        <p:nvPicPr>
          <p:cNvPr id="7214" name="Picture 71" descr="1"/>
          <p:cNvPicPr>
            <a:picLocks noChangeAspect="1" noChangeArrowheads="1"/>
          </p:cNvPicPr>
          <p:nvPr/>
        </p:nvPicPr>
        <p:blipFill>
          <a:blip r:embed="rId11" cstate="print"/>
          <a:srcRect/>
          <a:stretch>
            <a:fillRect/>
          </a:stretch>
        </p:blipFill>
        <p:spPr bwMode="auto">
          <a:xfrm>
            <a:off x="1023938" y="5434023"/>
            <a:ext cx="292100" cy="361950"/>
          </a:xfrm>
          <a:prstGeom prst="rect">
            <a:avLst/>
          </a:prstGeom>
          <a:noFill/>
          <a:ln w="9525">
            <a:noFill/>
            <a:miter lim="800000"/>
            <a:headEnd/>
            <a:tailEnd/>
          </a:ln>
        </p:spPr>
      </p:pic>
      <p:pic>
        <p:nvPicPr>
          <p:cNvPr id="7215" name="Picture 109" descr="065"/>
          <p:cNvPicPr>
            <a:picLocks noChangeAspect="1" noChangeArrowheads="1"/>
          </p:cNvPicPr>
          <p:nvPr/>
        </p:nvPicPr>
        <p:blipFill>
          <a:blip r:embed="rId4" cstate="print">
            <a:lum bright="12000" contrast="12000"/>
            <a:grayscl/>
          </a:blip>
          <a:srcRect t="76198"/>
          <a:stretch>
            <a:fillRect/>
          </a:stretch>
        </p:blipFill>
        <p:spPr bwMode="auto">
          <a:xfrm>
            <a:off x="4659314" y="5519738"/>
            <a:ext cx="4249737" cy="671512"/>
          </a:xfrm>
          <a:prstGeom prst="rect">
            <a:avLst/>
          </a:prstGeom>
          <a:noFill/>
          <a:ln w="9525">
            <a:noFill/>
            <a:miter lim="800000"/>
            <a:headEnd/>
            <a:tailEnd/>
          </a:ln>
        </p:spPr>
      </p:pic>
      <p:sp>
        <p:nvSpPr>
          <p:cNvPr id="7216" name="Text Box 9"/>
          <p:cNvSpPr txBox="1">
            <a:spLocks noChangeArrowheads="1"/>
          </p:cNvSpPr>
          <p:nvPr/>
        </p:nvSpPr>
        <p:spPr bwMode="auto">
          <a:xfrm>
            <a:off x="7752428" y="4568452"/>
            <a:ext cx="387671"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1183</a:t>
            </a:r>
          </a:p>
        </p:txBody>
      </p:sp>
      <p:cxnSp>
        <p:nvCxnSpPr>
          <p:cNvPr id="7217" name="AutoShape 10"/>
          <p:cNvCxnSpPr>
            <a:cxnSpLocks noChangeShapeType="1"/>
          </p:cNvCxnSpPr>
          <p:nvPr/>
        </p:nvCxnSpPr>
        <p:spPr bwMode="auto">
          <a:xfrm>
            <a:off x="8491538" y="4791075"/>
            <a:ext cx="0" cy="0"/>
          </a:xfrm>
          <a:prstGeom prst="straightConnector1">
            <a:avLst/>
          </a:prstGeom>
          <a:noFill/>
          <a:ln w="9525">
            <a:solidFill>
              <a:schemeClr val="tx1"/>
            </a:solidFill>
            <a:round/>
            <a:headEnd/>
            <a:tailEnd/>
          </a:ln>
        </p:spPr>
      </p:cxnSp>
      <p:pic>
        <p:nvPicPr>
          <p:cNvPr id="7218" name="Picture 11" descr="1"/>
          <p:cNvPicPr>
            <a:picLocks noChangeAspect="1" noChangeArrowheads="1"/>
          </p:cNvPicPr>
          <p:nvPr/>
        </p:nvPicPr>
        <p:blipFill>
          <a:blip r:embed="rId3" cstate="print"/>
          <a:srcRect/>
          <a:stretch>
            <a:fillRect/>
          </a:stretch>
        </p:blipFill>
        <p:spPr bwMode="auto">
          <a:xfrm>
            <a:off x="5732463" y="5048263"/>
            <a:ext cx="685800" cy="409575"/>
          </a:xfrm>
          <a:prstGeom prst="rect">
            <a:avLst/>
          </a:prstGeom>
          <a:noFill/>
          <a:ln w="9525">
            <a:noFill/>
            <a:miter lim="800000"/>
            <a:headEnd/>
            <a:tailEnd/>
          </a:ln>
        </p:spPr>
      </p:pic>
      <p:sp>
        <p:nvSpPr>
          <p:cNvPr id="7219" name="Text Box 18"/>
          <p:cNvSpPr txBox="1">
            <a:spLocks noChangeArrowheads="1"/>
          </p:cNvSpPr>
          <p:nvPr/>
        </p:nvSpPr>
        <p:spPr bwMode="auto">
          <a:xfrm>
            <a:off x="6378965" y="4497015"/>
            <a:ext cx="397546"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1206</a:t>
            </a:r>
          </a:p>
        </p:txBody>
      </p:sp>
      <p:sp>
        <p:nvSpPr>
          <p:cNvPr id="7220" name="Text Box 19"/>
          <p:cNvSpPr txBox="1">
            <a:spLocks noChangeArrowheads="1"/>
          </p:cNvSpPr>
          <p:nvPr/>
        </p:nvSpPr>
        <p:spPr bwMode="auto">
          <a:xfrm>
            <a:off x="5067966" y="4568452"/>
            <a:ext cx="387671"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1197</a:t>
            </a:r>
          </a:p>
        </p:txBody>
      </p:sp>
      <p:pic>
        <p:nvPicPr>
          <p:cNvPr id="7221" name="Picture 20" descr="1"/>
          <p:cNvPicPr>
            <a:picLocks noChangeAspect="1" noChangeArrowheads="1"/>
          </p:cNvPicPr>
          <p:nvPr/>
        </p:nvPicPr>
        <p:blipFill>
          <a:blip r:embed="rId3" cstate="print"/>
          <a:srcRect/>
          <a:stretch>
            <a:fillRect/>
          </a:stretch>
        </p:blipFill>
        <p:spPr bwMode="auto">
          <a:xfrm>
            <a:off x="6929450" y="4732338"/>
            <a:ext cx="762001" cy="411162"/>
          </a:xfrm>
          <a:prstGeom prst="rect">
            <a:avLst/>
          </a:prstGeom>
          <a:noFill/>
          <a:ln w="9525">
            <a:noFill/>
            <a:miter lim="800000"/>
            <a:headEnd/>
            <a:tailEnd/>
          </a:ln>
        </p:spPr>
      </p:pic>
      <p:sp>
        <p:nvSpPr>
          <p:cNvPr id="7222" name="AutoShape 110"/>
          <p:cNvSpPr>
            <a:spLocks noChangeArrowheads="1"/>
          </p:cNvSpPr>
          <p:nvPr/>
        </p:nvSpPr>
        <p:spPr bwMode="auto">
          <a:xfrm>
            <a:off x="401639" y="3370391"/>
            <a:ext cx="3941762" cy="410897"/>
          </a:xfrm>
          <a:prstGeom prst="roundRect">
            <a:avLst>
              <a:gd name="adj" fmla="val 16667"/>
            </a:avLst>
          </a:prstGeom>
          <a:solidFill>
            <a:schemeClr val="bg1"/>
          </a:solidFill>
          <a:ln w="9525">
            <a:solidFill>
              <a:srgbClr val="808080"/>
            </a:solidFill>
            <a:round/>
            <a:headEnd/>
            <a:tailEnd/>
          </a:ln>
        </p:spPr>
        <p:txBody>
          <a:bodyPr lIns="89882" tIns="46738" rIns="89882" bIns="46738" anchor="ctr">
            <a:spAutoFit/>
          </a:bodyPr>
          <a:lstStyle/>
          <a:p>
            <a:endParaRPr lang="ko-KR" altLang="en-US"/>
          </a:p>
        </p:txBody>
      </p:sp>
      <p:pic>
        <p:nvPicPr>
          <p:cNvPr id="20534" name="Picture 100" descr="1"/>
          <p:cNvPicPr>
            <a:picLocks noChangeAspect="1" noChangeArrowheads="1"/>
          </p:cNvPicPr>
          <p:nvPr/>
        </p:nvPicPr>
        <p:blipFill>
          <a:blip r:embed="rId12" cstate="print"/>
          <a:srcRect/>
          <a:stretch>
            <a:fillRect/>
          </a:stretch>
        </p:blipFill>
        <p:spPr bwMode="auto">
          <a:xfrm>
            <a:off x="730251" y="3511562"/>
            <a:ext cx="304800" cy="176213"/>
          </a:xfrm>
          <a:prstGeom prst="rect">
            <a:avLst/>
          </a:prstGeom>
          <a:noFill/>
          <a:ln w="9525">
            <a:noFill/>
            <a:miter lim="800000"/>
            <a:headEnd/>
            <a:tailEnd/>
          </a:ln>
          <a:effectLst>
            <a:outerShdw dist="12700" dir="16200000" algn="ctr" rotWithShape="0">
              <a:srgbClr val="663300"/>
            </a:outerShdw>
          </a:effectLst>
        </p:spPr>
      </p:pic>
      <p:pic>
        <p:nvPicPr>
          <p:cNvPr id="7224" name="Picture 86" descr="002"/>
          <p:cNvPicPr>
            <a:picLocks noChangeAspect="1" noChangeArrowheads="1"/>
          </p:cNvPicPr>
          <p:nvPr/>
        </p:nvPicPr>
        <p:blipFill>
          <a:blip r:embed="rId13" cstate="print"/>
          <a:srcRect/>
          <a:stretch>
            <a:fillRect/>
          </a:stretch>
        </p:blipFill>
        <p:spPr bwMode="auto">
          <a:xfrm>
            <a:off x="2579699" y="3492500"/>
            <a:ext cx="190500" cy="177800"/>
          </a:xfrm>
          <a:prstGeom prst="rect">
            <a:avLst/>
          </a:prstGeom>
          <a:noFill/>
          <a:ln w="9525">
            <a:noFill/>
            <a:miter lim="800000"/>
            <a:headEnd/>
            <a:tailEnd/>
          </a:ln>
        </p:spPr>
      </p:pic>
      <p:sp>
        <p:nvSpPr>
          <p:cNvPr id="7225" name="AutoShape 111"/>
          <p:cNvSpPr>
            <a:spLocks noChangeArrowheads="1"/>
          </p:cNvSpPr>
          <p:nvPr/>
        </p:nvSpPr>
        <p:spPr bwMode="auto">
          <a:xfrm>
            <a:off x="4783140" y="3370391"/>
            <a:ext cx="3941762" cy="410897"/>
          </a:xfrm>
          <a:prstGeom prst="roundRect">
            <a:avLst>
              <a:gd name="adj" fmla="val 16667"/>
            </a:avLst>
          </a:prstGeom>
          <a:solidFill>
            <a:schemeClr val="bg1"/>
          </a:solidFill>
          <a:ln w="9525">
            <a:solidFill>
              <a:srgbClr val="808080"/>
            </a:solidFill>
            <a:round/>
            <a:headEnd/>
            <a:tailEnd/>
          </a:ln>
        </p:spPr>
        <p:txBody>
          <a:bodyPr lIns="89882" tIns="46738" rIns="89882" bIns="46738" anchor="ctr">
            <a:spAutoFit/>
          </a:bodyPr>
          <a:lstStyle/>
          <a:p>
            <a:endParaRPr lang="ko-KR" altLang="en-US"/>
          </a:p>
        </p:txBody>
      </p:sp>
      <p:sp>
        <p:nvSpPr>
          <p:cNvPr id="7226" name="Text Box 88"/>
          <p:cNvSpPr txBox="1">
            <a:spLocks noChangeArrowheads="1"/>
          </p:cNvSpPr>
          <p:nvPr/>
        </p:nvSpPr>
        <p:spPr bwMode="auto">
          <a:xfrm>
            <a:off x="996936" y="3468698"/>
            <a:ext cx="1144623" cy="246102"/>
          </a:xfrm>
          <a:prstGeom prst="rect">
            <a:avLst/>
          </a:prstGeom>
          <a:noFill/>
          <a:ln w="9525">
            <a:noFill/>
            <a:miter lim="800000"/>
            <a:headEnd/>
            <a:tailEnd/>
          </a:ln>
        </p:spPr>
        <p:txBody>
          <a:bodyPr wrap="none" lIns="91320" tIns="45661" rIns="91320" bIns="45661">
            <a:spAutoFit/>
          </a:bodyPr>
          <a:lstStyle/>
          <a:p>
            <a:r>
              <a:rPr lang="en-US" altLang="ko-KR" sz="1000" b="1" dirty="0">
                <a:latin typeface="Arial" pitchFamily="34" charset="0"/>
                <a:ea typeface="HY견고딕" pitchFamily="18" charset="-127"/>
              </a:rPr>
              <a:t>GERD (L.E. </a:t>
            </a:r>
            <a:r>
              <a:rPr lang="en-US" altLang="ko-KR" sz="1000" b="1" dirty="0" err="1">
                <a:latin typeface="Arial" pitchFamily="34" charset="0"/>
                <a:ea typeface="HY견고딕" pitchFamily="18" charset="-127"/>
              </a:rPr>
              <a:t>Bil</a:t>
            </a:r>
            <a:r>
              <a:rPr lang="en-US" altLang="ko-KR" sz="1000" b="1" dirty="0">
                <a:latin typeface="Arial" pitchFamily="34" charset="0"/>
                <a:ea typeface="HY견고딕" pitchFamily="18" charset="-127"/>
              </a:rPr>
              <a:t>.)</a:t>
            </a:r>
          </a:p>
        </p:txBody>
      </p:sp>
      <p:sp>
        <p:nvSpPr>
          <p:cNvPr id="7227" name="Text Box 89"/>
          <p:cNvSpPr txBox="1">
            <a:spLocks noChangeArrowheads="1"/>
          </p:cNvSpPr>
          <p:nvPr/>
        </p:nvSpPr>
        <p:spPr bwMode="auto">
          <a:xfrm>
            <a:off x="2676237" y="3460763"/>
            <a:ext cx="1481737" cy="249339"/>
          </a:xfrm>
          <a:prstGeom prst="rect">
            <a:avLst/>
          </a:prstGeom>
          <a:noFill/>
          <a:ln w="9525">
            <a:noFill/>
            <a:miter lim="800000"/>
            <a:headEnd/>
            <a:tailEnd/>
          </a:ln>
        </p:spPr>
        <p:txBody>
          <a:bodyPr wrap="none" lIns="91320" tIns="45661" rIns="91320" bIns="45661">
            <a:spAutoFit/>
          </a:bodyPr>
          <a:lstStyle/>
          <a:p>
            <a:r>
              <a:rPr lang="en-US" altLang="ko-KR" sz="1000" b="1" dirty="0">
                <a:latin typeface="Arial" pitchFamily="34" charset="0"/>
                <a:ea typeface="HY견고딕" pitchFamily="18" charset="-127"/>
              </a:rPr>
              <a:t>GERD as a % of GDP</a:t>
            </a:r>
          </a:p>
        </p:txBody>
      </p:sp>
      <p:pic>
        <p:nvPicPr>
          <p:cNvPr id="7228" name="Picture 42" descr="075"/>
          <p:cNvPicPr>
            <a:picLocks noChangeAspect="1" noChangeArrowheads="1"/>
          </p:cNvPicPr>
          <p:nvPr/>
        </p:nvPicPr>
        <p:blipFill>
          <a:blip r:embed="rId9" cstate="print">
            <a:lum bright="6000"/>
          </a:blip>
          <a:srcRect t="13893" r="2539" b="58473"/>
          <a:stretch>
            <a:fillRect/>
          </a:stretch>
        </p:blipFill>
        <p:spPr bwMode="auto">
          <a:xfrm>
            <a:off x="5345126" y="3451237"/>
            <a:ext cx="612775" cy="174625"/>
          </a:xfrm>
          <a:prstGeom prst="rect">
            <a:avLst/>
          </a:prstGeom>
          <a:noFill/>
          <a:ln w="9525">
            <a:noFill/>
            <a:miter lim="800000"/>
            <a:headEnd/>
            <a:tailEnd/>
          </a:ln>
        </p:spPr>
      </p:pic>
      <p:sp>
        <p:nvSpPr>
          <p:cNvPr id="7229" name="Text Box 44"/>
          <p:cNvSpPr txBox="1">
            <a:spLocks noChangeArrowheads="1"/>
          </p:cNvSpPr>
          <p:nvPr/>
        </p:nvSpPr>
        <p:spPr bwMode="auto">
          <a:xfrm>
            <a:off x="5927916" y="3451236"/>
            <a:ext cx="1718907" cy="249339"/>
          </a:xfrm>
          <a:prstGeom prst="rect">
            <a:avLst/>
          </a:prstGeom>
          <a:noFill/>
          <a:ln w="9525">
            <a:noFill/>
            <a:miter lim="800000"/>
            <a:headEnd/>
            <a:tailEnd/>
          </a:ln>
        </p:spPr>
        <p:txBody>
          <a:bodyPr wrap="none" lIns="91320" tIns="45661" rIns="91320" bIns="45661">
            <a:spAutoFit/>
          </a:bodyPr>
          <a:lstStyle/>
          <a:p>
            <a:r>
              <a:rPr lang="en-US" altLang="ko-KR" sz="1000" b="1" dirty="0">
                <a:latin typeface="Arial" pitchFamily="34" charset="0"/>
                <a:ea typeface="HY견고딕" pitchFamily="18" charset="-127"/>
              </a:rPr>
              <a:t>R&amp;D Budget (Billion L.E)</a:t>
            </a:r>
          </a:p>
        </p:txBody>
      </p:sp>
      <p:sp>
        <p:nvSpPr>
          <p:cNvPr id="7230" name="AutoShape 112"/>
          <p:cNvSpPr>
            <a:spLocks noChangeArrowheads="1"/>
          </p:cNvSpPr>
          <p:nvPr/>
        </p:nvSpPr>
        <p:spPr bwMode="auto">
          <a:xfrm>
            <a:off x="4783140" y="6018343"/>
            <a:ext cx="3941762" cy="410897"/>
          </a:xfrm>
          <a:prstGeom prst="roundRect">
            <a:avLst>
              <a:gd name="adj" fmla="val 16667"/>
            </a:avLst>
          </a:prstGeom>
          <a:solidFill>
            <a:schemeClr val="bg1"/>
          </a:solidFill>
          <a:ln w="9525">
            <a:solidFill>
              <a:srgbClr val="808080"/>
            </a:solidFill>
            <a:round/>
            <a:headEnd/>
            <a:tailEnd/>
          </a:ln>
        </p:spPr>
        <p:txBody>
          <a:bodyPr lIns="89882" tIns="46738" rIns="89882" bIns="46738" anchor="ctr">
            <a:spAutoFit/>
          </a:bodyPr>
          <a:lstStyle/>
          <a:p>
            <a:endParaRPr lang="ko-KR" altLang="en-US"/>
          </a:p>
        </p:txBody>
      </p:sp>
      <p:sp>
        <p:nvSpPr>
          <p:cNvPr id="7231" name="AutoShape 113"/>
          <p:cNvSpPr>
            <a:spLocks noChangeArrowheads="1"/>
          </p:cNvSpPr>
          <p:nvPr/>
        </p:nvSpPr>
        <p:spPr bwMode="auto">
          <a:xfrm>
            <a:off x="411164" y="6018343"/>
            <a:ext cx="3941762" cy="410897"/>
          </a:xfrm>
          <a:prstGeom prst="roundRect">
            <a:avLst>
              <a:gd name="adj" fmla="val 16667"/>
            </a:avLst>
          </a:prstGeom>
          <a:solidFill>
            <a:schemeClr val="bg1"/>
          </a:solidFill>
          <a:ln w="9525">
            <a:solidFill>
              <a:srgbClr val="808080"/>
            </a:solidFill>
            <a:round/>
            <a:headEnd/>
            <a:tailEnd/>
          </a:ln>
        </p:spPr>
        <p:txBody>
          <a:bodyPr lIns="89882" tIns="46738" rIns="89882" bIns="46738" anchor="ctr">
            <a:spAutoFit/>
          </a:bodyPr>
          <a:lstStyle/>
          <a:p>
            <a:endParaRPr lang="ko-KR" altLang="en-US"/>
          </a:p>
        </p:txBody>
      </p:sp>
      <p:sp>
        <p:nvSpPr>
          <p:cNvPr id="7232" name="Text Box 17"/>
          <p:cNvSpPr txBox="1">
            <a:spLocks noChangeArrowheads="1"/>
          </p:cNvSpPr>
          <p:nvPr/>
        </p:nvSpPr>
        <p:spPr bwMode="auto">
          <a:xfrm>
            <a:off x="5625465" y="6086486"/>
            <a:ext cx="2152357" cy="249339"/>
          </a:xfrm>
          <a:prstGeom prst="rect">
            <a:avLst/>
          </a:prstGeom>
          <a:noFill/>
          <a:ln w="9525">
            <a:noFill/>
            <a:miter lim="800000"/>
            <a:headEnd/>
            <a:tailEnd/>
          </a:ln>
        </p:spPr>
        <p:txBody>
          <a:bodyPr wrap="none" lIns="91320" tIns="45661" rIns="91320" bIns="45661">
            <a:spAutoFit/>
          </a:bodyPr>
          <a:lstStyle/>
          <a:p>
            <a:r>
              <a:rPr lang="en-US" altLang="ko-KR" sz="1000" b="1" dirty="0">
                <a:latin typeface="Arial" pitchFamily="34" charset="0"/>
                <a:ea typeface="HY견고딕" pitchFamily="18" charset="-127"/>
              </a:rPr>
              <a:t> Researchers per million people</a:t>
            </a:r>
          </a:p>
        </p:txBody>
      </p:sp>
      <p:sp>
        <p:nvSpPr>
          <p:cNvPr id="7233" name="Text Box 65"/>
          <p:cNvSpPr txBox="1">
            <a:spLocks noChangeArrowheads="1"/>
          </p:cNvSpPr>
          <p:nvPr/>
        </p:nvSpPr>
        <p:spPr bwMode="auto">
          <a:xfrm>
            <a:off x="1524309" y="6086488"/>
            <a:ext cx="1872659" cy="249339"/>
          </a:xfrm>
          <a:prstGeom prst="rect">
            <a:avLst/>
          </a:prstGeom>
          <a:noFill/>
          <a:ln w="9525">
            <a:noFill/>
            <a:miter lim="800000"/>
            <a:headEnd/>
            <a:tailEnd/>
          </a:ln>
        </p:spPr>
        <p:txBody>
          <a:bodyPr wrap="none" lIns="91320" tIns="45661" rIns="91320" bIns="45661">
            <a:spAutoFit/>
          </a:bodyPr>
          <a:lstStyle/>
          <a:p>
            <a:r>
              <a:rPr lang="en-US" altLang="ko-KR" sz="1000" b="1" dirty="0">
                <a:latin typeface="Arial" pitchFamily="34" charset="0"/>
                <a:ea typeface="HY견고딕" pitchFamily="18" charset="-127"/>
              </a:rPr>
              <a:t>Total Researchers (person)</a:t>
            </a:r>
          </a:p>
        </p:txBody>
      </p:sp>
      <p:pic>
        <p:nvPicPr>
          <p:cNvPr id="7234" name="Picture 72" descr="1"/>
          <p:cNvPicPr>
            <a:picLocks noChangeAspect="1" noChangeArrowheads="1"/>
          </p:cNvPicPr>
          <p:nvPr/>
        </p:nvPicPr>
        <p:blipFill>
          <a:blip r:embed="rId14" cstate="print"/>
          <a:srcRect/>
          <a:stretch>
            <a:fillRect/>
          </a:stretch>
        </p:blipFill>
        <p:spPr bwMode="auto">
          <a:xfrm>
            <a:off x="1395427" y="6102362"/>
            <a:ext cx="185737" cy="234950"/>
          </a:xfrm>
          <a:prstGeom prst="rect">
            <a:avLst/>
          </a:prstGeom>
          <a:noFill/>
          <a:ln w="9525">
            <a:noFill/>
            <a:miter lim="800000"/>
            <a:headEnd/>
            <a:tailEnd/>
          </a:ln>
        </p:spPr>
      </p:pic>
      <p:pic>
        <p:nvPicPr>
          <p:cNvPr id="7235" name="Picture 115" descr="2"/>
          <p:cNvPicPr>
            <a:picLocks noChangeAspect="1" noChangeArrowheads="1"/>
          </p:cNvPicPr>
          <p:nvPr/>
        </p:nvPicPr>
        <p:blipFill>
          <a:blip r:embed="rId15" cstate="print"/>
          <a:srcRect/>
          <a:stretch>
            <a:fillRect/>
          </a:stretch>
        </p:blipFill>
        <p:spPr bwMode="auto">
          <a:xfrm>
            <a:off x="6372237" y="4714888"/>
            <a:ext cx="574675" cy="1141413"/>
          </a:xfrm>
          <a:prstGeom prst="rect">
            <a:avLst/>
          </a:prstGeom>
          <a:noFill/>
          <a:ln w="9525">
            <a:noFill/>
            <a:miter lim="800000"/>
            <a:headEnd/>
            <a:tailEnd/>
          </a:ln>
        </p:spPr>
      </p:pic>
      <p:pic>
        <p:nvPicPr>
          <p:cNvPr id="7236" name="Picture 116" descr="2"/>
          <p:cNvPicPr>
            <a:picLocks noChangeAspect="1" noChangeArrowheads="1"/>
          </p:cNvPicPr>
          <p:nvPr/>
        </p:nvPicPr>
        <p:blipFill>
          <a:blip r:embed="rId15" cstate="print"/>
          <a:srcRect/>
          <a:stretch>
            <a:fillRect/>
          </a:stretch>
        </p:blipFill>
        <p:spPr bwMode="auto">
          <a:xfrm>
            <a:off x="5003808" y="4857762"/>
            <a:ext cx="568325" cy="1035050"/>
          </a:xfrm>
          <a:prstGeom prst="rect">
            <a:avLst/>
          </a:prstGeom>
          <a:noFill/>
          <a:ln w="9525">
            <a:noFill/>
            <a:miter lim="800000"/>
            <a:headEnd/>
            <a:tailEnd/>
          </a:ln>
        </p:spPr>
      </p:pic>
      <p:pic>
        <p:nvPicPr>
          <p:cNvPr id="7237" name="Picture 121" descr="2"/>
          <p:cNvPicPr>
            <a:picLocks noChangeAspect="1" noChangeArrowheads="1"/>
          </p:cNvPicPr>
          <p:nvPr/>
        </p:nvPicPr>
        <p:blipFill>
          <a:blip r:embed="rId16" cstate="print"/>
          <a:srcRect/>
          <a:stretch>
            <a:fillRect/>
          </a:stretch>
        </p:blipFill>
        <p:spPr bwMode="auto">
          <a:xfrm>
            <a:off x="5332424" y="6096013"/>
            <a:ext cx="158750" cy="231775"/>
          </a:xfrm>
          <a:prstGeom prst="rect">
            <a:avLst/>
          </a:prstGeom>
          <a:noFill/>
          <a:ln w="9525">
            <a:noFill/>
            <a:miter lim="800000"/>
            <a:headEnd/>
            <a:tailEnd/>
          </a:ln>
        </p:spPr>
      </p:pic>
      <p:sp>
        <p:nvSpPr>
          <p:cNvPr id="7238" name="Text Box 130"/>
          <p:cNvSpPr txBox="1">
            <a:spLocks noChangeArrowheads="1"/>
          </p:cNvSpPr>
          <p:nvPr/>
        </p:nvSpPr>
        <p:spPr bwMode="auto">
          <a:xfrm>
            <a:off x="3784043" y="1926853"/>
            <a:ext cx="248466" cy="215444"/>
          </a:xfrm>
          <a:prstGeom prst="rect">
            <a:avLst/>
          </a:prstGeom>
          <a:noFill/>
          <a:ln w="9525">
            <a:noFill/>
            <a:miter lim="800000"/>
            <a:headEnd/>
            <a:tailEnd/>
          </a:ln>
        </p:spPr>
        <p:txBody>
          <a:bodyPr wrap="none" lIns="0" tIns="0" rIns="0" bIns="0" anchor="ctr">
            <a:spAutoFit/>
          </a:bodyPr>
          <a:lstStyle/>
          <a:p>
            <a:r>
              <a:rPr lang="en-US" altLang="ko-KR" sz="1400" b="1" dirty="0">
                <a:solidFill>
                  <a:srgbClr val="663300"/>
                </a:solidFill>
                <a:latin typeface="Arial" pitchFamily="34" charset="0"/>
                <a:ea typeface="HY견고딕" pitchFamily="18" charset="-127"/>
              </a:rPr>
              <a:t>4.7</a:t>
            </a:r>
          </a:p>
        </p:txBody>
      </p:sp>
      <p:pic>
        <p:nvPicPr>
          <p:cNvPr id="7239" name="Picture 132" descr="1"/>
          <p:cNvPicPr>
            <a:picLocks noChangeAspect="1" noChangeArrowheads="1"/>
          </p:cNvPicPr>
          <p:nvPr/>
        </p:nvPicPr>
        <p:blipFill>
          <a:blip r:embed="rId17" cstate="print"/>
          <a:srcRect/>
          <a:stretch>
            <a:fillRect/>
          </a:stretch>
        </p:blipFill>
        <p:spPr bwMode="auto">
          <a:xfrm>
            <a:off x="349263" y="1239846"/>
            <a:ext cx="4048125" cy="212725"/>
          </a:xfrm>
          <a:prstGeom prst="rect">
            <a:avLst/>
          </a:prstGeom>
          <a:noFill/>
          <a:ln w="9525">
            <a:noFill/>
            <a:miter lim="800000"/>
            <a:headEnd/>
            <a:tailEnd/>
          </a:ln>
        </p:spPr>
      </p:pic>
      <p:pic>
        <p:nvPicPr>
          <p:cNvPr id="7240" name="Picture 133" descr="1"/>
          <p:cNvPicPr>
            <a:picLocks noChangeAspect="1" noChangeArrowheads="1"/>
          </p:cNvPicPr>
          <p:nvPr/>
        </p:nvPicPr>
        <p:blipFill>
          <a:blip r:embed="rId17" cstate="print"/>
          <a:srcRect/>
          <a:stretch>
            <a:fillRect/>
          </a:stretch>
        </p:blipFill>
        <p:spPr bwMode="auto">
          <a:xfrm>
            <a:off x="4730763" y="1239846"/>
            <a:ext cx="4048125" cy="212725"/>
          </a:xfrm>
          <a:prstGeom prst="rect">
            <a:avLst/>
          </a:prstGeom>
          <a:noFill/>
          <a:ln w="9525">
            <a:noFill/>
            <a:miter lim="800000"/>
            <a:headEnd/>
            <a:tailEnd/>
          </a:ln>
        </p:spPr>
      </p:pic>
      <p:pic>
        <p:nvPicPr>
          <p:cNvPr id="7241" name="Picture 134" descr="1"/>
          <p:cNvPicPr>
            <a:picLocks noChangeAspect="1" noChangeArrowheads="1"/>
          </p:cNvPicPr>
          <p:nvPr/>
        </p:nvPicPr>
        <p:blipFill>
          <a:blip r:embed="rId17" cstate="print"/>
          <a:srcRect/>
          <a:stretch>
            <a:fillRect/>
          </a:stretch>
        </p:blipFill>
        <p:spPr bwMode="auto">
          <a:xfrm>
            <a:off x="349263" y="3963999"/>
            <a:ext cx="4048125" cy="212725"/>
          </a:xfrm>
          <a:prstGeom prst="rect">
            <a:avLst/>
          </a:prstGeom>
          <a:noFill/>
          <a:ln w="9525">
            <a:noFill/>
            <a:miter lim="800000"/>
            <a:headEnd/>
            <a:tailEnd/>
          </a:ln>
        </p:spPr>
      </p:pic>
      <p:sp>
        <p:nvSpPr>
          <p:cNvPr id="7242" name="TextBox 1"/>
          <p:cNvSpPr txBox="1">
            <a:spLocks noChangeArrowheads="1"/>
          </p:cNvSpPr>
          <p:nvPr/>
        </p:nvSpPr>
        <p:spPr bwMode="auto">
          <a:xfrm>
            <a:off x="647706" y="3141664"/>
            <a:ext cx="3563938" cy="369213"/>
          </a:xfrm>
          <a:prstGeom prst="rect">
            <a:avLst/>
          </a:prstGeom>
          <a:noFill/>
          <a:ln w="9525">
            <a:noFill/>
            <a:miter lim="800000"/>
            <a:headEnd/>
            <a:tailEnd/>
          </a:ln>
        </p:spPr>
        <p:txBody>
          <a:bodyPr lIns="91320" tIns="45661" rIns="91320" bIns="45661">
            <a:spAutoFit/>
          </a:bodyPr>
          <a:lstStyle/>
          <a:p>
            <a:pPr algn="l"/>
            <a:r>
              <a:rPr lang="en-US" b="1">
                <a:latin typeface="Arial" pitchFamily="34" charset="0"/>
                <a:cs typeface="Arial" pitchFamily="34" charset="0"/>
              </a:rPr>
              <a:t>2006	        2008          2010</a:t>
            </a:r>
          </a:p>
        </p:txBody>
      </p:sp>
      <p:cxnSp>
        <p:nvCxnSpPr>
          <p:cNvPr id="20554" name="Straight Connector 6"/>
          <p:cNvCxnSpPr>
            <a:cxnSpLocks noChangeShapeType="1"/>
          </p:cNvCxnSpPr>
          <p:nvPr/>
        </p:nvCxnSpPr>
        <p:spPr bwMode="auto">
          <a:xfrm flipV="1">
            <a:off x="1287463" y="2243138"/>
            <a:ext cx="855662" cy="101600"/>
          </a:xfrm>
          <a:prstGeom prst="line">
            <a:avLst/>
          </a:prstGeom>
          <a:noFill/>
          <a:ln w="25400">
            <a:solidFill>
              <a:schemeClr val="accent2"/>
            </a:solidFill>
            <a:round/>
            <a:headEnd/>
            <a:tailEnd/>
          </a:ln>
          <a:effectLst>
            <a:outerShdw dist="20000" dir="5400000" rotWithShape="0">
              <a:srgbClr val="808080">
                <a:alpha val="37999"/>
              </a:srgbClr>
            </a:outerShdw>
          </a:effectLst>
        </p:spPr>
      </p:cxnSp>
      <p:pic>
        <p:nvPicPr>
          <p:cNvPr id="7244" name="Picture 98" descr="002"/>
          <p:cNvPicPr>
            <a:picLocks noChangeAspect="1" noChangeArrowheads="1"/>
          </p:cNvPicPr>
          <p:nvPr/>
        </p:nvPicPr>
        <p:blipFill>
          <a:blip r:embed="rId13" cstate="print"/>
          <a:srcRect/>
          <a:stretch>
            <a:fillRect/>
          </a:stretch>
        </p:blipFill>
        <p:spPr bwMode="auto">
          <a:xfrm>
            <a:off x="1008063" y="2230447"/>
            <a:ext cx="260350" cy="227012"/>
          </a:xfrm>
          <a:prstGeom prst="rect">
            <a:avLst/>
          </a:prstGeom>
          <a:noFill/>
          <a:ln w="9525">
            <a:noFill/>
            <a:miter lim="800000"/>
            <a:headEnd/>
            <a:tailEnd/>
          </a:ln>
        </p:spPr>
      </p:pic>
      <p:pic>
        <p:nvPicPr>
          <p:cNvPr id="7245" name="Picture 99" descr="002"/>
          <p:cNvPicPr>
            <a:picLocks noChangeAspect="1" noChangeArrowheads="1"/>
          </p:cNvPicPr>
          <p:nvPr/>
        </p:nvPicPr>
        <p:blipFill>
          <a:blip r:embed="rId13" cstate="print"/>
          <a:srcRect/>
          <a:stretch>
            <a:fillRect/>
          </a:stretch>
        </p:blipFill>
        <p:spPr bwMode="auto">
          <a:xfrm>
            <a:off x="2124075" y="2128839"/>
            <a:ext cx="260350" cy="228600"/>
          </a:xfrm>
          <a:prstGeom prst="rect">
            <a:avLst/>
          </a:prstGeom>
          <a:noFill/>
          <a:ln w="9525">
            <a:noFill/>
            <a:miter lim="800000"/>
            <a:headEnd/>
            <a:tailEnd/>
          </a:ln>
        </p:spPr>
      </p:pic>
      <p:cxnSp>
        <p:nvCxnSpPr>
          <p:cNvPr id="20557" name="Straight Connector 97"/>
          <p:cNvCxnSpPr>
            <a:cxnSpLocks noChangeShapeType="1"/>
          </p:cNvCxnSpPr>
          <p:nvPr/>
        </p:nvCxnSpPr>
        <p:spPr bwMode="auto">
          <a:xfrm flipV="1">
            <a:off x="2312988" y="1943113"/>
            <a:ext cx="1116012" cy="271463"/>
          </a:xfrm>
          <a:prstGeom prst="line">
            <a:avLst/>
          </a:prstGeom>
          <a:noFill/>
          <a:ln w="25400">
            <a:solidFill>
              <a:schemeClr val="accent2"/>
            </a:solidFill>
            <a:round/>
            <a:headEnd/>
            <a:tailEnd/>
          </a:ln>
          <a:effectLst>
            <a:outerShdw dist="20000" dir="5400000" rotWithShape="0">
              <a:srgbClr val="808080">
                <a:alpha val="37999"/>
              </a:srgbClr>
            </a:outerShdw>
          </a:effectLst>
        </p:spPr>
      </p:cxnSp>
      <p:pic>
        <p:nvPicPr>
          <p:cNvPr id="7247" name="Picture 99" descr="002"/>
          <p:cNvPicPr>
            <a:picLocks noChangeAspect="1" noChangeArrowheads="1"/>
          </p:cNvPicPr>
          <p:nvPr/>
        </p:nvPicPr>
        <p:blipFill>
          <a:blip r:embed="rId13" cstate="print"/>
          <a:srcRect/>
          <a:stretch>
            <a:fillRect/>
          </a:stretch>
        </p:blipFill>
        <p:spPr bwMode="auto">
          <a:xfrm>
            <a:off x="3382963" y="1843099"/>
            <a:ext cx="260350" cy="228600"/>
          </a:xfrm>
          <a:prstGeom prst="rect">
            <a:avLst/>
          </a:prstGeom>
          <a:noFill/>
          <a:ln w="9525">
            <a:noFill/>
            <a:miter lim="800000"/>
            <a:headEnd/>
            <a:tailEnd/>
          </a:ln>
        </p:spPr>
      </p:pic>
      <p:sp>
        <p:nvSpPr>
          <p:cNvPr id="7248" name="TextBox 90"/>
          <p:cNvSpPr txBox="1">
            <a:spLocks noChangeArrowheads="1"/>
          </p:cNvSpPr>
          <p:nvPr/>
        </p:nvSpPr>
        <p:spPr bwMode="auto">
          <a:xfrm>
            <a:off x="5003800" y="3141664"/>
            <a:ext cx="3563938" cy="369213"/>
          </a:xfrm>
          <a:prstGeom prst="rect">
            <a:avLst/>
          </a:prstGeom>
          <a:noFill/>
          <a:ln w="9525">
            <a:noFill/>
            <a:miter lim="800000"/>
            <a:headEnd/>
            <a:tailEnd/>
          </a:ln>
        </p:spPr>
        <p:txBody>
          <a:bodyPr lIns="91320" tIns="45661" rIns="91320" bIns="45661">
            <a:spAutoFit/>
          </a:bodyPr>
          <a:lstStyle/>
          <a:p>
            <a:pPr algn="l"/>
            <a:r>
              <a:rPr lang="en-US" b="1">
                <a:latin typeface="Arial" pitchFamily="34" charset="0"/>
                <a:cs typeface="Arial" pitchFamily="34" charset="0"/>
              </a:rPr>
              <a:t>2006	        2008          2010</a:t>
            </a:r>
          </a:p>
        </p:txBody>
      </p:sp>
      <p:sp>
        <p:nvSpPr>
          <p:cNvPr id="7249" name="TextBox 91"/>
          <p:cNvSpPr txBox="1">
            <a:spLocks noChangeArrowheads="1"/>
          </p:cNvSpPr>
          <p:nvPr/>
        </p:nvSpPr>
        <p:spPr bwMode="auto">
          <a:xfrm>
            <a:off x="539761" y="5805488"/>
            <a:ext cx="3563938" cy="369213"/>
          </a:xfrm>
          <a:prstGeom prst="rect">
            <a:avLst/>
          </a:prstGeom>
          <a:noFill/>
          <a:ln w="9525">
            <a:noFill/>
            <a:miter lim="800000"/>
            <a:headEnd/>
            <a:tailEnd/>
          </a:ln>
        </p:spPr>
        <p:txBody>
          <a:bodyPr lIns="91320" tIns="45661" rIns="91320" bIns="45661">
            <a:spAutoFit/>
          </a:bodyPr>
          <a:lstStyle/>
          <a:p>
            <a:pPr algn="l"/>
            <a:r>
              <a:rPr lang="en-US" sz="1200" b="1" dirty="0">
                <a:latin typeface="Arial" pitchFamily="34" charset="0"/>
                <a:cs typeface="Arial" pitchFamily="34" charset="0"/>
              </a:rPr>
              <a:t>2005-2006</a:t>
            </a:r>
            <a:r>
              <a:rPr lang="en-US" b="1" dirty="0">
                <a:latin typeface="Arial" pitchFamily="34" charset="0"/>
                <a:cs typeface="Arial" pitchFamily="34" charset="0"/>
              </a:rPr>
              <a:t>	        </a:t>
            </a:r>
            <a:r>
              <a:rPr lang="en-US" sz="1200" b="1" dirty="0">
                <a:latin typeface="Arial" pitchFamily="34" charset="0"/>
                <a:cs typeface="Arial" pitchFamily="34" charset="0"/>
              </a:rPr>
              <a:t>2007-2008          2009/2010</a:t>
            </a:r>
            <a:endParaRPr lang="en-US" b="1" dirty="0">
              <a:latin typeface="Arial" pitchFamily="34" charset="0"/>
              <a:cs typeface="Arial" pitchFamily="34" charset="0"/>
            </a:endParaRPr>
          </a:p>
        </p:txBody>
      </p:sp>
      <p:sp>
        <p:nvSpPr>
          <p:cNvPr id="7250" name="TextBox 91"/>
          <p:cNvSpPr txBox="1">
            <a:spLocks noChangeArrowheads="1"/>
          </p:cNvSpPr>
          <p:nvPr/>
        </p:nvSpPr>
        <p:spPr bwMode="auto">
          <a:xfrm>
            <a:off x="4857750" y="5715001"/>
            <a:ext cx="3563938" cy="369213"/>
          </a:xfrm>
          <a:prstGeom prst="rect">
            <a:avLst/>
          </a:prstGeom>
          <a:noFill/>
          <a:ln w="9525">
            <a:noFill/>
            <a:miter lim="800000"/>
            <a:headEnd/>
            <a:tailEnd/>
          </a:ln>
        </p:spPr>
        <p:txBody>
          <a:bodyPr lIns="91320" tIns="45661" rIns="91320" bIns="45661">
            <a:spAutoFit/>
          </a:bodyPr>
          <a:lstStyle/>
          <a:p>
            <a:pPr algn="l"/>
            <a:r>
              <a:rPr lang="en-US" sz="1200" b="1" dirty="0">
                <a:latin typeface="Arial" pitchFamily="34" charset="0"/>
                <a:cs typeface="Arial" pitchFamily="34" charset="0"/>
              </a:rPr>
              <a:t>2005-2006</a:t>
            </a:r>
            <a:r>
              <a:rPr lang="en-US" b="1" dirty="0">
                <a:latin typeface="Arial" pitchFamily="34" charset="0"/>
                <a:cs typeface="Arial" pitchFamily="34" charset="0"/>
              </a:rPr>
              <a:t>	        </a:t>
            </a:r>
            <a:r>
              <a:rPr lang="en-US" sz="1200" b="1" dirty="0">
                <a:latin typeface="Arial" pitchFamily="34" charset="0"/>
                <a:cs typeface="Arial" pitchFamily="34" charset="0"/>
              </a:rPr>
              <a:t>2007-2008          2009/2010</a:t>
            </a:r>
            <a:endParaRPr lang="en-US" b="1" dirty="0">
              <a:latin typeface="Arial" pitchFamily="34" charset="0"/>
              <a:cs typeface="Arial" pitchFamily="34" charset="0"/>
            </a:endParaRPr>
          </a:p>
        </p:txBody>
      </p:sp>
      <p:pic>
        <p:nvPicPr>
          <p:cNvPr id="7251" name="Picture 116" descr="2"/>
          <p:cNvPicPr>
            <a:picLocks noChangeAspect="1" noChangeArrowheads="1"/>
          </p:cNvPicPr>
          <p:nvPr/>
        </p:nvPicPr>
        <p:blipFill>
          <a:blip r:embed="rId15" cstate="print"/>
          <a:srcRect/>
          <a:stretch>
            <a:fillRect/>
          </a:stretch>
        </p:blipFill>
        <p:spPr bwMode="auto">
          <a:xfrm>
            <a:off x="7643815" y="4857752"/>
            <a:ext cx="568325" cy="963613"/>
          </a:xfrm>
          <a:prstGeom prst="rect">
            <a:avLst/>
          </a:prstGeom>
          <a:noFill/>
          <a:ln w="9525">
            <a:noFill/>
            <a:miter lim="800000"/>
            <a:headEnd/>
            <a:tailEnd/>
          </a:ln>
        </p:spPr>
      </p:pic>
    </p:spTree>
  </p:cSld>
  <p:clrMapOvr>
    <a:masterClrMapping/>
  </p:clrMapOvr>
  <p:transition>
    <p:zoom/>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Number Placeholder 1"/>
          <p:cNvSpPr>
            <a:spLocks noGrp="1"/>
          </p:cNvSpPr>
          <p:nvPr>
            <p:ph type="sldNum" sz="quarter" idx="10"/>
          </p:nvPr>
        </p:nvSpPr>
        <p:spPr>
          <a:noFill/>
        </p:spPr>
        <p:txBody>
          <a:bodyPr/>
          <a:lstStyle/>
          <a:p>
            <a:fld id="{6EFBE0E6-1C1D-4C55-A9FA-678B75553B9A}" type="slidenum">
              <a:rPr lang="en-US" altLang="ko-KR" smtClean="0">
                <a:solidFill>
                  <a:srgbClr val="FFFFFF"/>
                </a:solidFill>
                <a:ea typeface="Gulim" pitchFamily="34" charset="-127"/>
              </a:rPr>
              <a:pPr/>
              <a:t>11</a:t>
            </a:fld>
            <a:endParaRPr lang="en-US" altLang="ko-KR" smtClean="0">
              <a:solidFill>
                <a:srgbClr val="FFFFFF"/>
              </a:solidFill>
              <a:ea typeface="Gulim" pitchFamily="34" charset="-127"/>
            </a:endParaRPr>
          </a:p>
        </p:txBody>
      </p:sp>
      <p:sp>
        <p:nvSpPr>
          <p:cNvPr id="58370" name="AutoShape 150"/>
          <p:cNvSpPr>
            <a:spLocks noChangeArrowheads="1"/>
          </p:cNvSpPr>
          <p:nvPr/>
        </p:nvSpPr>
        <p:spPr bwMode="auto">
          <a:xfrm>
            <a:off x="468325" y="1125538"/>
            <a:ext cx="8351837" cy="5327650"/>
          </a:xfrm>
          <a:prstGeom prst="roundRect">
            <a:avLst>
              <a:gd name="adj" fmla="val 2185"/>
            </a:avLst>
          </a:prstGeom>
          <a:solidFill>
            <a:srgbClr val="BADDE1"/>
          </a:solidFill>
          <a:ln w="6350">
            <a:solidFill>
              <a:schemeClr val="bg1"/>
            </a:solidFill>
            <a:round/>
            <a:headEnd/>
            <a:tailEnd/>
          </a:ln>
          <a:effectLst>
            <a:outerShdw dist="35921" dir="2700000" algn="ctr" rotWithShape="0">
              <a:srgbClr val="003300"/>
            </a:outerShdw>
          </a:effectLst>
        </p:spPr>
        <p:txBody>
          <a:bodyPr wrap="none" lIns="305597" tIns="45661" rIns="91320" bIns="45661" anchor="ctr"/>
          <a:lstStyle/>
          <a:p>
            <a:pPr fontAlgn="auto">
              <a:spcBef>
                <a:spcPts val="0"/>
              </a:spcBef>
              <a:spcAft>
                <a:spcPts val="0"/>
              </a:spcAft>
            </a:pPr>
            <a:endParaRPr lang="ko-KR" altLang="en-US">
              <a:solidFill>
                <a:srgbClr val="000000"/>
              </a:solidFill>
              <a:latin typeface="굴림"/>
            </a:endParaRPr>
          </a:p>
        </p:txBody>
      </p:sp>
      <p:sp>
        <p:nvSpPr>
          <p:cNvPr id="36868" name="AutoShape 151"/>
          <p:cNvSpPr>
            <a:spLocks noChangeArrowheads="1"/>
          </p:cNvSpPr>
          <p:nvPr/>
        </p:nvSpPr>
        <p:spPr bwMode="auto">
          <a:xfrm>
            <a:off x="693738" y="1677989"/>
            <a:ext cx="7910512" cy="4679950"/>
          </a:xfrm>
          <a:prstGeom prst="roundRect">
            <a:avLst>
              <a:gd name="adj" fmla="val 2426"/>
            </a:avLst>
          </a:prstGeom>
          <a:solidFill>
            <a:schemeClr val="bg1"/>
          </a:solidFill>
          <a:ln w="6350">
            <a:solidFill>
              <a:srgbClr val="B2B2B2"/>
            </a:solidFill>
            <a:round/>
            <a:headEnd/>
            <a:tailEnd/>
          </a:ln>
        </p:spPr>
        <p:txBody>
          <a:bodyPr wrap="none" lIns="305597" tIns="45661" rIns="91320" bIns="45661" anchor="ctr"/>
          <a:lstStyle/>
          <a:p>
            <a:pPr fontAlgn="auto">
              <a:spcBef>
                <a:spcPts val="0"/>
              </a:spcBef>
              <a:spcAft>
                <a:spcPts val="0"/>
              </a:spcAft>
            </a:pPr>
            <a:endParaRPr lang="ko-KR" altLang="en-US">
              <a:solidFill>
                <a:srgbClr val="000000"/>
              </a:solidFill>
              <a:latin typeface="굴림"/>
            </a:endParaRPr>
          </a:p>
        </p:txBody>
      </p:sp>
      <p:pic>
        <p:nvPicPr>
          <p:cNvPr id="36869" name="Picture 148" descr="065"/>
          <p:cNvPicPr>
            <a:picLocks noChangeAspect="1" noChangeArrowheads="1"/>
          </p:cNvPicPr>
          <p:nvPr/>
        </p:nvPicPr>
        <p:blipFill>
          <a:blip r:embed="rId2" cstate="print">
            <a:lum bright="18000" contrast="24000"/>
            <a:grayscl/>
          </a:blip>
          <a:srcRect t="76198"/>
          <a:stretch>
            <a:fillRect/>
          </a:stretch>
        </p:blipFill>
        <p:spPr bwMode="auto">
          <a:xfrm>
            <a:off x="611199" y="4724413"/>
            <a:ext cx="8532813" cy="885825"/>
          </a:xfrm>
          <a:prstGeom prst="rect">
            <a:avLst/>
          </a:prstGeom>
          <a:noFill/>
          <a:ln w="9525">
            <a:noFill/>
            <a:miter lim="800000"/>
            <a:headEnd/>
            <a:tailEnd/>
          </a:ln>
        </p:spPr>
      </p:pic>
      <p:sp>
        <p:nvSpPr>
          <p:cNvPr id="36870" name="Line 27"/>
          <p:cNvSpPr>
            <a:spLocks noChangeShapeType="1"/>
          </p:cNvSpPr>
          <p:nvPr/>
        </p:nvSpPr>
        <p:spPr bwMode="auto">
          <a:xfrm flipV="1">
            <a:off x="1403362" y="4868875"/>
            <a:ext cx="6481763" cy="73025"/>
          </a:xfrm>
          <a:prstGeom prst="line">
            <a:avLst/>
          </a:prstGeom>
          <a:noFill/>
          <a:ln w="12700">
            <a:solidFill>
              <a:srgbClr val="1DC4FF">
                <a:alpha val="50195"/>
              </a:srgbClr>
            </a:solidFill>
            <a:prstDash val="sysDot"/>
            <a:round/>
            <a:headEnd/>
            <a:tailEnd/>
          </a:ln>
        </p:spPr>
        <p:txBody>
          <a:bodyPr lIns="91320" tIns="45661" rIns="91320" bIns="45661"/>
          <a:lstStyle/>
          <a:p>
            <a:pPr fontAlgn="auto">
              <a:spcBef>
                <a:spcPts val="0"/>
              </a:spcBef>
              <a:spcAft>
                <a:spcPts val="0"/>
              </a:spcAft>
            </a:pPr>
            <a:endParaRPr lang="ar-SA">
              <a:solidFill>
                <a:srgbClr val="000000"/>
              </a:solidFill>
              <a:latin typeface="굴림"/>
            </a:endParaRPr>
          </a:p>
        </p:txBody>
      </p:sp>
      <p:sp>
        <p:nvSpPr>
          <p:cNvPr id="36871" name="Text Box 32"/>
          <p:cNvSpPr txBox="1">
            <a:spLocks noChangeAspect="1" noChangeArrowheads="1"/>
          </p:cNvSpPr>
          <p:nvPr/>
        </p:nvSpPr>
        <p:spPr bwMode="auto">
          <a:xfrm>
            <a:off x="468313" y="3357576"/>
            <a:ext cx="1206500" cy="217487"/>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500" b="1" dirty="0">
                <a:solidFill>
                  <a:srgbClr val="000000"/>
                </a:solidFill>
                <a:ea typeface="HY견고딕" pitchFamily="18" charset="-127"/>
              </a:rPr>
              <a:t>0.7%</a:t>
            </a:r>
          </a:p>
        </p:txBody>
      </p:sp>
      <p:sp>
        <p:nvSpPr>
          <p:cNvPr id="36872" name="Text Box 22"/>
          <p:cNvSpPr txBox="1">
            <a:spLocks noChangeAspect="1" noChangeArrowheads="1"/>
          </p:cNvSpPr>
          <p:nvPr/>
        </p:nvSpPr>
        <p:spPr bwMode="auto">
          <a:xfrm>
            <a:off x="1187450" y="5157802"/>
            <a:ext cx="1125538" cy="217487"/>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400" b="1" dirty="0">
                <a:solidFill>
                  <a:srgbClr val="000000"/>
                </a:solidFill>
                <a:ea typeface="HY견고딕" pitchFamily="18" charset="-127"/>
              </a:rPr>
              <a:t>2011/2012</a:t>
            </a:r>
          </a:p>
        </p:txBody>
      </p:sp>
      <p:pic>
        <p:nvPicPr>
          <p:cNvPr id="36873" name="Picture 185" descr="044"/>
          <p:cNvPicPr>
            <a:picLocks noChangeAspect="1" noChangeArrowheads="1"/>
          </p:cNvPicPr>
          <p:nvPr/>
        </p:nvPicPr>
        <p:blipFill>
          <a:blip r:embed="rId3" cstate="print"/>
          <a:srcRect l="23212" t="2060" r="18953" b="41628"/>
          <a:stretch>
            <a:fillRect/>
          </a:stretch>
        </p:blipFill>
        <p:spPr bwMode="auto">
          <a:xfrm>
            <a:off x="1763725" y="4797436"/>
            <a:ext cx="657225" cy="165100"/>
          </a:xfrm>
          <a:prstGeom prst="rect">
            <a:avLst/>
          </a:prstGeom>
          <a:noFill/>
          <a:ln w="9525">
            <a:noFill/>
            <a:miter lim="800000"/>
            <a:headEnd/>
            <a:tailEnd/>
          </a:ln>
        </p:spPr>
      </p:pic>
      <p:pic>
        <p:nvPicPr>
          <p:cNvPr id="36874" name="Picture 186" descr="045"/>
          <p:cNvPicPr>
            <a:picLocks noChangeAspect="1" noChangeArrowheads="1"/>
          </p:cNvPicPr>
          <p:nvPr/>
        </p:nvPicPr>
        <p:blipFill>
          <a:blip r:embed="rId4" cstate="print"/>
          <a:srcRect l="20256" t="20314" r="27660" b="15306"/>
          <a:stretch>
            <a:fillRect/>
          </a:stretch>
        </p:blipFill>
        <p:spPr bwMode="auto">
          <a:xfrm>
            <a:off x="1403363" y="3068651"/>
            <a:ext cx="542925" cy="1908175"/>
          </a:xfrm>
          <a:prstGeom prst="rect">
            <a:avLst/>
          </a:prstGeom>
          <a:noFill/>
          <a:ln w="9525">
            <a:noFill/>
            <a:miter lim="800000"/>
            <a:headEnd/>
            <a:tailEnd/>
          </a:ln>
        </p:spPr>
      </p:pic>
      <p:pic>
        <p:nvPicPr>
          <p:cNvPr id="36875" name="Picture 195" descr="1"/>
          <p:cNvPicPr>
            <a:picLocks noChangeAspect="1" noChangeArrowheads="1"/>
          </p:cNvPicPr>
          <p:nvPr/>
        </p:nvPicPr>
        <p:blipFill>
          <a:blip r:embed="rId5" cstate="print"/>
          <a:srcRect/>
          <a:stretch>
            <a:fillRect/>
          </a:stretch>
        </p:blipFill>
        <p:spPr bwMode="auto">
          <a:xfrm>
            <a:off x="755663" y="1196975"/>
            <a:ext cx="7561263" cy="393700"/>
          </a:xfrm>
          <a:prstGeom prst="rect">
            <a:avLst/>
          </a:prstGeom>
          <a:noFill/>
          <a:ln w="9525">
            <a:noFill/>
            <a:miter lim="800000"/>
            <a:headEnd/>
            <a:tailEnd/>
          </a:ln>
        </p:spPr>
      </p:pic>
      <p:sp>
        <p:nvSpPr>
          <p:cNvPr id="36876" name="Rectangle 86"/>
          <p:cNvSpPr>
            <a:spLocks noChangeArrowheads="1"/>
          </p:cNvSpPr>
          <p:nvPr/>
        </p:nvSpPr>
        <p:spPr bwMode="auto">
          <a:xfrm>
            <a:off x="1331926" y="1196987"/>
            <a:ext cx="6480175" cy="303213"/>
          </a:xfrm>
          <a:prstGeom prst="rect">
            <a:avLst/>
          </a:prstGeom>
          <a:noFill/>
          <a:ln w="9525">
            <a:noFill/>
            <a:miter lim="800000"/>
            <a:headEnd/>
            <a:tailEnd/>
          </a:ln>
        </p:spPr>
        <p:txBody>
          <a:bodyPr lIns="91320" tIns="45661" rIns="91320" bIns="45661">
            <a:spAutoFit/>
          </a:bodyPr>
          <a:lstStyle/>
          <a:p>
            <a:pPr fontAlgn="auto">
              <a:lnSpc>
                <a:spcPct val="90000"/>
              </a:lnSpc>
              <a:spcBef>
                <a:spcPts val="0"/>
              </a:spcBef>
              <a:spcAft>
                <a:spcPts val="0"/>
              </a:spcAft>
            </a:pPr>
            <a:r>
              <a:rPr lang="en-US" altLang="ko-KR" sz="1500" b="1" dirty="0">
                <a:solidFill>
                  <a:srgbClr val="000000"/>
                </a:solidFill>
              </a:rPr>
              <a:t>R&amp;D Expenditure in the Egyptian Landscape in 2011/2015</a:t>
            </a:r>
          </a:p>
        </p:txBody>
      </p:sp>
      <p:pic>
        <p:nvPicPr>
          <p:cNvPr id="36877" name="Picture 185" descr="044"/>
          <p:cNvPicPr>
            <a:picLocks noChangeAspect="1" noChangeArrowheads="1"/>
          </p:cNvPicPr>
          <p:nvPr/>
        </p:nvPicPr>
        <p:blipFill>
          <a:blip r:embed="rId3" cstate="print"/>
          <a:srcRect l="23212" t="2060" r="18953" b="41628"/>
          <a:stretch>
            <a:fillRect/>
          </a:stretch>
        </p:blipFill>
        <p:spPr bwMode="auto">
          <a:xfrm>
            <a:off x="3492512" y="4581526"/>
            <a:ext cx="657225" cy="309563"/>
          </a:xfrm>
          <a:prstGeom prst="rect">
            <a:avLst/>
          </a:prstGeom>
          <a:noFill/>
          <a:ln w="9525">
            <a:noFill/>
            <a:miter lim="800000"/>
            <a:headEnd/>
            <a:tailEnd/>
          </a:ln>
        </p:spPr>
      </p:pic>
      <p:pic>
        <p:nvPicPr>
          <p:cNvPr id="36878" name="Picture 186" descr="045"/>
          <p:cNvPicPr>
            <a:picLocks noChangeAspect="1" noChangeArrowheads="1"/>
          </p:cNvPicPr>
          <p:nvPr/>
        </p:nvPicPr>
        <p:blipFill>
          <a:blip r:embed="rId4" cstate="print"/>
          <a:srcRect l="20256" t="20314" r="27660" b="15306"/>
          <a:stretch>
            <a:fillRect/>
          </a:stretch>
        </p:blipFill>
        <p:spPr bwMode="auto">
          <a:xfrm>
            <a:off x="3132151" y="3213101"/>
            <a:ext cx="542925" cy="1692275"/>
          </a:xfrm>
          <a:prstGeom prst="rect">
            <a:avLst/>
          </a:prstGeom>
          <a:noFill/>
          <a:ln w="9525">
            <a:noFill/>
            <a:miter lim="800000"/>
            <a:headEnd/>
            <a:tailEnd/>
          </a:ln>
        </p:spPr>
      </p:pic>
      <p:pic>
        <p:nvPicPr>
          <p:cNvPr id="36879" name="Picture 185" descr="044"/>
          <p:cNvPicPr>
            <a:picLocks noChangeAspect="1" noChangeArrowheads="1"/>
          </p:cNvPicPr>
          <p:nvPr/>
        </p:nvPicPr>
        <p:blipFill>
          <a:blip r:embed="rId3" cstate="print"/>
          <a:srcRect l="23212" t="2060" r="18953" b="41628"/>
          <a:stretch>
            <a:fillRect/>
          </a:stretch>
        </p:blipFill>
        <p:spPr bwMode="auto">
          <a:xfrm>
            <a:off x="5148275" y="4437074"/>
            <a:ext cx="657225" cy="525462"/>
          </a:xfrm>
          <a:prstGeom prst="rect">
            <a:avLst/>
          </a:prstGeom>
          <a:noFill/>
          <a:ln w="9525">
            <a:noFill/>
            <a:miter lim="800000"/>
            <a:headEnd/>
            <a:tailEnd/>
          </a:ln>
        </p:spPr>
      </p:pic>
      <p:pic>
        <p:nvPicPr>
          <p:cNvPr id="36880" name="Picture 186" descr="045"/>
          <p:cNvPicPr>
            <a:picLocks noChangeAspect="1" noChangeArrowheads="1"/>
          </p:cNvPicPr>
          <p:nvPr/>
        </p:nvPicPr>
        <p:blipFill>
          <a:blip r:embed="rId4" cstate="print"/>
          <a:srcRect l="20256" t="20314" r="27660" b="15306"/>
          <a:stretch>
            <a:fillRect/>
          </a:stretch>
        </p:blipFill>
        <p:spPr bwMode="auto">
          <a:xfrm>
            <a:off x="4787912" y="3644902"/>
            <a:ext cx="542925" cy="1331913"/>
          </a:xfrm>
          <a:prstGeom prst="rect">
            <a:avLst/>
          </a:prstGeom>
          <a:noFill/>
          <a:ln w="9525">
            <a:noFill/>
            <a:miter lim="800000"/>
            <a:headEnd/>
            <a:tailEnd/>
          </a:ln>
        </p:spPr>
      </p:pic>
      <p:pic>
        <p:nvPicPr>
          <p:cNvPr id="36881" name="Picture 185" descr="044"/>
          <p:cNvPicPr>
            <a:picLocks noChangeAspect="1" noChangeArrowheads="1"/>
          </p:cNvPicPr>
          <p:nvPr/>
        </p:nvPicPr>
        <p:blipFill>
          <a:blip r:embed="rId3" cstate="print"/>
          <a:srcRect l="23212" t="2060" r="18953" b="41628"/>
          <a:stretch>
            <a:fillRect/>
          </a:stretch>
        </p:blipFill>
        <p:spPr bwMode="auto">
          <a:xfrm>
            <a:off x="6875476" y="4292614"/>
            <a:ext cx="657225" cy="669925"/>
          </a:xfrm>
          <a:prstGeom prst="rect">
            <a:avLst/>
          </a:prstGeom>
          <a:noFill/>
          <a:ln w="9525">
            <a:noFill/>
            <a:miter lim="800000"/>
            <a:headEnd/>
            <a:tailEnd/>
          </a:ln>
        </p:spPr>
      </p:pic>
      <p:pic>
        <p:nvPicPr>
          <p:cNvPr id="36882" name="Picture 186" descr="045"/>
          <p:cNvPicPr>
            <a:picLocks noChangeAspect="1" noChangeArrowheads="1"/>
          </p:cNvPicPr>
          <p:nvPr/>
        </p:nvPicPr>
        <p:blipFill>
          <a:blip r:embed="rId4" cstate="print"/>
          <a:srcRect l="20256" t="20314" r="27660" b="15306"/>
          <a:stretch>
            <a:fillRect/>
          </a:stretch>
        </p:blipFill>
        <p:spPr bwMode="auto">
          <a:xfrm>
            <a:off x="6516701" y="3860802"/>
            <a:ext cx="542925" cy="1116013"/>
          </a:xfrm>
          <a:prstGeom prst="rect">
            <a:avLst/>
          </a:prstGeom>
          <a:noFill/>
          <a:ln w="9525">
            <a:noFill/>
            <a:miter lim="800000"/>
            <a:headEnd/>
            <a:tailEnd/>
          </a:ln>
        </p:spPr>
      </p:pic>
      <p:sp>
        <p:nvSpPr>
          <p:cNvPr id="36883" name="Text Box 22"/>
          <p:cNvSpPr txBox="1">
            <a:spLocks noChangeAspect="1" noChangeArrowheads="1"/>
          </p:cNvSpPr>
          <p:nvPr/>
        </p:nvSpPr>
        <p:spPr bwMode="auto">
          <a:xfrm>
            <a:off x="3059126" y="5157802"/>
            <a:ext cx="1125537" cy="217487"/>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400" b="1" dirty="0">
                <a:solidFill>
                  <a:srgbClr val="000000"/>
                </a:solidFill>
                <a:ea typeface="HY견고딕" pitchFamily="18" charset="-127"/>
              </a:rPr>
              <a:t>2012/2013</a:t>
            </a:r>
          </a:p>
        </p:txBody>
      </p:sp>
      <p:sp>
        <p:nvSpPr>
          <p:cNvPr id="36884" name="Text Box 22"/>
          <p:cNvSpPr txBox="1">
            <a:spLocks noChangeAspect="1" noChangeArrowheads="1"/>
          </p:cNvSpPr>
          <p:nvPr/>
        </p:nvSpPr>
        <p:spPr bwMode="auto">
          <a:xfrm>
            <a:off x="4787900" y="5157802"/>
            <a:ext cx="1125538" cy="217487"/>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400" b="1" dirty="0">
                <a:solidFill>
                  <a:srgbClr val="000000"/>
                </a:solidFill>
                <a:ea typeface="HY견고딕" pitchFamily="18" charset="-127"/>
              </a:rPr>
              <a:t>2013/2014</a:t>
            </a:r>
          </a:p>
        </p:txBody>
      </p:sp>
      <p:sp>
        <p:nvSpPr>
          <p:cNvPr id="36885" name="Text Box 22"/>
          <p:cNvSpPr txBox="1">
            <a:spLocks noChangeAspect="1" noChangeArrowheads="1"/>
          </p:cNvSpPr>
          <p:nvPr/>
        </p:nvSpPr>
        <p:spPr bwMode="auto">
          <a:xfrm>
            <a:off x="6588126" y="5157802"/>
            <a:ext cx="1125538" cy="217487"/>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400" b="1" dirty="0">
                <a:solidFill>
                  <a:srgbClr val="000000"/>
                </a:solidFill>
                <a:ea typeface="HY견고딕" pitchFamily="18" charset="-127"/>
              </a:rPr>
              <a:t>2014/2015</a:t>
            </a:r>
          </a:p>
        </p:txBody>
      </p:sp>
      <p:sp>
        <p:nvSpPr>
          <p:cNvPr id="36886" name="Text Box 31"/>
          <p:cNvSpPr txBox="1">
            <a:spLocks noChangeAspect="1" noChangeArrowheads="1"/>
          </p:cNvSpPr>
          <p:nvPr/>
        </p:nvSpPr>
        <p:spPr bwMode="auto">
          <a:xfrm>
            <a:off x="1139833" y="3082938"/>
            <a:ext cx="1128713" cy="201613"/>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200" b="1" dirty="0">
                <a:solidFill>
                  <a:srgbClr val="000000"/>
                </a:solidFill>
                <a:ea typeface="HY견고딕" pitchFamily="18" charset="-127"/>
              </a:rPr>
              <a:t>89%</a:t>
            </a:r>
          </a:p>
        </p:txBody>
      </p:sp>
      <p:sp>
        <p:nvSpPr>
          <p:cNvPr id="36887" name="Text Box 31"/>
          <p:cNvSpPr txBox="1">
            <a:spLocks noChangeAspect="1" noChangeArrowheads="1"/>
          </p:cNvSpPr>
          <p:nvPr/>
        </p:nvSpPr>
        <p:spPr bwMode="auto">
          <a:xfrm>
            <a:off x="2843220" y="3357564"/>
            <a:ext cx="1128712" cy="201612"/>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200" b="1" dirty="0">
                <a:solidFill>
                  <a:srgbClr val="000000"/>
                </a:solidFill>
                <a:ea typeface="HY견고딕" pitchFamily="18" charset="-127"/>
              </a:rPr>
              <a:t>85%</a:t>
            </a:r>
          </a:p>
        </p:txBody>
      </p:sp>
      <p:sp>
        <p:nvSpPr>
          <p:cNvPr id="36888" name="Text Box 31"/>
          <p:cNvSpPr txBox="1">
            <a:spLocks noChangeAspect="1" noChangeArrowheads="1"/>
          </p:cNvSpPr>
          <p:nvPr/>
        </p:nvSpPr>
        <p:spPr bwMode="auto">
          <a:xfrm>
            <a:off x="4500570" y="3789363"/>
            <a:ext cx="1127125" cy="201612"/>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200" b="1" dirty="0">
                <a:solidFill>
                  <a:srgbClr val="000000"/>
                </a:solidFill>
                <a:ea typeface="HY견고딕" pitchFamily="18" charset="-127"/>
              </a:rPr>
              <a:t>80%</a:t>
            </a:r>
          </a:p>
        </p:txBody>
      </p:sp>
      <p:sp>
        <p:nvSpPr>
          <p:cNvPr id="36889" name="Text Box 31"/>
          <p:cNvSpPr txBox="1">
            <a:spLocks noChangeAspect="1" noChangeArrowheads="1"/>
          </p:cNvSpPr>
          <p:nvPr/>
        </p:nvSpPr>
        <p:spPr bwMode="auto">
          <a:xfrm>
            <a:off x="6227763" y="3933838"/>
            <a:ext cx="1128712" cy="201613"/>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200" b="1" dirty="0">
                <a:solidFill>
                  <a:srgbClr val="000000"/>
                </a:solidFill>
                <a:ea typeface="HY견고딕" pitchFamily="18" charset="-127"/>
              </a:rPr>
              <a:t>70%</a:t>
            </a:r>
          </a:p>
        </p:txBody>
      </p:sp>
      <p:sp>
        <p:nvSpPr>
          <p:cNvPr id="36890" name="Text Box 31"/>
          <p:cNvSpPr txBox="1">
            <a:spLocks noChangeAspect="1" noChangeArrowheads="1"/>
          </p:cNvSpPr>
          <p:nvPr/>
        </p:nvSpPr>
        <p:spPr bwMode="auto">
          <a:xfrm>
            <a:off x="1619262" y="4581537"/>
            <a:ext cx="1128713" cy="201613"/>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200" b="1" dirty="0">
                <a:solidFill>
                  <a:srgbClr val="000000"/>
                </a:solidFill>
                <a:ea typeface="HY견고딕" pitchFamily="18" charset="-127"/>
              </a:rPr>
              <a:t>11%</a:t>
            </a:r>
          </a:p>
        </p:txBody>
      </p:sp>
      <p:sp>
        <p:nvSpPr>
          <p:cNvPr id="36891" name="Text Box 31"/>
          <p:cNvSpPr txBox="1">
            <a:spLocks noChangeAspect="1" noChangeArrowheads="1"/>
          </p:cNvSpPr>
          <p:nvPr/>
        </p:nvSpPr>
        <p:spPr bwMode="auto">
          <a:xfrm>
            <a:off x="3276601" y="4365637"/>
            <a:ext cx="1127125" cy="201613"/>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200" b="1" dirty="0">
                <a:solidFill>
                  <a:srgbClr val="000000"/>
                </a:solidFill>
                <a:ea typeface="HY견고딕" pitchFamily="18" charset="-127"/>
              </a:rPr>
              <a:t>15%</a:t>
            </a:r>
          </a:p>
        </p:txBody>
      </p:sp>
      <p:sp>
        <p:nvSpPr>
          <p:cNvPr id="36892" name="Text Box 31"/>
          <p:cNvSpPr txBox="1">
            <a:spLocks noChangeAspect="1" noChangeArrowheads="1"/>
          </p:cNvSpPr>
          <p:nvPr/>
        </p:nvSpPr>
        <p:spPr bwMode="auto">
          <a:xfrm>
            <a:off x="5003801" y="4221163"/>
            <a:ext cx="1127125" cy="201612"/>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200" b="1" dirty="0">
                <a:solidFill>
                  <a:srgbClr val="000000"/>
                </a:solidFill>
                <a:ea typeface="HY견고딕" pitchFamily="18" charset="-127"/>
              </a:rPr>
              <a:t>20%</a:t>
            </a:r>
          </a:p>
        </p:txBody>
      </p:sp>
      <p:sp>
        <p:nvSpPr>
          <p:cNvPr id="36893" name="Text Box 31"/>
          <p:cNvSpPr txBox="1">
            <a:spLocks noChangeAspect="1" noChangeArrowheads="1"/>
          </p:cNvSpPr>
          <p:nvPr/>
        </p:nvSpPr>
        <p:spPr bwMode="auto">
          <a:xfrm>
            <a:off x="6732601" y="4149738"/>
            <a:ext cx="1127125" cy="201613"/>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200" b="1" dirty="0">
                <a:solidFill>
                  <a:srgbClr val="000000"/>
                </a:solidFill>
                <a:ea typeface="HY견고딕" pitchFamily="18" charset="-127"/>
              </a:rPr>
              <a:t>30%</a:t>
            </a:r>
          </a:p>
        </p:txBody>
      </p:sp>
      <p:cxnSp>
        <p:nvCxnSpPr>
          <p:cNvPr id="36894" name="Straight Connector 32"/>
          <p:cNvCxnSpPr>
            <a:cxnSpLocks noChangeShapeType="1"/>
          </p:cNvCxnSpPr>
          <p:nvPr/>
        </p:nvCxnSpPr>
        <p:spPr bwMode="auto">
          <a:xfrm flipV="1">
            <a:off x="1619264" y="2205039"/>
            <a:ext cx="5616575" cy="1295400"/>
          </a:xfrm>
          <a:prstGeom prst="line">
            <a:avLst/>
          </a:prstGeom>
          <a:noFill/>
          <a:ln w="9525">
            <a:solidFill>
              <a:srgbClr val="000000"/>
            </a:solidFill>
            <a:round/>
            <a:headEnd/>
            <a:tailEnd/>
          </a:ln>
        </p:spPr>
      </p:cxnSp>
      <p:sp>
        <p:nvSpPr>
          <p:cNvPr id="36895" name="Oval 33"/>
          <p:cNvSpPr>
            <a:spLocks noChangeArrowheads="1"/>
          </p:cNvSpPr>
          <p:nvPr/>
        </p:nvSpPr>
        <p:spPr bwMode="auto">
          <a:xfrm>
            <a:off x="3635387" y="2924187"/>
            <a:ext cx="144463" cy="144463"/>
          </a:xfrm>
          <a:prstGeom prst="ellipse">
            <a:avLst/>
          </a:prstGeom>
          <a:solidFill>
            <a:srgbClr val="FF0000"/>
          </a:solidFill>
          <a:ln w="9525">
            <a:solidFill>
              <a:srgbClr val="000000"/>
            </a:solidFill>
            <a:round/>
            <a:headEnd/>
            <a:tailEnd/>
          </a:ln>
        </p:spPr>
        <p:txBody>
          <a:bodyPr lIns="91320" tIns="45661" rIns="91320" bIns="45661"/>
          <a:lstStyle/>
          <a:p>
            <a:pPr fontAlgn="auto">
              <a:spcBef>
                <a:spcPts val="0"/>
              </a:spcBef>
              <a:spcAft>
                <a:spcPts val="0"/>
              </a:spcAft>
            </a:pPr>
            <a:endParaRPr lang="en-US">
              <a:solidFill>
                <a:srgbClr val="000000"/>
              </a:solidFill>
              <a:latin typeface="굴림"/>
            </a:endParaRPr>
          </a:p>
        </p:txBody>
      </p:sp>
      <p:sp>
        <p:nvSpPr>
          <p:cNvPr id="36896" name="Oval 34"/>
          <p:cNvSpPr>
            <a:spLocks noChangeArrowheads="1"/>
          </p:cNvSpPr>
          <p:nvPr/>
        </p:nvSpPr>
        <p:spPr bwMode="auto">
          <a:xfrm>
            <a:off x="1547814" y="3429012"/>
            <a:ext cx="144462" cy="144463"/>
          </a:xfrm>
          <a:prstGeom prst="ellipse">
            <a:avLst/>
          </a:prstGeom>
          <a:solidFill>
            <a:srgbClr val="FF0000"/>
          </a:solidFill>
          <a:ln w="9525">
            <a:solidFill>
              <a:srgbClr val="000000"/>
            </a:solidFill>
            <a:round/>
            <a:headEnd/>
            <a:tailEnd/>
          </a:ln>
        </p:spPr>
        <p:txBody>
          <a:bodyPr lIns="91320" tIns="45661" rIns="91320" bIns="45661"/>
          <a:lstStyle/>
          <a:p>
            <a:pPr fontAlgn="auto">
              <a:spcBef>
                <a:spcPts val="0"/>
              </a:spcBef>
              <a:spcAft>
                <a:spcPts val="0"/>
              </a:spcAft>
            </a:pPr>
            <a:endParaRPr lang="en-US">
              <a:solidFill>
                <a:srgbClr val="000000"/>
              </a:solidFill>
              <a:latin typeface="굴림"/>
            </a:endParaRPr>
          </a:p>
        </p:txBody>
      </p:sp>
      <p:sp>
        <p:nvSpPr>
          <p:cNvPr id="36897" name="Oval 35"/>
          <p:cNvSpPr>
            <a:spLocks noChangeArrowheads="1"/>
          </p:cNvSpPr>
          <p:nvPr/>
        </p:nvSpPr>
        <p:spPr bwMode="auto">
          <a:xfrm>
            <a:off x="5292726" y="2565412"/>
            <a:ext cx="142875" cy="142875"/>
          </a:xfrm>
          <a:prstGeom prst="ellipse">
            <a:avLst/>
          </a:prstGeom>
          <a:solidFill>
            <a:srgbClr val="FF0000"/>
          </a:solidFill>
          <a:ln w="9525">
            <a:solidFill>
              <a:srgbClr val="000000"/>
            </a:solidFill>
            <a:round/>
            <a:headEnd/>
            <a:tailEnd/>
          </a:ln>
        </p:spPr>
        <p:txBody>
          <a:bodyPr lIns="91320" tIns="45661" rIns="91320" bIns="45661"/>
          <a:lstStyle/>
          <a:p>
            <a:pPr fontAlgn="auto">
              <a:spcBef>
                <a:spcPts val="0"/>
              </a:spcBef>
              <a:spcAft>
                <a:spcPts val="0"/>
              </a:spcAft>
            </a:pPr>
            <a:endParaRPr lang="en-US">
              <a:solidFill>
                <a:srgbClr val="000000"/>
              </a:solidFill>
              <a:latin typeface="굴림"/>
            </a:endParaRPr>
          </a:p>
        </p:txBody>
      </p:sp>
      <p:sp>
        <p:nvSpPr>
          <p:cNvPr id="36898" name="Oval 36"/>
          <p:cNvSpPr>
            <a:spLocks noChangeArrowheads="1"/>
          </p:cNvSpPr>
          <p:nvPr/>
        </p:nvSpPr>
        <p:spPr bwMode="auto">
          <a:xfrm>
            <a:off x="7092951" y="2133613"/>
            <a:ext cx="142875" cy="142875"/>
          </a:xfrm>
          <a:prstGeom prst="ellipse">
            <a:avLst/>
          </a:prstGeom>
          <a:solidFill>
            <a:srgbClr val="FF0000"/>
          </a:solidFill>
          <a:ln w="9525">
            <a:solidFill>
              <a:srgbClr val="000000"/>
            </a:solidFill>
            <a:round/>
            <a:headEnd/>
            <a:tailEnd/>
          </a:ln>
        </p:spPr>
        <p:txBody>
          <a:bodyPr lIns="91320" tIns="45661" rIns="91320" bIns="45661"/>
          <a:lstStyle/>
          <a:p>
            <a:pPr fontAlgn="auto">
              <a:spcBef>
                <a:spcPts val="0"/>
              </a:spcBef>
              <a:spcAft>
                <a:spcPts val="0"/>
              </a:spcAft>
            </a:pPr>
            <a:endParaRPr lang="en-US">
              <a:solidFill>
                <a:srgbClr val="000000"/>
              </a:solidFill>
              <a:latin typeface="굴림"/>
            </a:endParaRPr>
          </a:p>
        </p:txBody>
      </p:sp>
      <p:sp>
        <p:nvSpPr>
          <p:cNvPr id="36899" name="Text Box 32"/>
          <p:cNvSpPr txBox="1">
            <a:spLocks noChangeAspect="1" noChangeArrowheads="1"/>
          </p:cNvSpPr>
          <p:nvPr/>
        </p:nvSpPr>
        <p:spPr bwMode="auto">
          <a:xfrm>
            <a:off x="3059114" y="2565400"/>
            <a:ext cx="1206500" cy="217488"/>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500" b="1" dirty="0">
                <a:solidFill>
                  <a:srgbClr val="000000"/>
                </a:solidFill>
                <a:ea typeface="HY견고딕" pitchFamily="18" charset="-127"/>
              </a:rPr>
              <a:t>1.0%</a:t>
            </a:r>
          </a:p>
        </p:txBody>
      </p:sp>
      <p:sp>
        <p:nvSpPr>
          <p:cNvPr id="36900" name="Text Box 32"/>
          <p:cNvSpPr txBox="1">
            <a:spLocks noChangeAspect="1" noChangeArrowheads="1"/>
          </p:cNvSpPr>
          <p:nvPr/>
        </p:nvSpPr>
        <p:spPr bwMode="auto">
          <a:xfrm>
            <a:off x="4716464" y="2205051"/>
            <a:ext cx="1206500" cy="217487"/>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500" b="1" dirty="0">
                <a:solidFill>
                  <a:srgbClr val="000000"/>
                </a:solidFill>
                <a:ea typeface="HY견고딕" pitchFamily="18" charset="-127"/>
              </a:rPr>
              <a:t>1.5%</a:t>
            </a:r>
          </a:p>
        </p:txBody>
      </p:sp>
      <p:sp>
        <p:nvSpPr>
          <p:cNvPr id="36901" name="Text Box 32"/>
          <p:cNvSpPr txBox="1">
            <a:spLocks noChangeAspect="1" noChangeArrowheads="1"/>
          </p:cNvSpPr>
          <p:nvPr/>
        </p:nvSpPr>
        <p:spPr bwMode="auto">
          <a:xfrm>
            <a:off x="6516689" y="1844674"/>
            <a:ext cx="1206500" cy="217488"/>
          </a:xfrm>
          <a:prstGeom prst="rect">
            <a:avLst/>
          </a:prstGeom>
          <a:noFill/>
          <a:ln w="9525">
            <a:noFill/>
            <a:miter lim="800000"/>
            <a:headEnd/>
            <a:tailEnd/>
          </a:ln>
        </p:spPr>
        <p:txBody>
          <a:bodyPr wrap="none" lIns="0" tIns="0" rIns="0" bIns="0" anchor="ctr"/>
          <a:lstStyle/>
          <a:p>
            <a:pPr fontAlgn="auto">
              <a:spcBef>
                <a:spcPts val="0"/>
              </a:spcBef>
              <a:spcAft>
                <a:spcPts val="0"/>
              </a:spcAft>
            </a:pPr>
            <a:r>
              <a:rPr lang="en-US" altLang="ko-KR" sz="1500" b="1" dirty="0">
                <a:solidFill>
                  <a:srgbClr val="000000"/>
                </a:solidFill>
                <a:ea typeface="HY견고딕" pitchFamily="18" charset="-127"/>
              </a:rPr>
              <a:t>2.0%</a:t>
            </a:r>
          </a:p>
        </p:txBody>
      </p:sp>
      <p:pic>
        <p:nvPicPr>
          <p:cNvPr id="36902" name="Picture 186" descr="045"/>
          <p:cNvPicPr>
            <a:picLocks noChangeAspect="1" noChangeArrowheads="1"/>
          </p:cNvPicPr>
          <p:nvPr/>
        </p:nvPicPr>
        <p:blipFill>
          <a:blip r:embed="rId4" cstate="print"/>
          <a:srcRect l="20256" t="20314" r="27660" b="15306"/>
          <a:stretch>
            <a:fillRect/>
          </a:stretch>
        </p:blipFill>
        <p:spPr bwMode="auto">
          <a:xfrm>
            <a:off x="827088" y="5805488"/>
            <a:ext cx="436562" cy="144462"/>
          </a:xfrm>
          <a:prstGeom prst="rect">
            <a:avLst/>
          </a:prstGeom>
          <a:noFill/>
          <a:ln w="9525">
            <a:noFill/>
            <a:miter lim="800000"/>
            <a:headEnd/>
            <a:tailEnd/>
          </a:ln>
        </p:spPr>
      </p:pic>
      <p:sp>
        <p:nvSpPr>
          <p:cNvPr id="36903" name="TextBox 41"/>
          <p:cNvSpPr txBox="1">
            <a:spLocks noChangeArrowheads="1"/>
          </p:cNvSpPr>
          <p:nvPr/>
        </p:nvSpPr>
        <p:spPr bwMode="auto">
          <a:xfrm>
            <a:off x="1258901" y="5732469"/>
            <a:ext cx="1944687" cy="280742"/>
          </a:xfrm>
          <a:prstGeom prst="rect">
            <a:avLst/>
          </a:prstGeom>
          <a:noFill/>
          <a:ln w="9525">
            <a:noFill/>
            <a:miter lim="800000"/>
            <a:headEnd/>
            <a:tailEnd/>
          </a:ln>
        </p:spPr>
        <p:txBody>
          <a:bodyPr lIns="91320" tIns="45661" rIns="91320" bIns="45661">
            <a:spAutoFit/>
          </a:bodyPr>
          <a:lstStyle/>
          <a:p>
            <a:pPr fontAlgn="auto">
              <a:spcBef>
                <a:spcPts val="0"/>
              </a:spcBef>
              <a:spcAft>
                <a:spcPts val="0"/>
              </a:spcAft>
            </a:pPr>
            <a:r>
              <a:rPr lang="en-US" sz="1200" b="1" dirty="0">
                <a:solidFill>
                  <a:srgbClr val="000000"/>
                </a:solidFill>
              </a:rPr>
              <a:t>% Government Funding</a:t>
            </a:r>
          </a:p>
        </p:txBody>
      </p:sp>
      <p:pic>
        <p:nvPicPr>
          <p:cNvPr id="36904" name="Picture 185" descr="044"/>
          <p:cNvPicPr>
            <a:picLocks noChangeAspect="1" noChangeArrowheads="1"/>
          </p:cNvPicPr>
          <p:nvPr/>
        </p:nvPicPr>
        <p:blipFill>
          <a:blip r:embed="rId3" cstate="print"/>
          <a:srcRect l="23212" t="2060" r="18953" b="41628"/>
          <a:stretch>
            <a:fillRect/>
          </a:stretch>
        </p:blipFill>
        <p:spPr bwMode="auto">
          <a:xfrm>
            <a:off x="3203575" y="5805488"/>
            <a:ext cx="571500" cy="144462"/>
          </a:xfrm>
          <a:prstGeom prst="rect">
            <a:avLst/>
          </a:prstGeom>
          <a:noFill/>
          <a:ln w="9525">
            <a:noFill/>
            <a:miter lim="800000"/>
            <a:headEnd/>
            <a:tailEnd/>
          </a:ln>
        </p:spPr>
      </p:pic>
      <p:sp>
        <p:nvSpPr>
          <p:cNvPr id="36905" name="TextBox 43"/>
          <p:cNvSpPr txBox="1">
            <a:spLocks noChangeArrowheads="1"/>
          </p:cNvSpPr>
          <p:nvPr/>
        </p:nvSpPr>
        <p:spPr bwMode="auto">
          <a:xfrm>
            <a:off x="3708400" y="5732468"/>
            <a:ext cx="2649538" cy="276892"/>
          </a:xfrm>
          <a:prstGeom prst="rect">
            <a:avLst/>
          </a:prstGeom>
          <a:noFill/>
          <a:ln w="9525">
            <a:noFill/>
            <a:miter lim="800000"/>
            <a:headEnd/>
            <a:tailEnd/>
          </a:ln>
        </p:spPr>
        <p:txBody>
          <a:bodyPr lIns="91320" tIns="45661" rIns="91320" bIns="45661">
            <a:spAutoFit/>
          </a:bodyPr>
          <a:lstStyle/>
          <a:p>
            <a:pPr fontAlgn="auto">
              <a:spcBef>
                <a:spcPts val="0"/>
              </a:spcBef>
              <a:spcAft>
                <a:spcPts val="0"/>
              </a:spcAft>
            </a:pPr>
            <a:r>
              <a:rPr lang="en-US" sz="1200" b="1" dirty="0">
                <a:solidFill>
                  <a:srgbClr val="000000"/>
                </a:solidFill>
              </a:rPr>
              <a:t>% Industry , NGO &amp; Fund Raising</a:t>
            </a:r>
          </a:p>
        </p:txBody>
      </p:sp>
      <p:sp>
        <p:nvSpPr>
          <p:cNvPr id="36906" name="Oval 44"/>
          <p:cNvSpPr>
            <a:spLocks noChangeArrowheads="1"/>
          </p:cNvSpPr>
          <p:nvPr/>
        </p:nvSpPr>
        <p:spPr bwMode="auto">
          <a:xfrm>
            <a:off x="6659564" y="5805488"/>
            <a:ext cx="144462" cy="144462"/>
          </a:xfrm>
          <a:prstGeom prst="ellipse">
            <a:avLst/>
          </a:prstGeom>
          <a:solidFill>
            <a:srgbClr val="FF0000"/>
          </a:solidFill>
          <a:ln w="9525">
            <a:solidFill>
              <a:srgbClr val="000000"/>
            </a:solidFill>
            <a:round/>
            <a:headEnd/>
            <a:tailEnd/>
          </a:ln>
        </p:spPr>
        <p:txBody>
          <a:bodyPr lIns="91320" tIns="45661" rIns="91320" bIns="45661"/>
          <a:lstStyle/>
          <a:p>
            <a:pPr fontAlgn="auto">
              <a:spcBef>
                <a:spcPts val="0"/>
              </a:spcBef>
              <a:spcAft>
                <a:spcPts val="0"/>
              </a:spcAft>
            </a:pPr>
            <a:endParaRPr lang="en-US">
              <a:solidFill>
                <a:srgbClr val="000000"/>
              </a:solidFill>
              <a:latin typeface="굴림"/>
            </a:endParaRPr>
          </a:p>
        </p:txBody>
      </p:sp>
      <p:sp>
        <p:nvSpPr>
          <p:cNvPr id="36907" name="TextBox 45"/>
          <p:cNvSpPr txBox="1">
            <a:spLocks noChangeArrowheads="1"/>
          </p:cNvSpPr>
          <p:nvPr/>
        </p:nvSpPr>
        <p:spPr bwMode="auto">
          <a:xfrm>
            <a:off x="6804026" y="5732469"/>
            <a:ext cx="1081088" cy="280742"/>
          </a:xfrm>
          <a:prstGeom prst="rect">
            <a:avLst/>
          </a:prstGeom>
          <a:noFill/>
          <a:ln w="9525">
            <a:noFill/>
            <a:miter lim="800000"/>
            <a:headEnd/>
            <a:tailEnd/>
          </a:ln>
        </p:spPr>
        <p:txBody>
          <a:bodyPr lIns="91320" tIns="45661" rIns="91320" bIns="45661">
            <a:spAutoFit/>
          </a:bodyPr>
          <a:lstStyle/>
          <a:p>
            <a:pPr fontAlgn="auto">
              <a:spcBef>
                <a:spcPts val="0"/>
              </a:spcBef>
              <a:spcAft>
                <a:spcPts val="0"/>
              </a:spcAft>
            </a:pPr>
            <a:r>
              <a:rPr lang="en-US" sz="1200" b="1" dirty="0">
                <a:solidFill>
                  <a:srgbClr val="000000"/>
                </a:solidFill>
              </a:rPr>
              <a:t>GERD:GDP</a:t>
            </a:r>
          </a:p>
        </p:txBody>
      </p:sp>
    </p:spTree>
  </p:cSld>
  <p:clrMapOvr>
    <a:masterClrMapping/>
  </p:clrMapOvr>
  <p:transition>
    <p:zoom/>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128" descr="5"/>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35150" y="260350"/>
            <a:ext cx="5672138" cy="3714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1506" name="AutoShape 3"/>
          <p:cNvSpPr>
            <a:spLocks noChangeArrowheads="1"/>
          </p:cNvSpPr>
          <p:nvPr/>
        </p:nvSpPr>
        <p:spPr bwMode="auto">
          <a:xfrm>
            <a:off x="276224" y="1325563"/>
            <a:ext cx="4316623" cy="2809875"/>
          </a:xfrm>
          <a:prstGeom prst="roundRect">
            <a:avLst>
              <a:gd name="adj" fmla="val 2185"/>
            </a:avLst>
          </a:prstGeom>
          <a:gradFill rotWithShape="1">
            <a:gsLst>
              <a:gs pos="0">
                <a:srgbClr val="00CC99"/>
              </a:gs>
              <a:gs pos="100000">
                <a:srgbClr val="008866"/>
              </a:gs>
            </a:gsLst>
            <a:lin ang="5400000" scaled="1"/>
          </a:gradFill>
          <a:ln w="6350">
            <a:solidFill>
              <a:srgbClr val="339933"/>
            </a:solidFill>
            <a:round/>
            <a:headEnd/>
            <a:tailEnd/>
          </a:ln>
          <a:effectLst>
            <a:outerShdw dist="35921" dir="2700000" algn="ctr" rotWithShape="0">
              <a:srgbClr val="003300"/>
            </a:outerShdw>
          </a:effectLst>
        </p:spPr>
        <p:txBody>
          <a:bodyPr wrap="none" lIns="306000" anchor="ctr"/>
          <a:lstStyle/>
          <a:p>
            <a:pPr algn="ctr" defTabSz="914400" fontAlgn="base" latinLnBrk="1">
              <a:spcBef>
                <a:spcPct val="0"/>
              </a:spcBef>
              <a:spcAft>
                <a:spcPct val="0"/>
              </a:spcAft>
              <a:defRPr/>
            </a:pPr>
            <a:endParaRPr kumimoji="1" lang="ko-KR" altLang="en-US">
              <a:solidFill>
                <a:srgbClr val="000000"/>
              </a:solidFill>
              <a:latin typeface="굴림" pitchFamily="34" charset="-127"/>
              <a:ea typeface="굴림" pitchFamily="34" charset="-127"/>
              <a:cs typeface="굴림" charset="0"/>
            </a:endParaRPr>
          </a:p>
        </p:txBody>
      </p:sp>
      <p:sp>
        <p:nvSpPr>
          <p:cNvPr id="8196" name="AutoShape 4"/>
          <p:cNvSpPr>
            <a:spLocks noChangeArrowheads="1"/>
          </p:cNvSpPr>
          <p:nvPr/>
        </p:nvSpPr>
        <p:spPr bwMode="auto">
          <a:xfrm>
            <a:off x="322263" y="1709738"/>
            <a:ext cx="4176712" cy="2170112"/>
          </a:xfrm>
          <a:prstGeom prst="roundRect">
            <a:avLst>
              <a:gd name="adj" fmla="val 3292"/>
            </a:avLst>
          </a:prstGeom>
          <a:solidFill>
            <a:schemeClr val="bg1"/>
          </a:solidFill>
          <a:ln w="6350">
            <a:solidFill>
              <a:srgbClr val="B2B2B2"/>
            </a:solidFill>
            <a:round/>
            <a:headEnd/>
            <a:tailEnd/>
          </a:ln>
        </p:spPr>
        <p:txBody>
          <a:bodyPr wrap="none" lIns="306000" anchor="ctr"/>
          <a:lstStyle/>
          <a:p>
            <a:pPr algn="ctr" defTabSz="914400" fontAlgn="base" latinLnBrk="1">
              <a:spcBef>
                <a:spcPct val="0"/>
              </a:spcBef>
              <a:spcAft>
                <a:spcPct val="0"/>
              </a:spcAft>
            </a:pPr>
            <a:endParaRPr kumimoji="1" lang="ko-KR" altLang="en-US" smtClean="0">
              <a:solidFill>
                <a:srgbClr val="000000"/>
              </a:solidFill>
              <a:latin typeface="굴림" charset="0"/>
              <a:ea typeface="굴림" charset="0"/>
              <a:cs typeface="굴림" charset="0"/>
            </a:endParaRPr>
          </a:p>
        </p:txBody>
      </p:sp>
      <p:sp>
        <p:nvSpPr>
          <p:cNvPr id="8197" name="Rectangle 14"/>
          <p:cNvSpPr>
            <a:spLocks noChangeArrowheads="1"/>
          </p:cNvSpPr>
          <p:nvPr/>
        </p:nvSpPr>
        <p:spPr bwMode="auto">
          <a:xfrm>
            <a:off x="1719263" y="1339850"/>
            <a:ext cx="1352550" cy="3698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p>
            <a:pPr algn="ctr" defTabSz="914400" fontAlgn="base" latinLnBrk="1">
              <a:spcBef>
                <a:spcPct val="0"/>
              </a:spcBef>
              <a:spcAft>
                <a:spcPct val="0"/>
              </a:spcAft>
            </a:pPr>
            <a:r>
              <a:rPr kumimoji="1" lang="en-US" altLang="ko-KR" b="1" smtClean="0">
                <a:solidFill>
                  <a:srgbClr val="000000"/>
                </a:solidFill>
                <a:latin typeface="Arial" charset="0"/>
                <a:ea typeface="굴림" charset="0"/>
                <a:cs typeface="Arial" charset="0"/>
              </a:rPr>
              <a:t>S&amp;T Paper </a:t>
            </a:r>
          </a:p>
        </p:txBody>
      </p:sp>
      <p:sp>
        <p:nvSpPr>
          <p:cNvPr id="8198" name="AutoShape 15"/>
          <p:cNvSpPr>
            <a:spLocks noChangeArrowheads="1"/>
          </p:cNvSpPr>
          <p:nvPr/>
        </p:nvSpPr>
        <p:spPr bwMode="auto">
          <a:xfrm>
            <a:off x="501650" y="3556000"/>
            <a:ext cx="3667125" cy="242888"/>
          </a:xfrm>
          <a:prstGeom prst="roundRect">
            <a:avLst>
              <a:gd name="adj" fmla="val 16667"/>
            </a:avLst>
          </a:prstGeom>
          <a:noFill/>
          <a:ln w="19050">
            <a:solidFill>
              <a:schemeClr val="bg2"/>
            </a:solidFill>
            <a:round/>
            <a:headEnd/>
            <a:tailEnd/>
          </a:ln>
          <a:extLst>
            <a:ext uri="{909E8E84-426E-40dd-AFC4-6F175D3DCCD1}">
              <a14:hiddenFill xmlns="" xmlns:a14="http://schemas.microsoft.com/office/drawing/2010/main">
                <a:solidFill>
                  <a:srgbClr val="FFFFFF"/>
                </a:solidFill>
              </a14:hiddenFill>
            </a:ext>
          </a:extLst>
        </p:spPr>
        <p:txBody>
          <a:bodyPr wrap="none" anchor="ctr"/>
          <a:lstStyle/>
          <a:p>
            <a:pPr algn="ctr" defTabSz="914400" fontAlgn="base" latinLnBrk="1">
              <a:spcBef>
                <a:spcPct val="0"/>
              </a:spcBef>
              <a:spcAft>
                <a:spcPct val="0"/>
              </a:spcAft>
            </a:pPr>
            <a:endParaRPr kumimoji="1" lang="ko-KR" altLang="en-US" smtClean="0">
              <a:solidFill>
                <a:srgbClr val="000000"/>
              </a:solidFill>
              <a:latin typeface="굴림" charset="0"/>
              <a:ea typeface="굴림" charset="0"/>
              <a:cs typeface="굴림" charset="0"/>
            </a:endParaRPr>
          </a:p>
        </p:txBody>
      </p:sp>
      <p:sp>
        <p:nvSpPr>
          <p:cNvPr id="8199" name="Text Box 16"/>
          <p:cNvSpPr txBox="1">
            <a:spLocks noChangeArrowheads="1"/>
          </p:cNvSpPr>
          <p:nvPr/>
        </p:nvSpPr>
        <p:spPr bwMode="auto">
          <a:xfrm>
            <a:off x="1412928" y="3563938"/>
            <a:ext cx="229552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a:spAutoFit/>
          </a:bodyPr>
          <a:lstStyle>
            <a:lvl1pPr eaLnBrk="0" hangingPunct="0">
              <a:defRPr kumimoji="1">
                <a:solidFill>
                  <a:schemeClr val="tx1"/>
                </a:solidFill>
                <a:latin typeface="굴림" charset="0"/>
                <a:ea typeface="굴림" charset="0"/>
                <a:cs typeface="굴림" charset="0"/>
              </a:defRPr>
            </a:lvl1pPr>
            <a:lvl2pPr marL="742950" indent="-285750" eaLnBrk="0" hangingPunct="0">
              <a:defRPr kumimoji="1">
                <a:solidFill>
                  <a:schemeClr val="tx1"/>
                </a:solidFill>
                <a:latin typeface="굴림" charset="0"/>
                <a:ea typeface="굴림" charset="0"/>
                <a:cs typeface="굴림" charset="0"/>
              </a:defRPr>
            </a:lvl2pPr>
            <a:lvl3pPr marL="1143000" indent="-228600" eaLnBrk="0" hangingPunct="0">
              <a:defRPr kumimoji="1">
                <a:solidFill>
                  <a:schemeClr val="tx1"/>
                </a:solidFill>
                <a:latin typeface="굴림" charset="0"/>
                <a:ea typeface="굴림" charset="0"/>
                <a:cs typeface="굴림" charset="0"/>
              </a:defRPr>
            </a:lvl3pPr>
            <a:lvl4pPr marL="1600200" indent="-228600" eaLnBrk="0" hangingPunct="0">
              <a:defRPr kumimoji="1">
                <a:solidFill>
                  <a:schemeClr val="tx1"/>
                </a:solidFill>
                <a:latin typeface="굴림" charset="0"/>
                <a:ea typeface="굴림" charset="0"/>
                <a:cs typeface="굴림" charset="0"/>
              </a:defRPr>
            </a:lvl4pPr>
            <a:lvl5pPr marL="2057400" indent="-228600" eaLnBrk="0" hangingPunct="0">
              <a:defRPr kumimoji="1">
                <a:solidFill>
                  <a:schemeClr val="tx1"/>
                </a:solidFill>
                <a:latin typeface="굴림" charset="0"/>
                <a:ea typeface="굴림" charset="0"/>
                <a:cs typeface="굴림" charset="0"/>
              </a:defRPr>
            </a:lvl5pPr>
            <a:lvl6pPr marL="25146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8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90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62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pPr algn="ctr" defTabSz="914400" eaLnBrk="1" fontAlgn="base" latinLnBrk="1" hangingPunct="1">
              <a:spcBef>
                <a:spcPct val="0"/>
              </a:spcBef>
              <a:spcAft>
                <a:spcPct val="0"/>
              </a:spcAft>
            </a:pPr>
            <a:r>
              <a:rPr lang="en-US" altLang="ko-KR" sz="900" b="1" dirty="0" smtClean="0">
                <a:solidFill>
                  <a:srgbClr val="000000"/>
                </a:solidFill>
                <a:latin typeface="Arial" charset="0"/>
                <a:ea typeface="HY견고딕" charset="0"/>
                <a:cs typeface="HY견고딕" charset="0"/>
              </a:rPr>
              <a:t>No. of International paper publications</a:t>
            </a:r>
          </a:p>
        </p:txBody>
      </p:sp>
      <p:sp>
        <p:nvSpPr>
          <p:cNvPr id="142342" name="Oval 6"/>
          <p:cNvSpPr>
            <a:spLocks noChangeArrowheads="1"/>
          </p:cNvSpPr>
          <p:nvPr/>
        </p:nvSpPr>
        <p:spPr bwMode="auto">
          <a:xfrm>
            <a:off x="2443163" y="3182938"/>
            <a:ext cx="1370012" cy="323850"/>
          </a:xfrm>
          <a:prstGeom prst="ellipse">
            <a:avLst/>
          </a:prstGeom>
          <a:gradFill rotWithShape="1">
            <a:gsLst>
              <a:gs pos="0">
                <a:schemeClr val="bg1">
                  <a:alpha val="70000"/>
                </a:schemeClr>
              </a:gs>
              <a:gs pos="100000">
                <a:schemeClr val="bg1">
                  <a:gamma/>
                  <a:shade val="46275"/>
                  <a:invGamma/>
                  <a:alpha val="0"/>
                </a:schemeClr>
              </a:gs>
            </a:gsLst>
            <a:path path="shape">
              <a:fillToRect l="50000" t="50000" r="50000" b="50000"/>
            </a:path>
          </a:gradFill>
          <a:ln w="38100" algn="ctr">
            <a:noFill/>
            <a:round/>
            <a:headEnd/>
            <a:tailEnd/>
          </a:ln>
          <a:effectLst/>
        </p:spPr>
        <p:txBody>
          <a:bodyPr wrap="none" tIns="10800" anchor="ctr"/>
          <a:lstStyle/>
          <a:p>
            <a:pPr algn="ctr" defTabSz="914400" fontAlgn="base" latinLnBrk="1">
              <a:spcBef>
                <a:spcPct val="0"/>
              </a:spcBef>
              <a:spcAft>
                <a:spcPct val="0"/>
              </a:spcAft>
              <a:defRPr/>
            </a:pPr>
            <a:endParaRPr kumimoji="1" lang="ko-KR" altLang="en-US">
              <a:solidFill>
                <a:srgbClr val="000000"/>
              </a:solidFill>
              <a:latin typeface="굴림" charset="0"/>
              <a:ea typeface="굴림" charset="0"/>
              <a:cs typeface="굴림" charset="0"/>
            </a:endParaRPr>
          </a:p>
        </p:txBody>
      </p:sp>
      <p:pic>
        <p:nvPicPr>
          <p:cNvPr id="8201" name="Picture 131" descr="065"/>
          <p:cNvPicPr>
            <a:picLocks noChangeAspect="1" noChangeArrowheads="1"/>
          </p:cNvPicPr>
          <p:nvPr/>
        </p:nvPicPr>
        <p:blipFill>
          <a:blip r:embed="rId4" cstate="print">
            <a:lum bright="18000"/>
            <a:grayscl/>
            <a:extLst>
              <a:ext uri="{28A0092B-C50C-407E-A947-70E740481C1C}">
                <a14:useLocalDpi xmlns:a14="http://schemas.microsoft.com/office/drawing/2010/main" val="0"/>
              </a:ext>
            </a:extLst>
          </a:blip>
          <a:srcRect t="76198"/>
          <a:stretch>
            <a:fillRect/>
          </a:stretch>
        </p:blipFill>
        <p:spPr bwMode="auto">
          <a:xfrm>
            <a:off x="354013" y="2941638"/>
            <a:ext cx="4144962" cy="6715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142344" name="AutoShape 8"/>
          <p:cNvSpPr>
            <a:spLocks noChangeAspect="1" noChangeArrowheads="1"/>
          </p:cNvSpPr>
          <p:nvPr/>
        </p:nvSpPr>
        <p:spPr bwMode="auto">
          <a:xfrm>
            <a:off x="704850" y="3171825"/>
            <a:ext cx="777875" cy="404813"/>
          </a:xfrm>
          <a:prstGeom prst="roundRect">
            <a:avLst>
              <a:gd name="adj" fmla="val 50000"/>
            </a:avLst>
          </a:prstGeom>
          <a:noFill/>
          <a:ln w="38100">
            <a:noFill/>
            <a:round/>
            <a:headEnd/>
            <a:tailEnd/>
          </a:ln>
          <a:effectLst>
            <a:prstShdw prst="shdw17" dist="17961" dir="2700000">
              <a:srgbClr val="999999"/>
            </a:prstShdw>
          </a:effectLst>
        </p:spPr>
        <p:txBody>
          <a:bodyPr wrap="none" tIns="10800" anchor="ctr">
            <a:spAutoFit/>
          </a:bodyPr>
          <a:lstStyle/>
          <a:p>
            <a:pPr algn="ctr" defTabSz="914400" fontAlgn="base" latinLnBrk="1">
              <a:spcBef>
                <a:spcPct val="0"/>
              </a:spcBef>
              <a:spcAft>
                <a:spcPct val="0"/>
              </a:spcAft>
            </a:pPr>
            <a:r>
              <a:rPr kumimoji="1" lang="en-US" altLang="ko-KR" sz="1500" i="1" smtClean="0">
                <a:solidFill>
                  <a:srgbClr val="000000"/>
                </a:solidFill>
                <a:effectLst>
                  <a:outerShdw blurRad="38100" dist="38100" dir="2700000" algn="tl">
                    <a:srgbClr val="DDDDDD"/>
                  </a:outerShdw>
                </a:effectLst>
                <a:latin typeface="Arial" charset="0"/>
                <a:ea typeface="굴림" charset="0"/>
                <a:cs typeface="Arial" charset="0"/>
              </a:rPr>
              <a:t>2004</a:t>
            </a:r>
          </a:p>
        </p:txBody>
      </p:sp>
      <p:sp>
        <p:nvSpPr>
          <p:cNvPr id="8203" name="Text Box 9"/>
          <p:cNvSpPr txBox="1">
            <a:spLocks noChangeArrowheads="1"/>
          </p:cNvSpPr>
          <p:nvPr/>
        </p:nvSpPr>
        <p:spPr bwMode="auto">
          <a:xfrm>
            <a:off x="2546665" y="2066855"/>
            <a:ext cx="449263" cy="180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kumimoji="1">
                <a:solidFill>
                  <a:schemeClr val="tx1"/>
                </a:solidFill>
                <a:latin typeface="굴림" charset="0"/>
                <a:ea typeface="굴림" charset="0"/>
                <a:cs typeface="굴림" charset="0"/>
              </a:defRPr>
            </a:lvl1pPr>
            <a:lvl2pPr marL="742950" indent="-285750" eaLnBrk="0" hangingPunct="0">
              <a:defRPr kumimoji="1">
                <a:solidFill>
                  <a:schemeClr val="tx1"/>
                </a:solidFill>
                <a:latin typeface="굴림" charset="0"/>
                <a:ea typeface="굴림" charset="0"/>
                <a:cs typeface="굴림" charset="0"/>
              </a:defRPr>
            </a:lvl2pPr>
            <a:lvl3pPr marL="1143000" indent="-228600" eaLnBrk="0" hangingPunct="0">
              <a:defRPr kumimoji="1">
                <a:solidFill>
                  <a:schemeClr val="tx1"/>
                </a:solidFill>
                <a:latin typeface="굴림" charset="0"/>
                <a:ea typeface="굴림" charset="0"/>
                <a:cs typeface="굴림" charset="0"/>
              </a:defRPr>
            </a:lvl3pPr>
            <a:lvl4pPr marL="1600200" indent="-228600" eaLnBrk="0" hangingPunct="0">
              <a:defRPr kumimoji="1">
                <a:solidFill>
                  <a:schemeClr val="tx1"/>
                </a:solidFill>
                <a:latin typeface="굴림" charset="0"/>
                <a:ea typeface="굴림" charset="0"/>
                <a:cs typeface="굴림" charset="0"/>
              </a:defRPr>
            </a:lvl4pPr>
            <a:lvl5pPr marL="2057400" indent="-228600" eaLnBrk="0" hangingPunct="0">
              <a:defRPr kumimoji="1">
                <a:solidFill>
                  <a:schemeClr val="tx1"/>
                </a:solidFill>
                <a:latin typeface="굴림" charset="0"/>
                <a:ea typeface="굴림" charset="0"/>
                <a:cs typeface="굴림" charset="0"/>
              </a:defRPr>
            </a:lvl5pPr>
            <a:lvl6pPr marL="25146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8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90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62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pPr algn="ctr" defTabSz="914400" eaLnBrk="1" fontAlgn="base" latinLnBrk="1" hangingPunct="1">
              <a:lnSpc>
                <a:spcPct val="80000"/>
              </a:lnSpc>
              <a:spcBef>
                <a:spcPct val="0"/>
              </a:spcBef>
              <a:spcAft>
                <a:spcPct val="0"/>
              </a:spcAft>
            </a:pPr>
            <a:r>
              <a:rPr lang="en-US" altLang="ko-KR" sz="1400" b="1" dirty="0" smtClean="0">
                <a:solidFill>
                  <a:srgbClr val="663300"/>
                </a:solidFill>
                <a:latin typeface="Arial" charset="0"/>
                <a:ea typeface="HY견고딕" charset="0"/>
                <a:cs typeface="HY견고딕" charset="0"/>
              </a:rPr>
              <a:t>8,442</a:t>
            </a:r>
            <a:endParaRPr lang="en-US" altLang="ko-KR" sz="1200" b="1" dirty="0" smtClean="0">
              <a:solidFill>
                <a:srgbClr val="663300"/>
              </a:solidFill>
              <a:latin typeface="Arial" charset="0"/>
              <a:ea typeface="HY견고딕" charset="0"/>
              <a:cs typeface="HY견고딕" charset="0"/>
            </a:endParaRPr>
          </a:p>
        </p:txBody>
      </p:sp>
      <p:cxnSp>
        <p:nvCxnSpPr>
          <p:cNvPr id="8204" name="AutoShape 10"/>
          <p:cNvCxnSpPr>
            <a:cxnSpLocks noChangeShapeType="1"/>
          </p:cNvCxnSpPr>
          <p:nvPr/>
        </p:nvCxnSpPr>
        <p:spPr bwMode="auto">
          <a:xfrm>
            <a:off x="3341688" y="2208213"/>
            <a:ext cx="0" cy="0"/>
          </a:xfrm>
          <a:prstGeom prst="straightConnector1">
            <a:avLst/>
          </a:prstGeom>
          <a:noFill/>
          <a:ln w="9525">
            <a:solidFill>
              <a:schemeClr val="tx1"/>
            </a:solidFill>
            <a:round/>
            <a:headEnd/>
            <a:tailEnd/>
          </a:ln>
          <a:extLst>
            <a:ext uri="{909E8E84-426E-40dd-AFC4-6F175D3DCCD1}">
              <a14:hiddenFill xmlns="" xmlns:a14="http://schemas.microsoft.com/office/drawing/2010/main">
                <a:noFill/>
              </a14:hiddenFill>
            </a:ext>
          </a:extLst>
        </p:spPr>
      </p:cxnSp>
      <p:sp>
        <p:nvSpPr>
          <p:cNvPr id="142348" name="AutoShape 12"/>
          <p:cNvSpPr>
            <a:spLocks noChangeAspect="1" noChangeArrowheads="1"/>
          </p:cNvSpPr>
          <p:nvPr/>
        </p:nvSpPr>
        <p:spPr bwMode="auto">
          <a:xfrm>
            <a:off x="1609537" y="3186113"/>
            <a:ext cx="777875" cy="404812"/>
          </a:xfrm>
          <a:prstGeom prst="roundRect">
            <a:avLst>
              <a:gd name="adj" fmla="val 50000"/>
            </a:avLst>
          </a:prstGeom>
          <a:noFill/>
          <a:ln w="38100">
            <a:noFill/>
            <a:round/>
            <a:headEnd/>
            <a:tailEnd/>
          </a:ln>
          <a:effectLst>
            <a:prstShdw prst="shdw17" dist="17961" dir="2700000">
              <a:srgbClr val="999999"/>
            </a:prstShdw>
          </a:effectLst>
        </p:spPr>
        <p:txBody>
          <a:bodyPr wrap="none" tIns="10800" anchor="ctr">
            <a:spAutoFit/>
          </a:bodyPr>
          <a:lstStyle/>
          <a:p>
            <a:pPr algn="ctr" defTabSz="914400" fontAlgn="base" latinLnBrk="1">
              <a:spcBef>
                <a:spcPct val="0"/>
              </a:spcBef>
              <a:spcAft>
                <a:spcPct val="0"/>
              </a:spcAft>
            </a:pPr>
            <a:r>
              <a:rPr kumimoji="1" lang="en-US" altLang="ko-KR" sz="1500" i="1" dirty="0" smtClean="0">
                <a:solidFill>
                  <a:srgbClr val="000000"/>
                </a:solidFill>
                <a:effectLst>
                  <a:outerShdw blurRad="38100" dist="38100" dir="2700000" algn="tl">
                    <a:srgbClr val="DDDDDD"/>
                  </a:outerShdw>
                </a:effectLst>
                <a:latin typeface="Arial" charset="0"/>
                <a:ea typeface="굴림" charset="0"/>
                <a:cs typeface="Arial" charset="0"/>
              </a:rPr>
              <a:t>2007</a:t>
            </a:r>
          </a:p>
        </p:txBody>
      </p:sp>
      <p:sp>
        <p:nvSpPr>
          <p:cNvPr id="142349" name="AutoShape 13"/>
          <p:cNvSpPr>
            <a:spLocks noChangeAspect="1" noChangeArrowheads="1"/>
          </p:cNvSpPr>
          <p:nvPr/>
        </p:nvSpPr>
        <p:spPr bwMode="auto">
          <a:xfrm>
            <a:off x="2394886" y="3186113"/>
            <a:ext cx="777875" cy="404812"/>
          </a:xfrm>
          <a:prstGeom prst="roundRect">
            <a:avLst>
              <a:gd name="adj" fmla="val 50000"/>
            </a:avLst>
          </a:prstGeom>
          <a:noFill/>
          <a:ln w="38100">
            <a:noFill/>
            <a:round/>
            <a:headEnd/>
            <a:tailEnd/>
          </a:ln>
          <a:effectLst>
            <a:prstShdw prst="shdw17" dist="17961" dir="2700000">
              <a:srgbClr val="999999"/>
            </a:prstShdw>
          </a:effectLst>
        </p:spPr>
        <p:txBody>
          <a:bodyPr wrap="none" tIns="10800" anchor="ctr">
            <a:spAutoFit/>
          </a:bodyPr>
          <a:lstStyle/>
          <a:p>
            <a:pPr algn="ctr" defTabSz="914400" fontAlgn="base" latinLnBrk="1">
              <a:spcBef>
                <a:spcPct val="0"/>
              </a:spcBef>
              <a:spcAft>
                <a:spcPct val="0"/>
              </a:spcAft>
            </a:pPr>
            <a:r>
              <a:rPr kumimoji="1" lang="en-US" altLang="ko-KR" sz="1500" i="1" dirty="0" smtClean="0">
                <a:solidFill>
                  <a:srgbClr val="000000"/>
                </a:solidFill>
                <a:effectLst>
                  <a:outerShdw blurRad="38100" dist="38100" dir="2700000" algn="tl">
                    <a:srgbClr val="DDDDDD"/>
                  </a:outerShdw>
                </a:effectLst>
                <a:latin typeface="Arial" charset="0"/>
                <a:ea typeface="굴림" charset="0"/>
                <a:cs typeface="Arial" charset="0"/>
              </a:rPr>
              <a:t>2010</a:t>
            </a:r>
          </a:p>
        </p:txBody>
      </p:sp>
      <p:sp>
        <p:nvSpPr>
          <p:cNvPr id="8207" name="Text Box 17"/>
          <p:cNvSpPr txBox="1">
            <a:spLocks noChangeArrowheads="1"/>
          </p:cNvSpPr>
          <p:nvPr/>
        </p:nvSpPr>
        <p:spPr bwMode="auto">
          <a:xfrm>
            <a:off x="1672469" y="2217738"/>
            <a:ext cx="449262" cy="180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kumimoji="1">
                <a:solidFill>
                  <a:schemeClr val="tx1"/>
                </a:solidFill>
                <a:latin typeface="굴림" charset="0"/>
                <a:ea typeface="굴림" charset="0"/>
                <a:cs typeface="굴림" charset="0"/>
              </a:defRPr>
            </a:lvl1pPr>
            <a:lvl2pPr marL="742950" indent="-285750" eaLnBrk="0" hangingPunct="0">
              <a:defRPr kumimoji="1">
                <a:solidFill>
                  <a:schemeClr val="tx1"/>
                </a:solidFill>
                <a:latin typeface="굴림" charset="0"/>
                <a:ea typeface="굴림" charset="0"/>
                <a:cs typeface="굴림" charset="0"/>
              </a:defRPr>
            </a:lvl2pPr>
            <a:lvl3pPr marL="1143000" indent="-228600" eaLnBrk="0" hangingPunct="0">
              <a:defRPr kumimoji="1">
                <a:solidFill>
                  <a:schemeClr val="tx1"/>
                </a:solidFill>
                <a:latin typeface="굴림" charset="0"/>
                <a:ea typeface="굴림" charset="0"/>
                <a:cs typeface="굴림" charset="0"/>
              </a:defRPr>
            </a:lvl3pPr>
            <a:lvl4pPr marL="1600200" indent="-228600" eaLnBrk="0" hangingPunct="0">
              <a:defRPr kumimoji="1">
                <a:solidFill>
                  <a:schemeClr val="tx1"/>
                </a:solidFill>
                <a:latin typeface="굴림" charset="0"/>
                <a:ea typeface="굴림" charset="0"/>
                <a:cs typeface="굴림" charset="0"/>
              </a:defRPr>
            </a:lvl4pPr>
            <a:lvl5pPr marL="2057400" indent="-228600" eaLnBrk="0" hangingPunct="0">
              <a:defRPr kumimoji="1">
                <a:solidFill>
                  <a:schemeClr val="tx1"/>
                </a:solidFill>
                <a:latin typeface="굴림" charset="0"/>
                <a:ea typeface="굴림" charset="0"/>
                <a:cs typeface="굴림" charset="0"/>
              </a:defRPr>
            </a:lvl5pPr>
            <a:lvl6pPr marL="25146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8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90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62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pPr algn="ctr" defTabSz="914400" eaLnBrk="1" fontAlgn="base" latinLnBrk="1" hangingPunct="1">
              <a:lnSpc>
                <a:spcPct val="80000"/>
              </a:lnSpc>
              <a:spcBef>
                <a:spcPct val="0"/>
              </a:spcBef>
              <a:spcAft>
                <a:spcPct val="0"/>
              </a:spcAft>
            </a:pPr>
            <a:r>
              <a:rPr lang="en-US" altLang="ko-KR" sz="1400" b="1" dirty="0" smtClean="0">
                <a:solidFill>
                  <a:srgbClr val="663300"/>
                </a:solidFill>
                <a:latin typeface="Arial" charset="0"/>
                <a:ea typeface="HY견고딕" charset="0"/>
                <a:cs typeface="HY견고딕" charset="0"/>
              </a:rPr>
              <a:t>5,452</a:t>
            </a:r>
            <a:endParaRPr lang="en-US" altLang="ko-KR" sz="1200" b="1" dirty="0" smtClean="0">
              <a:solidFill>
                <a:srgbClr val="663300"/>
              </a:solidFill>
              <a:latin typeface="Arial" charset="0"/>
              <a:ea typeface="HY견고딕" charset="0"/>
              <a:cs typeface="HY견고딕" charset="0"/>
            </a:endParaRPr>
          </a:p>
        </p:txBody>
      </p:sp>
      <p:sp>
        <p:nvSpPr>
          <p:cNvPr id="8208" name="Text Box 18"/>
          <p:cNvSpPr txBox="1">
            <a:spLocks noChangeArrowheads="1"/>
          </p:cNvSpPr>
          <p:nvPr/>
        </p:nvSpPr>
        <p:spPr bwMode="auto">
          <a:xfrm>
            <a:off x="873125" y="2568575"/>
            <a:ext cx="449263" cy="1809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kumimoji="1">
                <a:solidFill>
                  <a:schemeClr val="tx1"/>
                </a:solidFill>
                <a:latin typeface="굴림" charset="0"/>
                <a:ea typeface="굴림" charset="0"/>
                <a:cs typeface="굴림" charset="0"/>
              </a:defRPr>
            </a:lvl1pPr>
            <a:lvl2pPr marL="742950" indent="-285750" eaLnBrk="0" hangingPunct="0">
              <a:defRPr kumimoji="1">
                <a:solidFill>
                  <a:schemeClr val="tx1"/>
                </a:solidFill>
                <a:latin typeface="굴림" charset="0"/>
                <a:ea typeface="굴림" charset="0"/>
                <a:cs typeface="굴림" charset="0"/>
              </a:defRPr>
            </a:lvl2pPr>
            <a:lvl3pPr marL="1143000" indent="-228600" eaLnBrk="0" hangingPunct="0">
              <a:defRPr kumimoji="1">
                <a:solidFill>
                  <a:schemeClr val="tx1"/>
                </a:solidFill>
                <a:latin typeface="굴림" charset="0"/>
                <a:ea typeface="굴림" charset="0"/>
                <a:cs typeface="굴림" charset="0"/>
              </a:defRPr>
            </a:lvl3pPr>
            <a:lvl4pPr marL="1600200" indent="-228600" eaLnBrk="0" hangingPunct="0">
              <a:defRPr kumimoji="1">
                <a:solidFill>
                  <a:schemeClr val="tx1"/>
                </a:solidFill>
                <a:latin typeface="굴림" charset="0"/>
                <a:ea typeface="굴림" charset="0"/>
                <a:cs typeface="굴림" charset="0"/>
              </a:defRPr>
            </a:lvl4pPr>
            <a:lvl5pPr marL="2057400" indent="-228600" eaLnBrk="0" hangingPunct="0">
              <a:defRPr kumimoji="1">
                <a:solidFill>
                  <a:schemeClr val="tx1"/>
                </a:solidFill>
                <a:latin typeface="굴림" charset="0"/>
                <a:ea typeface="굴림" charset="0"/>
                <a:cs typeface="굴림" charset="0"/>
              </a:defRPr>
            </a:lvl5pPr>
            <a:lvl6pPr marL="25146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8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90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62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pPr algn="ctr" defTabSz="914400" eaLnBrk="1" fontAlgn="base" latinLnBrk="1" hangingPunct="1">
              <a:lnSpc>
                <a:spcPct val="80000"/>
              </a:lnSpc>
              <a:spcBef>
                <a:spcPct val="0"/>
              </a:spcBef>
              <a:spcAft>
                <a:spcPct val="0"/>
              </a:spcAft>
            </a:pPr>
            <a:r>
              <a:rPr lang="en-US" altLang="ko-KR" sz="1400" b="1" smtClean="0">
                <a:solidFill>
                  <a:srgbClr val="663300"/>
                </a:solidFill>
                <a:latin typeface="Arial" charset="0"/>
                <a:ea typeface="HY견고딕" charset="0"/>
                <a:cs typeface="HY견고딕" charset="0"/>
              </a:rPr>
              <a:t>4,271</a:t>
            </a:r>
            <a:endParaRPr lang="en-US" altLang="ko-KR" sz="1200" b="1" smtClean="0">
              <a:solidFill>
                <a:srgbClr val="663300"/>
              </a:solidFill>
              <a:latin typeface="Arial" charset="0"/>
              <a:ea typeface="HY견고딕" charset="0"/>
              <a:cs typeface="HY견고딕" charset="0"/>
            </a:endParaRPr>
          </a:p>
        </p:txBody>
      </p:sp>
      <p:pic>
        <p:nvPicPr>
          <p:cNvPr id="8209" name="Picture 19" descr="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82360" y="2217737"/>
            <a:ext cx="635516" cy="44256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10" name="Picture 50" descr="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154152" y="2534726"/>
            <a:ext cx="606425" cy="377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11" name="Picture 124" descr="책"/>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095240" y="3582988"/>
            <a:ext cx="325437" cy="1905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12" name="Picture 143"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56178" y="2657475"/>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13" name="Picture 144"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56178" y="2509838"/>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14" name="Picture 145"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56178" y="2362200"/>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16" name="Picture 147"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76230" y="2647950"/>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17" name="Picture 148"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77999" y="2515221"/>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18" name="Picture 149"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893763" y="2828925"/>
            <a:ext cx="390525" cy="3810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19" name="Picture 166" descr="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23850" y="1341438"/>
            <a:ext cx="4019550" cy="212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20" name="Picture 168" descr="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2913" y="3922713"/>
            <a:ext cx="8296275" cy="212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21532" name="AutoShape 150"/>
          <p:cNvSpPr>
            <a:spLocks noChangeArrowheads="1"/>
          </p:cNvSpPr>
          <p:nvPr/>
        </p:nvSpPr>
        <p:spPr bwMode="auto">
          <a:xfrm>
            <a:off x="4821238" y="3981450"/>
            <a:ext cx="4191000" cy="2359025"/>
          </a:xfrm>
          <a:prstGeom prst="roundRect">
            <a:avLst>
              <a:gd name="adj" fmla="val 2185"/>
            </a:avLst>
          </a:prstGeom>
          <a:gradFill rotWithShape="1">
            <a:gsLst>
              <a:gs pos="0">
                <a:srgbClr val="00CC99"/>
              </a:gs>
              <a:gs pos="100000">
                <a:srgbClr val="008866"/>
              </a:gs>
            </a:gsLst>
            <a:lin ang="5400000" scaled="1"/>
          </a:gradFill>
          <a:ln w="6350">
            <a:solidFill>
              <a:srgbClr val="339933"/>
            </a:solidFill>
            <a:round/>
            <a:headEnd/>
            <a:tailEnd/>
          </a:ln>
          <a:effectLst>
            <a:outerShdw dist="35921" dir="2700000" algn="ctr" rotWithShape="0">
              <a:srgbClr val="003300"/>
            </a:outerShdw>
          </a:effectLst>
        </p:spPr>
        <p:txBody>
          <a:bodyPr wrap="none" lIns="306000" anchor="ctr"/>
          <a:lstStyle/>
          <a:p>
            <a:pPr algn="ctr" defTabSz="914400" fontAlgn="base" latinLnBrk="1">
              <a:spcBef>
                <a:spcPct val="0"/>
              </a:spcBef>
              <a:spcAft>
                <a:spcPct val="0"/>
              </a:spcAft>
              <a:defRPr/>
            </a:pPr>
            <a:endParaRPr kumimoji="1" lang="ko-KR" altLang="en-US">
              <a:solidFill>
                <a:srgbClr val="000000"/>
              </a:solidFill>
              <a:latin typeface="굴림" pitchFamily="34" charset="-127"/>
              <a:ea typeface="굴림" pitchFamily="34" charset="-127"/>
              <a:cs typeface="굴림" charset="0"/>
            </a:endParaRPr>
          </a:p>
        </p:txBody>
      </p:sp>
      <p:sp>
        <p:nvSpPr>
          <p:cNvPr id="8222" name="AutoShape 151"/>
          <p:cNvSpPr>
            <a:spLocks noChangeArrowheads="1"/>
          </p:cNvSpPr>
          <p:nvPr/>
        </p:nvSpPr>
        <p:spPr bwMode="auto">
          <a:xfrm>
            <a:off x="4868863" y="4337050"/>
            <a:ext cx="4087812" cy="1976438"/>
          </a:xfrm>
          <a:prstGeom prst="roundRect">
            <a:avLst>
              <a:gd name="adj" fmla="val 2426"/>
            </a:avLst>
          </a:prstGeom>
          <a:solidFill>
            <a:schemeClr val="bg1"/>
          </a:solidFill>
          <a:ln w="6350">
            <a:solidFill>
              <a:srgbClr val="B2B2B2"/>
            </a:solidFill>
            <a:round/>
            <a:headEnd/>
            <a:tailEnd/>
          </a:ln>
        </p:spPr>
        <p:txBody>
          <a:bodyPr wrap="none" lIns="306000" anchor="ctr"/>
          <a:lstStyle/>
          <a:p>
            <a:pPr algn="ctr" defTabSz="914400" fontAlgn="base" latinLnBrk="1">
              <a:spcBef>
                <a:spcPct val="0"/>
              </a:spcBef>
              <a:spcAft>
                <a:spcPct val="0"/>
              </a:spcAft>
            </a:pPr>
            <a:endParaRPr kumimoji="1" lang="ko-KR" altLang="en-US" smtClean="0">
              <a:solidFill>
                <a:srgbClr val="000000"/>
              </a:solidFill>
              <a:latin typeface="굴림" charset="0"/>
              <a:ea typeface="굴림" charset="0"/>
              <a:cs typeface="굴림" charset="0"/>
            </a:endParaRPr>
          </a:p>
        </p:txBody>
      </p:sp>
      <p:pic>
        <p:nvPicPr>
          <p:cNvPr id="8223" name="Picture 148" descr="065"/>
          <p:cNvPicPr>
            <a:picLocks noChangeAspect="1" noChangeArrowheads="1"/>
          </p:cNvPicPr>
          <p:nvPr/>
        </p:nvPicPr>
        <p:blipFill>
          <a:blip r:embed="rId4" cstate="print">
            <a:lum bright="18000" contrast="24000"/>
            <a:grayscl/>
            <a:extLst>
              <a:ext uri="{28A0092B-C50C-407E-A947-70E740481C1C}">
                <a14:useLocalDpi xmlns:a14="http://schemas.microsoft.com/office/drawing/2010/main" val="0"/>
              </a:ext>
            </a:extLst>
          </a:blip>
          <a:srcRect t="76198"/>
          <a:stretch>
            <a:fillRect/>
          </a:stretch>
        </p:blipFill>
        <p:spPr bwMode="auto">
          <a:xfrm>
            <a:off x="5002213" y="5510213"/>
            <a:ext cx="3924300" cy="8858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224" name="Line 27"/>
          <p:cNvSpPr>
            <a:spLocks noChangeShapeType="1"/>
          </p:cNvSpPr>
          <p:nvPr/>
        </p:nvSpPr>
        <p:spPr bwMode="auto">
          <a:xfrm>
            <a:off x="5929313" y="5727700"/>
            <a:ext cx="2605087" cy="0"/>
          </a:xfrm>
          <a:prstGeom prst="line">
            <a:avLst/>
          </a:prstGeom>
          <a:noFill/>
          <a:ln w="12700">
            <a:solidFill>
              <a:srgbClr val="1DC4FF">
                <a:alpha val="50195"/>
              </a:srgbClr>
            </a:solidFill>
            <a:prstDash val="sysDot"/>
            <a:round/>
            <a:headEnd/>
            <a:tailEnd/>
          </a:ln>
          <a:extLst>
            <a:ext uri="{909E8E84-426E-40dd-AFC4-6F175D3DCCD1}">
              <a14:hiddenFill xmlns="" xmlns:a14="http://schemas.microsoft.com/office/drawing/2010/main">
                <a:noFill/>
              </a14:hiddenFill>
            </a:ext>
          </a:extLst>
        </p:spPr>
        <p:txBody>
          <a:bodyPr/>
          <a:lstStyle/>
          <a:p>
            <a:pPr algn="ctr" defTabSz="914400" fontAlgn="base" latinLnBrk="1">
              <a:spcBef>
                <a:spcPct val="0"/>
              </a:spcBef>
              <a:spcAft>
                <a:spcPct val="0"/>
              </a:spcAft>
            </a:pPr>
            <a:endParaRPr kumimoji="1" lang="en-US" smtClean="0">
              <a:solidFill>
                <a:srgbClr val="000000"/>
              </a:solidFill>
              <a:latin typeface="굴림" charset="0"/>
              <a:ea typeface="굴림" charset="0"/>
              <a:cs typeface="굴림" charset="0"/>
            </a:endParaRPr>
          </a:p>
        </p:txBody>
      </p:sp>
      <p:sp>
        <p:nvSpPr>
          <p:cNvPr id="8225" name="Text Box 31"/>
          <p:cNvSpPr txBox="1">
            <a:spLocks noChangeAspect="1" noChangeArrowheads="1"/>
          </p:cNvSpPr>
          <p:nvPr/>
        </p:nvSpPr>
        <p:spPr bwMode="auto">
          <a:xfrm>
            <a:off x="5583238" y="5027613"/>
            <a:ext cx="1206500" cy="2159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ctr"/>
          <a:lstStyle>
            <a:lvl1pPr eaLnBrk="0" hangingPunct="0">
              <a:defRPr kumimoji="1">
                <a:solidFill>
                  <a:schemeClr val="tx1"/>
                </a:solidFill>
                <a:latin typeface="굴림" charset="0"/>
                <a:ea typeface="굴림" charset="0"/>
                <a:cs typeface="굴림" charset="0"/>
              </a:defRPr>
            </a:lvl1pPr>
            <a:lvl2pPr marL="742950" indent="-285750" eaLnBrk="0" hangingPunct="0">
              <a:defRPr kumimoji="1">
                <a:solidFill>
                  <a:schemeClr val="tx1"/>
                </a:solidFill>
                <a:latin typeface="굴림" charset="0"/>
                <a:ea typeface="굴림" charset="0"/>
                <a:cs typeface="굴림" charset="0"/>
              </a:defRPr>
            </a:lvl2pPr>
            <a:lvl3pPr marL="1143000" indent="-228600" eaLnBrk="0" hangingPunct="0">
              <a:defRPr kumimoji="1">
                <a:solidFill>
                  <a:schemeClr val="tx1"/>
                </a:solidFill>
                <a:latin typeface="굴림" charset="0"/>
                <a:ea typeface="굴림" charset="0"/>
                <a:cs typeface="굴림" charset="0"/>
              </a:defRPr>
            </a:lvl3pPr>
            <a:lvl4pPr marL="1600200" indent="-228600" eaLnBrk="0" hangingPunct="0">
              <a:defRPr kumimoji="1">
                <a:solidFill>
                  <a:schemeClr val="tx1"/>
                </a:solidFill>
                <a:latin typeface="굴림" charset="0"/>
                <a:ea typeface="굴림" charset="0"/>
                <a:cs typeface="굴림" charset="0"/>
              </a:defRPr>
            </a:lvl4pPr>
            <a:lvl5pPr marL="2057400" indent="-228600" eaLnBrk="0" hangingPunct="0">
              <a:defRPr kumimoji="1">
                <a:solidFill>
                  <a:schemeClr val="tx1"/>
                </a:solidFill>
                <a:latin typeface="굴림" charset="0"/>
                <a:ea typeface="굴림" charset="0"/>
                <a:cs typeface="굴림" charset="0"/>
              </a:defRPr>
            </a:lvl5pPr>
            <a:lvl6pPr marL="25146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8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90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62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pPr algn="ctr" defTabSz="914400" eaLnBrk="1" fontAlgn="base" latinLnBrk="1" hangingPunct="1">
              <a:spcBef>
                <a:spcPct val="0"/>
              </a:spcBef>
              <a:spcAft>
                <a:spcPct val="0"/>
              </a:spcAft>
            </a:pPr>
            <a:r>
              <a:rPr lang="en-US" altLang="ko-KR" sz="1200" b="1" smtClean="0">
                <a:solidFill>
                  <a:srgbClr val="000000"/>
                </a:solidFill>
                <a:latin typeface="Arial" charset="0"/>
                <a:ea typeface="HY견고딕" charset="0"/>
                <a:cs typeface="HY견고딕" charset="0"/>
              </a:rPr>
              <a:t>4.64</a:t>
            </a:r>
          </a:p>
        </p:txBody>
      </p:sp>
      <p:sp>
        <p:nvSpPr>
          <p:cNvPr id="8226" name="Text Box 32"/>
          <p:cNvSpPr txBox="1">
            <a:spLocks noChangeAspect="1" noChangeArrowheads="1"/>
          </p:cNvSpPr>
          <p:nvPr/>
        </p:nvSpPr>
        <p:spPr bwMode="auto">
          <a:xfrm>
            <a:off x="7081838" y="4629150"/>
            <a:ext cx="1206500" cy="217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ctr"/>
          <a:lstStyle>
            <a:lvl1pPr eaLnBrk="0" hangingPunct="0">
              <a:defRPr kumimoji="1">
                <a:solidFill>
                  <a:schemeClr val="tx1"/>
                </a:solidFill>
                <a:latin typeface="굴림" charset="0"/>
                <a:ea typeface="굴림" charset="0"/>
                <a:cs typeface="굴림" charset="0"/>
              </a:defRPr>
            </a:lvl1pPr>
            <a:lvl2pPr marL="742950" indent="-285750" eaLnBrk="0" hangingPunct="0">
              <a:defRPr kumimoji="1">
                <a:solidFill>
                  <a:schemeClr val="tx1"/>
                </a:solidFill>
                <a:latin typeface="굴림" charset="0"/>
                <a:ea typeface="굴림" charset="0"/>
                <a:cs typeface="굴림" charset="0"/>
              </a:defRPr>
            </a:lvl2pPr>
            <a:lvl3pPr marL="1143000" indent="-228600" eaLnBrk="0" hangingPunct="0">
              <a:defRPr kumimoji="1">
                <a:solidFill>
                  <a:schemeClr val="tx1"/>
                </a:solidFill>
                <a:latin typeface="굴림" charset="0"/>
                <a:ea typeface="굴림" charset="0"/>
                <a:cs typeface="굴림" charset="0"/>
              </a:defRPr>
            </a:lvl3pPr>
            <a:lvl4pPr marL="1600200" indent="-228600" eaLnBrk="0" hangingPunct="0">
              <a:defRPr kumimoji="1">
                <a:solidFill>
                  <a:schemeClr val="tx1"/>
                </a:solidFill>
                <a:latin typeface="굴림" charset="0"/>
                <a:ea typeface="굴림" charset="0"/>
                <a:cs typeface="굴림" charset="0"/>
              </a:defRPr>
            </a:lvl4pPr>
            <a:lvl5pPr marL="2057400" indent="-228600" eaLnBrk="0" hangingPunct="0">
              <a:defRPr kumimoji="1">
                <a:solidFill>
                  <a:schemeClr val="tx1"/>
                </a:solidFill>
                <a:latin typeface="굴림" charset="0"/>
                <a:ea typeface="굴림" charset="0"/>
                <a:cs typeface="굴림" charset="0"/>
              </a:defRPr>
            </a:lvl5pPr>
            <a:lvl6pPr marL="25146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8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90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62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pPr algn="ctr" defTabSz="914400" eaLnBrk="1" fontAlgn="base" latinLnBrk="1" hangingPunct="1">
              <a:spcBef>
                <a:spcPct val="0"/>
              </a:spcBef>
              <a:spcAft>
                <a:spcPct val="0"/>
              </a:spcAft>
            </a:pPr>
            <a:r>
              <a:rPr lang="en-US" altLang="ko-KR" sz="1500" b="1" smtClean="0">
                <a:solidFill>
                  <a:srgbClr val="000000"/>
                </a:solidFill>
                <a:latin typeface="Arial" charset="0"/>
                <a:ea typeface="HY견고딕" charset="0"/>
                <a:cs typeface="HY견고딕" charset="0"/>
              </a:rPr>
              <a:t>5.02</a:t>
            </a:r>
          </a:p>
        </p:txBody>
      </p:sp>
      <p:sp>
        <p:nvSpPr>
          <p:cNvPr id="8227" name="Text Box 22"/>
          <p:cNvSpPr txBox="1">
            <a:spLocks noChangeAspect="1" noChangeArrowheads="1"/>
          </p:cNvSpPr>
          <p:nvPr/>
        </p:nvSpPr>
        <p:spPr bwMode="auto">
          <a:xfrm>
            <a:off x="5595938" y="5967413"/>
            <a:ext cx="1125537" cy="2174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ctr"/>
          <a:lstStyle>
            <a:lvl1pPr eaLnBrk="0" hangingPunct="0">
              <a:defRPr kumimoji="1">
                <a:solidFill>
                  <a:schemeClr val="tx1"/>
                </a:solidFill>
                <a:latin typeface="굴림" charset="0"/>
                <a:ea typeface="굴림" charset="0"/>
                <a:cs typeface="굴림" charset="0"/>
              </a:defRPr>
            </a:lvl1pPr>
            <a:lvl2pPr marL="742950" indent="-285750" eaLnBrk="0" hangingPunct="0">
              <a:defRPr kumimoji="1">
                <a:solidFill>
                  <a:schemeClr val="tx1"/>
                </a:solidFill>
                <a:latin typeface="굴림" charset="0"/>
                <a:ea typeface="굴림" charset="0"/>
                <a:cs typeface="굴림" charset="0"/>
              </a:defRPr>
            </a:lvl2pPr>
            <a:lvl3pPr marL="1143000" indent="-228600" eaLnBrk="0" hangingPunct="0">
              <a:defRPr kumimoji="1">
                <a:solidFill>
                  <a:schemeClr val="tx1"/>
                </a:solidFill>
                <a:latin typeface="굴림" charset="0"/>
                <a:ea typeface="굴림" charset="0"/>
                <a:cs typeface="굴림" charset="0"/>
              </a:defRPr>
            </a:lvl3pPr>
            <a:lvl4pPr marL="1600200" indent="-228600" eaLnBrk="0" hangingPunct="0">
              <a:defRPr kumimoji="1">
                <a:solidFill>
                  <a:schemeClr val="tx1"/>
                </a:solidFill>
                <a:latin typeface="굴림" charset="0"/>
                <a:ea typeface="굴림" charset="0"/>
                <a:cs typeface="굴림" charset="0"/>
              </a:defRPr>
            </a:lvl4pPr>
            <a:lvl5pPr marL="2057400" indent="-228600" eaLnBrk="0" hangingPunct="0">
              <a:defRPr kumimoji="1">
                <a:solidFill>
                  <a:schemeClr val="tx1"/>
                </a:solidFill>
                <a:latin typeface="굴림" charset="0"/>
                <a:ea typeface="굴림" charset="0"/>
                <a:cs typeface="굴림" charset="0"/>
              </a:defRPr>
            </a:lvl5pPr>
            <a:lvl6pPr marL="25146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8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90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62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pPr algn="ctr" defTabSz="914400" eaLnBrk="1" fontAlgn="base" latinLnBrk="1" hangingPunct="1">
              <a:spcBef>
                <a:spcPct val="0"/>
              </a:spcBef>
              <a:spcAft>
                <a:spcPct val="0"/>
              </a:spcAft>
            </a:pPr>
            <a:r>
              <a:rPr lang="en-US" altLang="ko-KR" sz="1400" b="1" smtClean="0">
                <a:solidFill>
                  <a:srgbClr val="000000"/>
                </a:solidFill>
                <a:latin typeface="Arial" charset="0"/>
                <a:ea typeface="HY견고딕" charset="0"/>
                <a:cs typeface="HY견고딕" charset="0"/>
              </a:rPr>
              <a:t>2009</a:t>
            </a:r>
          </a:p>
        </p:txBody>
      </p:sp>
      <p:sp>
        <p:nvSpPr>
          <p:cNvPr id="8228" name="Text Box 23"/>
          <p:cNvSpPr txBox="1">
            <a:spLocks noChangeAspect="1" noChangeArrowheads="1"/>
          </p:cNvSpPr>
          <p:nvPr/>
        </p:nvSpPr>
        <p:spPr bwMode="auto">
          <a:xfrm>
            <a:off x="7151688" y="5969000"/>
            <a:ext cx="1125537" cy="2174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ctr"/>
          <a:lstStyle>
            <a:lvl1pPr eaLnBrk="0" hangingPunct="0">
              <a:defRPr kumimoji="1">
                <a:solidFill>
                  <a:schemeClr val="tx1"/>
                </a:solidFill>
                <a:latin typeface="굴림" charset="0"/>
                <a:ea typeface="굴림" charset="0"/>
                <a:cs typeface="굴림" charset="0"/>
              </a:defRPr>
            </a:lvl1pPr>
            <a:lvl2pPr marL="742950" indent="-285750" eaLnBrk="0" hangingPunct="0">
              <a:defRPr kumimoji="1">
                <a:solidFill>
                  <a:schemeClr val="tx1"/>
                </a:solidFill>
                <a:latin typeface="굴림" charset="0"/>
                <a:ea typeface="굴림" charset="0"/>
                <a:cs typeface="굴림" charset="0"/>
              </a:defRPr>
            </a:lvl2pPr>
            <a:lvl3pPr marL="1143000" indent="-228600" eaLnBrk="0" hangingPunct="0">
              <a:defRPr kumimoji="1">
                <a:solidFill>
                  <a:schemeClr val="tx1"/>
                </a:solidFill>
                <a:latin typeface="굴림" charset="0"/>
                <a:ea typeface="굴림" charset="0"/>
                <a:cs typeface="굴림" charset="0"/>
              </a:defRPr>
            </a:lvl3pPr>
            <a:lvl4pPr marL="1600200" indent="-228600" eaLnBrk="0" hangingPunct="0">
              <a:defRPr kumimoji="1">
                <a:solidFill>
                  <a:schemeClr val="tx1"/>
                </a:solidFill>
                <a:latin typeface="굴림" charset="0"/>
                <a:ea typeface="굴림" charset="0"/>
                <a:cs typeface="굴림" charset="0"/>
              </a:defRPr>
            </a:lvl4pPr>
            <a:lvl5pPr marL="2057400" indent="-228600" eaLnBrk="0" hangingPunct="0">
              <a:defRPr kumimoji="1">
                <a:solidFill>
                  <a:schemeClr val="tx1"/>
                </a:solidFill>
                <a:latin typeface="굴림" charset="0"/>
                <a:ea typeface="굴림" charset="0"/>
                <a:cs typeface="굴림" charset="0"/>
              </a:defRPr>
            </a:lvl5pPr>
            <a:lvl6pPr marL="25146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8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90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62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pPr algn="ctr" defTabSz="914400" eaLnBrk="1" fontAlgn="base" latinLnBrk="1" hangingPunct="1">
              <a:spcBef>
                <a:spcPct val="0"/>
              </a:spcBef>
              <a:spcAft>
                <a:spcPct val="0"/>
              </a:spcAft>
            </a:pPr>
            <a:r>
              <a:rPr lang="en-US" altLang="ko-KR" sz="1400" b="1" smtClean="0">
                <a:solidFill>
                  <a:srgbClr val="000000"/>
                </a:solidFill>
                <a:latin typeface="Arial" charset="0"/>
                <a:ea typeface="HY견고딕" charset="0"/>
                <a:cs typeface="HY견고딕" charset="0"/>
              </a:rPr>
              <a:t>2010</a:t>
            </a:r>
          </a:p>
        </p:txBody>
      </p:sp>
      <p:pic>
        <p:nvPicPr>
          <p:cNvPr id="8229" name="Picture 169" descr="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643577">
            <a:off x="6540500" y="4808538"/>
            <a:ext cx="777875" cy="5397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30" name="Picture 185" descr="044"/>
          <p:cNvPicPr>
            <a:picLocks noChangeAspect="1" noChangeArrowheads="1"/>
          </p:cNvPicPr>
          <p:nvPr/>
        </p:nvPicPr>
        <p:blipFill>
          <a:blip r:embed="rId9" cstate="print">
            <a:extLst>
              <a:ext uri="{28A0092B-C50C-407E-A947-70E740481C1C}">
                <a14:useLocalDpi xmlns:a14="http://schemas.microsoft.com/office/drawing/2010/main" val="0"/>
              </a:ext>
            </a:extLst>
          </a:blip>
          <a:srcRect l="23212" t="2060" r="18953" b="41628"/>
          <a:stretch>
            <a:fillRect/>
          </a:stretch>
        </p:blipFill>
        <p:spPr bwMode="auto">
          <a:xfrm>
            <a:off x="5794375" y="5170488"/>
            <a:ext cx="657225" cy="6699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31" name="Picture 186" descr="045"/>
          <p:cNvPicPr>
            <a:picLocks noChangeAspect="1" noChangeArrowheads="1"/>
          </p:cNvPicPr>
          <p:nvPr/>
        </p:nvPicPr>
        <p:blipFill>
          <a:blip r:embed="rId10" cstate="print">
            <a:extLst>
              <a:ext uri="{28A0092B-C50C-407E-A947-70E740481C1C}">
                <a14:useLocalDpi xmlns:a14="http://schemas.microsoft.com/office/drawing/2010/main" val="0"/>
              </a:ext>
            </a:extLst>
          </a:blip>
          <a:srcRect l="20256" t="20314" r="27660" b="15306"/>
          <a:stretch>
            <a:fillRect/>
          </a:stretch>
        </p:blipFill>
        <p:spPr bwMode="auto">
          <a:xfrm>
            <a:off x="7486650" y="4868863"/>
            <a:ext cx="542925" cy="97155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8232" name="Picture 195" descr="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859338" y="4005263"/>
            <a:ext cx="4086225" cy="2127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8233" name="Rectangle 86"/>
          <p:cNvSpPr>
            <a:spLocks noChangeArrowheads="1"/>
          </p:cNvSpPr>
          <p:nvPr/>
        </p:nvSpPr>
        <p:spPr bwMode="auto">
          <a:xfrm>
            <a:off x="5137150" y="4024313"/>
            <a:ext cx="3546475" cy="30321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spAutoFit/>
          </a:bodyPr>
          <a:lstStyle/>
          <a:p>
            <a:pPr algn="ctr" defTabSz="914400" fontAlgn="base" latinLnBrk="1">
              <a:lnSpc>
                <a:spcPct val="90000"/>
              </a:lnSpc>
              <a:spcBef>
                <a:spcPct val="0"/>
              </a:spcBef>
              <a:spcAft>
                <a:spcPct val="0"/>
              </a:spcAft>
            </a:pPr>
            <a:r>
              <a:rPr kumimoji="1" lang="en-US" altLang="ko-KR" sz="1500" b="1" smtClean="0">
                <a:solidFill>
                  <a:srgbClr val="000000"/>
                </a:solidFill>
                <a:latin typeface="Arial" charset="0"/>
                <a:ea typeface="굴림" charset="0"/>
                <a:cs typeface="Arial" charset="0"/>
              </a:rPr>
              <a:t>Average citations per paper</a:t>
            </a:r>
          </a:p>
        </p:txBody>
      </p:sp>
      <p:pic>
        <p:nvPicPr>
          <p:cNvPr id="44" name="Picture 143"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33376" y="2657475"/>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5" name="Picture 144"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33376" y="2509838"/>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6" name="Picture 145"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33376" y="2362200"/>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7" name="Picture 145"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33376" y="2263775"/>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8" name="Picture 145" descr="faq"/>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433376" y="2129696"/>
            <a:ext cx="623887" cy="6096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pic>
        <p:nvPicPr>
          <p:cNvPr id="49" name="Picture 19" descr="1"/>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804546" y="1957370"/>
            <a:ext cx="747713" cy="52070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0" name="Text Box 9"/>
          <p:cNvSpPr txBox="1">
            <a:spLocks noChangeArrowheads="1"/>
          </p:cNvSpPr>
          <p:nvPr/>
        </p:nvSpPr>
        <p:spPr bwMode="auto">
          <a:xfrm>
            <a:off x="3503082" y="1867601"/>
            <a:ext cx="549129" cy="179536"/>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none" lIns="0" tIns="0" rIns="0" bIns="0" anchor="ctr">
            <a:spAutoFit/>
          </a:bodyPr>
          <a:lstStyle>
            <a:lvl1pPr eaLnBrk="0" hangingPunct="0">
              <a:defRPr kumimoji="1">
                <a:solidFill>
                  <a:schemeClr val="tx1"/>
                </a:solidFill>
                <a:latin typeface="굴림" charset="0"/>
                <a:ea typeface="굴림" charset="0"/>
                <a:cs typeface="굴림" charset="0"/>
              </a:defRPr>
            </a:lvl1pPr>
            <a:lvl2pPr marL="742950" indent="-285750" eaLnBrk="0" hangingPunct="0">
              <a:defRPr kumimoji="1">
                <a:solidFill>
                  <a:schemeClr val="tx1"/>
                </a:solidFill>
                <a:latin typeface="굴림" charset="0"/>
                <a:ea typeface="굴림" charset="0"/>
                <a:cs typeface="굴림" charset="0"/>
              </a:defRPr>
            </a:lvl2pPr>
            <a:lvl3pPr marL="1143000" indent="-228600" eaLnBrk="0" hangingPunct="0">
              <a:defRPr kumimoji="1">
                <a:solidFill>
                  <a:schemeClr val="tx1"/>
                </a:solidFill>
                <a:latin typeface="굴림" charset="0"/>
                <a:ea typeface="굴림" charset="0"/>
                <a:cs typeface="굴림" charset="0"/>
              </a:defRPr>
            </a:lvl3pPr>
            <a:lvl4pPr marL="1600200" indent="-228600" eaLnBrk="0" hangingPunct="0">
              <a:defRPr kumimoji="1">
                <a:solidFill>
                  <a:schemeClr val="tx1"/>
                </a:solidFill>
                <a:latin typeface="굴림" charset="0"/>
                <a:ea typeface="굴림" charset="0"/>
                <a:cs typeface="굴림" charset="0"/>
              </a:defRPr>
            </a:lvl4pPr>
            <a:lvl5pPr marL="2057400" indent="-228600" eaLnBrk="0" hangingPunct="0">
              <a:defRPr kumimoji="1">
                <a:solidFill>
                  <a:schemeClr val="tx1"/>
                </a:solidFill>
                <a:latin typeface="굴림" charset="0"/>
                <a:ea typeface="굴림" charset="0"/>
                <a:cs typeface="굴림" charset="0"/>
              </a:defRPr>
            </a:lvl5pPr>
            <a:lvl6pPr marL="25146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6pPr>
            <a:lvl7pPr marL="29718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7pPr>
            <a:lvl8pPr marL="34290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8pPr>
            <a:lvl9pPr marL="3886200" indent="-228600" algn="ctr" eaLnBrk="0" fontAlgn="base" latinLnBrk="1" hangingPunct="0">
              <a:spcBef>
                <a:spcPct val="0"/>
              </a:spcBef>
              <a:spcAft>
                <a:spcPct val="0"/>
              </a:spcAft>
              <a:defRPr kumimoji="1">
                <a:solidFill>
                  <a:schemeClr val="tx1"/>
                </a:solidFill>
                <a:latin typeface="굴림" charset="0"/>
                <a:ea typeface="굴림" charset="0"/>
                <a:cs typeface="굴림" charset="0"/>
              </a:defRPr>
            </a:lvl9pPr>
          </a:lstStyle>
          <a:p>
            <a:pPr algn="ctr" defTabSz="914400" eaLnBrk="1" fontAlgn="base" latinLnBrk="1" hangingPunct="1">
              <a:lnSpc>
                <a:spcPct val="80000"/>
              </a:lnSpc>
              <a:spcBef>
                <a:spcPct val="0"/>
              </a:spcBef>
              <a:spcAft>
                <a:spcPct val="0"/>
              </a:spcAft>
            </a:pPr>
            <a:r>
              <a:rPr lang="en-US" altLang="ko-KR" sz="1400" b="1" dirty="0" smtClean="0">
                <a:solidFill>
                  <a:srgbClr val="663300"/>
                </a:solidFill>
                <a:latin typeface="Arial" charset="0"/>
                <a:ea typeface="HY견고딕" charset="0"/>
                <a:cs typeface="HY견고딕" charset="0"/>
              </a:rPr>
              <a:t>10,218</a:t>
            </a:r>
            <a:endParaRPr lang="en-US" altLang="ko-KR" sz="1200" b="1" dirty="0" smtClean="0">
              <a:solidFill>
                <a:srgbClr val="663300"/>
              </a:solidFill>
              <a:latin typeface="Arial" charset="0"/>
              <a:ea typeface="HY견고딕" charset="0"/>
              <a:cs typeface="HY견고딕" charset="0"/>
            </a:endParaRPr>
          </a:p>
        </p:txBody>
      </p:sp>
      <p:sp>
        <p:nvSpPr>
          <p:cNvPr id="51" name="AutoShape 13"/>
          <p:cNvSpPr>
            <a:spLocks noChangeAspect="1" noChangeArrowheads="1"/>
          </p:cNvSpPr>
          <p:nvPr/>
        </p:nvSpPr>
        <p:spPr bwMode="auto">
          <a:xfrm>
            <a:off x="3377961" y="3171825"/>
            <a:ext cx="759960" cy="404848"/>
          </a:xfrm>
          <a:prstGeom prst="roundRect">
            <a:avLst>
              <a:gd name="adj" fmla="val 50000"/>
            </a:avLst>
          </a:prstGeom>
          <a:noFill/>
          <a:ln w="38100">
            <a:noFill/>
            <a:round/>
            <a:headEnd/>
            <a:tailEnd/>
          </a:ln>
          <a:effectLst>
            <a:prstShdw prst="shdw17" dist="17961" dir="2700000">
              <a:srgbClr val="999999"/>
            </a:prstShdw>
          </a:effectLst>
        </p:spPr>
        <p:txBody>
          <a:bodyPr wrap="none" tIns="10800" anchor="ctr">
            <a:spAutoFit/>
          </a:bodyPr>
          <a:lstStyle/>
          <a:p>
            <a:pPr algn="ctr" defTabSz="914400" fontAlgn="base" latinLnBrk="1">
              <a:spcBef>
                <a:spcPct val="0"/>
              </a:spcBef>
              <a:spcAft>
                <a:spcPct val="0"/>
              </a:spcAft>
            </a:pPr>
            <a:r>
              <a:rPr kumimoji="1" lang="en-US" altLang="ko-KR" sz="1500" i="1" dirty="0" smtClean="0">
                <a:solidFill>
                  <a:srgbClr val="000000"/>
                </a:solidFill>
                <a:effectLst>
                  <a:outerShdw blurRad="38100" dist="38100" dir="2700000" algn="tl">
                    <a:srgbClr val="DDDDDD"/>
                  </a:outerShdw>
                </a:effectLst>
                <a:latin typeface="Arial" charset="0"/>
                <a:ea typeface="굴림" charset="0"/>
                <a:cs typeface="Arial" charset="0"/>
              </a:rPr>
              <a:t>2011</a:t>
            </a:r>
          </a:p>
        </p:txBody>
      </p:sp>
    </p:spTree>
  </p:cSld>
  <p:clrMapOvr>
    <a:masterClrMapping/>
  </p:clrMapOvr>
  <p:transition>
    <p:zoom/>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nip Same Side Corner Rectangle 10"/>
          <p:cNvSpPr/>
          <p:nvPr/>
        </p:nvSpPr>
        <p:spPr>
          <a:xfrm>
            <a:off x="0" y="0"/>
            <a:ext cx="9144000" cy="953344"/>
          </a:xfrm>
          <a:prstGeom prst="snip2Same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23554" name="Object 2"/>
          <p:cNvGraphicFramePr>
            <a:graphicFrameLocks noChangeAspect="1"/>
          </p:cNvGraphicFramePr>
          <p:nvPr/>
        </p:nvGraphicFramePr>
        <p:xfrm>
          <a:off x="16395" y="980728"/>
          <a:ext cx="9092109" cy="5544616"/>
        </p:xfrm>
        <a:graphic>
          <a:graphicData uri="http://schemas.openxmlformats.org/presentationml/2006/ole">
            <mc:AlternateContent xmlns:mc="http://schemas.openxmlformats.org/markup-compatibility/2006">
              <mc:Choice xmlns:v="urn:schemas-microsoft-com:vml" Requires="v">
                <p:oleObj spid="_x0000_s23562" name="Chart" r:id="rId4" imgW="8839301" imgH="4324336" progId="Excel.Sheet.8">
                  <p:embed/>
                </p:oleObj>
              </mc:Choice>
              <mc:Fallback>
                <p:oleObj name="Chart" r:id="rId4" imgW="8839301" imgH="4324336" progId="Excel.Sheet.8">
                  <p:embed/>
                  <p:pic>
                    <p:nvPicPr>
                      <p:cNvPr id="0" name="Picture 2"/>
                      <p:cNvPicPr>
                        <a:picLocks noRot="1"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95" y="980728"/>
                        <a:ext cx="9092109" cy="5544616"/>
                      </a:xfrm>
                      <a:prstGeom prst="rect">
                        <a:avLst/>
                      </a:prstGeom>
                      <a:noFill/>
                      <a:ln>
                        <a:noFill/>
                      </a:ln>
                      <a:extLst>
                        <a:ext uri="{909E8E84-426E-40DD-AFC4-6F175D3DCCD1}">
                          <a14:hiddenFill xmlns:a14="http://schemas.microsoft.com/office/drawing/2010/main">
                            <a:solidFill>
                              <a:srgbClr val="000000"/>
                            </a:solidFill>
                          </a14:hiddenFill>
                        </a:ext>
                        <a:ext uri="{91240B29-F687-4F45-9708-019B960494DF}">
                          <a14:hiddenLine xmlns:a14="http://schemas.microsoft.com/office/drawing/2010/main" w="1">
                            <a:solidFill>
                              <a:srgbClr val="FFFFFF"/>
                            </a:solidFill>
                            <a:miter lim="800000"/>
                            <a:headEnd/>
                            <a:tailEnd/>
                          </a14:hiddenLine>
                        </a:ext>
                      </a:extLst>
                    </p:spPr>
                  </p:pic>
                </p:oleObj>
              </mc:Fallback>
            </mc:AlternateContent>
          </a:graphicData>
        </a:graphic>
      </p:graphicFrame>
      <p:sp>
        <p:nvSpPr>
          <p:cNvPr id="23555" name="Rectangle 3"/>
          <p:cNvSpPr>
            <a:spLocks noChangeArrowheads="1"/>
          </p:cNvSpPr>
          <p:nvPr/>
        </p:nvSpPr>
        <p:spPr bwMode="auto">
          <a:xfrm>
            <a:off x="283775" y="159023"/>
            <a:ext cx="8576451" cy="52322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ctr" defTabSz="914400" rtl="1" eaLnBrk="1" fontAlgn="base" latinLnBrk="0" hangingPunct="1">
              <a:lnSpc>
                <a:spcPct val="100000"/>
              </a:lnSpc>
              <a:spcBef>
                <a:spcPct val="0"/>
              </a:spcBef>
              <a:spcAft>
                <a:spcPct val="0"/>
              </a:spcAft>
              <a:buClrTx/>
              <a:buSzTx/>
              <a:buFontTx/>
              <a:buNone/>
              <a:tabLst/>
            </a:pPr>
            <a:r>
              <a:rPr lang="en-US" sz="2800" b="1" dirty="0" smtClean="0">
                <a:solidFill>
                  <a:schemeClr val="bg1"/>
                </a:solidFill>
              </a:rPr>
              <a:t>No. of Application from (1970 To 2012 until 30-10)</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p:cNvGraphicFramePr/>
          <p:nvPr/>
        </p:nvGraphicFramePr>
        <p:xfrm>
          <a:off x="0" y="0"/>
          <a:ext cx="9144000" cy="6858000"/>
        </p:xfrm>
        <a:graphic>
          <a:graphicData uri="http://schemas.openxmlformats.org/drawingml/2006/chart">
            <c:chart xmlns:c="http://schemas.openxmlformats.org/drawingml/2006/chart" xmlns:r="http://schemas.openxmlformats.org/officeDocument/2006/relationships" r:id="rId2"/>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idx="4294967295"/>
          </p:nvPr>
        </p:nvSpPr>
        <p:spPr>
          <a:xfrm>
            <a:off x="762000" y="152400"/>
            <a:ext cx="7772400" cy="612304"/>
          </a:xfrm>
          <a:prstGeom prst="rect">
            <a:avLst/>
          </a:prstGeom>
        </p:spPr>
        <p:txBody>
          <a:bodyPr/>
          <a:lstStyle/>
          <a:p>
            <a:pPr algn="ctr"/>
            <a:r>
              <a:rPr lang="en-US" sz="4000" dirty="0" err="1" smtClean="0">
                <a:effectLst>
                  <a:outerShdw blurRad="38100" dist="38100" dir="2700000" algn="tl">
                    <a:srgbClr val="000000">
                      <a:alpha val="43137"/>
                    </a:srgbClr>
                  </a:outerShdw>
                </a:effectLst>
              </a:rPr>
              <a:t>EgPO</a:t>
            </a:r>
            <a:r>
              <a:rPr lang="en-US" sz="4000" dirty="0" smtClean="0">
                <a:effectLst>
                  <a:outerShdw blurRad="38100" dist="38100" dir="2700000" algn="tl">
                    <a:srgbClr val="000000">
                      <a:alpha val="43137"/>
                    </a:srgbClr>
                  </a:outerShdw>
                </a:effectLst>
              </a:rPr>
              <a:t> ISA </a:t>
            </a:r>
            <a:r>
              <a:rPr lang="en-US" sz="4000" dirty="0">
                <a:effectLst>
                  <a:outerShdw blurRad="38100" dist="38100" dir="2700000" algn="tl">
                    <a:srgbClr val="000000">
                      <a:alpha val="43137"/>
                    </a:srgbClr>
                  </a:outerShdw>
                </a:effectLst>
              </a:rPr>
              <a:t>and IPEA</a:t>
            </a:r>
          </a:p>
        </p:txBody>
      </p:sp>
      <p:sp>
        <p:nvSpPr>
          <p:cNvPr id="4" name="TextBox 3"/>
          <p:cNvSpPr txBox="1"/>
          <p:nvPr/>
        </p:nvSpPr>
        <p:spPr>
          <a:xfrm>
            <a:off x="395536" y="1628800"/>
            <a:ext cx="8280920" cy="4308872"/>
          </a:xfrm>
          <a:prstGeom prst="rect">
            <a:avLst/>
          </a:prstGeom>
          <a:noFill/>
        </p:spPr>
        <p:txBody>
          <a:bodyPr wrap="square" rtlCol="0">
            <a:spAutoFit/>
          </a:bodyPr>
          <a:lstStyle/>
          <a:p>
            <a:pPr algn="just">
              <a:buClr>
                <a:schemeClr val="accent2"/>
              </a:buClr>
              <a:buSzPct val="80000"/>
              <a:buFont typeface="Wingdings" pitchFamily="2" charset="2"/>
              <a:buChar char="q"/>
            </a:pPr>
            <a:r>
              <a:rPr lang="en-US" sz="3200" dirty="0" smtClean="0"/>
              <a:t>The International Patent cooperation union Assembly at it’s 17 session in October 2009 appointed the Egyptian patent Office as an International Searching and Preliminary Examination authority under the PCT.</a:t>
            </a:r>
          </a:p>
          <a:p>
            <a:pPr algn="just">
              <a:buClr>
                <a:schemeClr val="accent2"/>
              </a:buClr>
              <a:buSzPct val="80000"/>
              <a:buFont typeface="Wingdings" pitchFamily="2" charset="2"/>
              <a:buChar char="q"/>
            </a:pPr>
            <a:endParaRPr lang="en-US" sz="3200" dirty="0" smtClean="0"/>
          </a:p>
          <a:p>
            <a:pPr algn="just">
              <a:buClr>
                <a:schemeClr val="accent2"/>
              </a:buClr>
              <a:buSzPct val="80000"/>
              <a:buFont typeface="Wingdings" pitchFamily="2" charset="2"/>
              <a:buChar char="q"/>
            </a:pPr>
            <a:r>
              <a:rPr lang="en-US" sz="3200" dirty="0" smtClean="0"/>
              <a:t>The Egyptian Patent Office started on beginning of 2013 to work as ISA and IPEA.</a:t>
            </a:r>
          </a:p>
          <a:p>
            <a:pPr algn="just"/>
            <a:endParaRPr lang="en-US" dirty="0"/>
          </a:p>
        </p:txBody>
      </p:sp>
    </p:spTree>
  </p:cSld>
  <p:clrMapOvr>
    <a:masterClrMapping/>
  </p:clrMapOvr>
  <p:transition>
    <p:zoom/>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슬라이드 번호 개체 틀 1"/>
          <p:cNvSpPr>
            <a:spLocks noGrp="1"/>
          </p:cNvSpPr>
          <p:nvPr>
            <p:ph type="sldNum" sz="quarter" idx="10"/>
          </p:nvPr>
        </p:nvSpPr>
        <p:spPr>
          <a:noFill/>
        </p:spPr>
        <p:txBody>
          <a:bodyPr/>
          <a:lstStyle/>
          <a:p>
            <a:fld id="{7A661F0D-07DD-49E8-9D07-B0256C8D1F24}" type="slidenum">
              <a:rPr lang="en-US" altLang="ko-KR" smtClean="0">
                <a:ea typeface="Gulim" pitchFamily="34" charset="-127"/>
              </a:rPr>
              <a:pPr/>
              <a:t>17</a:t>
            </a:fld>
            <a:endParaRPr lang="en-US" altLang="ko-KR" smtClean="0">
              <a:ea typeface="Gulim" pitchFamily="34" charset="-127"/>
            </a:endParaRPr>
          </a:p>
        </p:txBody>
      </p:sp>
      <p:pic>
        <p:nvPicPr>
          <p:cNvPr id="16387" name="Picture 31" descr="1"/>
          <p:cNvPicPr preferRelativeResize="0">
            <a:picLocks noChangeAspect="1" noChangeArrowheads="1"/>
          </p:cNvPicPr>
          <p:nvPr/>
        </p:nvPicPr>
        <p:blipFill>
          <a:blip r:embed="rId3" cstate="print"/>
          <a:srcRect l="3125" r="3021"/>
          <a:stretch>
            <a:fillRect/>
          </a:stretch>
        </p:blipFill>
        <p:spPr bwMode="auto">
          <a:xfrm>
            <a:off x="219075" y="836613"/>
            <a:ext cx="8726488" cy="5695950"/>
          </a:xfrm>
          <a:prstGeom prst="rect">
            <a:avLst/>
          </a:prstGeom>
          <a:noFill/>
          <a:ln w="9525">
            <a:noFill/>
            <a:miter lim="800000"/>
            <a:headEnd/>
            <a:tailEnd/>
          </a:ln>
        </p:spPr>
      </p:pic>
      <p:grpSp>
        <p:nvGrpSpPr>
          <p:cNvPr id="2" name="Group 59"/>
          <p:cNvGrpSpPr>
            <a:grpSpLocks/>
          </p:cNvGrpSpPr>
          <p:nvPr/>
        </p:nvGrpSpPr>
        <p:grpSpPr bwMode="auto">
          <a:xfrm>
            <a:off x="3324236" y="1120786"/>
            <a:ext cx="5486400" cy="5114925"/>
            <a:chOff x="2094" y="804"/>
            <a:chExt cx="3456" cy="3222"/>
          </a:xfrm>
        </p:grpSpPr>
        <p:sp>
          <p:nvSpPr>
            <p:cNvPr id="16416" name="Rectangle 57"/>
            <p:cNvSpPr>
              <a:spLocks noChangeArrowheads="1"/>
            </p:cNvSpPr>
            <p:nvPr/>
          </p:nvSpPr>
          <p:spPr bwMode="auto">
            <a:xfrm>
              <a:off x="2094" y="3695"/>
              <a:ext cx="3456" cy="331"/>
            </a:xfrm>
            <a:prstGeom prst="rect">
              <a:avLst/>
            </a:prstGeom>
            <a:solidFill>
              <a:schemeClr val="bg1">
                <a:alpha val="39999"/>
              </a:schemeClr>
            </a:solidFill>
            <a:ln w="9525">
              <a:noFill/>
              <a:miter lim="800000"/>
              <a:headEnd/>
              <a:tailEnd/>
            </a:ln>
          </p:spPr>
          <p:txBody>
            <a:bodyPr wrap="none" anchor="ctr"/>
            <a:lstStyle/>
            <a:p>
              <a:endParaRPr lang="ko-KR" altLang="en-US">
                <a:latin typeface="Arial Narrow" pitchFamily="34" charset="0"/>
              </a:endParaRPr>
            </a:p>
          </p:txBody>
        </p:sp>
        <p:sp>
          <p:nvSpPr>
            <p:cNvPr id="16417" name="Rectangle 58"/>
            <p:cNvSpPr>
              <a:spLocks noChangeArrowheads="1"/>
            </p:cNvSpPr>
            <p:nvPr/>
          </p:nvSpPr>
          <p:spPr bwMode="auto">
            <a:xfrm>
              <a:off x="2094" y="804"/>
              <a:ext cx="3456" cy="297"/>
            </a:xfrm>
            <a:prstGeom prst="rect">
              <a:avLst/>
            </a:prstGeom>
            <a:solidFill>
              <a:schemeClr val="bg1">
                <a:alpha val="39999"/>
              </a:schemeClr>
            </a:solidFill>
            <a:ln w="9525">
              <a:noFill/>
              <a:miter lim="800000"/>
              <a:headEnd/>
              <a:tailEnd/>
            </a:ln>
          </p:spPr>
          <p:txBody>
            <a:bodyPr wrap="none" anchor="ctr"/>
            <a:lstStyle/>
            <a:p>
              <a:endParaRPr lang="ko-KR" altLang="en-US">
                <a:latin typeface="Arial Narrow" pitchFamily="34" charset="0"/>
              </a:endParaRPr>
            </a:p>
          </p:txBody>
        </p:sp>
      </p:grpSp>
      <p:sp>
        <p:nvSpPr>
          <p:cNvPr id="16389" name="AutoShape 36"/>
          <p:cNvSpPr>
            <a:spLocks noChangeArrowheads="1"/>
          </p:cNvSpPr>
          <p:nvPr/>
        </p:nvSpPr>
        <p:spPr bwMode="auto">
          <a:xfrm>
            <a:off x="6362699" y="1978027"/>
            <a:ext cx="2363788" cy="3332163"/>
          </a:xfrm>
          <a:prstGeom prst="roundRect">
            <a:avLst>
              <a:gd name="adj" fmla="val 5644"/>
            </a:avLst>
          </a:prstGeom>
          <a:solidFill>
            <a:schemeClr val="bg1"/>
          </a:solidFill>
          <a:ln w="22225">
            <a:solidFill>
              <a:srgbClr val="336699"/>
            </a:solidFill>
            <a:round/>
            <a:headEnd/>
            <a:tailEnd/>
          </a:ln>
        </p:spPr>
        <p:txBody>
          <a:bodyPr wrap="none" lIns="91320" tIns="45661" rIns="91320" bIns="45661" anchor="ctr"/>
          <a:lstStyle/>
          <a:p>
            <a:endParaRPr lang="ko-KR" altLang="en-US">
              <a:latin typeface="Arial Narrow" pitchFamily="34" charset="0"/>
            </a:endParaRPr>
          </a:p>
        </p:txBody>
      </p:sp>
      <p:sp>
        <p:nvSpPr>
          <p:cNvPr id="16390" name="AutoShape 35"/>
          <p:cNvSpPr>
            <a:spLocks noChangeArrowheads="1"/>
          </p:cNvSpPr>
          <p:nvPr/>
        </p:nvSpPr>
        <p:spPr bwMode="auto">
          <a:xfrm>
            <a:off x="3371860" y="1965337"/>
            <a:ext cx="2906713" cy="3344863"/>
          </a:xfrm>
          <a:prstGeom prst="roundRect">
            <a:avLst>
              <a:gd name="adj" fmla="val 5644"/>
            </a:avLst>
          </a:prstGeom>
          <a:solidFill>
            <a:schemeClr val="bg1"/>
          </a:solidFill>
          <a:ln w="22225">
            <a:solidFill>
              <a:srgbClr val="008000"/>
            </a:solidFill>
            <a:round/>
            <a:headEnd/>
            <a:tailEnd/>
          </a:ln>
        </p:spPr>
        <p:txBody>
          <a:bodyPr wrap="none" lIns="91320" tIns="45661" rIns="91320" bIns="45661" anchor="ctr"/>
          <a:lstStyle/>
          <a:p>
            <a:endParaRPr lang="ko-KR" altLang="en-US">
              <a:latin typeface="Arial Narrow" pitchFamily="34" charset="0"/>
            </a:endParaRPr>
          </a:p>
        </p:txBody>
      </p:sp>
      <p:sp>
        <p:nvSpPr>
          <p:cNvPr id="16391" name="AutoShape 5"/>
          <p:cNvSpPr>
            <a:spLocks noChangeArrowheads="1"/>
          </p:cNvSpPr>
          <p:nvPr/>
        </p:nvSpPr>
        <p:spPr bwMode="auto">
          <a:xfrm>
            <a:off x="-47624" y="765182"/>
            <a:ext cx="9144000" cy="5616575"/>
          </a:xfrm>
          <a:prstGeom prst="roundRect">
            <a:avLst>
              <a:gd name="adj" fmla="val 4023"/>
            </a:avLst>
          </a:prstGeom>
          <a:noFill/>
          <a:ln w="12700">
            <a:noFill/>
            <a:round/>
            <a:headEnd/>
            <a:tailEnd/>
          </a:ln>
        </p:spPr>
        <p:txBody>
          <a:bodyPr wrap="none" lIns="91320" tIns="45661" rIns="91320" bIns="45661" anchor="ctr"/>
          <a:lstStyle/>
          <a:p>
            <a:endParaRPr lang="ko-KR" altLang="en-US" sz="2000" dirty="0">
              <a:solidFill>
                <a:srgbClr val="CC3300"/>
              </a:solidFill>
              <a:latin typeface="Arial Narrow" pitchFamily="34" charset="0"/>
            </a:endParaRPr>
          </a:p>
        </p:txBody>
      </p:sp>
      <p:sp>
        <p:nvSpPr>
          <p:cNvPr id="16392" name="AutoShape 55"/>
          <p:cNvSpPr>
            <a:spLocks noChangeArrowheads="1"/>
          </p:cNvSpPr>
          <p:nvPr/>
        </p:nvSpPr>
        <p:spPr bwMode="auto">
          <a:xfrm>
            <a:off x="1428750" y="944563"/>
            <a:ext cx="7488238" cy="755650"/>
          </a:xfrm>
          <a:prstGeom prst="roundRect">
            <a:avLst>
              <a:gd name="adj" fmla="val 7444"/>
            </a:avLst>
          </a:prstGeom>
          <a:noFill/>
          <a:ln w="19050">
            <a:noFill/>
            <a:round/>
            <a:headEnd/>
            <a:tailEnd/>
          </a:ln>
        </p:spPr>
        <p:txBody>
          <a:bodyPr wrap="none" lIns="91320" tIns="45661" rIns="91320" bIns="45661" anchor="ctr"/>
          <a:lstStyle/>
          <a:p>
            <a:pPr algn="r"/>
            <a:endParaRPr lang="ko-KR" altLang="en-US">
              <a:solidFill>
                <a:srgbClr val="CC3300"/>
              </a:solidFill>
              <a:latin typeface="Arial Narrow" pitchFamily="34" charset="0"/>
            </a:endParaRPr>
          </a:p>
        </p:txBody>
      </p:sp>
      <p:sp>
        <p:nvSpPr>
          <p:cNvPr id="16393" name="Text Box 56"/>
          <p:cNvSpPr txBox="1">
            <a:spLocks noChangeArrowheads="1"/>
          </p:cNvSpPr>
          <p:nvPr/>
        </p:nvSpPr>
        <p:spPr bwMode="auto">
          <a:xfrm>
            <a:off x="3429000" y="1190626"/>
            <a:ext cx="5429250" cy="374950"/>
          </a:xfrm>
          <a:prstGeom prst="rect">
            <a:avLst/>
          </a:prstGeom>
          <a:noFill/>
          <a:ln w="9525">
            <a:noFill/>
            <a:miter lim="800000"/>
            <a:headEnd/>
            <a:tailEnd/>
          </a:ln>
        </p:spPr>
        <p:txBody>
          <a:bodyPr lIns="91320" tIns="45661" rIns="91320" bIns="45661">
            <a:spAutoFit/>
          </a:bodyPr>
          <a:lstStyle/>
          <a:p>
            <a:pPr>
              <a:lnSpc>
                <a:spcPct val="90000"/>
              </a:lnSpc>
              <a:spcBef>
                <a:spcPct val="50000"/>
              </a:spcBef>
              <a:buSzPct val="80000"/>
            </a:pPr>
            <a:r>
              <a:rPr lang="en-US" altLang="ko-KR" sz="2000" b="1" dirty="0">
                <a:solidFill>
                  <a:srgbClr val="003366"/>
                </a:solidFill>
                <a:latin typeface="Arial Narrow" pitchFamily="34" charset="0"/>
              </a:rPr>
              <a:t> Reach 2% of GDP on GERD in Next 3 Years</a:t>
            </a:r>
          </a:p>
        </p:txBody>
      </p:sp>
      <p:sp>
        <p:nvSpPr>
          <p:cNvPr id="16394" name="AutoShape 57"/>
          <p:cNvSpPr>
            <a:spLocks noChangeArrowheads="1"/>
          </p:cNvSpPr>
          <p:nvPr/>
        </p:nvSpPr>
        <p:spPr bwMode="auto">
          <a:xfrm>
            <a:off x="357200" y="1084263"/>
            <a:ext cx="1295400" cy="508000"/>
          </a:xfrm>
          <a:prstGeom prst="roundRect">
            <a:avLst>
              <a:gd name="adj" fmla="val 7444"/>
            </a:avLst>
          </a:prstGeom>
          <a:noFill/>
          <a:ln w="28575">
            <a:noFill/>
            <a:round/>
            <a:headEnd/>
            <a:tailEnd/>
          </a:ln>
        </p:spPr>
        <p:txBody>
          <a:bodyPr wrap="none" lIns="91320" tIns="45661" rIns="91320" bIns="45661" anchor="ctr"/>
          <a:lstStyle/>
          <a:p>
            <a:r>
              <a:rPr lang="en-US" altLang="ko-KR" sz="2000" b="1" dirty="0">
                <a:latin typeface="Arial Narrow" pitchFamily="34" charset="0"/>
              </a:rPr>
              <a:t>Input</a:t>
            </a:r>
          </a:p>
        </p:txBody>
      </p:sp>
      <p:sp>
        <p:nvSpPr>
          <p:cNvPr id="16395" name="AutoShape 58"/>
          <p:cNvSpPr>
            <a:spLocks noChangeArrowheads="1"/>
          </p:cNvSpPr>
          <p:nvPr/>
        </p:nvSpPr>
        <p:spPr bwMode="auto">
          <a:xfrm>
            <a:off x="2017715" y="1087441"/>
            <a:ext cx="1138237" cy="612775"/>
          </a:xfrm>
          <a:prstGeom prst="roundRect">
            <a:avLst>
              <a:gd name="adj" fmla="val 16667"/>
            </a:avLst>
          </a:prstGeom>
          <a:noFill/>
          <a:ln w="12700">
            <a:noFill/>
            <a:round/>
            <a:headEnd/>
            <a:tailEnd/>
          </a:ln>
        </p:spPr>
        <p:txBody>
          <a:bodyPr wrap="none" lIns="91320" tIns="45661" rIns="91320" bIns="45661" anchor="ctr"/>
          <a:lstStyle/>
          <a:p>
            <a:pPr eaLnBrk="0" hangingPunct="0">
              <a:lnSpc>
                <a:spcPct val="70000"/>
              </a:lnSpc>
            </a:pPr>
            <a:r>
              <a:rPr lang="en-US" altLang="ko-KR" sz="2400" b="1" dirty="0">
                <a:solidFill>
                  <a:srgbClr val="CC3300"/>
                </a:solidFill>
                <a:latin typeface="Arial Narrow" pitchFamily="34" charset="0"/>
              </a:rPr>
              <a:t>2</a:t>
            </a:r>
            <a:r>
              <a:rPr lang="en-US" altLang="ko-KR" b="1" dirty="0">
                <a:solidFill>
                  <a:srgbClr val="CC3300"/>
                </a:solidFill>
                <a:latin typeface="Arial Narrow" pitchFamily="34" charset="0"/>
              </a:rPr>
              <a:t>% </a:t>
            </a:r>
          </a:p>
          <a:p>
            <a:pPr eaLnBrk="0" hangingPunct="0">
              <a:lnSpc>
                <a:spcPct val="70000"/>
              </a:lnSpc>
            </a:pPr>
            <a:r>
              <a:rPr lang="en-US" altLang="ko-KR" b="1" dirty="0">
                <a:latin typeface="Arial Narrow" pitchFamily="34" charset="0"/>
              </a:rPr>
              <a:t>Investment</a:t>
            </a:r>
          </a:p>
        </p:txBody>
      </p:sp>
      <p:sp>
        <p:nvSpPr>
          <p:cNvPr id="16396" name="AutoShape 61"/>
          <p:cNvSpPr>
            <a:spLocks noChangeArrowheads="1"/>
          </p:cNvSpPr>
          <p:nvPr/>
        </p:nvSpPr>
        <p:spPr bwMode="auto">
          <a:xfrm>
            <a:off x="373065" y="3268673"/>
            <a:ext cx="1262062" cy="561975"/>
          </a:xfrm>
          <a:prstGeom prst="roundRect">
            <a:avLst>
              <a:gd name="adj" fmla="val 7444"/>
            </a:avLst>
          </a:prstGeom>
          <a:noFill/>
          <a:ln w="28575">
            <a:noFill/>
            <a:round/>
            <a:headEnd/>
            <a:tailEnd/>
          </a:ln>
        </p:spPr>
        <p:txBody>
          <a:bodyPr wrap="none" lIns="91320" tIns="45661" rIns="91320" bIns="45661" anchor="ctr"/>
          <a:lstStyle/>
          <a:p>
            <a:r>
              <a:rPr lang="en-US" altLang="ko-KR" sz="2000" b="1" dirty="0">
                <a:latin typeface="Arial Narrow" pitchFamily="34" charset="0"/>
              </a:rPr>
              <a:t>Process</a:t>
            </a:r>
          </a:p>
        </p:txBody>
      </p:sp>
      <p:sp>
        <p:nvSpPr>
          <p:cNvPr id="16397" name="AutoShape 62"/>
          <p:cNvSpPr>
            <a:spLocks noChangeArrowheads="1"/>
          </p:cNvSpPr>
          <p:nvPr/>
        </p:nvSpPr>
        <p:spPr bwMode="auto">
          <a:xfrm>
            <a:off x="1968500" y="1952625"/>
            <a:ext cx="1136650" cy="3348038"/>
          </a:xfrm>
          <a:prstGeom prst="roundRect">
            <a:avLst>
              <a:gd name="adj" fmla="val 16667"/>
            </a:avLst>
          </a:prstGeom>
          <a:noFill/>
          <a:ln w="12700">
            <a:noFill/>
            <a:round/>
            <a:headEnd/>
            <a:tailEnd/>
          </a:ln>
        </p:spPr>
        <p:txBody>
          <a:bodyPr wrap="none" lIns="91320" tIns="45661" rIns="91320" bIns="45661" anchor="ctr"/>
          <a:lstStyle/>
          <a:p>
            <a:pPr eaLnBrk="0" hangingPunct="0">
              <a:lnSpc>
                <a:spcPct val="70000"/>
              </a:lnSpc>
            </a:pPr>
            <a:r>
              <a:rPr lang="en-US" altLang="ko-KR" sz="2400" b="1" dirty="0">
                <a:solidFill>
                  <a:srgbClr val="CC3300"/>
                </a:solidFill>
                <a:latin typeface="Arial Narrow" pitchFamily="34" charset="0"/>
              </a:rPr>
              <a:t>6 </a:t>
            </a:r>
            <a:r>
              <a:rPr lang="en-US" altLang="ko-KR" b="1" dirty="0">
                <a:latin typeface="Arial Narrow" pitchFamily="34" charset="0"/>
              </a:rPr>
              <a:t>Focused</a:t>
            </a:r>
          </a:p>
          <a:p>
            <a:pPr eaLnBrk="0" hangingPunct="0">
              <a:lnSpc>
                <a:spcPct val="70000"/>
              </a:lnSpc>
            </a:pPr>
            <a:r>
              <a:rPr lang="en-US" altLang="ko-KR" b="1" dirty="0">
                <a:latin typeface="Arial Narrow" pitchFamily="34" charset="0"/>
              </a:rPr>
              <a:t>Sciences</a:t>
            </a:r>
          </a:p>
          <a:p>
            <a:pPr eaLnBrk="0" hangingPunct="0">
              <a:lnSpc>
                <a:spcPct val="70000"/>
              </a:lnSpc>
            </a:pPr>
            <a:r>
              <a:rPr lang="en-US" altLang="ko-KR" b="1" dirty="0">
                <a:latin typeface="Arial Narrow" pitchFamily="34" charset="0"/>
              </a:rPr>
              <a:t>&amp;</a:t>
            </a:r>
          </a:p>
          <a:p>
            <a:pPr eaLnBrk="0" hangingPunct="0">
              <a:lnSpc>
                <a:spcPct val="70000"/>
              </a:lnSpc>
            </a:pPr>
            <a:r>
              <a:rPr lang="en-US" altLang="ko-KR" b="1" dirty="0">
                <a:latin typeface="Arial Narrow" pitchFamily="34" charset="0"/>
              </a:rPr>
              <a:t>Initiatives</a:t>
            </a:r>
          </a:p>
        </p:txBody>
      </p:sp>
      <p:sp>
        <p:nvSpPr>
          <p:cNvPr id="16398" name="AutoShape 11"/>
          <p:cNvSpPr>
            <a:spLocks noChangeArrowheads="1"/>
          </p:cNvSpPr>
          <p:nvPr/>
        </p:nvSpPr>
        <p:spPr bwMode="auto">
          <a:xfrm>
            <a:off x="2724150" y="2420945"/>
            <a:ext cx="3276600" cy="2844800"/>
          </a:xfrm>
          <a:prstGeom prst="roundRect">
            <a:avLst>
              <a:gd name="adj" fmla="val 4023"/>
            </a:avLst>
          </a:prstGeom>
          <a:noFill/>
          <a:ln w="12700">
            <a:noFill/>
            <a:round/>
            <a:headEnd/>
            <a:tailEnd/>
          </a:ln>
        </p:spPr>
        <p:txBody>
          <a:bodyPr wrap="none" lIns="91320" tIns="45661" rIns="91320" bIns="45661" anchor="ctr"/>
          <a:lstStyle/>
          <a:p>
            <a:endParaRPr lang="en-US" altLang="ko-KR" sz="2000" dirty="0">
              <a:solidFill>
                <a:srgbClr val="CC3300"/>
              </a:solidFill>
              <a:latin typeface="Arial Narrow" pitchFamily="34" charset="0"/>
            </a:endParaRPr>
          </a:p>
          <a:p>
            <a:endParaRPr lang="en-US" altLang="ko-KR" sz="2000" dirty="0">
              <a:solidFill>
                <a:srgbClr val="CC3300"/>
              </a:solidFill>
              <a:latin typeface="Arial Narrow" pitchFamily="34" charset="0"/>
            </a:endParaRPr>
          </a:p>
        </p:txBody>
      </p:sp>
      <p:sp>
        <p:nvSpPr>
          <p:cNvPr id="16399" name="Text Box 11"/>
          <p:cNvSpPr txBox="1">
            <a:spLocks noChangeArrowheads="1"/>
          </p:cNvSpPr>
          <p:nvPr/>
        </p:nvSpPr>
        <p:spPr bwMode="auto">
          <a:xfrm>
            <a:off x="3348038" y="2430476"/>
            <a:ext cx="2870200" cy="2943225"/>
          </a:xfrm>
          <a:prstGeom prst="rect">
            <a:avLst/>
          </a:prstGeom>
          <a:noFill/>
          <a:ln w="9525">
            <a:noFill/>
            <a:miter lim="800000"/>
            <a:headEnd/>
            <a:tailEnd/>
          </a:ln>
        </p:spPr>
        <p:txBody>
          <a:bodyPr lIns="91320" tIns="45661" rIns="91320" bIns="45661"/>
          <a:lstStyle/>
          <a:p>
            <a:pPr algn="l">
              <a:lnSpc>
                <a:spcPct val="150000"/>
              </a:lnSpc>
              <a:buClr>
                <a:srgbClr val="FFFF99"/>
              </a:buClr>
            </a:pPr>
            <a:r>
              <a:rPr lang="ko-KR" altLang="en-US" b="1" dirty="0">
                <a:solidFill>
                  <a:srgbClr val="003300"/>
                </a:solidFill>
                <a:latin typeface="Arial Narrow" pitchFamily="34" charset="0"/>
                <a:cs typeface="Arial" pitchFamily="34" charset="0"/>
              </a:rPr>
              <a:t> </a:t>
            </a:r>
            <a:r>
              <a:rPr lang="ko-KR" altLang="en-US" b="1" dirty="0">
                <a:solidFill>
                  <a:srgbClr val="003300"/>
                </a:solidFill>
                <a:latin typeface="Arial Narrow" pitchFamily="34" charset="0"/>
                <a:ea typeface="HY중고딕" pitchFamily="18" charset="-127"/>
              </a:rPr>
              <a:t>① </a:t>
            </a:r>
            <a:r>
              <a:rPr lang="en-US" altLang="ko-KR" sz="1200" b="1" dirty="0">
                <a:solidFill>
                  <a:srgbClr val="003300"/>
                </a:solidFill>
                <a:latin typeface="Arial Narrow" pitchFamily="34" charset="0"/>
                <a:ea typeface="HY중고딕" pitchFamily="18" charset="-127"/>
              </a:rPr>
              <a:t>Basic Sciences (all disciplines </a:t>
            </a:r>
          </a:p>
          <a:p>
            <a:pPr algn="l">
              <a:lnSpc>
                <a:spcPct val="150000"/>
              </a:lnSpc>
              <a:buClr>
                <a:srgbClr val="FFFF99"/>
              </a:buClr>
            </a:pPr>
            <a:r>
              <a:rPr lang="en-US" altLang="ko-KR" sz="1200" b="1" dirty="0">
                <a:solidFill>
                  <a:srgbClr val="003300"/>
                </a:solidFill>
                <a:latin typeface="Arial Narrow" pitchFamily="34" charset="0"/>
                <a:ea typeface="HY중고딕" pitchFamily="18" charset="-127"/>
              </a:rPr>
              <a:t>       exp. Physics).</a:t>
            </a:r>
          </a:p>
          <a:p>
            <a:pPr algn="l">
              <a:lnSpc>
                <a:spcPct val="150000"/>
              </a:lnSpc>
              <a:buClr>
                <a:srgbClr val="FFFF99"/>
              </a:buClr>
            </a:pPr>
            <a:r>
              <a:rPr lang="en-US" altLang="ko-KR" sz="1200" b="1" dirty="0">
                <a:solidFill>
                  <a:srgbClr val="003300"/>
                </a:solidFill>
                <a:latin typeface="Arial Narrow" pitchFamily="34" charset="0"/>
                <a:ea typeface="HY중고딕" pitchFamily="18" charset="-127"/>
              </a:rPr>
              <a:t> ② </a:t>
            </a:r>
            <a:r>
              <a:rPr lang="en-US" altLang="ko-KR" sz="1200" b="1" dirty="0">
                <a:solidFill>
                  <a:srgbClr val="003300"/>
                </a:solidFill>
                <a:latin typeface="Arial Narrow" pitchFamily="34" charset="0"/>
                <a:ea typeface="HY중고딕" pitchFamily="18" charset="-127"/>
                <a:hlinkClick r:id="" action="ppaction://noaction"/>
              </a:rPr>
              <a:t>Applied and Technological Sciences</a:t>
            </a:r>
          </a:p>
          <a:p>
            <a:pPr algn="l">
              <a:lnSpc>
                <a:spcPct val="150000"/>
              </a:lnSpc>
              <a:buClr>
                <a:srgbClr val="FFFF99"/>
              </a:buClr>
            </a:pPr>
            <a:r>
              <a:rPr lang="en-US" altLang="ko-KR" sz="1200" b="1" dirty="0">
                <a:solidFill>
                  <a:srgbClr val="003300"/>
                </a:solidFill>
                <a:latin typeface="Arial Narrow" pitchFamily="34" charset="0"/>
                <a:ea typeface="HY중고딕" pitchFamily="18" charset="-127"/>
                <a:hlinkClick r:id="" action="ppaction://noaction"/>
              </a:rPr>
              <a:t>      (Energy, Water, Food, and Health)</a:t>
            </a:r>
            <a:endParaRPr lang="ko-KR" altLang="en-US" sz="1200" b="1" dirty="0">
              <a:solidFill>
                <a:srgbClr val="003300"/>
              </a:solidFill>
              <a:latin typeface="Arial Narrow" pitchFamily="34" charset="0"/>
              <a:ea typeface="HY중고딕" pitchFamily="18" charset="-127"/>
            </a:endParaRPr>
          </a:p>
          <a:p>
            <a:pPr algn="l">
              <a:lnSpc>
                <a:spcPct val="150000"/>
              </a:lnSpc>
              <a:buClr>
                <a:srgbClr val="FFFF99"/>
              </a:buClr>
            </a:pPr>
            <a:r>
              <a:rPr lang="en-US" altLang="ko-KR" sz="1200" b="1" dirty="0">
                <a:solidFill>
                  <a:srgbClr val="003300"/>
                </a:solidFill>
                <a:latin typeface="Arial Narrow" pitchFamily="34" charset="0"/>
                <a:ea typeface="HY중고딕" pitchFamily="18" charset="-127"/>
              </a:rPr>
              <a:t> ③ New Frontier Sciences (NANO, MEMs)</a:t>
            </a:r>
            <a:endParaRPr lang="ko-KR" altLang="en-US" sz="1200" b="1" dirty="0">
              <a:solidFill>
                <a:srgbClr val="003300"/>
              </a:solidFill>
              <a:latin typeface="Arial Narrow" pitchFamily="34" charset="0"/>
              <a:ea typeface="HY중고딕" pitchFamily="18" charset="-127"/>
            </a:endParaRPr>
          </a:p>
          <a:p>
            <a:pPr algn="l">
              <a:lnSpc>
                <a:spcPct val="150000"/>
              </a:lnSpc>
              <a:buClr>
                <a:srgbClr val="FFFF99"/>
              </a:buClr>
            </a:pPr>
            <a:r>
              <a:rPr lang="en-US" altLang="ko-KR" sz="1200" b="1" dirty="0">
                <a:solidFill>
                  <a:srgbClr val="003300"/>
                </a:solidFill>
                <a:latin typeface="Arial Narrow" pitchFamily="34" charset="0"/>
                <a:ea typeface="HY중고딕" pitchFamily="18" charset="-127"/>
              </a:rPr>
              <a:t> ④ Industrial Sciences (Textile, Oil and </a:t>
            </a:r>
          </a:p>
          <a:p>
            <a:pPr algn="l">
              <a:lnSpc>
                <a:spcPct val="150000"/>
              </a:lnSpc>
              <a:buClr>
                <a:srgbClr val="FFFF99"/>
              </a:buClr>
            </a:pPr>
            <a:r>
              <a:rPr lang="en-US" altLang="ko-KR" sz="1200" b="1" dirty="0">
                <a:solidFill>
                  <a:srgbClr val="003300"/>
                </a:solidFill>
                <a:latin typeface="Arial Narrow" pitchFamily="34" charset="0"/>
                <a:ea typeface="HY중고딕" pitchFamily="18" charset="-127"/>
              </a:rPr>
              <a:t>         Pharmaceutical Technologies).</a:t>
            </a:r>
          </a:p>
          <a:p>
            <a:pPr algn="l">
              <a:lnSpc>
                <a:spcPct val="150000"/>
              </a:lnSpc>
              <a:buClr>
                <a:srgbClr val="FFFF99"/>
              </a:buClr>
            </a:pPr>
            <a:r>
              <a:rPr lang="en-US" altLang="ko-KR" sz="1200" b="1" dirty="0">
                <a:solidFill>
                  <a:srgbClr val="003300"/>
                </a:solidFill>
                <a:latin typeface="Arial Narrow" pitchFamily="34" charset="0"/>
                <a:ea typeface="HY중고딕" pitchFamily="18" charset="-127"/>
              </a:rPr>
              <a:t> ⑤ State-led Sciences (Space, Ocean). </a:t>
            </a:r>
            <a:endParaRPr lang="ko-KR" altLang="en-US" sz="1200" b="1" dirty="0">
              <a:solidFill>
                <a:srgbClr val="003300"/>
              </a:solidFill>
              <a:latin typeface="Arial Narrow" pitchFamily="34" charset="0"/>
              <a:ea typeface="HY중고딕" pitchFamily="18" charset="-127"/>
            </a:endParaRPr>
          </a:p>
          <a:p>
            <a:pPr algn="l">
              <a:lnSpc>
                <a:spcPct val="150000"/>
              </a:lnSpc>
              <a:buClr>
                <a:srgbClr val="FFFF99"/>
              </a:buClr>
            </a:pPr>
            <a:r>
              <a:rPr lang="ko-KR" altLang="en-US" sz="1200" b="1" dirty="0">
                <a:solidFill>
                  <a:srgbClr val="003300"/>
                </a:solidFill>
                <a:latin typeface="Arial Narrow" pitchFamily="34" charset="0"/>
                <a:ea typeface="HY중고딕" pitchFamily="18" charset="-127"/>
              </a:rPr>
              <a:t> ⑥ </a:t>
            </a:r>
            <a:r>
              <a:rPr lang="en-US" altLang="ko-KR" sz="1200" b="1" dirty="0">
                <a:solidFill>
                  <a:srgbClr val="003300"/>
                </a:solidFill>
                <a:latin typeface="Arial Narrow" pitchFamily="34" charset="0"/>
                <a:ea typeface="HY중고딕" pitchFamily="18" charset="-127"/>
              </a:rPr>
              <a:t>Services Sciences (Content, logistics </a:t>
            </a:r>
          </a:p>
          <a:p>
            <a:pPr algn="l">
              <a:lnSpc>
                <a:spcPct val="150000"/>
              </a:lnSpc>
              <a:buClr>
                <a:srgbClr val="FFFF99"/>
              </a:buClr>
            </a:pPr>
            <a:r>
              <a:rPr lang="en-US" altLang="ko-KR" sz="1200" b="1" dirty="0">
                <a:solidFill>
                  <a:srgbClr val="003300"/>
                </a:solidFill>
                <a:latin typeface="Arial Narrow" pitchFamily="34" charset="0"/>
                <a:ea typeface="HY중고딕" pitchFamily="18" charset="-127"/>
              </a:rPr>
              <a:t>       and communication Technologies)</a:t>
            </a:r>
          </a:p>
        </p:txBody>
      </p:sp>
      <p:sp>
        <p:nvSpPr>
          <p:cNvPr id="16400" name="AutoShape 69"/>
          <p:cNvSpPr>
            <a:spLocks noChangeArrowheads="1"/>
          </p:cNvSpPr>
          <p:nvPr/>
        </p:nvSpPr>
        <p:spPr bwMode="auto">
          <a:xfrm>
            <a:off x="1428752" y="5408624"/>
            <a:ext cx="7451725" cy="865187"/>
          </a:xfrm>
          <a:prstGeom prst="roundRect">
            <a:avLst>
              <a:gd name="adj" fmla="val 7444"/>
            </a:avLst>
          </a:prstGeom>
          <a:noFill/>
          <a:ln w="19050">
            <a:noFill/>
            <a:round/>
            <a:headEnd/>
            <a:tailEnd/>
          </a:ln>
        </p:spPr>
        <p:txBody>
          <a:bodyPr wrap="none" lIns="91320" tIns="45661" rIns="91320" bIns="45661" anchor="ctr"/>
          <a:lstStyle/>
          <a:p>
            <a:pPr algn="r"/>
            <a:endParaRPr lang="ko-KR" altLang="en-US">
              <a:solidFill>
                <a:srgbClr val="CC3300"/>
              </a:solidFill>
              <a:latin typeface="Arial Narrow" pitchFamily="34" charset="0"/>
            </a:endParaRPr>
          </a:p>
        </p:txBody>
      </p:sp>
      <p:sp>
        <p:nvSpPr>
          <p:cNvPr id="16401" name="AutoShape 71"/>
          <p:cNvSpPr>
            <a:spLocks noChangeArrowheads="1"/>
          </p:cNvSpPr>
          <p:nvPr/>
        </p:nvSpPr>
        <p:spPr bwMode="auto">
          <a:xfrm>
            <a:off x="388950" y="5683251"/>
            <a:ext cx="1295400" cy="527050"/>
          </a:xfrm>
          <a:prstGeom prst="roundRect">
            <a:avLst>
              <a:gd name="adj" fmla="val 7444"/>
            </a:avLst>
          </a:prstGeom>
          <a:noFill/>
          <a:ln w="28575">
            <a:noFill/>
            <a:round/>
            <a:headEnd/>
            <a:tailEnd/>
          </a:ln>
        </p:spPr>
        <p:txBody>
          <a:bodyPr wrap="none" lIns="91320" tIns="45661" rIns="91320" bIns="45661" anchor="ctr"/>
          <a:lstStyle/>
          <a:p>
            <a:r>
              <a:rPr lang="en-US" altLang="ko-KR" sz="2000" b="1" dirty="0">
                <a:latin typeface="Arial Narrow" pitchFamily="34" charset="0"/>
              </a:rPr>
              <a:t>Performance</a:t>
            </a:r>
          </a:p>
        </p:txBody>
      </p:sp>
      <p:sp>
        <p:nvSpPr>
          <p:cNvPr id="16402" name="AutoShape 11"/>
          <p:cNvSpPr>
            <a:spLocks noChangeArrowheads="1"/>
          </p:cNvSpPr>
          <p:nvPr/>
        </p:nvSpPr>
        <p:spPr bwMode="auto">
          <a:xfrm>
            <a:off x="6188087" y="2420945"/>
            <a:ext cx="2519363" cy="2844800"/>
          </a:xfrm>
          <a:prstGeom prst="roundRect">
            <a:avLst>
              <a:gd name="adj" fmla="val 4023"/>
            </a:avLst>
          </a:prstGeom>
          <a:noFill/>
          <a:ln w="12700">
            <a:noFill/>
            <a:round/>
            <a:headEnd/>
            <a:tailEnd/>
          </a:ln>
        </p:spPr>
        <p:txBody>
          <a:bodyPr wrap="none" lIns="91320" tIns="45661" rIns="91320" bIns="45661" anchor="ctr"/>
          <a:lstStyle/>
          <a:p>
            <a:endParaRPr lang="en-US" altLang="ko-KR" sz="2000" dirty="0">
              <a:solidFill>
                <a:srgbClr val="CC3300"/>
              </a:solidFill>
              <a:latin typeface="Arial Narrow" pitchFamily="34" charset="0"/>
            </a:endParaRPr>
          </a:p>
          <a:p>
            <a:endParaRPr lang="en-US" altLang="ko-KR" sz="2000" dirty="0">
              <a:solidFill>
                <a:srgbClr val="CC3300"/>
              </a:solidFill>
              <a:latin typeface="Arial Narrow" pitchFamily="34" charset="0"/>
            </a:endParaRPr>
          </a:p>
        </p:txBody>
      </p:sp>
      <p:sp>
        <p:nvSpPr>
          <p:cNvPr id="16403" name="Text Box 11"/>
          <p:cNvSpPr txBox="1">
            <a:spLocks noChangeArrowheads="1"/>
          </p:cNvSpPr>
          <p:nvPr/>
        </p:nvSpPr>
        <p:spPr bwMode="auto">
          <a:xfrm>
            <a:off x="6307140" y="2455863"/>
            <a:ext cx="2441575" cy="2773362"/>
          </a:xfrm>
          <a:prstGeom prst="rect">
            <a:avLst/>
          </a:prstGeom>
          <a:noFill/>
          <a:ln w="9525">
            <a:noFill/>
            <a:miter lim="800000"/>
            <a:headEnd/>
            <a:tailEnd/>
          </a:ln>
        </p:spPr>
        <p:txBody>
          <a:bodyPr wrap="none" lIns="91320" tIns="45661" rIns="91320" bIns="45661"/>
          <a:lstStyle/>
          <a:p>
            <a:pPr algn="l">
              <a:lnSpc>
                <a:spcPct val="190000"/>
              </a:lnSpc>
              <a:buClr>
                <a:srgbClr val="FFFF99"/>
              </a:buClr>
            </a:pPr>
            <a:r>
              <a:rPr lang="ko-KR" altLang="en-US" sz="1400" b="1" dirty="0">
                <a:solidFill>
                  <a:srgbClr val="000066"/>
                </a:solidFill>
                <a:latin typeface="Arial Narrow" pitchFamily="34" charset="0"/>
                <a:ea typeface="HY중고딕" pitchFamily="18" charset="-127"/>
              </a:rPr>
              <a:t> ① </a:t>
            </a:r>
            <a:r>
              <a:rPr lang="en-US" altLang="ko-KR" sz="1400" dirty="0">
                <a:solidFill>
                  <a:srgbClr val="333399"/>
                </a:solidFill>
                <a:latin typeface="Arial Narrow" pitchFamily="34" charset="0"/>
              </a:rPr>
              <a:t>Improving Research Environment</a:t>
            </a:r>
            <a:endParaRPr lang="ko-KR" altLang="en-US" sz="1400" dirty="0">
              <a:solidFill>
                <a:srgbClr val="333399"/>
              </a:solidFill>
              <a:latin typeface="Arial Narrow" pitchFamily="34" charset="0"/>
              <a:ea typeface="HY중고딕" pitchFamily="18" charset="-127"/>
            </a:endParaRPr>
          </a:p>
          <a:p>
            <a:pPr algn="l">
              <a:lnSpc>
                <a:spcPct val="190000"/>
              </a:lnSpc>
              <a:buClr>
                <a:srgbClr val="FFFF99"/>
              </a:buClr>
            </a:pPr>
            <a:r>
              <a:rPr lang="en-US" altLang="ko-KR" sz="1400" dirty="0">
                <a:solidFill>
                  <a:srgbClr val="000066"/>
                </a:solidFill>
                <a:latin typeface="Arial Narrow" pitchFamily="34" charset="0"/>
              </a:rPr>
              <a:t> ② </a:t>
            </a:r>
            <a:r>
              <a:rPr lang="en-US" altLang="ko-KR" sz="1400" dirty="0">
                <a:solidFill>
                  <a:srgbClr val="333399"/>
                </a:solidFill>
                <a:latin typeface="Arial Narrow" pitchFamily="34" charset="0"/>
              </a:rPr>
              <a:t>Competitive Human Resources.</a:t>
            </a:r>
            <a:endParaRPr lang="ko-KR" altLang="en-US" sz="1400" dirty="0">
              <a:solidFill>
                <a:srgbClr val="333399"/>
              </a:solidFill>
              <a:latin typeface="Arial Narrow" pitchFamily="34" charset="0"/>
              <a:ea typeface="HY중고딕" pitchFamily="18" charset="-127"/>
            </a:endParaRPr>
          </a:p>
          <a:p>
            <a:pPr algn="l">
              <a:lnSpc>
                <a:spcPct val="190000"/>
              </a:lnSpc>
              <a:buClr>
                <a:srgbClr val="FFFF99"/>
              </a:buClr>
            </a:pPr>
            <a:r>
              <a:rPr lang="en-US" altLang="ko-KR" sz="1400" dirty="0">
                <a:solidFill>
                  <a:srgbClr val="333399"/>
                </a:solidFill>
                <a:latin typeface="Arial Narrow" pitchFamily="34" charset="0"/>
              </a:rPr>
              <a:t> ③ Funding of S&amp;T support programs</a:t>
            </a:r>
            <a:endParaRPr lang="ko-KR" altLang="en-US" sz="1400" dirty="0">
              <a:solidFill>
                <a:srgbClr val="333399"/>
              </a:solidFill>
              <a:latin typeface="Arial Narrow" pitchFamily="34" charset="0"/>
              <a:ea typeface="HY중고딕" pitchFamily="18" charset="-127"/>
            </a:endParaRPr>
          </a:p>
          <a:p>
            <a:pPr algn="l">
              <a:lnSpc>
                <a:spcPct val="190000"/>
              </a:lnSpc>
              <a:buClr>
                <a:srgbClr val="FFFF99"/>
              </a:buClr>
            </a:pPr>
            <a:r>
              <a:rPr lang="en-US" altLang="ko-KR" sz="1400" dirty="0">
                <a:solidFill>
                  <a:srgbClr val="333399"/>
                </a:solidFill>
                <a:latin typeface="Arial Narrow" pitchFamily="34" charset="0"/>
              </a:rPr>
              <a:t> ④ Innovation initiative.</a:t>
            </a:r>
          </a:p>
          <a:p>
            <a:pPr algn="l">
              <a:lnSpc>
                <a:spcPct val="190000"/>
              </a:lnSpc>
              <a:buClr>
                <a:srgbClr val="FFFF99"/>
              </a:buClr>
            </a:pPr>
            <a:r>
              <a:rPr lang="en-US" altLang="ko-KR" sz="1400" dirty="0">
                <a:solidFill>
                  <a:srgbClr val="333399"/>
                </a:solidFill>
                <a:latin typeface="Arial Narrow" pitchFamily="34" charset="0"/>
              </a:rPr>
              <a:t> ⑤ Networking &amp; globalization</a:t>
            </a:r>
            <a:endParaRPr lang="ko-KR" altLang="en-US" sz="1400" dirty="0">
              <a:solidFill>
                <a:srgbClr val="333399"/>
              </a:solidFill>
              <a:latin typeface="Arial Narrow" pitchFamily="34" charset="0"/>
            </a:endParaRPr>
          </a:p>
          <a:p>
            <a:pPr algn="l">
              <a:lnSpc>
                <a:spcPct val="190000"/>
              </a:lnSpc>
              <a:buClr>
                <a:srgbClr val="FFFF99"/>
              </a:buClr>
            </a:pPr>
            <a:r>
              <a:rPr lang="ko-KR" altLang="en-US" sz="1400" dirty="0">
                <a:solidFill>
                  <a:srgbClr val="333399"/>
                </a:solidFill>
                <a:latin typeface="Arial Narrow" pitchFamily="34" charset="0"/>
                <a:ea typeface="HY중고딕" pitchFamily="18" charset="-127"/>
              </a:rPr>
              <a:t> ⑥ </a:t>
            </a:r>
            <a:r>
              <a:rPr lang="en-US" altLang="ko-KR" sz="1400" dirty="0">
                <a:solidFill>
                  <a:srgbClr val="333399"/>
                </a:solidFill>
                <a:latin typeface="Arial Narrow" pitchFamily="34" charset="0"/>
              </a:rPr>
              <a:t>Informal Science Education </a:t>
            </a:r>
          </a:p>
          <a:p>
            <a:pPr algn="l">
              <a:lnSpc>
                <a:spcPct val="190000"/>
              </a:lnSpc>
              <a:buClr>
                <a:srgbClr val="FFFF99"/>
              </a:buClr>
            </a:pPr>
            <a:r>
              <a:rPr lang="en-US" altLang="ko-KR" sz="1400" dirty="0">
                <a:solidFill>
                  <a:srgbClr val="333399"/>
                </a:solidFill>
                <a:latin typeface="Arial Narrow" pitchFamily="34" charset="0"/>
              </a:rPr>
              <a:t>initiative</a:t>
            </a:r>
            <a:endParaRPr lang="ko-KR" altLang="en-US" sz="1400" dirty="0">
              <a:solidFill>
                <a:srgbClr val="333399"/>
              </a:solidFill>
              <a:latin typeface="Arial Narrow" pitchFamily="34" charset="0"/>
            </a:endParaRPr>
          </a:p>
          <a:p>
            <a:pPr algn="l">
              <a:lnSpc>
                <a:spcPct val="190000"/>
              </a:lnSpc>
              <a:buClr>
                <a:srgbClr val="FFFF99"/>
              </a:buClr>
            </a:pPr>
            <a:r>
              <a:rPr lang="en-US" altLang="ko-KR" b="1" dirty="0">
                <a:solidFill>
                  <a:srgbClr val="000066"/>
                </a:solidFill>
                <a:latin typeface="Arial Narrow" pitchFamily="34" charset="0"/>
                <a:cs typeface="Arial" pitchFamily="34" charset="0"/>
              </a:rPr>
              <a:t> </a:t>
            </a:r>
            <a:endParaRPr lang="ko-KR" altLang="en-US" b="1" dirty="0">
              <a:solidFill>
                <a:srgbClr val="000066"/>
              </a:solidFill>
              <a:latin typeface="Arial Narrow" pitchFamily="34" charset="0"/>
              <a:ea typeface="HY중고딕" pitchFamily="18" charset="-127"/>
            </a:endParaRPr>
          </a:p>
        </p:txBody>
      </p:sp>
      <p:sp>
        <p:nvSpPr>
          <p:cNvPr id="16404" name="Line 32"/>
          <p:cNvSpPr>
            <a:spLocks noChangeShapeType="1"/>
          </p:cNvSpPr>
          <p:nvPr/>
        </p:nvSpPr>
        <p:spPr bwMode="auto">
          <a:xfrm>
            <a:off x="3286125" y="1947876"/>
            <a:ext cx="0" cy="3336925"/>
          </a:xfrm>
          <a:prstGeom prst="line">
            <a:avLst/>
          </a:prstGeom>
          <a:noFill/>
          <a:ln w="31750">
            <a:solidFill>
              <a:srgbClr val="339933"/>
            </a:solidFill>
            <a:round/>
            <a:headEnd/>
            <a:tailEnd/>
          </a:ln>
        </p:spPr>
        <p:txBody>
          <a:bodyPr lIns="91320" tIns="45661" rIns="91320" bIns="45661"/>
          <a:lstStyle/>
          <a:p>
            <a:endParaRPr lang="ar-SA"/>
          </a:p>
        </p:txBody>
      </p:sp>
      <p:sp>
        <p:nvSpPr>
          <p:cNvPr id="16405" name="Line 33"/>
          <p:cNvSpPr>
            <a:spLocks noChangeShapeType="1"/>
          </p:cNvSpPr>
          <p:nvPr/>
        </p:nvSpPr>
        <p:spPr bwMode="auto">
          <a:xfrm>
            <a:off x="3295650" y="5730887"/>
            <a:ext cx="0" cy="398463"/>
          </a:xfrm>
          <a:prstGeom prst="line">
            <a:avLst/>
          </a:prstGeom>
          <a:noFill/>
          <a:ln w="31750">
            <a:solidFill>
              <a:srgbClr val="CC9900"/>
            </a:solidFill>
            <a:round/>
            <a:headEnd/>
            <a:tailEnd/>
          </a:ln>
        </p:spPr>
        <p:txBody>
          <a:bodyPr lIns="91320" tIns="45661" rIns="91320" bIns="45661"/>
          <a:lstStyle/>
          <a:p>
            <a:endParaRPr lang="ar-SA"/>
          </a:p>
        </p:txBody>
      </p:sp>
      <p:sp>
        <p:nvSpPr>
          <p:cNvPr id="16406" name="Line 34"/>
          <p:cNvSpPr>
            <a:spLocks noChangeShapeType="1"/>
          </p:cNvSpPr>
          <p:nvPr/>
        </p:nvSpPr>
        <p:spPr bwMode="auto">
          <a:xfrm>
            <a:off x="3286125" y="1117613"/>
            <a:ext cx="0" cy="466725"/>
          </a:xfrm>
          <a:prstGeom prst="line">
            <a:avLst/>
          </a:prstGeom>
          <a:noFill/>
          <a:ln w="31750">
            <a:solidFill>
              <a:srgbClr val="339966"/>
            </a:solidFill>
            <a:round/>
            <a:headEnd/>
            <a:tailEnd/>
          </a:ln>
        </p:spPr>
        <p:txBody>
          <a:bodyPr lIns="91320" tIns="45661" rIns="91320" bIns="45661"/>
          <a:lstStyle/>
          <a:p>
            <a:endParaRPr lang="ar-SA"/>
          </a:p>
        </p:txBody>
      </p:sp>
      <p:sp>
        <p:nvSpPr>
          <p:cNvPr id="53" name="AutoShape 51"/>
          <p:cNvSpPr>
            <a:spLocks noChangeArrowheads="1"/>
          </p:cNvSpPr>
          <p:nvPr/>
        </p:nvSpPr>
        <p:spPr bwMode="auto">
          <a:xfrm>
            <a:off x="3484576" y="2039950"/>
            <a:ext cx="2663825" cy="109537"/>
          </a:xfrm>
          <a:prstGeom prst="roundRect">
            <a:avLst>
              <a:gd name="adj" fmla="val 50000"/>
            </a:avLst>
          </a:prstGeom>
          <a:gradFill rotWithShape="1">
            <a:gsLst>
              <a:gs pos="0">
                <a:schemeClr val="bg1">
                  <a:alpha val="63000"/>
                </a:schemeClr>
              </a:gs>
              <a:gs pos="100000">
                <a:schemeClr val="bg1">
                  <a:gamma/>
                  <a:tint val="0"/>
                  <a:invGamma/>
                  <a:alpha val="0"/>
                </a:schemeClr>
              </a:gs>
            </a:gsLst>
            <a:lin ang="5400000" scaled="1"/>
          </a:gradFill>
          <a:ln w="9525">
            <a:noFill/>
            <a:round/>
            <a:headEnd/>
            <a:tailEnd/>
          </a:ln>
          <a:effectLst/>
        </p:spPr>
        <p:txBody>
          <a:bodyPr wrap="none" lIns="91320" tIns="45661" rIns="91320" bIns="45661" anchor="ctr"/>
          <a:lstStyle/>
          <a:p>
            <a:pPr>
              <a:defRPr/>
            </a:pPr>
            <a:endParaRPr lang="ko-KR" altLang="en-US">
              <a:latin typeface="Arial Narrow" pitchFamily="34" charset="0"/>
              <a:ea typeface="굴림" pitchFamily="50" charset="-127"/>
            </a:endParaRPr>
          </a:p>
        </p:txBody>
      </p:sp>
      <p:sp>
        <p:nvSpPr>
          <p:cNvPr id="54" name="AutoShape 52"/>
          <p:cNvSpPr>
            <a:spLocks noChangeArrowheads="1"/>
          </p:cNvSpPr>
          <p:nvPr/>
        </p:nvSpPr>
        <p:spPr bwMode="auto">
          <a:xfrm>
            <a:off x="6465888" y="2030413"/>
            <a:ext cx="2139950" cy="119062"/>
          </a:xfrm>
          <a:prstGeom prst="roundRect">
            <a:avLst>
              <a:gd name="adj" fmla="val 50000"/>
            </a:avLst>
          </a:prstGeom>
          <a:gradFill rotWithShape="1">
            <a:gsLst>
              <a:gs pos="0">
                <a:schemeClr val="bg1">
                  <a:alpha val="63000"/>
                </a:schemeClr>
              </a:gs>
              <a:gs pos="100000">
                <a:schemeClr val="bg1">
                  <a:gamma/>
                  <a:tint val="0"/>
                  <a:invGamma/>
                  <a:alpha val="0"/>
                </a:schemeClr>
              </a:gs>
            </a:gsLst>
            <a:lin ang="5400000" scaled="1"/>
          </a:gradFill>
          <a:ln w="9525">
            <a:noFill/>
            <a:round/>
            <a:headEnd/>
            <a:tailEnd/>
          </a:ln>
          <a:effectLst/>
        </p:spPr>
        <p:txBody>
          <a:bodyPr wrap="none" lIns="91320" tIns="45661" rIns="91320" bIns="45661" anchor="ctr"/>
          <a:lstStyle/>
          <a:p>
            <a:pPr>
              <a:defRPr/>
            </a:pPr>
            <a:endParaRPr lang="ko-KR" altLang="en-US">
              <a:latin typeface="Arial Narrow" pitchFamily="34" charset="0"/>
              <a:ea typeface="굴림" pitchFamily="50" charset="-127"/>
            </a:endParaRPr>
          </a:p>
        </p:txBody>
      </p:sp>
      <p:sp>
        <p:nvSpPr>
          <p:cNvPr id="16409" name="WordArt 56"/>
          <p:cNvSpPr>
            <a:spLocks noChangeArrowheads="1" noChangeShapeType="1" noTextEdit="1"/>
          </p:cNvSpPr>
          <p:nvPr/>
        </p:nvSpPr>
        <p:spPr bwMode="auto">
          <a:xfrm>
            <a:off x="1619262" y="188926"/>
            <a:ext cx="6049963" cy="409575"/>
          </a:xfrm>
          <a:prstGeom prst="rect">
            <a:avLst/>
          </a:prstGeom>
        </p:spPr>
        <p:txBody>
          <a:bodyPr wrap="none" lIns="91320" tIns="45661" rIns="91320" bIns="45661" fromWordArt="1">
            <a:prstTxWarp prst="textPlain">
              <a:avLst>
                <a:gd name="adj" fmla="val 50000"/>
              </a:avLst>
            </a:prstTxWarp>
          </a:bodyPr>
          <a:lstStyle/>
          <a:p>
            <a:r>
              <a:rPr lang="en-US" sz="3200" b="1" kern="10" dirty="0">
                <a:ln w="9525">
                  <a:solidFill>
                    <a:srgbClr val="000000"/>
                  </a:solidFill>
                  <a:round/>
                  <a:headEnd/>
                  <a:tailEnd/>
                </a:ln>
                <a:gradFill rotWithShape="1">
                  <a:gsLst>
                    <a:gs pos="0">
                      <a:srgbClr val="CC9900"/>
                    </a:gs>
                    <a:gs pos="100000">
                      <a:srgbClr val="FFFF66"/>
                    </a:gs>
                  </a:gsLst>
                  <a:lin ang="5400000" scaled="1"/>
                </a:gradFill>
                <a:latin typeface="HY견고딕"/>
              </a:rPr>
              <a:t>Framework of Egypt New S&amp;T Initiative</a:t>
            </a:r>
            <a:endParaRPr lang="ar-SA" sz="3200" b="1" kern="10" dirty="0">
              <a:ln w="9525">
                <a:solidFill>
                  <a:srgbClr val="000000"/>
                </a:solidFill>
                <a:round/>
                <a:headEnd/>
                <a:tailEnd/>
              </a:ln>
              <a:gradFill rotWithShape="1">
                <a:gsLst>
                  <a:gs pos="0">
                    <a:srgbClr val="CC9900"/>
                  </a:gs>
                  <a:gs pos="100000">
                    <a:srgbClr val="FFFF66"/>
                  </a:gs>
                </a:gsLst>
                <a:lin ang="5400000" scaled="1"/>
              </a:gradFill>
              <a:latin typeface="HY견고딕"/>
            </a:endParaRPr>
          </a:p>
        </p:txBody>
      </p:sp>
      <p:sp>
        <p:nvSpPr>
          <p:cNvPr id="16410" name="TextBox 2"/>
          <p:cNvSpPr txBox="1">
            <a:spLocks noChangeArrowheads="1"/>
          </p:cNvSpPr>
          <p:nvPr/>
        </p:nvSpPr>
        <p:spPr bwMode="auto">
          <a:xfrm>
            <a:off x="4067186" y="5805488"/>
            <a:ext cx="4019550" cy="369213"/>
          </a:xfrm>
          <a:prstGeom prst="rect">
            <a:avLst/>
          </a:prstGeom>
          <a:noFill/>
          <a:ln w="9525">
            <a:noFill/>
            <a:miter lim="800000"/>
            <a:headEnd/>
            <a:tailEnd/>
          </a:ln>
        </p:spPr>
        <p:txBody>
          <a:bodyPr lIns="91320" tIns="45661" rIns="91320" bIns="45661">
            <a:spAutoFit/>
          </a:bodyPr>
          <a:lstStyle/>
          <a:p>
            <a:r>
              <a:rPr lang="en-US" b="1">
                <a:solidFill>
                  <a:srgbClr val="FF0000"/>
                </a:solidFill>
                <a:latin typeface="Arial" pitchFamily="34" charset="0"/>
                <a:cs typeface="Arial" pitchFamily="34" charset="0"/>
              </a:rPr>
              <a:t>Use S&amp;T for Economic Growth</a:t>
            </a:r>
          </a:p>
        </p:txBody>
      </p:sp>
      <p:sp>
        <p:nvSpPr>
          <p:cNvPr id="16411" name="TextBox 4"/>
          <p:cNvSpPr txBox="1">
            <a:spLocks noChangeArrowheads="1"/>
          </p:cNvSpPr>
          <p:nvPr/>
        </p:nvSpPr>
        <p:spPr bwMode="auto">
          <a:xfrm>
            <a:off x="1908177" y="5661037"/>
            <a:ext cx="1368425" cy="646212"/>
          </a:xfrm>
          <a:prstGeom prst="rect">
            <a:avLst/>
          </a:prstGeom>
          <a:noFill/>
          <a:ln w="9525">
            <a:noFill/>
            <a:miter lim="800000"/>
            <a:headEnd/>
            <a:tailEnd/>
          </a:ln>
        </p:spPr>
        <p:txBody>
          <a:bodyPr lIns="91320" tIns="45661" rIns="91320" bIns="45661">
            <a:spAutoFit/>
          </a:bodyPr>
          <a:lstStyle/>
          <a:p>
            <a:r>
              <a:rPr lang="en-US" b="1">
                <a:latin typeface="Arial" pitchFamily="34" charset="0"/>
                <a:cs typeface="Arial" pitchFamily="34" charset="0"/>
              </a:rPr>
              <a:t>Major S&amp;T User</a:t>
            </a:r>
          </a:p>
        </p:txBody>
      </p:sp>
      <p:grpSp>
        <p:nvGrpSpPr>
          <p:cNvPr id="3" name="Group 6"/>
          <p:cNvGrpSpPr>
            <a:grpSpLocks/>
          </p:cNvGrpSpPr>
          <p:nvPr/>
        </p:nvGrpSpPr>
        <p:grpSpPr bwMode="auto">
          <a:xfrm>
            <a:off x="3348050" y="1916114"/>
            <a:ext cx="5467350" cy="609600"/>
            <a:chOff x="3347864" y="1916832"/>
            <a:chExt cx="5467350" cy="609600"/>
          </a:xfrm>
        </p:grpSpPr>
        <p:pic>
          <p:nvPicPr>
            <p:cNvPr id="16413" name="Picture 60" descr="1"/>
            <p:cNvPicPr>
              <a:picLocks noChangeAspect="1" noChangeArrowheads="1"/>
            </p:cNvPicPr>
            <p:nvPr/>
          </p:nvPicPr>
          <p:blipFill>
            <a:blip r:embed="rId4" cstate="print"/>
            <a:srcRect/>
            <a:stretch>
              <a:fillRect/>
            </a:stretch>
          </p:blipFill>
          <p:spPr bwMode="auto">
            <a:xfrm>
              <a:off x="3347864" y="1916832"/>
              <a:ext cx="5467350" cy="609600"/>
            </a:xfrm>
            <a:prstGeom prst="rect">
              <a:avLst/>
            </a:prstGeom>
            <a:noFill/>
            <a:ln w="9525">
              <a:noFill/>
              <a:miter lim="800000"/>
              <a:headEnd/>
              <a:tailEnd/>
            </a:ln>
          </p:spPr>
        </p:pic>
        <p:sp>
          <p:nvSpPr>
            <p:cNvPr id="16414" name="TextBox 5"/>
            <p:cNvSpPr txBox="1">
              <a:spLocks noChangeArrowheads="1"/>
            </p:cNvSpPr>
            <p:nvPr/>
          </p:nvSpPr>
          <p:spPr bwMode="auto">
            <a:xfrm>
              <a:off x="3419872" y="2113111"/>
              <a:ext cx="2808312" cy="307777"/>
            </a:xfrm>
            <a:prstGeom prst="rect">
              <a:avLst/>
            </a:prstGeom>
            <a:solidFill>
              <a:srgbClr val="009852"/>
            </a:solidFill>
            <a:ln w="9525">
              <a:noFill/>
              <a:miter lim="800000"/>
              <a:headEnd/>
              <a:tailEnd/>
            </a:ln>
          </p:spPr>
          <p:txBody>
            <a:bodyPr>
              <a:spAutoFit/>
            </a:bodyPr>
            <a:lstStyle/>
            <a:p>
              <a:r>
                <a:rPr lang="en-US" sz="1400" b="1" dirty="0">
                  <a:solidFill>
                    <a:schemeClr val="bg1"/>
                  </a:solidFill>
                  <a:latin typeface="Arial" pitchFamily="34" charset="0"/>
                  <a:cs typeface="Arial" pitchFamily="34" charset="0"/>
                </a:rPr>
                <a:t>Sciences</a:t>
              </a:r>
            </a:p>
          </p:txBody>
        </p:sp>
        <p:sp>
          <p:nvSpPr>
            <p:cNvPr id="16415" name="TextBox 36"/>
            <p:cNvSpPr txBox="1">
              <a:spLocks noChangeArrowheads="1"/>
            </p:cNvSpPr>
            <p:nvPr/>
          </p:nvSpPr>
          <p:spPr bwMode="auto">
            <a:xfrm>
              <a:off x="6444208" y="2113111"/>
              <a:ext cx="2232248" cy="307777"/>
            </a:xfrm>
            <a:prstGeom prst="rect">
              <a:avLst/>
            </a:prstGeom>
            <a:solidFill>
              <a:srgbClr val="3366FF"/>
            </a:solidFill>
            <a:ln w="9525">
              <a:noFill/>
              <a:miter lim="800000"/>
              <a:headEnd/>
              <a:tailEnd/>
            </a:ln>
          </p:spPr>
          <p:txBody>
            <a:bodyPr>
              <a:spAutoFit/>
            </a:bodyPr>
            <a:lstStyle/>
            <a:p>
              <a:r>
                <a:rPr lang="en-US" sz="1400" b="1" dirty="0">
                  <a:solidFill>
                    <a:srgbClr val="FFFFFF"/>
                  </a:solidFill>
                  <a:latin typeface="Arial" pitchFamily="34" charset="0"/>
                  <a:cs typeface="Arial" pitchFamily="34" charset="0"/>
                </a:rPr>
                <a:t>Initiatives</a:t>
              </a:r>
            </a:p>
          </p:txBody>
        </p:sp>
      </p:grpSp>
    </p:spTree>
  </p:cSld>
  <p:clrMapOvr>
    <a:masterClrMapping/>
  </p:clrMapOvr>
  <p:transition>
    <p:zoom/>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3586" name="Picture 2" descr="CONE"/>
          <p:cNvPicPr>
            <a:picLocks noChangeAspect="1" noChangeArrowheads="1"/>
          </p:cNvPicPr>
          <p:nvPr/>
        </p:nvPicPr>
        <p:blipFill>
          <a:blip r:embed="rId2" cstate="print"/>
          <a:srcRect/>
          <a:stretch>
            <a:fillRect/>
          </a:stretch>
        </p:blipFill>
        <p:spPr bwMode="auto">
          <a:xfrm>
            <a:off x="0" y="1052736"/>
            <a:ext cx="9144000" cy="5805264"/>
          </a:xfrm>
          <a:prstGeom prst="rect">
            <a:avLst/>
          </a:prstGeom>
          <a:noFill/>
        </p:spPr>
      </p:pic>
      <p:sp>
        <p:nvSpPr>
          <p:cNvPr id="323587" name="Rectangle 3"/>
          <p:cNvSpPr>
            <a:spLocks noChangeArrowheads="1"/>
          </p:cNvSpPr>
          <p:nvPr/>
        </p:nvSpPr>
        <p:spPr bwMode="auto">
          <a:xfrm>
            <a:off x="6732240" y="5517232"/>
            <a:ext cx="2139358" cy="508946"/>
          </a:xfrm>
          <a:prstGeom prst="rect">
            <a:avLst/>
          </a:prstGeom>
          <a:noFill/>
          <a:ln w="9525">
            <a:noFill/>
            <a:miter lim="800000"/>
            <a:headEnd/>
            <a:tailEnd/>
          </a:ln>
          <a:effectLst/>
        </p:spPr>
        <p:txBody>
          <a:bodyPr wrap="square" lIns="77303" tIns="38652" rIns="77303" bIns="38652">
            <a:spAutoFit/>
          </a:bodyPr>
          <a:lstStyle/>
          <a:p>
            <a:pPr algn="l" defTabSz="773113" eaLnBrk="1" hangingPunct="1">
              <a:spcBef>
                <a:spcPct val="50000"/>
              </a:spcBef>
            </a:pPr>
            <a:r>
              <a:rPr lang="en-US" sz="2800" b="1" dirty="0">
                <a:solidFill>
                  <a:srgbClr val="99CCFF"/>
                </a:solidFill>
              </a:rPr>
              <a:t>Enterprise</a:t>
            </a:r>
          </a:p>
        </p:txBody>
      </p:sp>
      <p:sp>
        <p:nvSpPr>
          <p:cNvPr id="323588" name="Rectangle 4"/>
          <p:cNvSpPr>
            <a:spLocks noChangeArrowheads="1"/>
          </p:cNvSpPr>
          <p:nvPr/>
        </p:nvSpPr>
        <p:spPr bwMode="auto">
          <a:xfrm>
            <a:off x="467544" y="5445224"/>
            <a:ext cx="2160240" cy="508946"/>
          </a:xfrm>
          <a:prstGeom prst="rect">
            <a:avLst/>
          </a:prstGeom>
          <a:noFill/>
          <a:ln w="9525">
            <a:noFill/>
            <a:miter lim="800000"/>
            <a:headEnd/>
            <a:tailEnd/>
          </a:ln>
          <a:effectLst/>
        </p:spPr>
        <p:txBody>
          <a:bodyPr wrap="square" lIns="77303" tIns="38652" rIns="77303" bIns="38652">
            <a:spAutoFit/>
          </a:bodyPr>
          <a:lstStyle/>
          <a:p>
            <a:pPr algn="l" defTabSz="773113" eaLnBrk="1" hangingPunct="1">
              <a:spcBef>
                <a:spcPct val="50000"/>
              </a:spcBef>
            </a:pPr>
            <a:r>
              <a:rPr lang="en-US" sz="2800" b="1" dirty="0">
                <a:solidFill>
                  <a:srgbClr val="99CCFF"/>
                </a:solidFill>
              </a:rPr>
              <a:t>Investment</a:t>
            </a:r>
          </a:p>
        </p:txBody>
      </p:sp>
      <p:sp>
        <p:nvSpPr>
          <p:cNvPr id="323589" name="Rectangle 5"/>
          <p:cNvSpPr>
            <a:spLocks noChangeArrowheads="1"/>
          </p:cNvSpPr>
          <p:nvPr/>
        </p:nvSpPr>
        <p:spPr bwMode="auto">
          <a:xfrm>
            <a:off x="3563888" y="1196752"/>
            <a:ext cx="3744416" cy="570501"/>
          </a:xfrm>
          <a:prstGeom prst="rect">
            <a:avLst/>
          </a:prstGeom>
          <a:noFill/>
          <a:ln w="9525">
            <a:noFill/>
            <a:miter lim="800000"/>
            <a:headEnd/>
            <a:tailEnd/>
          </a:ln>
          <a:effectLst/>
        </p:spPr>
        <p:txBody>
          <a:bodyPr wrap="square" lIns="77303" tIns="38652" rIns="77303" bIns="38652">
            <a:spAutoFit/>
          </a:bodyPr>
          <a:lstStyle/>
          <a:p>
            <a:pPr algn="l" defTabSz="773113">
              <a:spcBef>
                <a:spcPct val="50000"/>
              </a:spcBef>
            </a:pPr>
            <a:r>
              <a:rPr lang="en-US" sz="3200" b="1" dirty="0">
                <a:solidFill>
                  <a:srgbClr val="99CCFF"/>
                </a:solidFill>
              </a:rPr>
              <a:t>Innovation</a:t>
            </a:r>
          </a:p>
        </p:txBody>
      </p:sp>
      <p:sp>
        <p:nvSpPr>
          <p:cNvPr id="323590" name="Rectangle 6"/>
          <p:cNvSpPr>
            <a:spLocks noChangeArrowheads="1"/>
          </p:cNvSpPr>
          <p:nvPr/>
        </p:nvSpPr>
        <p:spPr bwMode="auto">
          <a:xfrm>
            <a:off x="251520" y="260648"/>
            <a:ext cx="8640763" cy="570501"/>
          </a:xfrm>
          <a:prstGeom prst="rect">
            <a:avLst/>
          </a:prstGeom>
          <a:noFill/>
          <a:ln w="9525">
            <a:noFill/>
            <a:miter lim="800000"/>
            <a:headEnd/>
            <a:tailEnd/>
          </a:ln>
          <a:effectLst/>
        </p:spPr>
        <p:txBody>
          <a:bodyPr lIns="77303" tIns="38652" rIns="77303" bIns="38652">
            <a:spAutoFit/>
          </a:bodyPr>
          <a:lstStyle/>
          <a:p>
            <a:pPr algn="ctr" defTabSz="773113">
              <a:spcBef>
                <a:spcPct val="50000"/>
              </a:spcBef>
            </a:pPr>
            <a:r>
              <a:rPr lang="en-US" sz="3200" b="1" dirty="0">
                <a:solidFill>
                  <a:schemeClr val="accent1"/>
                </a:solidFill>
                <a:latin typeface="Verdana" pitchFamily="34" charset="0"/>
              </a:rPr>
              <a:t>The Golden Triangle of Creativity</a:t>
            </a:r>
          </a:p>
        </p:txBody>
      </p:sp>
    </p:spTree>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251520" y="260648"/>
            <a:ext cx="8712968" cy="720080"/>
          </a:xfrm>
        </p:spPr>
        <p:txBody>
          <a:bodyPr/>
          <a:lstStyle/>
          <a:p>
            <a:pPr algn="ctr" rtl="0" eaLnBrk="1" hangingPunct="1">
              <a:defRPr/>
            </a:pPr>
            <a:r>
              <a:rPr lang="en-US" b="1" dirty="0" smtClean="0">
                <a:solidFill>
                  <a:schemeClr val="accent1"/>
                </a:solidFill>
                <a:latin typeface="Arial" pitchFamily="34" charset="0"/>
                <a:cs typeface="Arial" pitchFamily="34" charset="0"/>
              </a:rPr>
              <a:t>Innovations</a:t>
            </a:r>
          </a:p>
        </p:txBody>
      </p:sp>
      <p:sp>
        <p:nvSpPr>
          <p:cNvPr id="6147" name="Rectangle 3"/>
          <p:cNvSpPr>
            <a:spLocks noGrp="1" noChangeArrowheads="1"/>
          </p:cNvSpPr>
          <p:nvPr>
            <p:ph idx="4294967295"/>
          </p:nvPr>
        </p:nvSpPr>
        <p:spPr>
          <a:xfrm>
            <a:off x="0" y="1600200"/>
            <a:ext cx="8748464" cy="3733800"/>
          </a:xfrm>
        </p:spPr>
        <p:txBody>
          <a:bodyPr/>
          <a:lstStyle/>
          <a:p>
            <a:pPr algn="just" rtl="0" eaLnBrk="1" hangingPunct="1">
              <a:lnSpc>
                <a:spcPct val="150000"/>
              </a:lnSpc>
            </a:pPr>
            <a:r>
              <a:rPr lang="en-US" sz="2400" dirty="0" smtClean="0">
                <a:latin typeface="Arial" pitchFamily="34" charset="0"/>
                <a:cs typeface="Arial" pitchFamily="34" charset="0"/>
              </a:rPr>
              <a:t>People, Culture, Diversity, Ecosystem &amp; Opportunities  drive Innovations.</a:t>
            </a:r>
          </a:p>
          <a:p>
            <a:pPr algn="just" rtl="0" eaLnBrk="1" hangingPunct="1">
              <a:lnSpc>
                <a:spcPct val="150000"/>
              </a:lnSpc>
            </a:pPr>
            <a:r>
              <a:rPr lang="en-US" sz="2400" dirty="0" smtClean="0">
                <a:latin typeface="Arial" pitchFamily="34" charset="0"/>
                <a:cs typeface="Arial" pitchFamily="34" charset="0"/>
              </a:rPr>
              <a:t>Innovations are required to develop </a:t>
            </a:r>
            <a:r>
              <a:rPr lang="en-US" sz="2400" b="1" dirty="0" smtClean="0">
                <a:solidFill>
                  <a:srgbClr val="FF0000"/>
                </a:solidFill>
                <a:latin typeface="Arial" pitchFamily="34" charset="0"/>
                <a:cs typeface="Arial" pitchFamily="34" charset="0"/>
              </a:rPr>
              <a:t>new Products</a:t>
            </a:r>
            <a:r>
              <a:rPr lang="en-US" sz="2400" dirty="0" smtClean="0">
                <a:latin typeface="Arial" pitchFamily="34" charset="0"/>
                <a:cs typeface="Arial" pitchFamily="34" charset="0"/>
              </a:rPr>
              <a:t>, </a:t>
            </a:r>
            <a:r>
              <a:rPr lang="en-US" sz="2400" b="1" dirty="0" smtClean="0">
                <a:solidFill>
                  <a:srgbClr val="FF0000"/>
                </a:solidFill>
                <a:latin typeface="Arial" pitchFamily="34" charset="0"/>
                <a:cs typeface="Arial" pitchFamily="34" charset="0"/>
              </a:rPr>
              <a:t>Services</a:t>
            </a:r>
            <a:r>
              <a:rPr lang="en-US" sz="2400" dirty="0" smtClean="0">
                <a:latin typeface="Arial" pitchFamily="34" charset="0"/>
                <a:cs typeface="Arial" pitchFamily="34" charset="0"/>
              </a:rPr>
              <a:t>, </a:t>
            </a:r>
            <a:r>
              <a:rPr lang="en-US" sz="2400" b="1" dirty="0" smtClean="0">
                <a:solidFill>
                  <a:srgbClr val="FF0000"/>
                </a:solidFill>
                <a:latin typeface="Arial" pitchFamily="34" charset="0"/>
                <a:cs typeface="Arial" pitchFamily="34" charset="0"/>
              </a:rPr>
              <a:t>Markets</a:t>
            </a:r>
            <a:r>
              <a:rPr lang="en-US" sz="2400" dirty="0" smtClean="0">
                <a:latin typeface="Arial" pitchFamily="34" charset="0"/>
                <a:cs typeface="Arial" pitchFamily="34" charset="0"/>
              </a:rPr>
              <a:t>, </a:t>
            </a:r>
            <a:r>
              <a:rPr lang="en-US" sz="2400" b="1" dirty="0" smtClean="0">
                <a:solidFill>
                  <a:srgbClr val="FF0000"/>
                </a:solidFill>
                <a:latin typeface="Arial" pitchFamily="34" charset="0"/>
                <a:cs typeface="Arial" pitchFamily="34" charset="0"/>
              </a:rPr>
              <a:t>reduce Costs</a:t>
            </a:r>
            <a:r>
              <a:rPr lang="en-US" sz="2400" dirty="0" smtClean="0">
                <a:latin typeface="Arial" pitchFamily="34" charset="0"/>
                <a:cs typeface="Arial" pitchFamily="34" charset="0"/>
              </a:rPr>
              <a:t>, </a:t>
            </a:r>
            <a:r>
              <a:rPr lang="en-US" sz="2400" b="1" dirty="0" smtClean="0">
                <a:solidFill>
                  <a:srgbClr val="FF0000"/>
                </a:solidFill>
                <a:latin typeface="Arial" pitchFamily="34" charset="0"/>
                <a:cs typeface="Arial" pitchFamily="34" charset="0"/>
              </a:rPr>
              <a:t>improve Efficiency</a:t>
            </a:r>
            <a:r>
              <a:rPr lang="en-US" sz="2400" dirty="0" smtClean="0">
                <a:latin typeface="Arial" pitchFamily="34" charset="0"/>
                <a:cs typeface="Arial" pitchFamily="34" charset="0"/>
              </a:rPr>
              <a:t>, </a:t>
            </a:r>
            <a:r>
              <a:rPr lang="en-US" sz="2400" b="1" dirty="0" smtClean="0">
                <a:solidFill>
                  <a:srgbClr val="FF0000"/>
                </a:solidFill>
                <a:latin typeface="Arial" pitchFamily="34" charset="0"/>
                <a:cs typeface="Arial" pitchFamily="34" charset="0"/>
              </a:rPr>
              <a:t>Productivity</a:t>
            </a:r>
            <a:r>
              <a:rPr lang="en-US" sz="2400" dirty="0" smtClean="0">
                <a:latin typeface="Arial" pitchFamily="34" charset="0"/>
                <a:cs typeface="Arial" pitchFamily="34" charset="0"/>
              </a:rPr>
              <a:t>, </a:t>
            </a:r>
            <a:r>
              <a:rPr lang="en-US" sz="2400" b="1" dirty="0" smtClean="0">
                <a:solidFill>
                  <a:srgbClr val="FF0000"/>
                </a:solidFill>
                <a:latin typeface="Arial" pitchFamily="34" charset="0"/>
                <a:cs typeface="Arial" pitchFamily="34" charset="0"/>
              </a:rPr>
              <a:t>Performance</a:t>
            </a:r>
            <a:r>
              <a:rPr lang="en-US" sz="2400" dirty="0" smtClean="0">
                <a:latin typeface="Arial" pitchFamily="34" charset="0"/>
                <a:cs typeface="Arial" pitchFamily="34" charset="0"/>
              </a:rPr>
              <a:t>, </a:t>
            </a:r>
            <a:r>
              <a:rPr lang="en-US" sz="2400" b="1" dirty="0" smtClean="0">
                <a:solidFill>
                  <a:srgbClr val="FF0000"/>
                </a:solidFill>
                <a:latin typeface="Arial" pitchFamily="34" charset="0"/>
                <a:cs typeface="Arial" pitchFamily="34" charset="0"/>
              </a:rPr>
              <a:t>Quality</a:t>
            </a:r>
            <a:r>
              <a:rPr lang="en-US" sz="2400" dirty="0" smtClean="0">
                <a:latin typeface="Arial" pitchFamily="34" charset="0"/>
                <a:cs typeface="Arial" pitchFamily="34" charset="0"/>
              </a:rPr>
              <a:t>, etc</a:t>
            </a:r>
          </a:p>
          <a:p>
            <a:pPr algn="just" rtl="0" eaLnBrk="1" hangingPunct="1">
              <a:lnSpc>
                <a:spcPct val="150000"/>
              </a:lnSpc>
            </a:pPr>
            <a:r>
              <a:rPr lang="en-US" sz="2400" dirty="0" smtClean="0">
                <a:latin typeface="Arial" pitchFamily="34" charset="0"/>
                <a:cs typeface="Arial" pitchFamily="34" charset="0"/>
              </a:rPr>
              <a:t>Innovations are the key to Growth, Prosperity  and Problem solving world over</a:t>
            </a:r>
          </a:p>
          <a:p>
            <a:pPr algn="l" rtl="0" eaLnBrk="1" hangingPunct="1">
              <a:buFont typeface="Wingdings" pitchFamily="2" charset="2"/>
              <a:buNone/>
            </a:pPr>
            <a:endParaRPr lang="en-US" dirty="0" smtClean="0"/>
          </a:p>
          <a:p>
            <a:pPr algn="l" rtl="0" eaLnBrk="1" hangingPunct="1">
              <a:buFont typeface="Wingdings" pitchFamily="2" charset="2"/>
              <a:buNone/>
            </a:pPr>
            <a:endParaRPr lang="en-US"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Subtitle 2"/>
          <p:cNvSpPr>
            <a:spLocks noGrp="1"/>
          </p:cNvSpPr>
          <p:nvPr>
            <p:ph type="subTitle" idx="1"/>
          </p:nvPr>
        </p:nvSpPr>
        <p:spPr>
          <a:xfrm>
            <a:off x="1331640" y="4581128"/>
            <a:ext cx="6374580" cy="1656184"/>
          </a:xfrm>
        </p:spPr>
        <p:txBody>
          <a:bodyPr/>
          <a:lstStyle/>
          <a:p>
            <a:pPr rtl="0" eaLnBrk="1" hangingPunct="1"/>
            <a:r>
              <a:rPr lang="en-US" b="1" dirty="0" smtClean="0">
                <a:solidFill>
                  <a:srgbClr val="FF0000"/>
                </a:solidFill>
                <a:cs typeface="Times New Roman" pitchFamily="18" charset="0"/>
              </a:rPr>
              <a:t>Prof. Dr </a:t>
            </a:r>
            <a:r>
              <a:rPr lang="en-US" b="1" dirty="0" err="1" smtClean="0">
                <a:solidFill>
                  <a:srgbClr val="FF0000"/>
                </a:solidFill>
                <a:cs typeface="Times New Roman" pitchFamily="18" charset="0"/>
              </a:rPr>
              <a:t>Maged</a:t>
            </a:r>
            <a:r>
              <a:rPr lang="en-US" b="1" dirty="0" smtClean="0">
                <a:solidFill>
                  <a:srgbClr val="FF0000"/>
                </a:solidFill>
                <a:cs typeface="Times New Roman" pitchFamily="18" charset="0"/>
              </a:rPr>
              <a:t> Al-</a:t>
            </a:r>
            <a:r>
              <a:rPr lang="en-US" b="1" dirty="0" err="1" smtClean="0">
                <a:solidFill>
                  <a:srgbClr val="FF0000"/>
                </a:solidFill>
                <a:cs typeface="Times New Roman" pitchFamily="18" charset="0"/>
              </a:rPr>
              <a:t>Sherbiny</a:t>
            </a:r>
            <a:endParaRPr lang="en-US" b="1" dirty="0" smtClean="0">
              <a:solidFill>
                <a:srgbClr val="FF0000"/>
              </a:solidFill>
              <a:cs typeface="Times New Roman" pitchFamily="18" charset="0"/>
            </a:endParaRPr>
          </a:p>
          <a:p>
            <a:pPr rtl="0" eaLnBrk="1" hangingPunct="1"/>
            <a:r>
              <a:rPr lang="en-US" b="1" dirty="0" smtClean="0">
                <a:solidFill>
                  <a:srgbClr val="002060"/>
                </a:solidFill>
                <a:cs typeface="Times New Roman" pitchFamily="18" charset="0"/>
              </a:rPr>
              <a:t>President Academy Of Scientific </a:t>
            </a:r>
          </a:p>
          <a:p>
            <a:pPr rtl="0" eaLnBrk="1" hangingPunct="1"/>
            <a:r>
              <a:rPr lang="en-US" b="1" dirty="0" smtClean="0">
                <a:solidFill>
                  <a:srgbClr val="002060"/>
                </a:solidFill>
                <a:cs typeface="Times New Roman" pitchFamily="18" charset="0"/>
              </a:rPr>
              <a:t>Research And Technology (ASRT)</a:t>
            </a:r>
          </a:p>
          <a:p>
            <a:pPr rtl="0" eaLnBrk="1" hangingPunct="1"/>
            <a:endParaRPr lang="ar-EG" b="1" dirty="0" smtClean="0">
              <a:solidFill>
                <a:srgbClr val="002060"/>
              </a:solidFill>
            </a:endParaRPr>
          </a:p>
        </p:txBody>
      </p:sp>
      <p:sp>
        <p:nvSpPr>
          <p:cNvPr id="6147" name="Title 1"/>
          <p:cNvSpPr>
            <a:spLocks noGrp="1"/>
          </p:cNvSpPr>
          <p:nvPr>
            <p:ph type="ctrTitle"/>
          </p:nvPr>
        </p:nvSpPr>
        <p:spPr>
          <a:xfrm>
            <a:off x="251520" y="1556792"/>
            <a:ext cx="8712968" cy="2736304"/>
          </a:xfrm>
        </p:spPr>
        <p:txBody>
          <a:bodyPr/>
          <a:lstStyle/>
          <a:p>
            <a:pPr rtl="0" eaLnBrk="1" hangingPunct="1"/>
            <a:r>
              <a:rPr sz="3200" b="1" dirty="0" smtClean="0">
                <a:cs typeface="Tahoma" pitchFamily="34" charset="0"/>
              </a:rPr>
              <a:t>IP policy and Competition Policy</a:t>
            </a:r>
            <a:br>
              <a:rPr sz="3200" b="1" dirty="0" smtClean="0">
                <a:cs typeface="Tahoma" pitchFamily="34" charset="0"/>
              </a:rPr>
            </a:br>
            <a:r>
              <a:rPr sz="3200" b="1" dirty="0" smtClean="0">
                <a:cs typeface="Tahoma" pitchFamily="34" charset="0"/>
              </a:rPr>
              <a:t> Tensions and complementarities</a:t>
            </a:r>
            <a:br>
              <a:rPr sz="3200" b="1" dirty="0" smtClean="0">
                <a:cs typeface="Tahoma" pitchFamily="34" charset="0"/>
              </a:rPr>
            </a:br>
            <a:r>
              <a:rPr sz="3200" b="1" dirty="0" smtClean="0">
                <a:cs typeface="Tahoma" pitchFamily="34" charset="0"/>
              </a:rPr>
              <a:t/>
            </a:r>
            <a:br>
              <a:rPr sz="3200" b="1" dirty="0" smtClean="0">
                <a:cs typeface="Tahoma" pitchFamily="34" charset="0"/>
              </a:rPr>
            </a:br>
            <a:r>
              <a:rPr sz="2800" i="1" dirty="0" smtClean="0">
                <a:solidFill>
                  <a:srgbClr val="0070C0"/>
                </a:solidFill>
                <a:cs typeface="Tahoma" pitchFamily="34" charset="0"/>
              </a:rPr>
              <a:t>A New Multi-Layer Initiative </a:t>
            </a:r>
            <a:br>
              <a:rPr sz="2800" i="1" dirty="0" smtClean="0">
                <a:solidFill>
                  <a:srgbClr val="0070C0"/>
                </a:solidFill>
                <a:cs typeface="Tahoma" pitchFamily="34" charset="0"/>
              </a:rPr>
            </a:br>
            <a:r>
              <a:rPr lang="en-US" sz="2800" i="1" dirty="0" smtClean="0">
                <a:solidFill>
                  <a:srgbClr val="0070C0"/>
                </a:solidFill>
                <a:cs typeface="Tahoma" pitchFamily="34" charset="0"/>
              </a:rPr>
              <a:t>Innova-All (Mobtakeron)</a:t>
            </a:r>
            <a:endParaRPr lang="ar-EG" sz="2800" i="1" dirty="0" smtClean="0">
              <a:solidFill>
                <a:srgbClr val="0070C0"/>
              </a:solidFill>
            </a:endParaRPr>
          </a:p>
        </p:txBody>
      </p:sp>
      <p:pic>
        <p:nvPicPr>
          <p:cNvPr id="6148" name="Picture 2" descr="C:\Users\user\AppData\Local\Microsoft\Windows\Temporary Internet Files\Content.IE5\89BSM8M8\asrt logo.tif"/>
          <p:cNvPicPr>
            <a:picLocks noChangeAspect="1" noChangeArrowheads="1"/>
          </p:cNvPicPr>
          <p:nvPr/>
        </p:nvPicPr>
        <p:blipFill>
          <a:blip r:embed="rId2" cstate="print"/>
          <a:srcRect/>
          <a:stretch>
            <a:fillRect/>
          </a:stretch>
        </p:blipFill>
        <p:spPr bwMode="auto">
          <a:xfrm>
            <a:off x="251520" y="188640"/>
            <a:ext cx="1192213" cy="121443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Picture 148" descr="065"/>
          <p:cNvPicPr>
            <a:picLocks noChangeAspect="1" noChangeArrowheads="1"/>
          </p:cNvPicPr>
          <p:nvPr/>
        </p:nvPicPr>
        <p:blipFill>
          <a:blip r:embed="rId2" cstate="print">
            <a:lum bright="18000" contrast="24000"/>
            <a:grayscl/>
          </a:blip>
          <a:srcRect t="76198"/>
          <a:stretch>
            <a:fillRect/>
          </a:stretch>
        </p:blipFill>
        <p:spPr bwMode="auto">
          <a:xfrm>
            <a:off x="323862" y="4437075"/>
            <a:ext cx="8532813" cy="1368425"/>
          </a:xfrm>
          <a:prstGeom prst="rect">
            <a:avLst/>
          </a:prstGeom>
          <a:noFill/>
          <a:ln w="9525">
            <a:noFill/>
            <a:miter lim="800000"/>
            <a:headEnd/>
            <a:tailEnd/>
          </a:ln>
        </p:spPr>
      </p:pic>
      <p:sp>
        <p:nvSpPr>
          <p:cNvPr id="2" name="Title 1"/>
          <p:cNvSpPr>
            <a:spLocks noGrp="1"/>
          </p:cNvSpPr>
          <p:nvPr>
            <p:ph type="title"/>
          </p:nvPr>
        </p:nvSpPr>
        <p:spPr>
          <a:xfrm>
            <a:off x="519114" y="981075"/>
            <a:ext cx="8229600" cy="719138"/>
          </a:xfrm>
        </p:spPr>
        <p:txBody>
          <a:bodyPr>
            <a:normAutofit/>
          </a:bodyPr>
          <a:lstStyle/>
          <a:p>
            <a:pPr algn="ctr">
              <a:defRPr/>
            </a:pPr>
            <a:r>
              <a:rPr lang="en-US" b="1" dirty="0" smtClean="0">
                <a:solidFill>
                  <a:schemeClr val="accent6"/>
                </a:solidFill>
              </a:rPr>
              <a:t>Innovation in Industry </a:t>
            </a:r>
            <a:endParaRPr lang="en-US" b="1" dirty="0">
              <a:solidFill>
                <a:schemeClr val="accent6"/>
              </a:solidFill>
            </a:endParaRPr>
          </a:p>
        </p:txBody>
      </p:sp>
      <p:sp>
        <p:nvSpPr>
          <p:cNvPr id="7" name="Rectangle 6"/>
          <p:cNvSpPr/>
          <p:nvPr/>
        </p:nvSpPr>
        <p:spPr>
          <a:xfrm>
            <a:off x="683568" y="4738465"/>
            <a:ext cx="2592288" cy="1066800"/>
          </a:xfrm>
          <a:prstGeom prst="rect">
            <a:avLst/>
          </a:prstGeom>
          <a:noFill/>
          <a:ln>
            <a:no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91320" tIns="45661" rIns="91320" bIns="45661" anchor="ctr"/>
          <a:lstStyle/>
          <a:p>
            <a:pPr>
              <a:defRPr/>
            </a:pPr>
            <a:r>
              <a:rPr lang="en-US" sz="1400" b="1" dirty="0">
                <a:solidFill>
                  <a:schemeClr val="tx1"/>
                </a:solidFill>
                <a:latin typeface="Arial"/>
                <a:cs typeface="Arial"/>
              </a:rPr>
              <a:t>Product innovation</a:t>
            </a:r>
          </a:p>
        </p:txBody>
      </p:sp>
      <p:pic>
        <p:nvPicPr>
          <p:cNvPr id="31749" name="Picture 185" descr="044"/>
          <p:cNvPicPr>
            <a:picLocks noChangeAspect="1" noChangeArrowheads="1"/>
          </p:cNvPicPr>
          <p:nvPr/>
        </p:nvPicPr>
        <p:blipFill>
          <a:blip r:embed="rId3" cstate="print"/>
          <a:srcRect l="23212" t="2060" r="18953" b="41628"/>
          <a:stretch>
            <a:fillRect/>
          </a:stretch>
        </p:blipFill>
        <p:spPr bwMode="auto">
          <a:xfrm>
            <a:off x="6300788" y="2492375"/>
            <a:ext cx="1008062" cy="2254250"/>
          </a:xfrm>
          <a:prstGeom prst="rect">
            <a:avLst/>
          </a:prstGeom>
          <a:noFill/>
          <a:ln w="9525">
            <a:noFill/>
            <a:miter lim="800000"/>
            <a:headEnd/>
            <a:tailEnd/>
          </a:ln>
        </p:spPr>
      </p:pic>
      <p:pic>
        <p:nvPicPr>
          <p:cNvPr id="31750" name="Picture 185" descr="044"/>
          <p:cNvPicPr>
            <a:picLocks noChangeAspect="1" noChangeArrowheads="1"/>
          </p:cNvPicPr>
          <p:nvPr/>
        </p:nvPicPr>
        <p:blipFill>
          <a:blip r:embed="rId3" cstate="print"/>
          <a:srcRect l="23212" t="2060" r="18953" b="41628"/>
          <a:stretch>
            <a:fillRect/>
          </a:stretch>
        </p:blipFill>
        <p:spPr bwMode="auto">
          <a:xfrm>
            <a:off x="1258901" y="4005274"/>
            <a:ext cx="1081087" cy="741362"/>
          </a:xfrm>
          <a:prstGeom prst="rect">
            <a:avLst/>
          </a:prstGeom>
          <a:noFill/>
          <a:ln w="9525">
            <a:noFill/>
            <a:miter lim="800000"/>
            <a:headEnd/>
            <a:tailEnd/>
          </a:ln>
        </p:spPr>
      </p:pic>
      <p:pic>
        <p:nvPicPr>
          <p:cNvPr id="31751" name="Picture 185" descr="044"/>
          <p:cNvPicPr>
            <a:picLocks noChangeAspect="1" noChangeArrowheads="1"/>
          </p:cNvPicPr>
          <p:nvPr/>
        </p:nvPicPr>
        <p:blipFill>
          <a:blip r:embed="rId3" cstate="print"/>
          <a:srcRect l="23212" t="2060" r="18953" b="41628"/>
          <a:stretch>
            <a:fillRect/>
          </a:stretch>
        </p:blipFill>
        <p:spPr bwMode="auto">
          <a:xfrm>
            <a:off x="3492505" y="3716352"/>
            <a:ext cx="1150938" cy="1030287"/>
          </a:xfrm>
          <a:prstGeom prst="rect">
            <a:avLst/>
          </a:prstGeom>
          <a:noFill/>
          <a:ln w="9525">
            <a:noFill/>
            <a:miter lim="800000"/>
            <a:headEnd/>
            <a:tailEnd/>
          </a:ln>
        </p:spPr>
      </p:pic>
      <p:sp>
        <p:nvSpPr>
          <p:cNvPr id="31752" name="TextBox 2"/>
          <p:cNvSpPr txBox="1">
            <a:spLocks noChangeArrowheads="1"/>
          </p:cNvSpPr>
          <p:nvPr/>
        </p:nvSpPr>
        <p:spPr bwMode="auto">
          <a:xfrm>
            <a:off x="6516565" y="2133601"/>
            <a:ext cx="838450" cy="369213"/>
          </a:xfrm>
          <a:prstGeom prst="rect">
            <a:avLst/>
          </a:prstGeom>
          <a:noFill/>
          <a:ln w="9525">
            <a:noFill/>
            <a:miter lim="800000"/>
            <a:headEnd/>
            <a:tailEnd/>
          </a:ln>
        </p:spPr>
        <p:txBody>
          <a:bodyPr wrap="none" lIns="91320" tIns="45661" rIns="91320" bIns="45661">
            <a:spAutoFit/>
          </a:bodyPr>
          <a:lstStyle/>
          <a:p>
            <a:r>
              <a:rPr lang="en-US" b="1">
                <a:latin typeface="Arial" pitchFamily="34" charset="0"/>
                <a:cs typeface="Arial" pitchFamily="34" charset="0"/>
              </a:rPr>
              <a:t>36.9%</a:t>
            </a:r>
          </a:p>
        </p:txBody>
      </p:sp>
      <p:sp>
        <p:nvSpPr>
          <p:cNvPr id="31753" name="TextBox 13"/>
          <p:cNvSpPr txBox="1">
            <a:spLocks noChangeArrowheads="1"/>
          </p:cNvSpPr>
          <p:nvPr/>
        </p:nvSpPr>
        <p:spPr bwMode="auto">
          <a:xfrm>
            <a:off x="3708267" y="3357564"/>
            <a:ext cx="838450" cy="369213"/>
          </a:xfrm>
          <a:prstGeom prst="rect">
            <a:avLst/>
          </a:prstGeom>
          <a:noFill/>
          <a:ln w="9525">
            <a:noFill/>
            <a:miter lim="800000"/>
            <a:headEnd/>
            <a:tailEnd/>
          </a:ln>
        </p:spPr>
        <p:txBody>
          <a:bodyPr wrap="none" lIns="91320" tIns="45661" rIns="91320" bIns="45661">
            <a:spAutoFit/>
          </a:bodyPr>
          <a:lstStyle/>
          <a:p>
            <a:r>
              <a:rPr lang="en-US" b="1">
                <a:latin typeface="Arial" pitchFamily="34" charset="0"/>
                <a:cs typeface="Arial" pitchFamily="34" charset="0"/>
              </a:rPr>
              <a:t>17.8%</a:t>
            </a:r>
          </a:p>
        </p:txBody>
      </p:sp>
      <p:sp>
        <p:nvSpPr>
          <p:cNvPr id="31754" name="TextBox 14"/>
          <p:cNvSpPr txBox="1">
            <a:spLocks noChangeArrowheads="1"/>
          </p:cNvSpPr>
          <p:nvPr/>
        </p:nvSpPr>
        <p:spPr bwMode="auto">
          <a:xfrm>
            <a:off x="1476252" y="3644901"/>
            <a:ext cx="838450" cy="369213"/>
          </a:xfrm>
          <a:prstGeom prst="rect">
            <a:avLst/>
          </a:prstGeom>
          <a:noFill/>
          <a:ln w="9525">
            <a:noFill/>
            <a:miter lim="800000"/>
            <a:headEnd/>
            <a:tailEnd/>
          </a:ln>
        </p:spPr>
        <p:txBody>
          <a:bodyPr wrap="none" lIns="91320" tIns="45661" rIns="91320" bIns="45661">
            <a:spAutoFit/>
          </a:bodyPr>
          <a:lstStyle/>
          <a:p>
            <a:r>
              <a:rPr lang="en-US" b="1">
                <a:latin typeface="Arial" pitchFamily="34" charset="0"/>
                <a:cs typeface="Arial" pitchFamily="34" charset="0"/>
              </a:rPr>
              <a:t>12.2%</a:t>
            </a:r>
          </a:p>
        </p:txBody>
      </p:sp>
      <p:sp>
        <p:nvSpPr>
          <p:cNvPr id="16" name="Rectangle 15"/>
          <p:cNvSpPr/>
          <p:nvPr/>
        </p:nvSpPr>
        <p:spPr>
          <a:xfrm>
            <a:off x="2987824" y="4738465"/>
            <a:ext cx="2592288" cy="1066800"/>
          </a:xfrm>
          <a:prstGeom prst="rect">
            <a:avLst/>
          </a:prstGeom>
          <a:noFill/>
          <a:ln>
            <a:no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91320" tIns="45661" rIns="91320" bIns="45661" anchor="ctr"/>
          <a:lstStyle/>
          <a:p>
            <a:pPr>
              <a:defRPr/>
            </a:pPr>
            <a:r>
              <a:rPr lang="en-US" sz="1400" b="1" dirty="0">
                <a:solidFill>
                  <a:schemeClr val="tx1"/>
                </a:solidFill>
                <a:latin typeface="Arial"/>
                <a:cs typeface="Arial"/>
              </a:rPr>
              <a:t>Process innovation</a:t>
            </a:r>
          </a:p>
        </p:txBody>
      </p:sp>
      <p:sp>
        <p:nvSpPr>
          <p:cNvPr id="17" name="Rectangle 16"/>
          <p:cNvSpPr/>
          <p:nvPr/>
        </p:nvSpPr>
        <p:spPr>
          <a:xfrm>
            <a:off x="5436096" y="4810484"/>
            <a:ext cx="2736304" cy="1066800"/>
          </a:xfrm>
          <a:prstGeom prst="rect">
            <a:avLst/>
          </a:prstGeom>
          <a:noFill/>
          <a:ln>
            <a:noFill/>
          </a:ln>
          <a:scene3d>
            <a:camera prst="perspectiveRelaxedModerately"/>
            <a:lightRig rig="threePt" dir="t"/>
          </a:scene3d>
        </p:spPr>
        <p:style>
          <a:lnRef idx="2">
            <a:schemeClr val="accent1">
              <a:shade val="50000"/>
            </a:schemeClr>
          </a:lnRef>
          <a:fillRef idx="1">
            <a:schemeClr val="accent1"/>
          </a:fillRef>
          <a:effectRef idx="0">
            <a:schemeClr val="accent1"/>
          </a:effectRef>
          <a:fontRef idx="minor">
            <a:schemeClr val="lt1"/>
          </a:fontRef>
        </p:style>
        <p:txBody>
          <a:bodyPr lIns="91320" tIns="45661" rIns="91320" bIns="45661" anchor="ctr"/>
          <a:lstStyle/>
          <a:p>
            <a:pPr>
              <a:defRPr/>
            </a:pPr>
            <a:r>
              <a:rPr lang="en-US" sz="1400" b="1" dirty="0">
                <a:solidFill>
                  <a:srgbClr val="000000"/>
                </a:solidFill>
                <a:latin typeface="Arial"/>
                <a:cs typeface="Arial"/>
              </a:rPr>
              <a:t>Organizational and Marketing</a:t>
            </a:r>
          </a:p>
          <a:p>
            <a:pPr>
              <a:defRPr/>
            </a:pPr>
            <a:r>
              <a:rPr lang="en-US" sz="1400" b="1" dirty="0">
                <a:solidFill>
                  <a:srgbClr val="000000"/>
                </a:solidFill>
                <a:latin typeface="Arial"/>
                <a:cs typeface="Arial"/>
              </a:rPr>
              <a:t>Innovation</a:t>
            </a:r>
          </a:p>
        </p:txBody>
      </p:sp>
      <p:sp>
        <p:nvSpPr>
          <p:cNvPr id="31757" name="TextBox 12"/>
          <p:cNvSpPr txBox="1">
            <a:spLocks noChangeArrowheads="1"/>
          </p:cNvSpPr>
          <p:nvPr/>
        </p:nvSpPr>
        <p:spPr bwMode="auto">
          <a:xfrm>
            <a:off x="1500166" y="5715001"/>
            <a:ext cx="6500840" cy="369213"/>
          </a:xfrm>
          <a:prstGeom prst="rect">
            <a:avLst/>
          </a:prstGeom>
          <a:noFill/>
          <a:ln w="9525">
            <a:noFill/>
            <a:miter lim="800000"/>
            <a:headEnd/>
            <a:tailEnd/>
          </a:ln>
        </p:spPr>
        <p:txBody>
          <a:bodyPr wrap="square" lIns="91320" tIns="45661" rIns="91320" bIns="45661">
            <a:spAutoFit/>
          </a:bodyPr>
          <a:lstStyle/>
          <a:p>
            <a:r>
              <a:rPr lang="en-US" b="1" dirty="0">
                <a:latin typeface="Arial Black" pitchFamily="34" charset="0"/>
              </a:rPr>
              <a:t>Innovation Survey on 3,000 Egyptian Enterprises</a:t>
            </a:r>
          </a:p>
        </p:txBody>
      </p:sp>
      <p:pic>
        <p:nvPicPr>
          <p:cNvPr id="31758" name="Picture 185" descr="044"/>
          <p:cNvPicPr>
            <a:picLocks noChangeAspect="1" noChangeArrowheads="1"/>
          </p:cNvPicPr>
          <p:nvPr/>
        </p:nvPicPr>
        <p:blipFill>
          <a:blip r:embed="rId3" cstate="print"/>
          <a:srcRect l="23212" t="2060" r="18953" b="41628"/>
          <a:stretch>
            <a:fillRect/>
          </a:stretch>
        </p:blipFill>
        <p:spPr bwMode="auto">
          <a:xfrm>
            <a:off x="1062038" y="5786438"/>
            <a:ext cx="438150" cy="214312"/>
          </a:xfrm>
          <a:prstGeom prst="rect">
            <a:avLst/>
          </a:prstGeom>
          <a:noFill/>
          <a:ln w="9525">
            <a:noFill/>
            <a:miter lim="800000"/>
            <a:headEnd/>
            <a:tailEnd/>
          </a:ln>
        </p:spPr>
      </p:pic>
    </p:spTree>
  </p:cSld>
  <p:clrMapOvr>
    <a:masterClrMapping/>
  </p:clrMapOvr>
  <p:transition>
    <p:zoom/>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Rectangle 2"/>
          <p:cNvSpPr>
            <a:spLocks noGrp="1" noChangeArrowheads="1"/>
          </p:cNvSpPr>
          <p:nvPr>
            <p:ph type="title"/>
          </p:nvPr>
        </p:nvSpPr>
        <p:spPr/>
        <p:txBody>
          <a:bodyPr/>
          <a:lstStyle/>
          <a:p>
            <a:r>
              <a:rPr lang="sv-SE"/>
              <a:t>Innovation types </a:t>
            </a:r>
            <a:endParaRPr lang="en-US"/>
          </a:p>
        </p:txBody>
      </p:sp>
      <p:sp>
        <p:nvSpPr>
          <p:cNvPr id="39939" name="Rectangle 3"/>
          <p:cNvSpPr>
            <a:spLocks noGrp="1" noChangeArrowheads="1"/>
          </p:cNvSpPr>
          <p:nvPr>
            <p:ph type="body" idx="1"/>
          </p:nvPr>
        </p:nvSpPr>
        <p:spPr>
          <a:xfrm>
            <a:off x="561975" y="1125538"/>
            <a:ext cx="8201025" cy="5148262"/>
          </a:xfrm>
        </p:spPr>
        <p:txBody>
          <a:bodyPr/>
          <a:lstStyle/>
          <a:p>
            <a:pPr marL="381000" indent="-381000">
              <a:buFont typeface="Wingdings" pitchFamily="2" charset="2"/>
              <a:buAutoNum type="arabicPeriod"/>
            </a:pPr>
            <a:r>
              <a:rPr lang="en-US" sz="1800"/>
              <a:t>Disruptive innovation </a:t>
            </a:r>
            <a:r>
              <a:rPr lang="en-US" sz="1800" b="0"/>
              <a:t>– Takes a cheaper, low-end disruptive or a new- market disruptive innovation to the market</a:t>
            </a:r>
          </a:p>
          <a:p>
            <a:pPr marL="381000" indent="-381000">
              <a:buFont typeface="Wingdings" pitchFamily="2" charset="2"/>
              <a:buAutoNum type="arabicPeriod"/>
            </a:pPr>
            <a:r>
              <a:rPr lang="en-US" sz="1800"/>
              <a:t>Application innovation</a:t>
            </a:r>
            <a:r>
              <a:rPr lang="en-US" sz="1800" b="0"/>
              <a:t> – takes existing technologies into new markets to serve new purposes</a:t>
            </a:r>
            <a:endParaRPr lang="en-US" sz="1800"/>
          </a:p>
          <a:p>
            <a:pPr marL="381000" indent="-381000">
              <a:buFont typeface="Wingdings" pitchFamily="2" charset="2"/>
              <a:buAutoNum type="arabicPeriod"/>
            </a:pPr>
            <a:r>
              <a:rPr lang="en-US" sz="1800"/>
              <a:t>Product innovation </a:t>
            </a:r>
            <a:r>
              <a:rPr lang="en-US" sz="1800" b="0"/>
              <a:t>– takes established offers in established markets to the next level (a type of sustaining innovation)</a:t>
            </a:r>
          </a:p>
          <a:p>
            <a:pPr marL="381000" indent="-381000">
              <a:buFont typeface="Wingdings" pitchFamily="2" charset="2"/>
              <a:buAutoNum type="arabicPeriod"/>
            </a:pPr>
            <a:r>
              <a:rPr lang="en-US" sz="1800"/>
              <a:t>Process innovation </a:t>
            </a:r>
            <a:r>
              <a:rPr lang="en-US" sz="1800" b="0"/>
              <a:t>– makes processes for established offers in established markets more efficient or effective (also a type of sustaining innovation)</a:t>
            </a:r>
          </a:p>
          <a:p>
            <a:pPr marL="381000" indent="-381000">
              <a:buFont typeface="Wingdings" pitchFamily="2" charset="2"/>
              <a:buAutoNum type="arabicPeriod"/>
            </a:pPr>
            <a:r>
              <a:rPr lang="en-US" sz="1800"/>
              <a:t>Experiential innovation </a:t>
            </a:r>
            <a:r>
              <a:rPr lang="en-US" sz="1800" b="0"/>
              <a:t>– makes cosmetic/surface modifications of established products or processes that improve customers’ experience</a:t>
            </a:r>
          </a:p>
          <a:p>
            <a:pPr marL="381000" indent="-381000">
              <a:buFont typeface="Wingdings" pitchFamily="2" charset="2"/>
              <a:buAutoNum type="arabicPeriod"/>
            </a:pPr>
            <a:r>
              <a:rPr lang="en-US" sz="1800"/>
              <a:t>Marketing innovation </a:t>
            </a:r>
            <a:r>
              <a:rPr lang="en-US" sz="1800" b="0"/>
              <a:t>– improves customer touching processes e.g. by marketing communications or consumer transactions</a:t>
            </a:r>
          </a:p>
          <a:p>
            <a:pPr marL="381000" indent="-381000">
              <a:buFont typeface="Wingdings" pitchFamily="2" charset="2"/>
              <a:buAutoNum type="arabicPeriod"/>
            </a:pPr>
            <a:r>
              <a:rPr lang="en-US" sz="1800"/>
              <a:t>Business Model innovation – </a:t>
            </a:r>
            <a:r>
              <a:rPr lang="en-US" sz="1800" b="0"/>
              <a:t>reframes an established value proposition to the customer </a:t>
            </a:r>
            <a:r>
              <a:rPr lang="en-US" sz="1800" b="0" i="1"/>
              <a:t>or</a:t>
            </a:r>
            <a:r>
              <a:rPr lang="en-US" sz="1800" b="0"/>
              <a:t> a company’s established role in the value chain </a:t>
            </a:r>
            <a:r>
              <a:rPr lang="en-US" sz="1800" b="0" i="1"/>
              <a:t>or</a:t>
            </a:r>
            <a:r>
              <a:rPr lang="en-US" sz="1800" b="0"/>
              <a:t> both</a:t>
            </a:r>
          </a:p>
          <a:p>
            <a:pPr marL="381000" indent="-381000">
              <a:buFont typeface="Wingdings" pitchFamily="2" charset="2"/>
              <a:buAutoNum type="arabicPeriod"/>
            </a:pPr>
            <a:r>
              <a:rPr lang="en-US" sz="1800"/>
              <a:t>Structural innovation </a:t>
            </a:r>
            <a:r>
              <a:rPr lang="en-US" sz="1800" b="0"/>
              <a:t>– Capitalizes on disruption to restructure industry relationships</a:t>
            </a:r>
          </a:p>
        </p:txBody>
      </p:sp>
    </p:spTree>
  </p:cSld>
  <p:clrMapOvr>
    <a:masterClrMapping/>
  </p:clrMapOvr>
  <p:transition spd="slow">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2" descr="\\195.43.2.40\Dr Maged Sharing\Mobtakron\Innovation pictures\Moore-types-of-innovation2.jpg"/>
          <p:cNvPicPr>
            <a:picLocks noChangeAspect="1" noChangeArrowheads="1"/>
          </p:cNvPicPr>
          <p:nvPr/>
        </p:nvPicPr>
        <p:blipFill>
          <a:blip r:embed="rId2" cstate="print"/>
          <a:srcRect/>
          <a:stretch>
            <a:fillRect/>
          </a:stretch>
        </p:blipFill>
        <p:spPr bwMode="auto">
          <a:xfrm>
            <a:off x="0" y="0"/>
            <a:ext cx="9324528" cy="6858000"/>
          </a:xfrm>
          <a:prstGeom prst="rect">
            <a:avLst/>
          </a:prstGeom>
          <a:noFill/>
        </p:spPr>
      </p:pic>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7874" name="Rectangle 2"/>
          <p:cNvSpPr>
            <a:spLocks noGrp="1" noChangeArrowheads="1"/>
          </p:cNvSpPr>
          <p:nvPr>
            <p:ph type="title"/>
          </p:nvPr>
        </p:nvSpPr>
        <p:spPr>
          <a:xfrm>
            <a:off x="457200" y="274638"/>
            <a:ext cx="8229600" cy="274637"/>
          </a:xfrm>
        </p:spPr>
        <p:txBody>
          <a:bodyPr/>
          <a:lstStyle/>
          <a:p>
            <a:r>
              <a:rPr lang="en-US" sz="2800" b="1">
                <a:latin typeface="Times New Roman" pitchFamily="18" charset="0"/>
              </a:rPr>
              <a:t>National System of Innovation</a:t>
            </a:r>
            <a:endParaRPr lang="et-EE" sz="2800" b="1">
              <a:latin typeface="Times New Roman" pitchFamily="18" charset="0"/>
            </a:endParaRPr>
          </a:p>
        </p:txBody>
      </p:sp>
      <p:pic>
        <p:nvPicPr>
          <p:cNvPr id="207875" name="Picture 3"/>
          <p:cNvPicPr>
            <a:picLocks noGrp="1" noChangeAspect="1" noChangeArrowheads="1"/>
          </p:cNvPicPr>
          <p:nvPr>
            <p:ph idx="1"/>
          </p:nvPr>
        </p:nvPicPr>
        <p:blipFill>
          <a:blip r:embed="rId2" cstate="print"/>
          <a:srcRect/>
          <a:stretch>
            <a:fillRect/>
          </a:stretch>
        </p:blipFill>
        <p:spPr>
          <a:xfrm>
            <a:off x="395288" y="665163"/>
            <a:ext cx="8424862" cy="5716587"/>
          </a:xfrm>
          <a:solidFill>
            <a:srgbClr val="CCECFF"/>
          </a:solidFill>
          <a:ln/>
        </p:spPr>
      </p:pic>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2" name="Folded Corner 41"/>
          <p:cNvSpPr/>
          <p:nvPr/>
        </p:nvSpPr>
        <p:spPr>
          <a:xfrm>
            <a:off x="7140164" y="2614604"/>
            <a:ext cx="1542854" cy="1483388"/>
          </a:xfrm>
          <a:prstGeom prst="foldedCorner">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lang="en-US"/>
          </a:p>
        </p:txBody>
      </p:sp>
      <p:sp>
        <p:nvSpPr>
          <p:cNvPr id="41" name="Folded Corner 40"/>
          <p:cNvSpPr/>
          <p:nvPr/>
        </p:nvSpPr>
        <p:spPr>
          <a:xfrm>
            <a:off x="4773757" y="2614604"/>
            <a:ext cx="2030491" cy="2686604"/>
          </a:xfrm>
          <a:prstGeom prst="foldedCorner">
            <a:avLst/>
          </a:prstGeom>
        </p:spPr>
        <p:style>
          <a:lnRef idx="1">
            <a:schemeClr val="accent5"/>
          </a:lnRef>
          <a:fillRef idx="3">
            <a:schemeClr val="accent5"/>
          </a:fillRef>
          <a:effectRef idx="2">
            <a:schemeClr val="accent5"/>
          </a:effectRef>
          <a:fontRef idx="minor">
            <a:schemeClr val="lt1"/>
          </a:fontRef>
        </p:style>
        <p:txBody>
          <a:bodyPr rtlCol="0" anchor="ctr"/>
          <a:lstStyle/>
          <a:p>
            <a:pPr algn="ctr"/>
            <a:endParaRPr lang="en-US"/>
          </a:p>
        </p:txBody>
      </p:sp>
      <p:sp>
        <p:nvSpPr>
          <p:cNvPr id="40" name="Folded Corner 39"/>
          <p:cNvSpPr/>
          <p:nvPr/>
        </p:nvSpPr>
        <p:spPr>
          <a:xfrm>
            <a:off x="2532453" y="2614604"/>
            <a:ext cx="1376803" cy="1275032"/>
          </a:xfrm>
          <a:prstGeom prst="foldedCorner">
            <a:avLst/>
          </a:prstGeom>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a:p>
        </p:txBody>
      </p:sp>
      <p:sp>
        <p:nvSpPr>
          <p:cNvPr id="39" name="Folded Corner 38"/>
          <p:cNvSpPr/>
          <p:nvPr/>
        </p:nvSpPr>
        <p:spPr>
          <a:xfrm>
            <a:off x="416241" y="2614604"/>
            <a:ext cx="1376803" cy="1275032"/>
          </a:xfrm>
          <a:prstGeom prst="foldedCorner">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348035" y="316212"/>
            <a:ext cx="3959643" cy="505522"/>
          </a:xfrm>
        </p:spPr>
        <p:style>
          <a:lnRef idx="1">
            <a:schemeClr val="accent2"/>
          </a:lnRef>
          <a:fillRef idx="2">
            <a:schemeClr val="accent2"/>
          </a:fillRef>
          <a:effectRef idx="1">
            <a:schemeClr val="accent2"/>
          </a:effectRef>
          <a:fontRef idx="minor">
            <a:schemeClr val="dk1"/>
          </a:fontRef>
        </p:style>
        <p:txBody>
          <a:bodyPr>
            <a:noAutofit/>
          </a:bodyPr>
          <a:lstStyle/>
          <a:p>
            <a:r>
              <a:rPr lang="en-US" sz="2400" b="1" dirty="0" smtClean="0">
                <a:solidFill>
                  <a:schemeClr val="accent2">
                    <a:lumMod val="75000"/>
                  </a:schemeClr>
                </a:solidFill>
              </a:rPr>
              <a:t>Components of Innovation</a:t>
            </a:r>
            <a:endParaRPr lang="en-US" sz="2400" b="1" dirty="0">
              <a:solidFill>
                <a:schemeClr val="accent2">
                  <a:lumMod val="75000"/>
                </a:schemeClr>
              </a:solidFill>
            </a:endParaRPr>
          </a:p>
        </p:txBody>
      </p:sp>
      <p:sp>
        <p:nvSpPr>
          <p:cNvPr id="4" name="Title 1"/>
          <p:cNvSpPr txBox="1">
            <a:spLocks/>
          </p:cNvSpPr>
          <p:nvPr/>
        </p:nvSpPr>
        <p:spPr>
          <a:xfrm>
            <a:off x="416241" y="1567818"/>
            <a:ext cx="1376803" cy="673276"/>
          </a:xfrm>
          <a:prstGeom prst="rect">
            <a:avLst/>
          </a:prstGeom>
        </p:spPr>
        <p:style>
          <a:lnRef idx="1">
            <a:schemeClr val="accent1"/>
          </a:lnRef>
          <a:fillRef idx="2">
            <a:schemeClr val="accent1"/>
          </a:fillRef>
          <a:effectRef idx="1">
            <a:schemeClr val="accent1"/>
          </a:effectRef>
          <a:fontRef idx="minor">
            <a:schemeClr val="dk1"/>
          </a:fontRef>
        </p:style>
        <p:txBody>
          <a:bodyPr vert="horz" lIns="91440" tIns="45720" rIns="91440" bIns="45720" rtlCol="0" anchor="ctr">
            <a:normAutofit/>
          </a:bodyPr>
          <a:lstStyle>
            <a:lvl1pPr algn="ctr" defTabSz="4572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1600" b="1" dirty="0" smtClean="0">
                <a:solidFill>
                  <a:schemeClr val="tx2">
                    <a:lumMod val="75000"/>
                  </a:schemeClr>
                </a:solidFill>
              </a:rPr>
              <a:t>Strategies &amp; Policies</a:t>
            </a:r>
            <a:endParaRPr lang="en-US" sz="1600" b="1" dirty="0">
              <a:solidFill>
                <a:schemeClr val="tx2">
                  <a:lumMod val="75000"/>
                </a:schemeClr>
              </a:solidFill>
            </a:endParaRPr>
          </a:p>
        </p:txBody>
      </p:sp>
      <p:sp>
        <p:nvSpPr>
          <p:cNvPr id="5" name="Title 1"/>
          <p:cNvSpPr txBox="1">
            <a:spLocks/>
          </p:cNvSpPr>
          <p:nvPr/>
        </p:nvSpPr>
        <p:spPr>
          <a:xfrm>
            <a:off x="2657545" y="1567818"/>
            <a:ext cx="1376803" cy="673276"/>
          </a:xfrm>
          <a:prstGeom prst="rect">
            <a:avLst/>
          </a:prstGeom>
          <a:scene3d>
            <a:camera prst="perspectiveBelow"/>
            <a:lightRig rig="threePt" dir="t"/>
          </a:scene3d>
        </p:spPr>
        <p:style>
          <a:lnRef idx="1">
            <a:schemeClr val="accent3"/>
          </a:lnRef>
          <a:fillRef idx="2">
            <a:schemeClr val="accent3"/>
          </a:fillRef>
          <a:effectRef idx="1">
            <a:schemeClr val="accent3"/>
          </a:effectRef>
          <a:fontRef idx="minor">
            <a:schemeClr val="dk1"/>
          </a:fontRef>
        </p:style>
        <p:txBody>
          <a:bodyPr vert="horz" lIns="91440" tIns="45720" rIns="91440" bIns="45720" rtlCol="0" anchor="ctr">
            <a:normAutofit/>
          </a:bodyPr>
          <a:lstStyle>
            <a:lvl1pPr algn="ctr" defTabSz="4572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1600" b="1" dirty="0" smtClean="0">
                <a:solidFill>
                  <a:srgbClr val="17375E"/>
                </a:solidFill>
              </a:rPr>
              <a:t>Funding &amp; Financing</a:t>
            </a:r>
            <a:endParaRPr lang="en-US" sz="1600" b="1" dirty="0">
              <a:solidFill>
                <a:srgbClr val="17375E"/>
              </a:solidFill>
            </a:endParaRPr>
          </a:p>
        </p:txBody>
      </p:sp>
      <p:sp>
        <p:nvSpPr>
          <p:cNvPr id="6" name="Title 1"/>
          <p:cNvSpPr txBox="1">
            <a:spLocks/>
          </p:cNvSpPr>
          <p:nvPr/>
        </p:nvSpPr>
        <p:spPr>
          <a:xfrm>
            <a:off x="4773757" y="1567818"/>
            <a:ext cx="1376803" cy="673276"/>
          </a:xfrm>
          <a:prstGeom prst="rect">
            <a:avLst/>
          </a:prstGeom>
        </p:spPr>
        <p:style>
          <a:lnRef idx="1">
            <a:schemeClr val="accent5"/>
          </a:lnRef>
          <a:fillRef idx="2">
            <a:schemeClr val="accent5"/>
          </a:fillRef>
          <a:effectRef idx="1">
            <a:schemeClr val="accent5"/>
          </a:effectRef>
          <a:fontRef idx="minor">
            <a:schemeClr val="dk1"/>
          </a:fontRef>
        </p:style>
        <p:txBody>
          <a:bodyPr vert="horz" lIns="91440" tIns="45720" rIns="91440" bIns="45720" rtlCol="0" anchor="ctr">
            <a:normAutofit/>
          </a:bodyPr>
          <a:lstStyle>
            <a:lvl1pPr algn="ctr" defTabSz="4572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1600" b="1" dirty="0" smtClean="0">
                <a:solidFill>
                  <a:srgbClr val="17375E"/>
                </a:solidFill>
              </a:rPr>
              <a:t>Instruments &amp; Programs</a:t>
            </a:r>
            <a:endParaRPr lang="en-US" sz="1600" b="1" dirty="0">
              <a:solidFill>
                <a:srgbClr val="17375E"/>
              </a:solidFill>
            </a:endParaRPr>
          </a:p>
        </p:txBody>
      </p:sp>
      <p:sp>
        <p:nvSpPr>
          <p:cNvPr id="7" name="Title 1"/>
          <p:cNvSpPr txBox="1">
            <a:spLocks/>
          </p:cNvSpPr>
          <p:nvPr/>
        </p:nvSpPr>
        <p:spPr>
          <a:xfrm>
            <a:off x="7156793" y="1570812"/>
            <a:ext cx="1376803" cy="673276"/>
          </a:xfrm>
          <a:prstGeom prst="rect">
            <a:avLst/>
          </a:prstGeom>
        </p:spPr>
        <p:style>
          <a:lnRef idx="1">
            <a:schemeClr val="accent6"/>
          </a:lnRef>
          <a:fillRef idx="2">
            <a:schemeClr val="accent6"/>
          </a:fillRef>
          <a:effectRef idx="1">
            <a:schemeClr val="accent6"/>
          </a:effectRef>
          <a:fontRef idx="minor">
            <a:schemeClr val="dk1"/>
          </a:fontRef>
        </p:style>
        <p:txBody>
          <a:bodyPr vert="horz" lIns="91440" tIns="45720" rIns="91440" bIns="45720" rtlCol="0" anchor="ctr">
            <a:normAutofit/>
          </a:bodyPr>
          <a:lstStyle>
            <a:lvl1pPr algn="ctr" defTabSz="457200" rtl="0" eaLnBrk="1" latinLnBrk="0" hangingPunct="1">
              <a:spcBef>
                <a:spcPct val="0"/>
              </a:spcBef>
              <a:buNone/>
              <a:defRPr sz="4400" kern="120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r>
              <a:rPr lang="en-US" sz="1600" b="1" dirty="0" smtClean="0">
                <a:solidFill>
                  <a:srgbClr val="17375E"/>
                </a:solidFill>
              </a:rPr>
              <a:t>Monitoring &amp; Evaluation</a:t>
            </a:r>
            <a:endParaRPr lang="en-US" sz="1600" b="1" dirty="0">
              <a:solidFill>
                <a:srgbClr val="17375E"/>
              </a:solidFill>
            </a:endParaRPr>
          </a:p>
        </p:txBody>
      </p:sp>
      <p:sp>
        <p:nvSpPr>
          <p:cNvPr id="8" name="TextBox 7"/>
          <p:cNvSpPr txBox="1"/>
          <p:nvPr/>
        </p:nvSpPr>
        <p:spPr>
          <a:xfrm>
            <a:off x="416241" y="2689307"/>
            <a:ext cx="1451515" cy="923330"/>
          </a:xfrm>
          <a:prstGeom prst="rect">
            <a:avLst/>
          </a:prstGeom>
          <a:noFill/>
        </p:spPr>
        <p:txBody>
          <a:bodyPr wrap="square" rtlCol="0">
            <a:spAutoFit/>
          </a:bodyPr>
          <a:lstStyle/>
          <a:p>
            <a:pPr marL="285750" indent="-285750">
              <a:buFontTx/>
              <a:buChar char="-"/>
            </a:pPr>
            <a:r>
              <a:rPr lang="en-US" dirty="0" smtClean="0"/>
              <a:t>NSTP</a:t>
            </a:r>
          </a:p>
          <a:p>
            <a:pPr marL="285750" indent="-285750">
              <a:buFontTx/>
              <a:buChar char="-"/>
            </a:pPr>
            <a:r>
              <a:rPr lang="en-US" dirty="0" smtClean="0"/>
              <a:t>NIS</a:t>
            </a:r>
          </a:p>
          <a:p>
            <a:pPr marL="285750" indent="-285750">
              <a:buFontTx/>
              <a:buChar char="-"/>
            </a:pPr>
            <a:r>
              <a:rPr lang="en-US" dirty="0" smtClean="0"/>
              <a:t>NIPS</a:t>
            </a:r>
            <a:endParaRPr lang="en-US" dirty="0"/>
          </a:p>
        </p:txBody>
      </p:sp>
      <p:sp>
        <p:nvSpPr>
          <p:cNvPr id="9" name="TextBox 8"/>
          <p:cNvSpPr txBox="1"/>
          <p:nvPr/>
        </p:nvSpPr>
        <p:spPr>
          <a:xfrm>
            <a:off x="2678891" y="2689307"/>
            <a:ext cx="1451515" cy="1200329"/>
          </a:xfrm>
          <a:prstGeom prst="rect">
            <a:avLst/>
          </a:prstGeom>
          <a:noFill/>
        </p:spPr>
        <p:txBody>
          <a:bodyPr wrap="square" rtlCol="0">
            <a:spAutoFit/>
          </a:bodyPr>
          <a:lstStyle/>
          <a:p>
            <a:pPr marL="285750" indent="-285750">
              <a:buFontTx/>
              <a:buChar char="-"/>
            </a:pPr>
            <a:r>
              <a:rPr lang="en-US" dirty="0" smtClean="0">
                <a:hlinkClick r:id="" action="ppaction://noaction"/>
              </a:rPr>
              <a:t>STDF</a:t>
            </a:r>
            <a:endParaRPr lang="en-US" dirty="0" smtClean="0"/>
          </a:p>
          <a:p>
            <a:pPr marL="285750" indent="-285750">
              <a:buFontTx/>
              <a:buChar char="-"/>
            </a:pPr>
            <a:r>
              <a:rPr lang="en-US" dirty="0" smtClean="0">
                <a:hlinkClick r:id="" action="ppaction://noaction"/>
              </a:rPr>
              <a:t>RDI</a:t>
            </a:r>
            <a:endParaRPr lang="en-US" dirty="0" smtClean="0"/>
          </a:p>
          <a:p>
            <a:pPr marL="285750" indent="-285750">
              <a:buFontTx/>
              <a:buChar char="-"/>
            </a:pPr>
            <a:r>
              <a:rPr lang="en-US" dirty="0" smtClean="0">
                <a:hlinkClick r:id="" action="ppaction://noaction"/>
              </a:rPr>
              <a:t>I.I.I</a:t>
            </a:r>
            <a:endParaRPr lang="en-US" dirty="0" smtClean="0"/>
          </a:p>
          <a:p>
            <a:pPr marL="285750" indent="-285750">
              <a:buFontTx/>
              <a:buChar char="-"/>
            </a:pPr>
            <a:r>
              <a:rPr lang="en-US" dirty="0" smtClean="0"/>
              <a:t>I.T.R</a:t>
            </a:r>
          </a:p>
        </p:txBody>
      </p:sp>
      <p:sp>
        <p:nvSpPr>
          <p:cNvPr id="10" name="TextBox 9"/>
          <p:cNvSpPr txBox="1"/>
          <p:nvPr/>
        </p:nvSpPr>
        <p:spPr>
          <a:xfrm>
            <a:off x="4773757" y="2689307"/>
            <a:ext cx="1886475" cy="2308324"/>
          </a:xfrm>
          <a:prstGeom prst="rect">
            <a:avLst/>
          </a:prstGeom>
          <a:noFill/>
        </p:spPr>
        <p:txBody>
          <a:bodyPr wrap="square" rtlCol="0">
            <a:spAutoFit/>
          </a:bodyPr>
          <a:lstStyle/>
          <a:p>
            <a:pPr marL="285750" indent="-285750">
              <a:buFontTx/>
              <a:buChar char="-"/>
            </a:pPr>
            <a:r>
              <a:rPr lang="en-US" dirty="0" smtClean="0"/>
              <a:t>TISC </a:t>
            </a:r>
          </a:p>
          <a:p>
            <a:pPr marL="285750" indent="-285750">
              <a:buFontTx/>
              <a:buChar char="-"/>
            </a:pPr>
            <a:r>
              <a:rPr lang="en-US" dirty="0" smtClean="0"/>
              <a:t>TICO</a:t>
            </a:r>
          </a:p>
          <a:p>
            <a:pPr marL="285750" indent="-285750">
              <a:buFontTx/>
              <a:buChar char="-"/>
            </a:pPr>
            <a:r>
              <a:rPr lang="en-US" dirty="0" smtClean="0"/>
              <a:t>FEKRA</a:t>
            </a:r>
          </a:p>
          <a:p>
            <a:pPr marL="285750" indent="-285750">
              <a:buFontTx/>
              <a:buChar char="-"/>
            </a:pPr>
            <a:r>
              <a:rPr lang="en-US" dirty="0" smtClean="0"/>
              <a:t>SENAA</a:t>
            </a:r>
          </a:p>
          <a:p>
            <a:pPr marL="285750" indent="-285750">
              <a:buFontTx/>
              <a:buChar char="-"/>
            </a:pPr>
            <a:r>
              <a:rPr lang="en-US" dirty="0" smtClean="0"/>
              <a:t>HBO</a:t>
            </a:r>
          </a:p>
          <a:p>
            <a:pPr marL="285750" indent="-285750">
              <a:buFontTx/>
              <a:buChar char="-"/>
            </a:pPr>
            <a:r>
              <a:rPr lang="en-US" dirty="0" smtClean="0"/>
              <a:t>ASRT R.C</a:t>
            </a:r>
          </a:p>
          <a:p>
            <a:pPr marL="285750" indent="-285750">
              <a:buFontTx/>
              <a:buChar char="-"/>
            </a:pPr>
            <a:r>
              <a:rPr lang="en-US" dirty="0" smtClean="0"/>
              <a:t>Prototyping</a:t>
            </a:r>
          </a:p>
          <a:p>
            <a:pPr marL="285750" indent="-285750">
              <a:buFontTx/>
              <a:buChar char="-"/>
            </a:pPr>
            <a:r>
              <a:rPr lang="en-US" dirty="0" smtClean="0"/>
              <a:t>IP Academy</a:t>
            </a:r>
          </a:p>
        </p:txBody>
      </p:sp>
      <p:sp>
        <p:nvSpPr>
          <p:cNvPr id="11" name="TextBox 10"/>
          <p:cNvSpPr txBox="1"/>
          <p:nvPr/>
        </p:nvSpPr>
        <p:spPr>
          <a:xfrm>
            <a:off x="7140164" y="2689307"/>
            <a:ext cx="1867758" cy="1200329"/>
          </a:xfrm>
          <a:prstGeom prst="rect">
            <a:avLst/>
          </a:prstGeom>
          <a:noFill/>
        </p:spPr>
        <p:txBody>
          <a:bodyPr wrap="square" rtlCol="0">
            <a:spAutoFit/>
          </a:bodyPr>
          <a:lstStyle/>
          <a:p>
            <a:pPr marL="285750" indent="-285750">
              <a:buFontTx/>
              <a:buChar char="-"/>
            </a:pPr>
            <a:r>
              <a:rPr lang="en-US" dirty="0" smtClean="0">
                <a:hlinkClick r:id="" action="ppaction://noaction"/>
              </a:rPr>
              <a:t>Surveys</a:t>
            </a:r>
            <a:endParaRPr lang="en-US" dirty="0" smtClean="0"/>
          </a:p>
          <a:p>
            <a:pPr marL="285750" indent="-285750">
              <a:buFontTx/>
              <a:buChar char="-"/>
            </a:pPr>
            <a:r>
              <a:rPr lang="en-US" dirty="0" smtClean="0">
                <a:hlinkClick r:id="" action="ppaction://noaction"/>
              </a:rPr>
              <a:t>E-Science</a:t>
            </a:r>
            <a:endParaRPr lang="en-US" dirty="0" smtClean="0"/>
          </a:p>
          <a:p>
            <a:pPr marL="285750" indent="-285750">
              <a:buFontTx/>
              <a:buChar char="-"/>
            </a:pPr>
            <a:r>
              <a:rPr lang="en-US" dirty="0" smtClean="0">
                <a:hlinkClick r:id="" action="ppaction://noaction"/>
              </a:rPr>
              <a:t>Research Visualizer</a:t>
            </a:r>
            <a:endParaRPr lang="en-US" dirty="0" smtClean="0"/>
          </a:p>
        </p:txBody>
      </p:sp>
      <p:cxnSp>
        <p:nvCxnSpPr>
          <p:cNvPr id="20" name="Elbow Connector 19"/>
          <p:cNvCxnSpPr>
            <a:stCxn id="2" idx="2"/>
          </p:cNvCxnSpPr>
          <p:nvPr/>
        </p:nvCxnSpPr>
        <p:spPr>
          <a:xfrm rot="5400000">
            <a:off x="2366739" y="-744528"/>
            <a:ext cx="394856" cy="3527381"/>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2" name="Elbow Connector 21"/>
          <p:cNvCxnSpPr>
            <a:stCxn id="2" idx="2"/>
          </p:cNvCxnSpPr>
          <p:nvPr/>
        </p:nvCxnSpPr>
        <p:spPr>
          <a:xfrm rot="16200000" flipH="1">
            <a:off x="5995516" y="-845925"/>
            <a:ext cx="394856" cy="3730174"/>
          </a:xfrm>
          <a:prstGeom prst="bentConnector2">
            <a:avLst/>
          </a:prstGeom>
        </p:spPr>
        <p:style>
          <a:lnRef idx="2">
            <a:schemeClr val="accent1"/>
          </a:lnRef>
          <a:fillRef idx="0">
            <a:schemeClr val="accent1"/>
          </a:fillRef>
          <a:effectRef idx="1">
            <a:schemeClr val="accent1"/>
          </a:effectRef>
          <a:fontRef idx="minor">
            <a:schemeClr val="tx1"/>
          </a:fontRef>
        </p:style>
      </p:cxnSp>
      <p:cxnSp>
        <p:nvCxnSpPr>
          <p:cNvPr id="24" name="Straight Arrow Connector 23"/>
          <p:cNvCxnSpPr/>
          <p:nvPr/>
        </p:nvCxnSpPr>
        <p:spPr>
          <a:xfrm>
            <a:off x="800468" y="1216591"/>
            <a:ext cx="0" cy="35122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a:endCxn id="5" idx="0"/>
          </p:cNvCxnSpPr>
          <p:nvPr/>
        </p:nvCxnSpPr>
        <p:spPr>
          <a:xfrm>
            <a:off x="3345947" y="1216590"/>
            <a:ext cx="0" cy="351228"/>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29" name="Straight Arrow Connector 28"/>
          <p:cNvCxnSpPr>
            <a:endCxn id="6" idx="0"/>
          </p:cNvCxnSpPr>
          <p:nvPr/>
        </p:nvCxnSpPr>
        <p:spPr>
          <a:xfrm>
            <a:off x="5462159" y="1216591"/>
            <a:ext cx="0" cy="351227"/>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cxnSp>
        <p:nvCxnSpPr>
          <p:cNvPr id="32" name="Straight Arrow Connector 31"/>
          <p:cNvCxnSpPr/>
          <p:nvPr/>
        </p:nvCxnSpPr>
        <p:spPr>
          <a:xfrm>
            <a:off x="8058033" y="1216591"/>
            <a:ext cx="0" cy="354221"/>
          </a:xfrm>
          <a:prstGeom prst="straightConnector1">
            <a:avLst/>
          </a:prstGeom>
          <a:ln>
            <a:tailEnd type="arrow"/>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093042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8" name="Picture 14"/>
          <p:cNvPicPr>
            <a:picLocks noChangeArrowheads="1"/>
          </p:cNvPicPr>
          <p:nvPr/>
        </p:nvPicPr>
        <p:blipFill>
          <a:blip r:embed="rId2" cstate="print"/>
          <a:srcRect/>
          <a:stretch>
            <a:fillRect/>
          </a:stretch>
        </p:blipFill>
        <p:spPr bwMode="auto">
          <a:xfrm>
            <a:off x="11" y="908050"/>
            <a:ext cx="4572000" cy="2592388"/>
          </a:xfrm>
          <a:prstGeom prst="rect">
            <a:avLst/>
          </a:prstGeom>
          <a:noFill/>
          <a:ln w="9525">
            <a:solidFill>
              <a:schemeClr val="tx1"/>
            </a:solidFill>
            <a:miter lim="800000"/>
            <a:headEnd/>
            <a:tailEnd/>
          </a:ln>
        </p:spPr>
      </p:pic>
      <p:pic>
        <p:nvPicPr>
          <p:cNvPr id="9219" name="Picture 18"/>
          <p:cNvPicPr>
            <a:picLocks noChangeArrowheads="1"/>
          </p:cNvPicPr>
          <p:nvPr/>
        </p:nvPicPr>
        <p:blipFill>
          <a:blip r:embed="rId3" cstate="print"/>
          <a:srcRect/>
          <a:stretch>
            <a:fillRect/>
          </a:stretch>
        </p:blipFill>
        <p:spPr bwMode="auto">
          <a:xfrm>
            <a:off x="0" y="3573463"/>
            <a:ext cx="4581525" cy="3284537"/>
          </a:xfrm>
          <a:prstGeom prst="rect">
            <a:avLst/>
          </a:prstGeom>
          <a:noFill/>
          <a:ln w="9525">
            <a:solidFill>
              <a:schemeClr val="tx1"/>
            </a:solidFill>
            <a:miter lim="800000"/>
            <a:headEnd/>
            <a:tailEnd/>
          </a:ln>
        </p:spPr>
      </p:pic>
      <p:pic>
        <p:nvPicPr>
          <p:cNvPr id="9220" name="Picture 19"/>
          <p:cNvPicPr>
            <a:picLocks noChangeArrowheads="1"/>
          </p:cNvPicPr>
          <p:nvPr/>
        </p:nvPicPr>
        <p:blipFill>
          <a:blip r:embed="rId4" cstate="print"/>
          <a:srcRect/>
          <a:stretch>
            <a:fillRect/>
          </a:stretch>
        </p:blipFill>
        <p:spPr bwMode="auto">
          <a:xfrm>
            <a:off x="4635500" y="909603"/>
            <a:ext cx="4508500" cy="2593975"/>
          </a:xfrm>
          <a:prstGeom prst="rect">
            <a:avLst/>
          </a:prstGeom>
          <a:noFill/>
          <a:ln w="9525">
            <a:solidFill>
              <a:schemeClr val="tx1"/>
            </a:solidFill>
            <a:miter lim="800000"/>
            <a:headEnd/>
            <a:tailEnd/>
          </a:ln>
        </p:spPr>
      </p:pic>
      <p:pic>
        <p:nvPicPr>
          <p:cNvPr id="9221" name="Picture 24"/>
          <p:cNvPicPr>
            <a:picLocks noChangeArrowheads="1"/>
          </p:cNvPicPr>
          <p:nvPr/>
        </p:nvPicPr>
        <p:blipFill>
          <a:blip r:embed="rId5" cstate="print"/>
          <a:srcRect/>
          <a:stretch>
            <a:fillRect/>
          </a:stretch>
        </p:blipFill>
        <p:spPr bwMode="auto">
          <a:xfrm>
            <a:off x="4635500" y="3573463"/>
            <a:ext cx="4508500" cy="3284537"/>
          </a:xfrm>
          <a:prstGeom prst="rect">
            <a:avLst/>
          </a:prstGeom>
          <a:noFill/>
          <a:ln w="9525">
            <a:solidFill>
              <a:schemeClr val="tx1"/>
            </a:solidFill>
            <a:miter lim="800000"/>
            <a:headEnd/>
            <a:tailEnd/>
          </a:ln>
        </p:spPr>
      </p:pic>
      <p:sp>
        <p:nvSpPr>
          <p:cNvPr id="9222" name="Rectangle 8"/>
          <p:cNvSpPr>
            <a:spLocks noGrp="1" noChangeArrowheads="1"/>
          </p:cNvSpPr>
          <p:nvPr>
            <p:ph type="title"/>
          </p:nvPr>
        </p:nvSpPr>
        <p:spPr>
          <a:xfrm>
            <a:off x="0" y="0"/>
            <a:ext cx="9144000" cy="936625"/>
          </a:xfrm>
        </p:spPr>
        <p:txBody>
          <a:bodyPr>
            <a:normAutofit fontScale="90000"/>
          </a:bodyPr>
          <a:lstStyle/>
          <a:p>
            <a:pPr algn="ctr" eaLnBrk="1" hangingPunct="1"/>
            <a:r>
              <a:rPr lang="en-US" dirty="0" smtClean="0"/>
              <a:t>VISUALIZING EXISTING AND EMERGING RESEARCH CLUSTERS</a:t>
            </a:r>
            <a:br>
              <a:rPr lang="en-US" dirty="0" smtClean="0"/>
            </a:br>
            <a:endParaRPr lang="en-GB" dirty="0" smtClean="0"/>
          </a:p>
        </p:txBody>
      </p:sp>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0" y="9"/>
            <a:ext cx="9144000" cy="981075"/>
          </a:xfrm>
        </p:spPr>
        <p:txBody>
          <a:bodyPr>
            <a:normAutofit fontScale="90000"/>
          </a:bodyPr>
          <a:lstStyle/>
          <a:p>
            <a:pPr algn="ctr"/>
            <a:r>
              <a:rPr lang="en-US" sz="2800" dirty="0" smtClean="0"/>
              <a:t>CREATING THE MAP </a:t>
            </a:r>
            <a:r>
              <a:rPr lang="en-US" dirty="0" smtClean="0"/>
              <a:t/>
            </a:r>
            <a:br>
              <a:rPr lang="en-US" dirty="0" smtClean="0"/>
            </a:br>
            <a:endParaRPr lang="en-US" dirty="0" smtClean="0"/>
          </a:p>
        </p:txBody>
      </p:sp>
      <p:grpSp>
        <p:nvGrpSpPr>
          <p:cNvPr id="2" name="Group 8"/>
          <p:cNvGrpSpPr>
            <a:grpSpLocks/>
          </p:cNvGrpSpPr>
          <p:nvPr/>
        </p:nvGrpSpPr>
        <p:grpSpPr bwMode="auto">
          <a:xfrm>
            <a:off x="150823" y="1143011"/>
            <a:ext cx="5411787" cy="2946621"/>
            <a:chOff x="0" y="1295400"/>
            <a:chExt cx="5412014" cy="2946969"/>
          </a:xfrm>
        </p:grpSpPr>
        <p:grpSp>
          <p:nvGrpSpPr>
            <p:cNvPr id="3" name="Group 7"/>
            <p:cNvGrpSpPr>
              <a:grpSpLocks/>
            </p:cNvGrpSpPr>
            <p:nvPr/>
          </p:nvGrpSpPr>
          <p:grpSpPr bwMode="auto">
            <a:xfrm>
              <a:off x="0" y="1295400"/>
              <a:ext cx="5412014" cy="2895600"/>
              <a:chOff x="0" y="1295400"/>
              <a:chExt cx="5412014" cy="2895600"/>
            </a:xfrm>
          </p:grpSpPr>
          <p:pic>
            <p:nvPicPr>
              <p:cNvPr id="2050" name="Picture 2"/>
              <p:cNvPicPr>
                <a:picLocks noChangeAspect="1" noChangeArrowheads="1"/>
              </p:cNvPicPr>
              <p:nvPr/>
            </p:nvPicPr>
            <p:blipFill>
              <a:blip r:embed="rId3" cstate="print"/>
              <a:srcRect t="16406" r="1875" b="17969"/>
              <a:stretch>
                <a:fillRect/>
              </a:stretch>
            </p:blipFill>
            <p:spPr bwMode="auto">
              <a:xfrm>
                <a:off x="0" y="1295400"/>
                <a:ext cx="5412014" cy="2895942"/>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
            <p:nvSpPr>
              <p:cNvPr id="10248" name="Rectangle 6"/>
              <p:cNvSpPr>
                <a:spLocks noChangeArrowheads="1"/>
              </p:cNvSpPr>
              <p:nvPr/>
            </p:nvSpPr>
            <p:spPr bwMode="auto">
              <a:xfrm>
                <a:off x="304800" y="3868056"/>
                <a:ext cx="4876800" cy="304800"/>
              </a:xfrm>
              <a:prstGeom prst="rect">
                <a:avLst/>
              </a:prstGeom>
              <a:solidFill>
                <a:schemeClr val="bg1"/>
              </a:solidFill>
              <a:ln w="9525" algn="ctr">
                <a:noFill/>
                <a:round/>
                <a:headEnd/>
                <a:tailEnd/>
              </a:ln>
            </p:spPr>
            <p:txBody>
              <a:bodyPr lIns="0" tIns="0" rIns="0" bIns="0"/>
              <a:lstStyle/>
              <a:p>
                <a:pPr marL="177612" indent="-177612">
                  <a:spcBef>
                    <a:spcPct val="60000"/>
                  </a:spcBef>
                  <a:buClr>
                    <a:schemeClr val="tx1"/>
                  </a:buClr>
                  <a:buFont typeface="Times" pitchFamily="18" charset="0"/>
                  <a:buChar char="•"/>
                </a:pPr>
                <a:endParaRPr lang="en-US" sz="2000" dirty="0"/>
              </a:p>
            </p:txBody>
          </p:sp>
        </p:grpSp>
        <p:sp>
          <p:nvSpPr>
            <p:cNvPr id="10246" name="TextBox 5"/>
            <p:cNvSpPr txBox="1">
              <a:spLocks noChangeArrowheads="1"/>
            </p:cNvSpPr>
            <p:nvPr/>
          </p:nvSpPr>
          <p:spPr bwMode="auto">
            <a:xfrm>
              <a:off x="87084" y="3755568"/>
              <a:ext cx="5257800" cy="486801"/>
            </a:xfrm>
            <a:prstGeom prst="rect">
              <a:avLst/>
            </a:prstGeom>
            <a:noFill/>
            <a:ln w="9525">
              <a:noFill/>
              <a:miter lim="800000"/>
              <a:headEnd/>
              <a:tailEnd/>
            </a:ln>
          </p:spPr>
          <p:txBody>
            <a:bodyPr>
              <a:spAutoFit/>
            </a:bodyPr>
            <a:lstStyle/>
            <a:p>
              <a:pPr algn="ctr">
                <a:lnSpc>
                  <a:spcPts val="1500"/>
                </a:lnSpc>
              </a:pPr>
              <a:r>
                <a:rPr lang="en-US" sz="1500" b="1" dirty="0">
                  <a:solidFill>
                    <a:schemeClr val="tx2"/>
                  </a:solidFill>
                </a:rPr>
                <a:t>The ordering of disciplines around the circle is based upon 20 existing maps of science</a:t>
              </a:r>
            </a:p>
          </p:txBody>
        </p:sp>
      </p:grpSp>
      <p:pic>
        <p:nvPicPr>
          <p:cNvPr id="4" name="Picture 2"/>
          <p:cNvPicPr>
            <a:picLocks noChangeAspect="1" noChangeArrowheads="1"/>
          </p:cNvPicPr>
          <p:nvPr/>
        </p:nvPicPr>
        <p:blipFill>
          <a:blip r:embed="rId4" cstate="print"/>
          <a:srcRect t="14844" r="8750" b="23437"/>
          <a:stretch>
            <a:fillRect/>
          </a:stretch>
        </p:blipFill>
        <p:spPr bwMode="auto">
          <a:xfrm>
            <a:off x="3581400" y="3657600"/>
            <a:ext cx="5410200" cy="292735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par>
                    <p:cTn id="10" fill="hold">
                      <p:stCondLst>
                        <p:cond delay="indefinite"/>
                      </p:stCondLst>
                      <p:childTnLst>
                        <p:par>
                          <p:cTn id="11" fill="hold">
                            <p:stCondLst>
                              <p:cond delay="0"/>
                            </p:stCondLst>
                            <p:childTnLst>
                              <p:par>
                                <p:cTn id="12" presetID="53"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anim calcmode="lin" valueType="num">
                                      <p:cBhvr>
                                        <p:cTn id="14" dur="500" fill="hold"/>
                                        <p:tgtEl>
                                          <p:spTgt spid="4"/>
                                        </p:tgtEl>
                                        <p:attrNameLst>
                                          <p:attrName>ppt_w</p:attrName>
                                        </p:attrNameLst>
                                      </p:cBhvr>
                                      <p:tavLst>
                                        <p:tav tm="0">
                                          <p:val>
                                            <p:fltVal val="0"/>
                                          </p:val>
                                        </p:tav>
                                        <p:tav tm="100000">
                                          <p:val>
                                            <p:strVal val="#ppt_w"/>
                                          </p:val>
                                        </p:tav>
                                      </p:tavLst>
                                    </p:anim>
                                    <p:anim calcmode="lin" valueType="num">
                                      <p:cBhvr>
                                        <p:cTn id="15" dur="500" fill="hold"/>
                                        <p:tgtEl>
                                          <p:spTgt spid="4"/>
                                        </p:tgtEl>
                                        <p:attrNameLst>
                                          <p:attrName>ppt_h</p:attrName>
                                        </p:attrNameLst>
                                      </p:cBhvr>
                                      <p:tavLst>
                                        <p:tav tm="0">
                                          <p:val>
                                            <p:fltVal val="0"/>
                                          </p:val>
                                        </p:tav>
                                        <p:tav tm="100000">
                                          <p:val>
                                            <p:strVal val="#ppt_h"/>
                                          </p:val>
                                        </p:tav>
                                      </p:tavLst>
                                    </p:anim>
                                    <p:animEffect transition="in" filter="fade">
                                      <p:cBhvr>
                                        <p:cTn id="16"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1603" name="Slide Number Placeholder 3"/>
          <p:cNvSpPr>
            <a:spLocks noGrp="1"/>
          </p:cNvSpPr>
          <p:nvPr>
            <p:ph type="sldNum" sz="quarter" idx="4294967295"/>
          </p:nvPr>
        </p:nvSpPr>
        <p:spPr>
          <a:xfrm>
            <a:off x="457200" y="6356350"/>
            <a:ext cx="2133600" cy="365125"/>
          </a:xfrm>
          <a:prstGeom prst="rect">
            <a:avLst/>
          </a:prstGeom>
        </p:spPr>
        <p:txBody>
          <a:bodyPr/>
          <a:lstStyle/>
          <a:p>
            <a:pPr algn="l">
              <a:defRPr/>
            </a:pPr>
            <a:fld id="{25504A73-E662-4D6B-9210-DEA9B652A89D}" type="slidenum">
              <a:rPr lang="en-GB" smtClean="0"/>
              <a:pPr algn="l">
                <a:defRPr/>
              </a:pPr>
              <a:t>27</a:t>
            </a:fld>
            <a:endParaRPr lang="en-GB" smtClean="0"/>
          </a:p>
        </p:txBody>
      </p:sp>
      <p:graphicFrame>
        <p:nvGraphicFramePr>
          <p:cNvPr id="2050" name="Rectangle 2" hidden="1"/>
          <p:cNvGraphicFramePr>
            <a:graphicFrameLocks/>
          </p:cNvGraphicFramePr>
          <p:nvPr>
            <p:custDataLst>
              <p:tags r:id="rId2"/>
            </p:custDataLst>
          </p:nvPr>
        </p:nvGraphicFramePr>
        <p:xfrm>
          <a:off x="10" y="0"/>
          <a:ext cx="158750" cy="158750"/>
        </p:xfrm>
        <a:graphic>
          <a:graphicData uri="http://schemas.openxmlformats.org/presentationml/2006/ole">
            <mc:AlternateContent xmlns:mc="http://schemas.openxmlformats.org/markup-compatibility/2006">
              <mc:Choice xmlns:v="urn:schemas-microsoft-com:vml" Requires="v">
                <p:oleObj spid="_x0000_s49162" r:id="rId43" imgW="0" imgH="0" progId="">
                  <p:embed/>
                </p:oleObj>
              </mc:Choice>
              <mc:Fallback>
                <p:oleObj r:id="rId43"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2" name="Rectangle 4"/>
          <p:cNvSpPr>
            <a:spLocks noGrp="1" noChangeArrowheads="1"/>
          </p:cNvSpPr>
          <p:nvPr>
            <p:ph type="title"/>
            <p:custDataLst>
              <p:tags r:id="rId3"/>
            </p:custDataLst>
          </p:nvPr>
        </p:nvSpPr>
        <p:spPr>
          <a:xfrm>
            <a:off x="609600" y="382588"/>
            <a:ext cx="8001000" cy="331787"/>
          </a:xfrm>
        </p:spPr>
        <p:txBody>
          <a:bodyPr>
            <a:normAutofit fontScale="90000"/>
          </a:bodyPr>
          <a:lstStyle/>
          <a:p>
            <a:pPr eaLnBrk="1" hangingPunct="1"/>
            <a:r>
              <a:rPr lang="en-GB" sz="2400" b="1" dirty="0" smtClean="0">
                <a:effectLst>
                  <a:outerShdw blurRad="38100" dist="38100" dir="2700000" algn="tl">
                    <a:srgbClr val="000000">
                      <a:alpha val="43137"/>
                    </a:srgbClr>
                  </a:outerShdw>
                </a:effectLst>
                <a:latin typeface="Arial" pitchFamily="34" charset="0"/>
                <a:cs typeface="Arial" pitchFamily="34" charset="0"/>
              </a:rPr>
              <a:t>Research Performance </a:t>
            </a:r>
            <a:r>
              <a:rPr lang="en-GB" sz="2400" b="1" dirty="0" err="1" smtClean="0">
                <a:effectLst>
                  <a:outerShdw blurRad="38100" dist="38100" dir="2700000" algn="tl">
                    <a:srgbClr val="000000">
                      <a:alpha val="43137"/>
                    </a:srgbClr>
                  </a:outerShdw>
                </a:effectLst>
                <a:latin typeface="Arial" pitchFamily="34" charset="0"/>
                <a:cs typeface="Arial" pitchFamily="34" charset="0"/>
              </a:rPr>
              <a:t>Visualizer</a:t>
            </a:r>
            <a:r>
              <a:rPr lang="en-GB" sz="2400" b="1" dirty="0" smtClean="0">
                <a:effectLst>
                  <a:outerShdw blurRad="38100" dist="38100" dir="2700000" algn="tl">
                    <a:srgbClr val="000000">
                      <a:alpha val="43137"/>
                    </a:srgbClr>
                  </a:outerShdw>
                </a:effectLst>
                <a:latin typeface="Arial" pitchFamily="34" charset="0"/>
                <a:cs typeface="Arial" pitchFamily="34" charset="0"/>
              </a:rPr>
              <a:t> Development Partner</a:t>
            </a:r>
            <a:endParaRPr lang="en-US" sz="2400" b="1" dirty="0" smtClean="0">
              <a:effectLst>
                <a:outerShdw blurRad="38100" dist="38100" dir="2700000" algn="tl">
                  <a:srgbClr val="000000">
                    <a:alpha val="43137"/>
                  </a:srgbClr>
                </a:outerShdw>
              </a:effectLst>
              <a:latin typeface="Arial" pitchFamily="34" charset="0"/>
              <a:cs typeface="Arial" pitchFamily="34" charset="0"/>
            </a:endParaRPr>
          </a:p>
        </p:txBody>
      </p:sp>
      <p:pic>
        <p:nvPicPr>
          <p:cNvPr id="2053" name="Picture 71" descr="gtwn_2.eps"/>
          <p:cNvPicPr>
            <a:picLocks noChangeAspect="1"/>
          </p:cNvPicPr>
          <p:nvPr>
            <p:custDataLst>
              <p:tags r:id="rId4"/>
            </p:custDataLst>
          </p:nvPr>
        </p:nvPicPr>
        <p:blipFill>
          <a:blip r:embed="rId44" cstate="print"/>
          <a:srcRect/>
          <a:stretch>
            <a:fillRect/>
          </a:stretch>
        </p:blipFill>
        <p:spPr bwMode="auto">
          <a:xfrm>
            <a:off x="760413" y="693738"/>
            <a:ext cx="5329237" cy="5330825"/>
          </a:xfrm>
          <a:prstGeom prst="rect">
            <a:avLst/>
          </a:prstGeom>
          <a:noFill/>
          <a:ln w="9525">
            <a:noFill/>
            <a:miter lim="800000"/>
            <a:headEnd/>
            <a:tailEnd/>
          </a:ln>
        </p:spPr>
      </p:pic>
      <p:pic>
        <p:nvPicPr>
          <p:cNvPr id="2054" name="Picture 92" descr="gtwn_1.eps"/>
          <p:cNvPicPr>
            <a:picLocks noChangeAspect="1"/>
          </p:cNvPicPr>
          <p:nvPr>
            <p:custDataLst>
              <p:tags r:id="rId5"/>
            </p:custDataLst>
          </p:nvPr>
        </p:nvPicPr>
        <p:blipFill>
          <a:blip r:embed="rId45" cstate="print"/>
          <a:srcRect/>
          <a:stretch>
            <a:fillRect/>
          </a:stretch>
        </p:blipFill>
        <p:spPr bwMode="auto">
          <a:xfrm>
            <a:off x="760413" y="693738"/>
            <a:ext cx="5329237" cy="5330825"/>
          </a:xfrm>
          <a:prstGeom prst="rect">
            <a:avLst/>
          </a:prstGeom>
          <a:noFill/>
          <a:ln w="9525">
            <a:noFill/>
            <a:miter lim="800000"/>
            <a:headEnd/>
            <a:tailEnd/>
          </a:ln>
        </p:spPr>
      </p:pic>
      <p:sp>
        <p:nvSpPr>
          <p:cNvPr id="2055" name="Text Box 22"/>
          <p:cNvSpPr txBox="1">
            <a:spLocks noChangeArrowheads="1"/>
          </p:cNvSpPr>
          <p:nvPr>
            <p:custDataLst>
              <p:tags r:id="rId6"/>
            </p:custDataLst>
          </p:nvPr>
        </p:nvSpPr>
        <p:spPr bwMode="auto">
          <a:xfrm>
            <a:off x="1681164" y="4343409"/>
            <a:ext cx="243542"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a:t>
            </a:r>
          </a:p>
        </p:txBody>
      </p:sp>
      <p:sp>
        <p:nvSpPr>
          <p:cNvPr id="2056" name="Text Box 22"/>
          <p:cNvSpPr txBox="1">
            <a:spLocks noChangeArrowheads="1"/>
          </p:cNvSpPr>
          <p:nvPr>
            <p:custDataLst>
              <p:tags r:id="rId7"/>
            </p:custDataLst>
          </p:nvPr>
        </p:nvSpPr>
        <p:spPr bwMode="auto">
          <a:xfrm>
            <a:off x="2474913" y="4084637"/>
            <a:ext cx="243542"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a:t>
            </a:r>
          </a:p>
        </p:txBody>
      </p:sp>
      <p:sp>
        <p:nvSpPr>
          <p:cNvPr id="2057" name="Text Box 22"/>
          <p:cNvSpPr txBox="1">
            <a:spLocks noChangeArrowheads="1"/>
          </p:cNvSpPr>
          <p:nvPr>
            <p:custDataLst>
              <p:tags r:id="rId8"/>
            </p:custDataLst>
          </p:nvPr>
        </p:nvSpPr>
        <p:spPr bwMode="auto">
          <a:xfrm>
            <a:off x="2732089" y="4164012"/>
            <a:ext cx="243542"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3</a:t>
            </a:r>
          </a:p>
        </p:txBody>
      </p:sp>
      <p:sp>
        <p:nvSpPr>
          <p:cNvPr id="2058" name="Text Box 22"/>
          <p:cNvSpPr txBox="1">
            <a:spLocks noChangeArrowheads="1"/>
          </p:cNvSpPr>
          <p:nvPr>
            <p:custDataLst>
              <p:tags r:id="rId9"/>
            </p:custDataLst>
          </p:nvPr>
        </p:nvSpPr>
        <p:spPr bwMode="auto">
          <a:xfrm>
            <a:off x="2760663" y="2674945"/>
            <a:ext cx="243542"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4</a:t>
            </a:r>
          </a:p>
        </p:txBody>
      </p:sp>
      <p:sp>
        <p:nvSpPr>
          <p:cNvPr id="2059" name="Text Box 22"/>
          <p:cNvSpPr txBox="1">
            <a:spLocks noChangeArrowheads="1"/>
          </p:cNvSpPr>
          <p:nvPr>
            <p:custDataLst>
              <p:tags r:id="rId10"/>
            </p:custDataLst>
          </p:nvPr>
        </p:nvSpPr>
        <p:spPr bwMode="auto">
          <a:xfrm>
            <a:off x="2103439" y="2060575"/>
            <a:ext cx="243542"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5</a:t>
            </a:r>
          </a:p>
        </p:txBody>
      </p:sp>
      <p:sp>
        <p:nvSpPr>
          <p:cNvPr id="2060" name="Text Box 22"/>
          <p:cNvSpPr txBox="1">
            <a:spLocks noChangeArrowheads="1"/>
          </p:cNvSpPr>
          <p:nvPr>
            <p:custDataLst>
              <p:tags r:id="rId11"/>
            </p:custDataLst>
          </p:nvPr>
        </p:nvSpPr>
        <p:spPr bwMode="auto">
          <a:xfrm>
            <a:off x="2125664" y="3767147"/>
            <a:ext cx="243542"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6</a:t>
            </a:r>
          </a:p>
        </p:txBody>
      </p:sp>
      <p:sp>
        <p:nvSpPr>
          <p:cNvPr id="2061" name="Text Box 22"/>
          <p:cNvSpPr txBox="1">
            <a:spLocks noChangeArrowheads="1"/>
          </p:cNvSpPr>
          <p:nvPr>
            <p:custDataLst>
              <p:tags r:id="rId12"/>
            </p:custDataLst>
          </p:nvPr>
        </p:nvSpPr>
        <p:spPr bwMode="auto">
          <a:xfrm>
            <a:off x="1741488" y="4084637"/>
            <a:ext cx="243542"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7</a:t>
            </a:r>
          </a:p>
        </p:txBody>
      </p:sp>
      <p:sp>
        <p:nvSpPr>
          <p:cNvPr id="2062" name="Text Box 22"/>
          <p:cNvSpPr txBox="1">
            <a:spLocks noChangeArrowheads="1"/>
          </p:cNvSpPr>
          <p:nvPr>
            <p:custDataLst>
              <p:tags r:id="rId13"/>
            </p:custDataLst>
          </p:nvPr>
        </p:nvSpPr>
        <p:spPr bwMode="auto">
          <a:xfrm>
            <a:off x="1487489" y="3967172"/>
            <a:ext cx="243542"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8</a:t>
            </a:r>
          </a:p>
        </p:txBody>
      </p:sp>
      <p:sp>
        <p:nvSpPr>
          <p:cNvPr id="2063" name="Text Box 22"/>
          <p:cNvSpPr txBox="1">
            <a:spLocks noChangeArrowheads="1"/>
          </p:cNvSpPr>
          <p:nvPr>
            <p:custDataLst>
              <p:tags r:id="rId14"/>
            </p:custDataLst>
          </p:nvPr>
        </p:nvSpPr>
        <p:spPr bwMode="auto">
          <a:xfrm>
            <a:off x="3914776" y="5272087"/>
            <a:ext cx="243542"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9</a:t>
            </a:r>
          </a:p>
        </p:txBody>
      </p:sp>
      <p:sp>
        <p:nvSpPr>
          <p:cNvPr id="2064" name="Text Box 22"/>
          <p:cNvSpPr txBox="1">
            <a:spLocks noChangeArrowheads="1"/>
          </p:cNvSpPr>
          <p:nvPr>
            <p:custDataLst>
              <p:tags r:id="rId15"/>
            </p:custDataLst>
          </p:nvPr>
        </p:nvSpPr>
        <p:spPr bwMode="auto">
          <a:xfrm>
            <a:off x="2136775" y="1139834"/>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0</a:t>
            </a:r>
          </a:p>
        </p:txBody>
      </p:sp>
      <p:sp>
        <p:nvSpPr>
          <p:cNvPr id="2065" name="Text Box 22"/>
          <p:cNvSpPr txBox="1">
            <a:spLocks noChangeArrowheads="1"/>
          </p:cNvSpPr>
          <p:nvPr>
            <p:custDataLst>
              <p:tags r:id="rId16"/>
            </p:custDataLst>
          </p:nvPr>
        </p:nvSpPr>
        <p:spPr bwMode="auto">
          <a:xfrm>
            <a:off x="1616075" y="2324109"/>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1</a:t>
            </a:r>
          </a:p>
        </p:txBody>
      </p:sp>
      <p:sp>
        <p:nvSpPr>
          <p:cNvPr id="2066" name="Text Box 22"/>
          <p:cNvSpPr txBox="1">
            <a:spLocks noChangeArrowheads="1"/>
          </p:cNvSpPr>
          <p:nvPr>
            <p:custDataLst>
              <p:tags r:id="rId17"/>
            </p:custDataLst>
          </p:nvPr>
        </p:nvSpPr>
        <p:spPr bwMode="auto">
          <a:xfrm>
            <a:off x="1692276" y="1885950"/>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2</a:t>
            </a:r>
          </a:p>
        </p:txBody>
      </p:sp>
      <p:sp>
        <p:nvSpPr>
          <p:cNvPr id="2067" name="Text Box 22"/>
          <p:cNvSpPr txBox="1">
            <a:spLocks noChangeArrowheads="1"/>
          </p:cNvSpPr>
          <p:nvPr>
            <p:custDataLst>
              <p:tags r:id="rId18"/>
            </p:custDataLst>
          </p:nvPr>
        </p:nvSpPr>
        <p:spPr bwMode="auto">
          <a:xfrm>
            <a:off x="1509714" y="2516197"/>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3</a:t>
            </a:r>
          </a:p>
        </p:txBody>
      </p:sp>
      <p:sp>
        <p:nvSpPr>
          <p:cNvPr id="2068" name="Text Box 22"/>
          <p:cNvSpPr txBox="1">
            <a:spLocks noChangeArrowheads="1"/>
          </p:cNvSpPr>
          <p:nvPr>
            <p:custDataLst>
              <p:tags r:id="rId19"/>
            </p:custDataLst>
          </p:nvPr>
        </p:nvSpPr>
        <p:spPr bwMode="auto">
          <a:xfrm>
            <a:off x="1577976" y="4225925"/>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4</a:t>
            </a:r>
          </a:p>
        </p:txBody>
      </p:sp>
      <p:sp>
        <p:nvSpPr>
          <p:cNvPr id="2069" name="Text Box 22"/>
          <p:cNvSpPr txBox="1">
            <a:spLocks noChangeArrowheads="1"/>
          </p:cNvSpPr>
          <p:nvPr>
            <p:custDataLst>
              <p:tags r:id="rId20"/>
            </p:custDataLst>
          </p:nvPr>
        </p:nvSpPr>
        <p:spPr bwMode="auto">
          <a:xfrm>
            <a:off x="4429125" y="4945062"/>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5</a:t>
            </a:r>
          </a:p>
        </p:txBody>
      </p:sp>
      <p:sp>
        <p:nvSpPr>
          <p:cNvPr id="2070" name="Text Box 22"/>
          <p:cNvSpPr txBox="1">
            <a:spLocks noChangeArrowheads="1"/>
          </p:cNvSpPr>
          <p:nvPr>
            <p:custDataLst>
              <p:tags r:id="rId21"/>
            </p:custDataLst>
          </p:nvPr>
        </p:nvSpPr>
        <p:spPr bwMode="auto">
          <a:xfrm>
            <a:off x="2727326" y="5219700"/>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6</a:t>
            </a:r>
          </a:p>
        </p:txBody>
      </p:sp>
      <p:sp>
        <p:nvSpPr>
          <p:cNvPr id="2071" name="Text Box 22"/>
          <p:cNvSpPr txBox="1">
            <a:spLocks noChangeArrowheads="1"/>
          </p:cNvSpPr>
          <p:nvPr>
            <p:custDataLst>
              <p:tags r:id="rId22"/>
            </p:custDataLst>
          </p:nvPr>
        </p:nvSpPr>
        <p:spPr bwMode="auto">
          <a:xfrm>
            <a:off x="1085850" y="4178305"/>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7</a:t>
            </a:r>
          </a:p>
        </p:txBody>
      </p:sp>
      <p:sp>
        <p:nvSpPr>
          <p:cNvPr id="2072" name="Text Box 22"/>
          <p:cNvSpPr txBox="1">
            <a:spLocks noChangeArrowheads="1"/>
          </p:cNvSpPr>
          <p:nvPr>
            <p:custDataLst>
              <p:tags r:id="rId23"/>
            </p:custDataLst>
          </p:nvPr>
        </p:nvSpPr>
        <p:spPr bwMode="auto">
          <a:xfrm>
            <a:off x="3224213" y="1177925"/>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8</a:t>
            </a:r>
          </a:p>
        </p:txBody>
      </p:sp>
      <p:sp>
        <p:nvSpPr>
          <p:cNvPr id="2073" name="Text Box 22"/>
          <p:cNvSpPr txBox="1">
            <a:spLocks noChangeArrowheads="1"/>
          </p:cNvSpPr>
          <p:nvPr>
            <p:custDataLst>
              <p:tags r:id="rId24"/>
            </p:custDataLst>
          </p:nvPr>
        </p:nvSpPr>
        <p:spPr bwMode="auto">
          <a:xfrm>
            <a:off x="1595438" y="2397125"/>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19</a:t>
            </a:r>
          </a:p>
        </p:txBody>
      </p:sp>
      <p:sp>
        <p:nvSpPr>
          <p:cNvPr id="2074" name="Text Box 22"/>
          <p:cNvSpPr txBox="1">
            <a:spLocks noChangeArrowheads="1"/>
          </p:cNvSpPr>
          <p:nvPr>
            <p:custDataLst>
              <p:tags r:id="rId25"/>
            </p:custDataLst>
          </p:nvPr>
        </p:nvSpPr>
        <p:spPr bwMode="auto">
          <a:xfrm>
            <a:off x="1390651" y="3006731"/>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0</a:t>
            </a:r>
          </a:p>
        </p:txBody>
      </p:sp>
      <p:sp>
        <p:nvSpPr>
          <p:cNvPr id="2075" name="Text Box 22"/>
          <p:cNvSpPr txBox="1">
            <a:spLocks noChangeArrowheads="1"/>
          </p:cNvSpPr>
          <p:nvPr>
            <p:custDataLst>
              <p:tags r:id="rId26"/>
            </p:custDataLst>
          </p:nvPr>
        </p:nvSpPr>
        <p:spPr bwMode="auto">
          <a:xfrm>
            <a:off x="2054225" y="4530734"/>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1</a:t>
            </a:r>
          </a:p>
        </p:txBody>
      </p:sp>
      <p:sp>
        <p:nvSpPr>
          <p:cNvPr id="2076" name="Text Box 22"/>
          <p:cNvSpPr txBox="1">
            <a:spLocks noChangeArrowheads="1"/>
          </p:cNvSpPr>
          <p:nvPr>
            <p:custDataLst>
              <p:tags r:id="rId27"/>
            </p:custDataLst>
          </p:nvPr>
        </p:nvSpPr>
        <p:spPr bwMode="auto">
          <a:xfrm>
            <a:off x="2568575" y="1371609"/>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2</a:t>
            </a:r>
          </a:p>
        </p:txBody>
      </p:sp>
      <p:sp>
        <p:nvSpPr>
          <p:cNvPr id="2077" name="Text Box 22"/>
          <p:cNvSpPr txBox="1">
            <a:spLocks noChangeArrowheads="1"/>
          </p:cNvSpPr>
          <p:nvPr>
            <p:custDataLst>
              <p:tags r:id="rId28"/>
            </p:custDataLst>
          </p:nvPr>
        </p:nvSpPr>
        <p:spPr bwMode="auto">
          <a:xfrm>
            <a:off x="2051051" y="1192222"/>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3</a:t>
            </a:r>
          </a:p>
        </p:txBody>
      </p:sp>
      <p:sp>
        <p:nvSpPr>
          <p:cNvPr id="2078" name="Text Box 22"/>
          <p:cNvSpPr txBox="1">
            <a:spLocks noChangeArrowheads="1"/>
          </p:cNvSpPr>
          <p:nvPr>
            <p:custDataLst>
              <p:tags r:id="rId29"/>
            </p:custDataLst>
          </p:nvPr>
        </p:nvSpPr>
        <p:spPr bwMode="auto">
          <a:xfrm>
            <a:off x="1800226" y="3706822"/>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4</a:t>
            </a:r>
          </a:p>
        </p:txBody>
      </p:sp>
      <p:sp>
        <p:nvSpPr>
          <p:cNvPr id="2079" name="Text Box 22"/>
          <p:cNvSpPr txBox="1">
            <a:spLocks noChangeArrowheads="1"/>
          </p:cNvSpPr>
          <p:nvPr>
            <p:custDataLst>
              <p:tags r:id="rId30"/>
            </p:custDataLst>
          </p:nvPr>
        </p:nvSpPr>
        <p:spPr bwMode="auto">
          <a:xfrm>
            <a:off x="2511425" y="4367222"/>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5</a:t>
            </a:r>
          </a:p>
        </p:txBody>
      </p:sp>
      <p:sp>
        <p:nvSpPr>
          <p:cNvPr id="2080" name="Text Box 22"/>
          <p:cNvSpPr txBox="1">
            <a:spLocks noChangeArrowheads="1"/>
          </p:cNvSpPr>
          <p:nvPr>
            <p:custDataLst>
              <p:tags r:id="rId31"/>
            </p:custDataLst>
          </p:nvPr>
        </p:nvSpPr>
        <p:spPr bwMode="auto">
          <a:xfrm>
            <a:off x="2898776" y="4713287"/>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6</a:t>
            </a:r>
          </a:p>
        </p:txBody>
      </p:sp>
      <p:sp>
        <p:nvSpPr>
          <p:cNvPr id="2081" name="Text Box 22"/>
          <p:cNvSpPr txBox="1">
            <a:spLocks noChangeArrowheads="1"/>
          </p:cNvSpPr>
          <p:nvPr>
            <p:custDataLst>
              <p:tags r:id="rId32"/>
            </p:custDataLst>
          </p:nvPr>
        </p:nvSpPr>
        <p:spPr bwMode="auto">
          <a:xfrm>
            <a:off x="2322514" y="1641475"/>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7</a:t>
            </a:r>
          </a:p>
        </p:txBody>
      </p:sp>
      <p:sp>
        <p:nvSpPr>
          <p:cNvPr id="2082" name="Text Box 22"/>
          <p:cNvSpPr txBox="1">
            <a:spLocks noChangeArrowheads="1"/>
          </p:cNvSpPr>
          <p:nvPr>
            <p:custDataLst>
              <p:tags r:id="rId33"/>
            </p:custDataLst>
          </p:nvPr>
        </p:nvSpPr>
        <p:spPr bwMode="auto">
          <a:xfrm>
            <a:off x="1247775" y="3646493"/>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8</a:t>
            </a:r>
          </a:p>
        </p:txBody>
      </p:sp>
      <p:sp>
        <p:nvSpPr>
          <p:cNvPr id="2083" name="Text Box 22"/>
          <p:cNvSpPr txBox="1">
            <a:spLocks noChangeArrowheads="1"/>
          </p:cNvSpPr>
          <p:nvPr>
            <p:custDataLst>
              <p:tags r:id="rId34"/>
            </p:custDataLst>
          </p:nvPr>
        </p:nvSpPr>
        <p:spPr bwMode="auto">
          <a:xfrm>
            <a:off x="1911351" y="2060575"/>
            <a:ext cx="302426" cy="217937"/>
          </a:xfrm>
          <a:prstGeom prst="rect">
            <a:avLst/>
          </a:prstGeom>
          <a:noFill/>
          <a:ln w="9525">
            <a:noFill/>
            <a:miter lim="800000"/>
            <a:headEnd/>
            <a:tailEnd/>
          </a:ln>
        </p:spPr>
        <p:txBody>
          <a:bodyPr wrap="none" lIns="91344" tIns="45671" rIns="91344" bIns="45671">
            <a:spAutoFit/>
          </a:bodyPr>
          <a:lstStyle/>
          <a:p>
            <a:r>
              <a:rPr lang="en-US" sz="800" dirty="0">
                <a:solidFill>
                  <a:srgbClr val="5F5F5F"/>
                </a:solidFill>
                <a:ea typeface="ヒラギノ角ゴ Pro W3"/>
                <a:cs typeface="ヒラギノ角ゴ Pro W3"/>
              </a:rPr>
              <a:t>29</a:t>
            </a:r>
          </a:p>
        </p:txBody>
      </p:sp>
      <p:pic>
        <p:nvPicPr>
          <p:cNvPr id="2084" name="Picture 88" descr="gtwn_3.eps"/>
          <p:cNvPicPr>
            <a:picLocks noChangeAspect="1"/>
          </p:cNvPicPr>
          <p:nvPr>
            <p:custDataLst>
              <p:tags r:id="rId35"/>
            </p:custDataLst>
          </p:nvPr>
        </p:nvPicPr>
        <p:blipFill>
          <a:blip r:embed="rId46" cstate="print"/>
          <a:srcRect b="2831"/>
          <a:stretch>
            <a:fillRect/>
          </a:stretch>
        </p:blipFill>
        <p:spPr bwMode="auto">
          <a:xfrm>
            <a:off x="760413" y="693747"/>
            <a:ext cx="5329237" cy="5180012"/>
          </a:xfrm>
          <a:prstGeom prst="rect">
            <a:avLst/>
          </a:prstGeom>
          <a:noFill/>
          <a:ln w="9525">
            <a:noFill/>
            <a:miter lim="800000"/>
            <a:headEnd/>
            <a:tailEnd/>
          </a:ln>
        </p:spPr>
      </p:pic>
      <p:grpSp>
        <p:nvGrpSpPr>
          <p:cNvPr id="2" name="Group 90"/>
          <p:cNvGrpSpPr>
            <a:grpSpLocks/>
          </p:cNvGrpSpPr>
          <p:nvPr>
            <p:custDataLst>
              <p:tags r:id="rId36"/>
            </p:custDataLst>
          </p:nvPr>
        </p:nvGrpSpPr>
        <p:grpSpPr bwMode="auto">
          <a:xfrm>
            <a:off x="5895983" y="1206510"/>
            <a:ext cx="2642075" cy="2380233"/>
            <a:chOff x="7072330" y="2214554"/>
            <a:chExt cx="3167700" cy="2855013"/>
          </a:xfrm>
        </p:grpSpPr>
        <p:sp>
          <p:nvSpPr>
            <p:cNvPr id="2091" name="Text Box 15"/>
            <p:cNvSpPr txBox="1">
              <a:spLocks noChangeArrowheads="1"/>
            </p:cNvSpPr>
            <p:nvPr/>
          </p:nvSpPr>
          <p:spPr bwMode="auto">
            <a:xfrm>
              <a:off x="8358978" y="2642988"/>
              <a:ext cx="1645725"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Math &amp; Physics (3995)</a:t>
              </a:r>
            </a:p>
          </p:txBody>
        </p:sp>
        <p:sp>
          <p:nvSpPr>
            <p:cNvPr id="2092" name="Text Box 18"/>
            <p:cNvSpPr txBox="1">
              <a:spLocks noChangeArrowheads="1"/>
            </p:cNvSpPr>
            <p:nvPr/>
          </p:nvSpPr>
          <p:spPr bwMode="auto">
            <a:xfrm>
              <a:off x="8358978" y="2429724"/>
              <a:ext cx="1347644"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Chemistry  (5161)</a:t>
              </a:r>
            </a:p>
          </p:txBody>
        </p:sp>
        <p:sp>
          <p:nvSpPr>
            <p:cNvPr id="2093" name="Text Box 20"/>
            <p:cNvSpPr txBox="1">
              <a:spLocks noChangeArrowheads="1"/>
            </p:cNvSpPr>
            <p:nvPr/>
          </p:nvSpPr>
          <p:spPr bwMode="auto">
            <a:xfrm>
              <a:off x="8358978" y="4571898"/>
              <a:ext cx="1622192"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Earth Sciences (1343)</a:t>
              </a:r>
            </a:p>
          </p:txBody>
        </p:sp>
        <p:sp>
          <p:nvSpPr>
            <p:cNvPr id="2094" name="Text Box 21"/>
            <p:cNvSpPr txBox="1">
              <a:spLocks noChangeArrowheads="1"/>
            </p:cNvSpPr>
            <p:nvPr/>
          </p:nvSpPr>
          <p:spPr bwMode="auto">
            <a:xfrm>
              <a:off x="8358978" y="3286593"/>
              <a:ext cx="1135848"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Biology (2912)</a:t>
              </a:r>
            </a:p>
          </p:txBody>
        </p:sp>
        <p:sp>
          <p:nvSpPr>
            <p:cNvPr id="2095" name="Text Box 25"/>
            <p:cNvSpPr txBox="1">
              <a:spLocks noChangeArrowheads="1"/>
            </p:cNvSpPr>
            <p:nvPr/>
          </p:nvSpPr>
          <p:spPr bwMode="auto">
            <a:xfrm>
              <a:off x="8364687" y="4341495"/>
              <a:ext cx="1559438"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Biotechnology (1616)</a:t>
              </a:r>
            </a:p>
          </p:txBody>
        </p:sp>
        <p:sp>
          <p:nvSpPr>
            <p:cNvPr id="2096" name="Text Box 22"/>
            <p:cNvSpPr txBox="1">
              <a:spLocks noChangeArrowheads="1"/>
            </p:cNvSpPr>
            <p:nvPr/>
          </p:nvSpPr>
          <p:spPr bwMode="auto">
            <a:xfrm>
              <a:off x="8358978" y="3499858"/>
              <a:ext cx="1826142"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Infectious Disease (2773)</a:t>
              </a:r>
            </a:p>
          </p:txBody>
        </p:sp>
        <p:sp>
          <p:nvSpPr>
            <p:cNvPr id="2097" name="Text Box 23"/>
            <p:cNvSpPr txBox="1">
              <a:spLocks noChangeArrowheads="1"/>
            </p:cNvSpPr>
            <p:nvPr/>
          </p:nvSpPr>
          <p:spPr bwMode="auto">
            <a:xfrm>
              <a:off x="8358978" y="2214554"/>
              <a:ext cx="1881052"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Medical Specialties (9053)</a:t>
              </a:r>
            </a:p>
          </p:txBody>
        </p:sp>
        <p:sp>
          <p:nvSpPr>
            <p:cNvPr id="2098" name="Text Box 24"/>
            <p:cNvSpPr txBox="1">
              <a:spLocks noChangeArrowheads="1"/>
            </p:cNvSpPr>
            <p:nvPr/>
          </p:nvSpPr>
          <p:spPr bwMode="auto">
            <a:xfrm>
              <a:off x="8358979" y="3071424"/>
              <a:ext cx="1661413"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Health Services (3034)</a:t>
              </a:r>
            </a:p>
          </p:txBody>
        </p:sp>
        <p:sp>
          <p:nvSpPr>
            <p:cNvPr id="2099" name="Text Box 26"/>
            <p:cNvSpPr txBox="1">
              <a:spLocks noChangeArrowheads="1"/>
            </p:cNvSpPr>
            <p:nvPr/>
          </p:nvSpPr>
          <p:spPr bwMode="auto">
            <a:xfrm>
              <a:off x="8358979" y="2858159"/>
              <a:ext cx="1645725"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Brain Research (3781)</a:t>
              </a:r>
            </a:p>
          </p:txBody>
        </p:sp>
        <p:sp>
          <p:nvSpPr>
            <p:cNvPr id="73" name="Rectangle 72"/>
            <p:cNvSpPr/>
            <p:nvPr/>
          </p:nvSpPr>
          <p:spPr bwMode="auto">
            <a:xfrm>
              <a:off x="7767044" y="2715347"/>
              <a:ext cx="548157" cy="76166"/>
            </a:xfrm>
            <a:prstGeom prst="rect">
              <a:avLst/>
            </a:prstGeom>
            <a:solidFill>
              <a:srgbClr val="A75BD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74" name="Rectangle 73"/>
            <p:cNvSpPr/>
            <p:nvPr/>
          </p:nvSpPr>
          <p:spPr bwMode="auto">
            <a:xfrm>
              <a:off x="8050638" y="4215821"/>
              <a:ext cx="264563" cy="76166"/>
            </a:xfrm>
            <a:prstGeom prst="rect">
              <a:avLst/>
            </a:prstGeom>
            <a:solidFill>
              <a:srgbClr val="FF66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75" name="Rectangle 74"/>
            <p:cNvSpPr/>
            <p:nvPr/>
          </p:nvSpPr>
          <p:spPr bwMode="auto">
            <a:xfrm>
              <a:off x="7603358" y="2500177"/>
              <a:ext cx="711843" cy="76166"/>
            </a:xfrm>
            <a:prstGeom prst="rect">
              <a:avLst/>
            </a:prstGeom>
            <a:solidFill>
              <a:srgbClr val="0000C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76" name="Rectangle 75"/>
            <p:cNvSpPr/>
            <p:nvPr/>
          </p:nvSpPr>
          <p:spPr bwMode="auto">
            <a:xfrm>
              <a:off x="8004959" y="4000651"/>
              <a:ext cx="310242" cy="76166"/>
            </a:xfrm>
            <a:prstGeom prst="rect">
              <a:avLst/>
            </a:prstGeom>
            <a:solidFill>
              <a:srgbClr val="66FFFF"/>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77" name="Rectangle 76"/>
            <p:cNvSpPr/>
            <p:nvPr/>
          </p:nvSpPr>
          <p:spPr bwMode="auto">
            <a:xfrm>
              <a:off x="8132482" y="4644256"/>
              <a:ext cx="182719" cy="76166"/>
            </a:xfrm>
            <a:prstGeom prst="rect">
              <a:avLst/>
            </a:prstGeom>
            <a:solidFill>
              <a:srgbClr val="6633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78" name="Rectangle 77"/>
            <p:cNvSpPr/>
            <p:nvPr/>
          </p:nvSpPr>
          <p:spPr bwMode="auto">
            <a:xfrm>
              <a:off x="7913599" y="3357047"/>
              <a:ext cx="401602" cy="76166"/>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79" name="Rectangle 78"/>
            <p:cNvSpPr/>
            <p:nvPr/>
          </p:nvSpPr>
          <p:spPr bwMode="auto">
            <a:xfrm>
              <a:off x="8096318" y="4429087"/>
              <a:ext cx="218883" cy="76166"/>
            </a:xfrm>
            <a:prstGeom prst="rect">
              <a:avLst/>
            </a:prstGeom>
            <a:solidFill>
              <a:srgbClr val="00FF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80" name="Rectangle 79"/>
            <p:cNvSpPr/>
            <p:nvPr/>
          </p:nvSpPr>
          <p:spPr bwMode="auto">
            <a:xfrm>
              <a:off x="7940246" y="3572217"/>
              <a:ext cx="374955" cy="76166"/>
            </a:xfrm>
            <a:prstGeom prst="rect">
              <a:avLst/>
            </a:prstGeom>
            <a:solidFill>
              <a:srgbClr val="C0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81" name="Rectangle 80"/>
            <p:cNvSpPr/>
            <p:nvPr/>
          </p:nvSpPr>
          <p:spPr bwMode="auto">
            <a:xfrm>
              <a:off x="7072330" y="2286912"/>
              <a:ext cx="1242871" cy="76166"/>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82" name="Rectangle 81"/>
            <p:cNvSpPr/>
            <p:nvPr/>
          </p:nvSpPr>
          <p:spPr bwMode="auto">
            <a:xfrm>
              <a:off x="7894566" y="3143782"/>
              <a:ext cx="420635" cy="76166"/>
            </a:xfrm>
            <a:prstGeom prst="rect">
              <a:avLst/>
            </a:prstGeom>
            <a:solidFill>
              <a:srgbClr val="FF996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83" name="Rectangle 82"/>
            <p:cNvSpPr/>
            <p:nvPr/>
          </p:nvSpPr>
          <p:spPr bwMode="auto">
            <a:xfrm>
              <a:off x="7795593" y="2928613"/>
              <a:ext cx="519608" cy="76166"/>
            </a:xfrm>
            <a:prstGeom prst="rect">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84" name="Rectangle 83"/>
            <p:cNvSpPr/>
            <p:nvPr/>
          </p:nvSpPr>
          <p:spPr bwMode="auto">
            <a:xfrm>
              <a:off x="8298071" y="4857521"/>
              <a:ext cx="17131" cy="76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85" name="Rectangle 84"/>
            <p:cNvSpPr/>
            <p:nvPr/>
          </p:nvSpPr>
          <p:spPr bwMode="auto">
            <a:xfrm>
              <a:off x="7966892" y="3787386"/>
              <a:ext cx="348309" cy="76166"/>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solidFill>
                  <a:srgbClr val="5F5F5F"/>
                </a:solidFill>
              </a:endParaRPr>
            </a:p>
          </p:txBody>
        </p:sp>
        <p:sp>
          <p:nvSpPr>
            <p:cNvPr id="2113" name="Text Box 22"/>
            <p:cNvSpPr txBox="1">
              <a:spLocks noChangeArrowheads="1"/>
            </p:cNvSpPr>
            <p:nvPr/>
          </p:nvSpPr>
          <p:spPr bwMode="auto">
            <a:xfrm>
              <a:off x="8358979" y="3715027"/>
              <a:ext cx="1669258"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Social Sciences (2482)</a:t>
              </a:r>
            </a:p>
          </p:txBody>
        </p:sp>
        <p:sp>
          <p:nvSpPr>
            <p:cNvPr id="2114" name="Text Box 22"/>
            <p:cNvSpPr txBox="1">
              <a:spLocks noChangeArrowheads="1"/>
            </p:cNvSpPr>
            <p:nvPr/>
          </p:nvSpPr>
          <p:spPr bwMode="auto">
            <a:xfrm>
              <a:off x="8364688" y="3930198"/>
              <a:ext cx="1426086"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Engineering (2273)</a:t>
              </a:r>
            </a:p>
          </p:txBody>
        </p:sp>
        <p:sp>
          <p:nvSpPr>
            <p:cNvPr id="2115" name="Text Box 22"/>
            <p:cNvSpPr txBox="1">
              <a:spLocks noChangeArrowheads="1"/>
            </p:cNvSpPr>
            <p:nvPr/>
          </p:nvSpPr>
          <p:spPr bwMode="auto">
            <a:xfrm>
              <a:off x="8358979" y="4126326"/>
              <a:ext cx="1833987"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Computer Science (1911)</a:t>
              </a:r>
            </a:p>
          </p:txBody>
        </p:sp>
        <p:sp>
          <p:nvSpPr>
            <p:cNvPr id="2116" name="Text Box 20"/>
            <p:cNvSpPr txBox="1">
              <a:spLocks noChangeArrowheads="1"/>
            </p:cNvSpPr>
            <p:nvPr/>
          </p:nvSpPr>
          <p:spPr bwMode="auto">
            <a:xfrm>
              <a:off x="8358979" y="4787068"/>
              <a:ext cx="1222135" cy="282499"/>
            </a:xfrm>
            <a:prstGeom prst="rect">
              <a:avLst/>
            </a:prstGeom>
            <a:noFill/>
            <a:ln w="9525">
              <a:noFill/>
              <a:miter lim="800000"/>
              <a:headEnd/>
              <a:tailEnd/>
            </a:ln>
          </p:spPr>
          <p:txBody>
            <a:bodyPr wrap="none">
              <a:spAutoFit/>
            </a:bodyPr>
            <a:lstStyle/>
            <a:p>
              <a:r>
                <a:rPr lang="en-US" sz="900" dirty="0">
                  <a:solidFill>
                    <a:srgbClr val="5F5F5F"/>
                  </a:solidFill>
                  <a:ea typeface="ヒラギノ角ゴ Pro W3"/>
                  <a:cs typeface="ヒラギノ角ゴ Pro W3"/>
                </a:rPr>
                <a:t>Humanities (38)</a:t>
              </a:r>
            </a:p>
          </p:txBody>
        </p:sp>
      </p:grpSp>
      <p:cxnSp>
        <p:nvCxnSpPr>
          <p:cNvPr id="88" name="Straight Connector 87"/>
          <p:cNvCxnSpPr/>
          <p:nvPr>
            <p:custDataLst>
              <p:tags r:id="rId37"/>
            </p:custDataLst>
          </p:nvPr>
        </p:nvCxnSpPr>
        <p:spPr>
          <a:xfrm>
            <a:off x="1284297" y="4257675"/>
            <a:ext cx="179386" cy="1588"/>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custDataLst>
              <p:tags r:id="rId38"/>
            </p:custDataLst>
          </p:nvPr>
        </p:nvCxnSpPr>
        <p:spPr>
          <a:xfrm rot="16200000" flipV="1">
            <a:off x="2053441" y="1451770"/>
            <a:ext cx="238125" cy="47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custDataLst>
              <p:tags r:id="rId39"/>
            </p:custDataLst>
          </p:nvPr>
        </p:nvCxnSpPr>
        <p:spPr>
          <a:xfrm rot="16200000" flipV="1">
            <a:off x="2145517" y="1408916"/>
            <a:ext cx="236538" cy="31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2089" name="Oval 67"/>
          <p:cNvSpPr>
            <a:spLocks noChangeArrowheads="1"/>
          </p:cNvSpPr>
          <p:nvPr>
            <p:custDataLst>
              <p:tags r:id="rId40"/>
            </p:custDataLst>
          </p:nvPr>
        </p:nvSpPr>
        <p:spPr bwMode="auto">
          <a:xfrm>
            <a:off x="5907088" y="5870575"/>
            <a:ext cx="190500" cy="190500"/>
          </a:xfrm>
          <a:prstGeom prst="ellipse">
            <a:avLst/>
          </a:prstGeom>
          <a:solidFill>
            <a:schemeClr val="bg1"/>
          </a:solidFill>
          <a:ln w="9525">
            <a:noFill/>
            <a:round/>
            <a:headEnd/>
            <a:tailEnd/>
          </a:ln>
        </p:spPr>
        <p:txBody>
          <a:bodyPr wrap="none" lIns="91344" tIns="45671" rIns="91344" bIns="45671" anchor="ctr"/>
          <a:lstStyle/>
          <a:p>
            <a:endParaRPr lang="ar-EG">
              <a:solidFill>
                <a:srgbClr val="5F5F5F"/>
              </a:solidFill>
            </a:endParaRPr>
          </a:p>
        </p:txBody>
      </p:sp>
      <p:pic>
        <p:nvPicPr>
          <p:cNvPr id="89" name="Picture 88" descr="Slide23 insert tag box to chart.png"/>
          <p:cNvPicPr>
            <a:picLocks noChangeAspect="1"/>
          </p:cNvPicPr>
          <p:nvPr/>
        </p:nvPicPr>
        <p:blipFill>
          <a:blip r:embed="rId47" cstate="print"/>
          <a:srcRect/>
          <a:stretch>
            <a:fillRect/>
          </a:stretch>
        </p:blipFill>
        <p:spPr bwMode="auto">
          <a:xfrm>
            <a:off x="2911475" y="3803657"/>
            <a:ext cx="4413250" cy="2474913"/>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9"/>
                                        </p:tgtEl>
                                        <p:attrNameLst>
                                          <p:attrName>style.visibility</p:attrName>
                                        </p:attrNameLst>
                                      </p:cBhvr>
                                      <p:to>
                                        <p:strVal val="visible"/>
                                      </p:to>
                                    </p:set>
                                    <p:animEffect transition="in" filter="fade">
                                      <p:cBhvr>
                                        <p:cTn id="7" dur="1000"/>
                                        <p:tgtEl>
                                          <p:spTgt spid="8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p:nvPr>
        </p:nvSpPr>
        <p:spPr>
          <a:xfrm>
            <a:off x="179398" y="0"/>
            <a:ext cx="8785225" cy="692150"/>
          </a:xfrm>
        </p:spPr>
        <p:txBody>
          <a:bodyPr>
            <a:normAutofit fontScale="90000"/>
          </a:bodyPr>
          <a:lstStyle/>
          <a:p>
            <a:pPr eaLnBrk="1" hangingPunct="1">
              <a:lnSpc>
                <a:spcPct val="90000"/>
              </a:lnSpc>
            </a:pPr>
            <a:r>
              <a:rPr lang="en-US" altLang="ja-JP" sz="2800" dirty="0" smtClean="0">
                <a:effectLst>
                  <a:outerShdw blurRad="38100" dist="38100" dir="2700000" algn="tl">
                    <a:srgbClr val="000000">
                      <a:alpha val="43137"/>
                    </a:srgbClr>
                  </a:outerShdw>
                </a:effectLst>
                <a:ea typeface="MS PGothic" pitchFamily="34" charset="-128"/>
              </a:rPr>
              <a:t/>
            </a:r>
            <a:br>
              <a:rPr lang="en-US" altLang="ja-JP" sz="2800" dirty="0" smtClean="0">
                <a:effectLst>
                  <a:outerShdw blurRad="38100" dist="38100" dir="2700000" algn="tl">
                    <a:srgbClr val="000000">
                      <a:alpha val="43137"/>
                    </a:srgbClr>
                  </a:outerShdw>
                </a:effectLst>
                <a:ea typeface="MS PGothic" pitchFamily="34" charset="-128"/>
              </a:rPr>
            </a:br>
            <a:r>
              <a:rPr lang="en-US" altLang="ja-JP" sz="2800" dirty="0" smtClean="0">
                <a:effectLst>
                  <a:outerShdw blurRad="38100" dist="38100" dir="2700000" algn="tl">
                    <a:srgbClr val="000000">
                      <a:alpha val="43137"/>
                    </a:srgbClr>
                  </a:outerShdw>
                </a:effectLst>
                <a:ea typeface="MS PGothic" pitchFamily="34" charset="-128"/>
              </a:rPr>
              <a:t> Cairo University has 58 competencies </a:t>
            </a:r>
            <a:r>
              <a:rPr lang="en-US" altLang="ja-JP" dirty="0" smtClean="0">
                <a:effectLst>
                  <a:outerShdw blurRad="38100" dist="38100" dir="2700000" algn="tl">
                    <a:srgbClr val="000000">
                      <a:alpha val="43137"/>
                    </a:srgbClr>
                  </a:outerShdw>
                </a:effectLst>
                <a:ea typeface="MS PGothic" pitchFamily="34" charset="-128"/>
              </a:rPr>
              <a:t>based on 2005-09 data</a:t>
            </a:r>
          </a:p>
        </p:txBody>
      </p:sp>
      <p:sp>
        <p:nvSpPr>
          <p:cNvPr id="406535" name="Rectangle 7"/>
          <p:cNvSpPr>
            <a:spLocks noChangeArrowheads="1"/>
          </p:cNvSpPr>
          <p:nvPr/>
        </p:nvSpPr>
        <p:spPr bwMode="auto">
          <a:xfrm>
            <a:off x="3603625" y="2795588"/>
            <a:ext cx="2275291" cy="575142"/>
          </a:xfrm>
          <a:prstGeom prst="rect">
            <a:avLst/>
          </a:prstGeom>
          <a:solidFill>
            <a:srgbClr val="800000"/>
          </a:solidFill>
          <a:ln w="9525">
            <a:solidFill>
              <a:schemeClr val="bg1"/>
            </a:solidFill>
            <a:miter lim="800000"/>
            <a:headEnd/>
            <a:tailEnd/>
          </a:ln>
          <a:effectLst>
            <a:outerShdw dist="107763" dir="2700000" algn="ctr" rotWithShape="0">
              <a:srgbClr val="808080">
                <a:alpha val="50000"/>
              </a:srgbClr>
            </a:outerShdw>
          </a:effectLst>
        </p:spPr>
        <p:txBody>
          <a:bodyPr wrap="none" lIns="71922" tIns="35963" rIns="71922" bIns="35963" anchor="ctr">
            <a:spAutoFit/>
          </a:bodyPr>
          <a:lstStyle/>
          <a:p>
            <a:pPr algn="l">
              <a:lnSpc>
                <a:spcPct val="100000"/>
              </a:lnSpc>
              <a:buClrTx/>
              <a:defRPr/>
            </a:pPr>
            <a:r>
              <a:rPr lang="en-US" altLang="ja-JP" sz="1600" dirty="0">
                <a:solidFill>
                  <a:schemeClr val="bg1"/>
                </a:solidFill>
                <a:ea typeface="ＭＳ Ｐゴシック" pitchFamily="50" charset="-128"/>
              </a:rPr>
              <a:t>MULTI-DISCIPLINARY</a:t>
            </a:r>
            <a:br>
              <a:rPr lang="en-US" altLang="ja-JP" sz="1600" dirty="0">
                <a:solidFill>
                  <a:schemeClr val="bg1"/>
                </a:solidFill>
                <a:ea typeface="ＭＳ Ｐゴシック" pitchFamily="50" charset="-128"/>
              </a:rPr>
            </a:br>
            <a:r>
              <a:rPr lang="en-US" altLang="ja-JP" sz="1600" dirty="0">
                <a:solidFill>
                  <a:schemeClr val="bg1"/>
                </a:solidFill>
                <a:ea typeface="ＭＳ Ｐゴシック" pitchFamily="50" charset="-128"/>
              </a:rPr>
              <a:t>RESEARCH AREAS</a:t>
            </a:r>
            <a:endParaRPr lang="en-US" altLang="ja-JP" sz="1600" b="1" dirty="0">
              <a:solidFill>
                <a:schemeClr val="bg1"/>
              </a:solidFill>
              <a:latin typeface="Arial Narrow" pitchFamily="34" charset="0"/>
              <a:ea typeface="ＭＳ Ｐゴシック" pitchFamily="50" charset="-128"/>
            </a:endParaRPr>
          </a:p>
        </p:txBody>
      </p:sp>
      <p:sp>
        <p:nvSpPr>
          <p:cNvPr id="19460" name="Rectangle 8"/>
          <p:cNvSpPr>
            <a:spLocks noChangeArrowheads="1"/>
          </p:cNvSpPr>
          <p:nvPr/>
        </p:nvSpPr>
        <p:spPr bwMode="auto">
          <a:xfrm>
            <a:off x="3124210" y="2840038"/>
            <a:ext cx="2336800" cy="2171700"/>
          </a:xfrm>
          <a:prstGeom prst="rect">
            <a:avLst/>
          </a:prstGeom>
          <a:noFill/>
          <a:ln w="12700">
            <a:solidFill>
              <a:srgbClr val="800000"/>
            </a:solidFill>
            <a:prstDash val="dash"/>
            <a:miter lim="800000"/>
            <a:headEnd/>
            <a:tailEnd/>
          </a:ln>
        </p:spPr>
        <p:txBody>
          <a:bodyPr wrap="none" lIns="91344" tIns="45671" rIns="91344" bIns="45671" anchor="ctr"/>
          <a:lstStyle/>
          <a:p>
            <a:endParaRPr lang="en-US"/>
          </a:p>
        </p:txBody>
      </p:sp>
      <p:sp>
        <p:nvSpPr>
          <p:cNvPr id="19461" name="Rectangle 9"/>
          <p:cNvSpPr>
            <a:spLocks noChangeArrowheads="1"/>
          </p:cNvSpPr>
          <p:nvPr/>
        </p:nvSpPr>
        <p:spPr bwMode="auto">
          <a:xfrm>
            <a:off x="1909770" y="5614999"/>
            <a:ext cx="1169987" cy="327025"/>
          </a:xfrm>
          <a:prstGeom prst="rect">
            <a:avLst/>
          </a:prstGeom>
          <a:solidFill>
            <a:srgbClr val="FF0000"/>
          </a:solidFill>
          <a:ln w="9525">
            <a:solidFill>
              <a:schemeClr val="bg1"/>
            </a:solidFill>
            <a:miter lim="800000"/>
            <a:headEnd/>
            <a:tailEnd/>
          </a:ln>
        </p:spPr>
        <p:txBody>
          <a:bodyPr lIns="71922" tIns="35963" rIns="71922" bIns="35963" anchor="ctr">
            <a:spAutoFit/>
          </a:bodyPr>
          <a:lstStyle/>
          <a:p>
            <a:pPr algn="ctr">
              <a:lnSpc>
                <a:spcPct val="100000"/>
              </a:lnSpc>
              <a:buClrTx/>
            </a:pPr>
            <a:r>
              <a:rPr lang="en-US" altLang="ja-JP" sz="1600" dirty="0">
                <a:solidFill>
                  <a:schemeClr val="bg1"/>
                </a:solidFill>
                <a:ea typeface="MS PGothic" pitchFamily="34" charset="-128"/>
              </a:rPr>
              <a:t>MEDICINE</a:t>
            </a:r>
            <a:endParaRPr lang="en-US" altLang="ja-JP" sz="1600" b="1" dirty="0">
              <a:solidFill>
                <a:schemeClr val="bg1"/>
              </a:solidFill>
              <a:latin typeface="Arial Narrow" pitchFamily="34" charset="0"/>
              <a:ea typeface="MS PGothic" pitchFamily="34" charset="-128"/>
            </a:endParaRPr>
          </a:p>
        </p:txBody>
      </p:sp>
      <p:sp>
        <p:nvSpPr>
          <p:cNvPr id="19462" name="Rectangle 10"/>
          <p:cNvSpPr>
            <a:spLocks noChangeArrowheads="1"/>
          </p:cNvSpPr>
          <p:nvPr/>
        </p:nvSpPr>
        <p:spPr bwMode="auto">
          <a:xfrm>
            <a:off x="5426086" y="5805488"/>
            <a:ext cx="1970796" cy="323918"/>
          </a:xfrm>
          <a:prstGeom prst="rect">
            <a:avLst/>
          </a:prstGeom>
          <a:solidFill>
            <a:srgbClr val="00FF00"/>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solidFill>
                  <a:schemeClr val="bg1"/>
                </a:solidFill>
                <a:ea typeface="MS PGothic" pitchFamily="34" charset="-128"/>
              </a:rPr>
              <a:t>BIOTECHNOLOGY</a:t>
            </a:r>
            <a:endParaRPr lang="en-US" altLang="ja-JP" sz="1600" b="1" dirty="0">
              <a:solidFill>
                <a:schemeClr val="bg1"/>
              </a:solidFill>
              <a:latin typeface="Arial Narrow" pitchFamily="34" charset="0"/>
              <a:ea typeface="MS PGothic" pitchFamily="34" charset="-128"/>
            </a:endParaRPr>
          </a:p>
        </p:txBody>
      </p:sp>
      <p:sp>
        <p:nvSpPr>
          <p:cNvPr id="19463" name="Rectangle 11"/>
          <p:cNvSpPr>
            <a:spLocks noChangeArrowheads="1"/>
          </p:cNvSpPr>
          <p:nvPr/>
        </p:nvSpPr>
        <p:spPr bwMode="auto">
          <a:xfrm>
            <a:off x="4068773" y="6115050"/>
            <a:ext cx="1169987" cy="826364"/>
          </a:xfrm>
          <a:prstGeom prst="rect">
            <a:avLst/>
          </a:prstGeom>
          <a:solidFill>
            <a:srgbClr val="CC0000"/>
          </a:solidFill>
          <a:ln w="9525">
            <a:solidFill>
              <a:schemeClr val="bg1"/>
            </a:solidFill>
            <a:miter lim="800000"/>
            <a:headEnd/>
            <a:tailEnd/>
          </a:ln>
        </p:spPr>
        <p:txBody>
          <a:bodyPr lIns="71922" tIns="35963" rIns="71922" bIns="35963" anchor="ctr">
            <a:spAutoFit/>
          </a:bodyPr>
          <a:lstStyle/>
          <a:p>
            <a:pPr algn="ctr">
              <a:lnSpc>
                <a:spcPct val="100000"/>
              </a:lnSpc>
              <a:buClrTx/>
            </a:pPr>
            <a:r>
              <a:rPr lang="en-US" altLang="ja-JP" sz="1600" dirty="0">
                <a:solidFill>
                  <a:schemeClr val="bg1"/>
                </a:solidFill>
                <a:ea typeface="MS PGothic" pitchFamily="34" charset="-128"/>
              </a:rPr>
              <a:t>INFECTIOUS DISEASE</a:t>
            </a:r>
            <a:endParaRPr lang="en-US" altLang="ja-JP" sz="1600" b="1" dirty="0">
              <a:solidFill>
                <a:schemeClr val="bg1"/>
              </a:solidFill>
              <a:latin typeface="Arial Narrow" pitchFamily="34" charset="0"/>
              <a:ea typeface="MS PGothic" pitchFamily="34" charset="-128"/>
            </a:endParaRPr>
          </a:p>
        </p:txBody>
      </p:sp>
      <p:sp>
        <p:nvSpPr>
          <p:cNvPr id="19464" name="Rectangle 12"/>
          <p:cNvSpPr>
            <a:spLocks noChangeArrowheads="1"/>
          </p:cNvSpPr>
          <p:nvPr/>
        </p:nvSpPr>
        <p:spPr bwMode="auto">
          <a:xfrm>
            <a:off x="6022985" y="5322888"/>
            <a:ext cx="1089177" cy="323918"/>
          </a:xfrm>
          <a:prstGeom prst="rect">
            <a:avLst/>
          </a:prstGeom>
          <a:solidFill>
            <a:srgbClr val="008000"/>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solidFill>
                  <a:schemeClr val="bg1"/>
                </a:solidFill>
                <a:ea typeface="MS PGothic" pitchFamily="34" charset="-128"/>
              </a:rPr>
              <a:t>BIOLOGY</a:t>
            </a:r>
            <a:endParaRPr lang="en-US" altLang="ja-JP" sz="1600" b="1" dirty="0">
              <a:solidFill>
                <a:schemeClr val="bg1"/>
              </a:solidFill>
              <a:latin typeface="Arial Narrow" pitchFamily="34" charset="0"/>
              <a:ea typeface="MS PGothic" pitchFamily="34" charset="-128"/>
            </a:endParaRPr>
          </a:p>
        </p:txBody>
      </p:sp>
      <p:sp>
        <p:nvSpPr>
          <p:cNvPr id="19465" name="Rectangle 13"/>
          <p:cNvSpPr>
            <a:spLocks noChangeArrowheads="1"/>
          </p:cNvSpPr>
          <p:nvPr/>
        </p:nvSpPr>
        <p:spPr bwMode="auto">
          <a:xfrm>
            <a:off x="6353176" y="4802188"/>
            <a:ext cx="1834514" cy="323918"/>
          </a:xfrm>
          <a:prstGeom prst="rect">
            <a:avLst/>
          </a:prstGeom>
          <a:solidFill>
            <a:srgbClr val="800000"/>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solidFill>
                  <a:schemeClr val="bg1"/>
                </a:solidFill>
                <a:ea typeface="MS PGothic" pitchFamily="34" charset="-128"/>
              </a:rPr>
              <a:t>EARTH SCIENCE</a:t>
            </a:r>
            <a:endParaRPr lang="en-US" altLang="ja-JP" sz="1600" b="1" dirty="0">
              <a:solidFill>
                <a:schemeClr val="bg1"/>
              </a:solidFill>
              <a:latin typeface="Arial Narrow" pitchFamily="34" charset="0"/>
              <a:ea typeface="MS PGothic" pitchFamily="34" charset="-128"/>
            </a:endParaRPr>
          </a:p>
        </p:txBody>
      </p:sp>
      <p:sp>
        <p:nvSpPr>
          <p:cNvPr id="19466" name="Rectangle 14"/>
          <p:cNvSpPr>
            <a:spLocks noChangeArrowheads="1"/>
          </p:cNvSpPr>
          <p:nvPr/>
        </p:nvSpPr>
        <p:spPr bwMode="auto">
          <a:xfrm>
            <a:off x="6454776" y="3989389"/>
            <a:ext cx="1609316" cy="323918"/>
          </a:xfrm>
          <a:prstGeom prst="rect">
            <a:avLst/>
          </a:prstGeom>
          <a:solidFill>
            <a:srgbClr val="33CCCC"/>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solidFill>
                  <a:schemeClr val="bg1"/>
                </a:solidFill>
                <a:ea typeface="MS PGothic" pitchFamily="34" charset="-128"/>
              </a:rPr>
              <a:t>ENGINEERING</a:t>
            </a:r>
            <a:endParaRPr lang="en-US" altLang="ja-JP" sz="1600" b="1" dirty="0">
              <a:solidFill>
                <a:schemeClr val="bg1"/>
              </a:solidFill>
              <a:latin typeface="Arial Narrow" pitchFamily="34" charset="0"/>
              <a:ea typeface="MS PGothic" pitchFamily="34" charset="-128"/>
            </a:endParaRPr>
          </a:p>
        </p:txBody>
      </p:sp>
      <p:sp>
        <p:nvSpPr>
          <p:cNvPr id="19467" name="Rectangle 15"/>
          <p:cNvSpPr>
            <a:spLocks noChangeArrowheads="1"/>
          </p:cNvSpPr>
          <p:nvPr/>
        </p:nvSpPr>
        <p:spPr bwMode="auto">
          <a:xfrm>
            <a:off x="6289675" y="2719388"/>
            <a:ext cx="1371622" cy="323918"/>
          </a:xfrm>
          <a:prstGeom prst="rect">
            <a:avLst/>
          </a:prstGeom>
          <a:solidFill>
            <a:srgbClr val="0000FF"/>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solidFill>
                  <a:schemeClr val="bg1"/>
                </a:solidFill>
                <a:ea typeface="MS PGothic" pitchFamily="34" charset="-128"/>
              </a:rPr>
              <a:t>CHEMISTRY</a:t>
            </a:r>
            <a:endParaRPr lang="en-US" altLang="ja-JP" sz="1600" b="1" dirty="0">
              <a:solidFill>
                <a:schemeClr val="bg1"/>
              </a:solidFill>
              <a:latin typeface="Arial Narrow" pitchFamily="34" charset="0"/>
              <a:ea typeface="MS PGothic" pitchFamily="34" charset="-128"/>
            </a:endParaRPr>
          </a:p>
        </p:txBody>
      </p:sp>
      <p:sp>
        <p:nvSpPr>
          <p:cNvPr id="19468" name="Rectangle 16"/>
          <p:cNvSpPr>
            <a:spLocks noChangeArrowheads="1"/>
          </p:cNvSpPr>
          <p:nvPr/>
        </p:nvSpPr>
        <p:spPr bwMode="auto">
          <a:xfrm>
            <a:off x="5464176" y="1741489"/>
            <a:ext cx="1061370" cy="323918"/>
          </a:xfrm>
          <a:prstGeom prst="rect">
            <a:avLst/>
          </a:prstGeom>
          <a:solidFill>
            <a:srgbClr val="800080"/>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solidFill>
                  <a:schemeClr val="bg1"/>
                </a:solidFill>
                <a:ea typeface="MS PGothic" pitchFamily="34" charset="-128"/>
              </a:rPr>
              <a:t>PHYSICS</a:t>
            </a:r>
            <a:endParaRPr lang="en-US" altLang="ja-JP" sz="1600" b="1" dirty="0">
              <a:solidFill>
                <a:schemeClr val="bg1"/>
              </a:solidFill>
              <a:latin typeface="Arial Narrow" pitchFamily="34" charset="0"/>
              <a:ea typeface="MS PGothic" pitchFamily="34" charset="-128"/>
            </a:endParaRPr>
          </a:p>
        </p:txBody>
      </p:sp>
      <p:sp>
        <p:nvSpPr>
          <p:cNvPr id="19469" name="Rectangle 17"/>
          <p:cNvSpPr>
            <a:spLocks noChangeArrowheads="1"/>
          </p:cNvSpPr>
          <p:nvPr/>
        </p:nvSpPr>
        <p:spPr bwMode="auto">
          <a:xfrm>
            <a:off x="1692276" y="1741489"/>
            <a:ext cx="2327370" cy="323918"/>
          </a:xfrm>
          <a:prstGeom prst="rect">
            <a:avLst/>
          </a:prstGeom>
          <a:solidFill>
            <a:srgbClr val="FF00FF"/>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solidFill>
                  <a:schemeClr val="bg1"/>
                </a:solidFill>
                <a:ea typeface="MS PGothic" pitchFamily="34" charset="-128"/>
              </a:rPr>
              <a:t>COMPUTER SCIENCE</a:t>
            </a:r>
            <a:endParaRPr lang="en-US" altLang="ja-JP" sz="1600" b="1" dirty="0">
              <a:solidFill>
                <a:schemeClr val="bg1"/>
              </a:solidFill>
              <a:latin typeface="Arial Narrow" pitchFamily="34" charset="0"/>
              <a:ea typeface="MS PGothic" pitchFamily="34" charset="-128"/>
            </a:endParaRPr>
          </a:p>
        </p:txBody>
      </p:sp>
      <p:sp>
        <p:nvSpPr>
          <p:cNvPr id="19470" name="Rectangle 18"/>
          <p:cNvSpPr>
            <a:spLocks noChangeArrowheads="1"/>
          </p:cNvSpPr>
          <p:nvPr/>
        </p:nvSpPr>
        <p:spPr bwMode="auto">
          <a:xfrm>
            <a:off x="854075" y="2452689"/>
            <a:ext cx="1891042" cy="323918"/>
          </a:xfrm>
          <a:prstGeom prst="rect">
            <a:avLst/>
          </a:prstGeom>
          <a:solidFill>
            <a:srgbClr val="FFCC00"/>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ea typeface="MS PGothic" pitchFamily="34" charset="-128"/>
              </a:rPr>
              <a:t>SOCIAL SCIENCE</a:t>
            </a:r>
            <a:endParaRPr lang="en-US" altLang="ja-JP" sz="1600" b="1" dirty="0">
              <a:latin typeface="Arial Narrow" pitchFamily="34" charset="0"/>
              <a:ea typeface="MS PGothic" pitchFamily="34" charset="-128"/>
            </a:endParaRPr>
          </a:p>
        </p:txBody>
      </p:sp>
      <p:sp>
        <p:nvSpPr>
          <p:cNvPr id="19471" name="Rectangle 19"/>
          <p:cNvSpPr>
            <a:spLocks noChangeArrowheads="1"/>
          </p:cNvSpPr>
          <p:nvPr/>
        </p:nvSpPr>
        <p:spPr bwMode="auto">
          <a:xfrm>
            <a:off x="574675" y="3252789"/>
            <a:ext cx="2000238" cy="323918"/>
          </a:xfrm>
          <a:prstGeom prst="rect">
            <a:avLst/>
          </a:prstGeom>
          <a:solidFill>
            <a:srgbClr val="FF6600"/>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solidFill>
                  <a:schemeClr val="bg1"/>
                </a:solidFill>
                <a:ea typeface="MS PGothic" pitchFamily="34" charset="-128"/>
              </a:rPr>
              <a:t>BRAIN RESEARCH</a:t>
            </a:r>
            <a:endParaRPr lang="en-US" altLang="ja-JP" sz="1600" b="1" dirty="0">
              <a:solidFill>
                <a:schemeClr val="bg1"/>
              </a:solidFill>
              <a:latin typeface="Arial Narrow" pitchFamily="34" charset="0"/>
              <a:ea typeface="MS PGothic" pitchFamily="34" charset="-128"/>
            </a:endParaRPr>
          </a:p>
        </p:txBody>
      </p:sp>
      <p:sp>
        <p:nvSpPr>
          <p:cNvPr id="19472" name="Rectangle 20"/>
          <p:cNvSpPr>
            <a:spLocks noChangeArrowheads="1"/>
          </p:cNvSpPr>
          <p:nvPr/>
        </p:nvSpPr>
        <p:spPr bwMode="auto">
          <a:xfrm>
            <a:off x="625485" y="4433888"/>
            <a:ext cx="1938869" cy="323918"/>
          </a:xfrm>
          <a:prstGeom prst="rect">
            <a:avLst/>
          </a:prstGeom>
          <a:solidFill>
            <a:srgbClr val="FF9900"/>
          </a:solidFill>
          <a:ln w="9525">
            <a:solidFill>
              <a:schemeClr val="bg1"/>
            </a:solidFill>
            <a:miter lim="800000"/>
            <a:headEnd/>
            <a:tailEnd/>
          </a:ln>
        </p:spPr>
        <p:txBody>
          <a:bodyPr wrap="none" lIns="71922" tIns="35963" rIns="71922" bIns="35963" anchor="ctr">
            <a:spAutoFit/>
          </a:bodyPr>
          <a:lstStyle/>
          <a:p>
            <a:pPr algn="l">
              <a:lnSpc>
                <a:spcPct val="100000"/>
              </a:lnSpc>
              <a:buClrTx/>
            </a:pPr>
            <a:r>
              <a:rPr lang="en-US" altLang="ja-JP" sz="1600" dirty="0">
                <a:solidFill>
                  <a:schemeClr val="bg1"/>
                </a:solidFill>
                <a:ea typeface="MS PGothic" pitchFamily="34" charset="-128"/>
              </a:rPr>
              <a:t>HEALTH SCIENCE</a:t>
            </a:r>
            <a:endParaRPr lang="en-US" altLang="ja-JP" sz="1600" b="1" dirty="0">
              <a:solidFill>
                <a:schemeClr val="bg1"/>
              </a:solidFill>
              <a:latin typeface="Arial Narrow" pitchFamily="34" charset="0"/>
              <a:ea typeface="MS PGothic" pitchFamily="34" charset="-128"/>
            </a:endParaRPr>
          </a:p>
        </p:txBody>
      </p:sp>
      <p:grpSp>
        <p:nvGrpSpPr>
          <p:cNvPr id="2" name="Group 21"/>
          <p:cNvGrpSpPr>
            <a:grpSpLocks/>
          </p:cNvGrpSpPr>
          <p:nvPr/>
        </p:nvGrpSpPr>
        <p:grpSpPr bwMode="auto">
          <a:xfrm>
            <a:off x="1863735" y="3711587"/>
            <a:ext cx="2828925" cy="576263"/>
            <a:chOff x="814" y="2276"/>
            <a:chExt cx="1782" cy="363"/>
          </a:xfrm>
        </p:grpSpPr>
        <p:sp>
          <p:nvSpPr>
            <p:cNvPr id="406550" name="Rectangle 22"/>
            <p:cNvSpPr>
              <a:spLocks noChangeArrowheads="1"/>
            </p:cNvSpPr>
            <p:nvPr/>
          </p:nvSpPr>
          <p:spPr bwMode="auto">
            <a:xfrm>
              <a:off x="814" y="2276"/>
              <a:ext cx="1782" cy="363"/>
            </a:xfrm>
            <a:prstGeom prst="rect">
              <a:avLst/>
            </a:prstGeom>
            <a:solidFill>
              <a:schemeClr val="bg1"/>
            </a:solidFill>
            <a:ln w="9525">
              <a:solidFill>
                <a:srgbClr val="800000"/>
              </a:solidFill>
              <a:miter lim="800000"/>
              <a:headEnd/>
              <a:tailEnd/>
            </a:ln>
            <a:effectLst>
              <a:outerShdw dist="107763" dir="2700000" algn="ctr" rotWithShape="0">
                <a:srgbClr val="808080">
                  <a:alpha val="50000"/>
                </a:srgbClr>
              </a:outerShdw>
            </a:effectLst>
          </p:spPr>
          <p:txBody>
            <a:bodyPr wrap="none" lIns="72000" tIns="36000" rIns="72000" bIns="36000" anchor="ctr">
              <a:spAutoFit/>
            </a:bodyPr>
            <a:lstStyle/>
            <a:p>
              <a:pPr algn="l">
                <a:lnSpc>
                  <a:spcPct val="100000"/>
                </a:lnSpc>
                <a:buClrTx/>
                <a:defRPr/>
              </a:pPr>
              <a:r>
                <a:rPr lang="en-US" altLang="ja-JP" sz="1600" b="1" dirty="0">
                  <a:solidFill>
                    <a:srgbClr val="800000"/>
                  </a:solidFill>
                  <a:ea typeface="ＭＳ Ｐゴシック" pitchFamily="50" charset="-128"/>
                </a:rPr>
                <a:t>RESEARCH AREA</a:t>
              </a:r>
              <a:br>
                <a:rPr lang="en-US" altLang="ja-JP" sz="1600" b="1" dirty="0">
                  <a:solidFill>
                    <a:srgbClr val="800000"/>
                  </a:solidFill>
                  <a:ea typeface="ＭＳ Ｐゴシック" pitchFamily="50" charset="-128"/>
                </a:rPr>
              </a:br>
              <a:r>
                <a:rPr lang="en-US" altLang="ja-JP" sz="1600" b="1" dirty="0">
                  <a:solidFill>
                    <a:srgbClr val="800000"/>
                  </a:solidFill>
                  <a:ea typeface="ＭＳ Ｐゴシック" pitchFamily="50" charset="-128"/>
                </a:rPr>
                <a:t>WITH GLOBAL STRENGTH</a:t>
              </a:r>
              <a:endParaRPr lang="en-US" altLang="ja-JP" sz="1600" b="1" dirty="0">
                <a:solidFill>
                  <a:srgbClr val="800000"/>
                </a:solidFill>
                <a:latin typeface="Arial Narrow" pitchFamily="34" charset="0"/>
                <a:ea typeface="ＭＳ Ｐゴシック" pitchFamily="50" charset="-128"/>
              </a:endParaRPr>
            </a:p>
          </p:txBody>
        </p:sp>
        <p:sp>
          <p:nvSpPr>
            <p:cNvPr id="19490" name="Freeform 23"/>
            <p:cNvSpPr>
              <a:spLocks/>
            </p:cNvSpPr>
            <p:nvPr/>
          </p:nvSpPr>
          <p:spPr bwMode="auto">
            <a:xfrm>
              <a:off x="2200" y="2392"/>
              <a:ext cx="168" cy="128"/>
            </a:xfrm>
            <a:custGeom>
              <a:avLst/>
              <a:gdLst>
                <a:gd name="T0" fmla="*/ 0 w 168"/>
                <a:gd name="T1" fmla="*/ 0 h 128"/>
                <a:gd name="T2" fmla="*/ 168 w 168"/>
                <a:gd name="T3" fmla="*/ 128 h 128"/>
                <a:gd name="T4" fmla="*/ 8 w 168"/>
                <a:gd name="T5" fmla="*/ 96 h 128"/>
                <a:gd name="T6" fmla="*/ 0 60000 65536"/>
                <a:gd name="T7" fmla="*/ 0 60000 65536"/>
                <a:gd name="T8" fmla="*/ 0 60000 65536"/>
                <a:gd name="T9" fmla="*/ 0 w 168"/>
                <a:gd name="T10" fmla="*/ 0 h 128"/>
                <a:gd name="T11" fmla="*/ 168 w 168"/>
                <a:gd name="T12" fmla="*/ 128 h 128"/>
              </a:gdLst>
              <a:ahLst/>
              <a:cxnLst>
                <a:cxn ang="T6">
                  <a:pos x="T0" y="T1"/>
                </a:cxn>
                <a:cxn ang="T7">
                  <a:pos x="T2" y="T3"/>
                </a:cxn>
                <a:cxn ang="T8">
                  <a:pos x="T4" y="T5"/>
                </a:cxn>
              </a:cxnLst>
              <a:rect l="T9" t="T10" r="T11" b="T12"/>
              <a:pathLst>
                <a:path w="168" h="128">
                  <a:moveTo>
                    <a:pt x="0" y="0"/>
                  </a:moveTo>
                  <a:lnTo>
                    <a:pt x="168" y="128"/>
                  </a:lnTo>
                  <a:lnTo>
                    <a:pt x="8" y="96"/>
                  </a:lnTo>
                </a:path>
              </a:pathLst>
            </a:custGeom>
            <a:solidFill>
              <a:schemeClr val="bg1"/>
            </a:solidFill>
            <a:ln w="12700">
              <a:solidFill>
                <a:srgbClr val="800000"/>
              </a:solidFill>
              <a:round/>
              <a:headEnd/>
              <a:tailEnd/>
            </a:ln>
          </p:spPr>
          <p:txBody>
            <a:bodyPr/>
            <a:lstStyle/>
            <a:p>
              <a:endParaRPr lang="ar-EG"/>
            </a:p>
          </p:txBody>
        </p:sp>
      </p:grpSp>
      <p:sp>
        <p:nvSpPr>
          <p:cNvPr id="19474" name="Rectangle 26"/>
          <p:cNvSpPr>
            <a:spLocks noChangeArrowheads="1"/>
          </p:cNvSpPr>
          <p:nvPr/>
        </p:nvSpPr>
        <p:spPr bwMode="auto">
          <a:xfrm>
            <a:off x="1057275" y="6483350"/>
            <a:ext cx="7475538" cy="292100"/>
          </a:xfrm>
          <a:prstGeom prst="rect">
            <a:avLst/>
          </a:prstGeom>
          <a:noFill/>
          <a:ln w="9525">
            <a:noFill/>
            <a:miter lim="800000"/>
            <a:headEnd/>
            <a:tailEnd/>
          </a:ln>
        </p:spPr>
        <p:txBody>
          <a:bodyPr wrap="none" lIns="0" tIns="0" rIns="0" bIns="0" anchor="b"/>
          <a:lstStyle/>
          <a:p>
            <a:pPr algn="l">
              <a:lnSpc>
                <a:spcPct val="90000"/>
              </a:lnSpc>
              <a:buClrTx/>
            </a:pPr>
            <a:r>
              <a:rPr lang="en-US" altLang="ja-JP" sz="1200" dirty="0">
                <a:solidFill>
                  <a:srgbClr val="000000"/>
                </a:solidFill>
                <a:ea typeface="MS PGothic" pitchFamily="34" charset="-128"/>
              </a:rPr>
              <a:t>Source: </a:t>
            </a:r>
            <a:r>
              <a:rPr lang="en-US" altLang="ja-JP" sz="1200" dirty="0" err="1">
                <a:solidFill>
                  <a:srgbClr val="000000"/>
                </a:solidFill>
                <a:ea typeface="MS PGothic" pitchFamily="34" charset="-128"/>
              </a:rPr>
              <a:t>SciVal</a:t>
            </a:r>
            <a:r>
              <a:rPr lang="en-US" altLang="ja-JP" sz="1200" dirty="0">
                <a:solidFill>
                  <a:srgbClr val="000000"/>
                </a:solidFill>
                <a:ea typeface="MS PGothic" pitchFamily="34" charset="-128"/>
              </a:rPr>
              <a:t> Spotlight National Level map 2008</a:t>
            </a:r>
            <a:endParaRPr lang="en-US" altLang="ja-JP" sz="1200" b="1" dirty="0">
              <a:ea typeface="MS PGothic" pitchFamily="34" charset="-128"/>
            </a:endParaRPr>
          </a:p>
        </p:txBody>
      </p:sp>
      <p:pic>
        <p:nvPicPr>
          <p:cNvPr id="19475" name="Picture 2"/>
          <p:cNvPicPr>
            <a:picLocks noChangeAspect="1" noChangeArrowheads="1"/>
          </p:cNvPicPr>
          <p:nvPr/>
        </p:nvPicPr>
        <p:blipFill>
          <a:blip r:embed="rId2" cstate="print"/>
          <a:srcRect/>
          <a:stretch>
            <a:fillRect/>
          </a:stretch>
        </p:blipFill>
        <p:spPr bwMode="auto">
          <a:xfrm>
            <a:off x="0" y="836624"/>
            <a:ext cx="9144000" cy="6021387"/>
          </a:xfrm>
          <a:prstGeom prst="rect">
            <a:avLst/>
          </a:prstGeom>
          <a:noFill/>
          <a:ln w="12700" algn="ctr">
            <a:noFill/>
            <a:miter lim="800000"/>
            <a:headEnd/>
            <a:tailEnd/>
          </a:ln>
        </p:spPr>
      </p:pic>
      <p:sp>
        <p:nvSpPr>
          <p:cNvPr id="19476" name="Rectangle 20"/>
          <p:cNvSpPr>
            <a:spLocks noChangeArrowheads="1"/>
          </p:cNvSpPr>
          <p:nvPr/>
        </p:nvSpPr>
        <p:spPr bwMode="auto">
          <a:xfrm>
            <a:off x="774659" y="4670442"/>
            <a:ext cx="1598665" cy="575142"/>
          </a:xfrm>
          <a:prstGeom prst="rect">
            <a:avLst/>
          </a:prstGeom>
          <a:solidFill>
            <a:srgbClr val="FF9900"/>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bg1"/>
                </a:solidFill>
                <a:ea typeface="MS PGothic" pitchFamily="34" charset="-128"/>
              </a:rPr>
              <a:t>HEALTH SCIENCE</a:t>
            </a:r>
            <a:endParaRPr lang="en-US" altLang="ja-JP" sz="1600" b="1" dirty="0">
              <a:solidFill>
                <a:schemeClr val="bg1"/>
              </a:solidFill>
              <a:latin typeface="Arial Narrow" pitchFamily="34" charset="0"/>
              <a:ea typeface="MS PGothic" pitchFamily="34" charset="-128"/>
            </a:endParaRPr>
          </a:p>
        </p:txBody>
      </p:sp>
      <p:sp>
        <p:nvSpPr>
          <p:cNvPr id="19477" name="Rectangle 19"/>
          <p:cNvSpPr>
            <a:spLocks noChangeArrowheads="1"/>
          </p:cNvSpPr>
          <p:nvPr/>
        </p:nvSpPr>
        <p:spPr bwMode="auto">
          <a:xfrm>
            <a:off x="611198" y="3716338"/>
            <a:ext cx="1584325" cy="575142"/>
          </a:xfrm>
          <a:prstGeom prst="rect">
            <a:avLst/>
          </a:prstGeom>
          <a:solidFill>
            <a:srgbClr val="FF6600"/>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bg1"/>
                </a:solidFill>
                <a:ea typeface="MS PGothic" pitchFamily="34" charset="-128"/>
              </a:rPr>
              <a:t>BRAIN RESEARCH</a:t>
            </a:r>
            <a:endParaRPr lang="en-US" altLang="ja-JP" sz="1600" b="1" dirty="0">
              <a:solidFill>
                <a:schemeClr val="bg1"/>
              </a:solidFill>
              <a:latin typeface="Arial Narrow" pitchFamily="34" charset="0"/>
              <a:ea typeface="MS PGothic" pitchFamily="34" charset="-128"/>
            </a:endParaRPr>
          </a:p>
        </p:txBody>
      </p:sp>
      <p:sp>
        <p:nvSpPr>
          <p:cNvPr id="19478" name="Rectangle 18"/>
          <p:cNvSpPr>
            <a:spLocks noChangeArrowheads="1"/>
          </p:cNvSpPr>
          <p:nvPr/>
        </p:nvSpPr>
        <p:spPr bwMode="auto">
          <a:xfrm>
            <a:off x="1006475" y="2605088"/>
            <a:ext cx="1481138" cy="575142"/>
          </a:xfrm>
          <a:prstGeom prst="rect">
            <a:avLst/>
          </a:prstGeom>
          <a:solidFill>
            <a:srgbClr val="FFCC00"/>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tx1"/>
                </a:solidFill>
                <a:ea typeface="MS PGothic" pitchFamily="34" charset="-128"/>
              </a:rPr>
              <a:t>SOCIAL SCIENCE</a:t>
            </a:r>
            <a:endParaRPr lang="en-US" altLang="ja-JP" sz="1600" b="1" dirty="0">
              <a:solidFill>
                <a:schemeClr val="tx1"/>
              </a:solidFill>
              <a:latin typeface="Arial Narrow" pitchFamily="34" charset="0"/>
              <a:ea typeface="MS PGothic" pitchFamily="34" charset="-128"/>
            </a:endParaRPr>
          </a:p>
        </p:txBody>
      </p:sp>
      <p:sp>
        <p:nvSpPr>
          <p:cNvPr id="19479" name="Rectangle 17"/>
          <p:cNvSpPr>
            <a:spLocks noChangeArrowheads="1"/>
          </p:cNvSpPr>
          <p:nvPr/>
        </p:nvSpPr>
        <p:spPr bwMode="auto">
          <a:xfrm>
            <a:off x="1431883" y="1822429"/>
            <a:ext cx="1966956" cy="575142"/>
          </a:xfrm>
          <a:prstGeom prst="rect">
            <a:avLst/>
          </a:prstGeom>
          <a:solidFill>
            <a:srgbClr val="FF00FF"/>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bg1"/>
                </a:solidFill>
                <a:ea typeface="MS PGothic" pitchFamily="34" charset="-128"/>
              </a:rPr>
              <a:t>COMPUTER SCIENCE</a:t>
            </a:r>
            <a:endParaRPr lang="en-US" altLang="ja-JP" sz="1600" b="1" dirty="0">
              <a:solidFill>
                <a:schemeClr val="bg1"/>
              </a:solidFill>
              <a:latin typeface="Arial Narrow" pitchFamily="34" charset="0"/>
              <a:ea typeface="MS PGothic" pitchFamily="34" charset="-128"/>
            </a:endParaRPr>
          </a:p>
        </p:txBody>
      </p:sp>
      <p:sp>
        <p:nvSpPr>
          <p:cNvPr id="19480" name="Rectangle 9"/>
          <p:cNvSpPr>
            <a:spLocks noChangeArrowheads="1"/>
          </p:cNvSpPr>
          <p:nvPr/>
        </p:nvSpPr>
        <p:spPr bwMode="auto">
          <a:xfrm>
            <a:off x="1763716" y="5732464"/>
            <a:ext cx="1169987" cy="323918"/>
          </a:xfrm>
          <a:prstGeom prst="rect">
            <a:avLst/>
          </a:prstGeom>
          <a:solidFill>
            <a:srgbClr val="FF0000"/>
          </a:solidFill>
          <a:ln w="9525">
            <a:solidFill>
              <a:schemeClr val="bg1"/>
            </a:solidFill>
            <a:miter lim="800000"/>
            <a:headEnd/>
            <a:tailEnd/>
          </a:ln>
        </p:spPr>
        <p:txBody>
          <a:bodyPr lIns="71922" tIns="35963" rIns="71922" bIns="35963" anchor="ctr">
            <a:spAutoFit/>
          </a:bodyPr>
          <a:lstStyle/>
          <a:p>
            <a:pPr algn="ctr">
              <a:lnSpc>
                <a:spcPct val="100000"/>
              </a:lnSpc>
              <a:buClrTx/>
            </a:pPr>
            <a:r>
              <a:rPr lang="en-US" altLang="ja-JP" sz="1600" dirty="0">
                <a:solidFill>
                  <a:schemeClr val="bg1"/>
                </a:solidFill>
                <a:ea typeface="MS PGothic" pitchFamily="34" charset="-128"/>
              </a:rPr>
              <a:t>MEDICINE</a:t>
            </a:r>
            <a:endParaRPr lang="en-US" altLang="ja-JP" sz="1600" b="1" dirty="0">
              <a:solidFill>
                <a:schemeClr val="bg1"/>
              </a:solidFill>
              <a:latin typeface="Arial Narrow" pitchFamily="34" charset="0"/>
              <a:ea typeface="MS PGothic" pitchFamily="34" charset="-128"/>
            </a:endParaRPr>
          </a:p>
        </p:txBody>
      </p:sp>
      <p:sp>
        <p:nvSpPr>
          <p:cNvPr id="19481" name="Rectangle 11"/>
          <p:cNvSpPr>
            <a:spLocks noChangeArrowheads="1"/>
          </p:cNvSpPr>
          <p:nvPr/>
        </p:nvSpPr>
        <p:spPr bwMode="auto">
          <a:xfrm rot="10800000" flipV="1">
            <a:off x="3635375" y="6287855"/>
            <a:ext cx="1557346" cy="575142"/>
          </a:xfrm>
          <a:prstGeom prst="rect">
            <a:avLst/>
          </a:prstGeom>
          <a:solidFill>
            <a:srgbClr val="CC0000"/>
          </a:solidFill>
          <a:ln w="9525">
            <a:solidFill>
              <a:schemeClr val="bg1"/>
            </a:solidFill>
            <a:miter lim="800000"/>
            <a:headEnd/>
            <a:tailEnd/>
          </a:ln>
        </p:spPr>
        <p:txBody>
          <a:bodyPr wrap="square" lIns="71922" tIns="35963" rIns="71922" bIns="35963" anchor="ctr">
            <a:spAutoFit/>
          </a:bodyPr>
          <a:lstStyle/>
          <a:p>
            <a:pPr algn="ctr">
              <a:lnSpc>
                <a:spcPct val="100000"/>
              </a:lnSpc>
              <a:buClrTx/>
            </a:pPr>
            <a:r>
              <a:rPr lang="en-US" altLang="ja-JP" sz="1600" dirty="0">
                <a:solidFill>
                  <a:schemeClr val="bg1"/>
                </a:solidFill>
                <a:ea typeface="MS PGothic" pitchFamily="34" charset="-128"/>
              </a:rPr>
              <a:t>INFECTIOUS DISEASE</a:t>
            </a:r>
            <a:endParaRPr lang="en-US" altLang="ja-JP" sz="1600" b="1" dirty="0">
              <a:solidFill>
                <a:schemeClr val="bg1"/>
              </a:solidFill>
              <a:latin typeface="Arial Narrow" pitchFamily="34" charset="0"/>
              <a:ea typeface="MS PGothic" pitchFamily="34" charset="-128"/>
            </a:endParaRPr>
          </a:p>
        </p:txBody>
      </p:sp>
      <p:sp>
        <p:nvSpPr>
          <p:cNvPr id="19482" name="Rectangle 10"/>
          <p:cNvSpPr>
            <a:spLocks noChangeArrowheads="1"/>
          </p:cNvSpPr>
          <p:nvPr/>
        </p:nvSpPr>
        <p:spPr bwMode="auto">
          <a:xfrm>
            <a:off x="5435610" y="6021398"/>
            <a:ext cx="1984414" cy="328652"/>
          </a:xfrm>
          <a:prstGeom prst="rect">
            <a:avLst/>
          </a:prstGeom>
          <a:solidFill>
            <a:srgbClr val="00FF00"/>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bg1"/>
                </a:solidFill>
                <a:ea typeface="MS PGothic" pitchFamily="34" charset="-128"/>
              </a:rPr>
              <a:t>BIOTECHNOLOGY</a:t>
            </a:r>
            <a:endParaRPr lang="en-US" altLang="ja-JP" sz="1600" b="1" dirty="0">
              <a:solidFill>
                <a:schemeClr val="bg1"/>
              </a:solidFill>
              <a:latin typeface="Arial Narrow" pitchFamily="34" charset="0"/>
              <a:ea typeface="MS PGothic" pitchFamily="34" charset="-128"/>
            </a:endParaRPr>
          </a:p>
        </p:txBody>
      </p:sp>
      <p:sp>
        <p:nvSpPr>
          <p:cNvPr id="19483" name="Rectangle 12"/>
          <p:cNvSpPr>
            <a:spLocks noChangeArrowheads="1"/>
          </p:cNvSpPr>
          <p:nvPr/>
        </p:nvSpPr>
        <p:spPr bwMode="auto">
          <a:xfrm>
            <a:off x="6011873" y="5475289"/>
            <a:ext cx="1079534" cy="323918"/>
          </a:xfrm>
          <a:prstGeom prst="rect">
            <a:avLst/>
          </a:prstGeom>
          <a:solidFill>
            <a:srgbClr val="008000"/>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bg1"/>
                </a:solidFill>
                <a:ea typeface="MS PGothic" pitchFamily="34" charset="-128"/>
              </a:rPr>
              <a:t>BIOLOGY</a:t>
            </a:r>
            <a:endParaRPr lang="en-US" altLang="ja-JP" sz="1600" b="1" dirty="0">
              <a:solidFill>
                <a:schemeClr val="bg1"/>
              </a:solidFill>
              <a:latin typeface="Arial Narrow" pitchFamily="34" charset="0"/>
              <a:ea typeface="MS PGothic" pitchFamily="34" charset="-128"/>
            </a:endParaRPr>
          </a:p>
        </p:txBody>
      </p:sp>
      <p:sp>
        <p:nvSpPr>
          <p:cNvPr id="19484" name="Rectangle 13"/>
          <p:cNvSpPr>
            <a:spLocks noChangeArrowheads="1"/>
          </p:cNvSpPr>
          <p:nvPr/>
        </p:nvSpPr>
        <p:spPr bwMode="auto">
          <a:xfrm>
            <a:off x="6156335" y="4779981"/>
            <a:ext cx="1519280" cy="575142"/>
          </a:xfrm>
          <a:prstGeom prst="rect">
            <a:avLst/>
          </a:prstGeom>
          <a:solidFill>
            <a:srgbClr val="800000"/>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bg1"/>
                </a:solidFill>
                <a:ea typeface="MS PGothic" pitchFamily="34" charset="-128"/>
              </a:rPr>
              <a:t>EARTH SCIENCE</a:t>
            </a:r>
            <a:endParaRPr lang="en-US" altLang="ja-JP" sz="1600" b="1" dirty="0">
              <a:solidFill>
                <a:schemeClr val="bg1"/>
              </a:solidFill>
              <a:latin typeface="Arial Narrow" pitchFamily="34" charset="0"/>
              <a:ea typeface="MS PGothic" pitchFamily="34" charset="-128"/>
            </a:endParaRPr>
          </a:p>
        </p:txBody>
      </p:sp>
      <p:sp>
        <p:nvSpPr>
          <p:cNvPr id="19485" name="Rectangle 14"/>
          <p:cNvSpPr>
            <a:spLocks noChangeArrowheads="1"/>
          </p:cNvSpPr>
          <p:nvPr/>
        </p:nvSpPr>
        <p:spPr bwMode="auto">
          <a:xfrm>
            <a:off x="6288112" y="4049722"/>
            <a:ext cx="1622428" cy="323918"/>
          </a:xfrm>
          <a:prstGeom prst="rect">
            <a:avLst/>
          </a:prstGeom>
          <a:solidFill>
            <a:srgbClr val="33CCCC"/>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bg1"/>
                </a:solidFill>
                <a:ea typeface="MS PGothic" pitchFamily="34" charset="-128"/>
              </a:rPr>
              <a:t>ENGINEERING</a:t>
            </a:r>
            <a:endParaRPr lang="en-US" altLang="ja-JP" sz="1600" b="1" dirty="0">
              <a:solidFill>
                <a:schemeClr val="bg1"/>
              </a:solidFill>
              <a:latin typeface="Arial Narrow" pitchFamily="34" charset="0"/>
              <a:ea typeface="MS PGothic" pitchFamily="34" charset="-128"/>
            </a:endParaRPr>
          </a:p>
        </p:txBody>
      </p:sp>
      <p:sp>
        <p:nvSpPr>
          <p:cNvPr id="19486" name="Rectangle 15"/>
          <p:cNvSpPr>
            <a:spLocks noChangeArrowheads="1"/>
          </p:cNvSpPr>
          <p:nvPr/>
        </p:nvSpPr>
        <p:spPr bwMode="auto">
          <a:xfrm>
            <a:off x="6105546" y="2808283"/>
            <a:ext cx="1346179" cy="318850"/>
          </a:xfrm>
          <a:prstGeom prst="rect">
            <a:avLst/>
          </a:prstGeom>
          <a:solidFill>
            <a:srgbClr val="0000FF"/>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bg1"/>
                </a:solidFill>
                <a:ea typeface="MS PGothic" pitchFamily="34" charset="-128"/>
              </a:rPr>
              <a:t>CHEMISTRY</a:t>
            </a:r>
            <a:endParaRPr lang="en-US" altLang="ja-JP" sz="1600" b="1" dirty="0">
              <a:solidFill>
                <a:schemeClr val="bg1"/>
              </a:solidFill>
              <a:latin typeface="Arial Narrow" pitchFamily="34" charset="0"/>
              <a:ea typeface="MS PGothic" pitchFamily="34" charset="-128"/>
            </a:endParaRPr>
          </a:p>
        </p:txBody>
      </p:sp>
      <p:sp>
        <p:nvSpPr>
          <p:cNvPr id="19487" name="Rectangle 16"/>
          <p:cNvSpPr>
            <a:spLocks noChangeArrowheads="1"/>
          </p:cNvSpPr>
          <p:nvPr/>
        </p:nvSpPr>
        <p:spPr bwMode="auto">
          <a:xfrm>
            <a:off x="5435599" y="1916113"/>
            <a:ext cx="1144616" cy="323918"/>
          </a:xfrm>
          <a:prstGeom prst="rect">
            <a:avLst/>
          </a:prstGeom>
          <a:solidFill>
            <a:srgbClr val="800080"/>
          </a:solidFill>
          <a:ln w="9525">
            <a:solidFill>
              <a:schemeClr val="bg1"/>
            </a:solidFill>
            <a:miter lim="800000"/>
            <a:headEnd/>
            <a:tailEnd/>
          </a:ln>
        </p:spPr>
        <p:txBody>
          <a:bodyPr wrap="square" lIns="71922" tIns="35963" rIns="71922" bIns="35963" anchor="ctr">
            <a:spAutoFit/>
          </a:bodyPr>
          <a:lstStyle/>
          <a:p>
            <a:pPr algn="l">
              <a:lnSpc>
                <a:spcPct val="100000"/>
              </a:lnSpc>
              <a:buClrTx/>
            </a:pPr>
            <a:r>
              <a:rPr lang="en-US" altLang="ja-JP" sz="1600" dirty="0">
                <a:solidFill>
                  <a:schemeClr val="bg1"/>
                </a:solidFill>
                <a:ea typeface="MS PGothic" pitchFamily="34" charset="-128"/>
              </a:rPr>
              <a:t>PHYSICS</a:t>
            </a:r>
            <a:endParaRPr lang="en-US" altLang="ja-JP" sz="1600" b="1" dirty="0">
              <a:solidFill>
                <a:schemeClr val="bg1"/>
              </a:solidFill>
              <a:latin typeface="Arial Narrow" pitchFamily="34" charset="0"/>
              <a:ea typeface="MS PGothic" pitchFamily="34" charset="-128"/>
            </a:endParaRPr>
          </a:p>
        </p:txBody>
      </p:sp>
      <p:sp>
        <p:nvSpPr>
          <p:cNvPr id="36" name="Oval 9"/>
          <p:cNvSpPr>
            <a:spLocks noChangeArrowheads="1"/>
          </p:cNvSpPr>
          <p:nvPr/>
        </p:nvSpPr>
        <p:spPr bwMode="auto">
          <a:xfrm>
            <a:off x="3924300" y="5157798"/>
            <a:ext cx="719138" cy="935037"/>
          </a:xfrm>
          <a:prstGeom prst="ellipse">
            <a:avLst/>
          </a:prstGeom>
          <a:noFill/>
          <a:ln w="38100" algn="ctr">
            <a:solidFill>
              <a:srgbClr val="FF0000"/>
            </a:solidFill>
            <a:round/>
            <a:headEnd/>
            <a:tailEnd/>
          </a:ln>
        </p:spPr>
        <p:txBody>
          <a:bodyPr lIns="91344" tIns="45671" rIns="91344" bIns="45671"/>
          <a:lstStyle/>
          <a:p>
            <a:pPr marL="88806" indent="-88806"/>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blinds(horizontal)">
                                      <p:cBhvr>
                                        <p:cTn id="7" dur="500"/>
                                        <p:tgtEl>
                                          <p:spTgt spid="3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7"/>
          <p:cNvSpPr>
            <a:spLocks noGrp="1" noChangeArrowheads="1"/>
          </p:cNvSpPr>
          <p:nvPr>
            <p:ph type="title"/>
          </p:nvPr>
        </p:nvSpPr>
        <p:spPr>
          <a:xfrm>
            <a:off x="395298" y="25400"/>
            <a:ext cx="8353425" cy="765175"/>
          </a:xfrm>
        </p:spPr>
        <p:txBody>
          <a:bodyPr>
            <a:normAutofit fontScale="90000"/>
          </a:bodyPr>
          <a:lstStyle/>
          <a:p>
            <a:pPr eaLnBrk="1" hangingPunct="1">
              <a:lnSpc>
                <a:spcPct val="90000"/>
              </a:lnSpc>
            </a:pPr>
            <a:r>
              <a:rPr lang="en-US" altLang="ja-JP" sz="2800" dirty="0" smtClean="0">
                <a:ea typeface="MS PGothic" pitchFamily="34" charset="-128"/>
              </a:rPr>
              <a:t>Get detailed information for each competency</a:t>
            </a:r>
            <a:br>
              <a:rPr lang="en-US" altLang="ja-JP" sz="2800" dirty="0" smtClean="0">
                <a:ea typeface="MS PGothic" pitchFamily="34" charset="-128"/>
              </a:rPr>
            </a:br>
            <a:r>
              <a:rPr lang="en-US" altLang="ja-JP" sz="2800" dirty="0" smtClean="0">
                <a:ea typeface="MS PGothic" pitchFamily="34" charset="-128"/>
              </a:rPr>
              <a:t>2 - Top researchers</a:t>
            </a:r>
          </a:p>
        </p:txBody>
      </p:sp>
      <p:sp>
        <p:nvSpPr>
          <p:cNvPr id="417800" name="Rectangle 8"/>
          <p:cNvSpPr>
            <a:spLocks noChangeArrowheads="1"/>
          </p:cNvSpPr>
          <p:nvPr>
            <p:custDataLst>
              <p:tags r:id="rId1"/>
            </p:custDataLst>
          </p:nvPr>
        </p:nvSpPr>
        <p:spPr bwMode="auto">
          <a:xfrm>
            <a:off x="7456528" y="0"/>
            <a:ext cx="1614458" cy="580986"/>
          </a:xfrm>
          <a:prstGeom prst="rect">
            <a:avLst/>
          </a:prstGeom>
          <a:solidFill>
            <a:schemeClr val="bg1"/>
          </a:solidFill>
          <a:ln w="12700">
            <a:solidFill>
              <a:srgbClr val="800000"/>
            </a:solidFill>
            <a:miter lim="800000"/>
            <a:headEnd/>
            <a:tailEnd/>
          </a:ln>
          <a:effectLst>
            <a:outerShdw dist="35921" dir="2700000" algn="ctr" rotWithShape="0">
              <a:schemeClr val="bg2">
                <a:alpha val="50000"/>
              </a:schemeClr>
            </a:outerShdw>
          </a:effectLst>
        </p:spPr>
        <p:txBody>
          <a:bodyPr lIns="17980" tIns="46751" rIns="17980" bIns="46751" anchor="ctr"/>
          <a:lstStyle/>
          <a:p>
            <a:pPr algn="ctr">
              <a:lnSpc>
                <a:spcPct val="100000"/>
              </a:lnSpc>
              <a:spcBef>
                <a:spcPct val="20000"/>
              </a:spcBef>
              <a:buClrTx/>
              <a:defRPr/>
            </a:pPr>
            <a:r>
              <a:rPr kumimoji="1" lang="en-US" altLang="ja-JP" b="1" dirty="0">
                <a:solidFill>
                  <a:srgbClr val="5C3C3A"/>
                </a:solidFill>
                <a:latin typeface="Arial" charset="0"/>
                <a:ea typeface="ＭＳ Ｐゴシック" pitchFamily="50" charset="-128"/>
              </a:rPr>
              <a:t>EXAMPLE</a:t>
            </a:r>
          </a:p>
        </p:txBody>
      </p:sp>
      <p:sp>
        <p:nvSpPr>
          <p:cNvPr id="417802" name="AutoShape 10"/>
          <p:cNvSpPr>
            <a:spLocks noChangeArrowheads="1"/>
          </p:cNvSpPr>
          <p:nvPr>
            <p:custDataLst>
              <p:tags r:id="rId2"/>
            </p:custDataLst>
          </p:nvPr>
        </p:nvSpPr>
        <p:spPr bwMode="auto">
          <a:xfrm>
            <a:off x="339731" y="3667136"/>
            <a:ext cx="1584325" cy="2519363"/>
          </a:xfrm>
          <a:prstGeom prst="roundRect">
            <a:avLst>
              <a:gd name="adj" fmla="val 16667"/>
            </a:avLst>
          </a:prstGeom>
          <a:solidFill>
            <a:schemeClr val="tx2"/>
          </a:solidFill>
          <a:ln w="12700">
            <a:solidFill>
              <a:schemeClr val="bg1"/>
            </a:solidFill>
            <a:round/>
            <a:headEnd/>
            <a:tailEnd/>
          </a:ln>
          <a:effectLst>
            <a:outerShdw dist="35921" dir="2700000" algn="ctr" rotWithShape="0">
              <a:schemeClr val="bg2">
                <a:alpha val="50000"/>
              </a:schemeClr>
            </a:outerShdw>
          </a:effectLst>
        </p:spPr>
        <p:txBody>
          <a:bodyPr lIns="17980" tIns="46751" rIns="17980" bIns="46751" anchor="ctr"/>
          <a:lstStyle/>
          <a:p>
            <a:pPr algn="ctr">
              <a:lnSpc>
                <a:spcPct val="100000"/>
              </a:lnSpc>
              <a:spcBef>
                <a:spcPct val="20000"/>
              </a:spcBef>
              <a:buClrTx/>
              <a:defRPr/>
            </a:pPr>
            <a:r>
              <a:rPr kumimoji="1" lang="en-US" altLang="ja-JP" sz="1800" dirty="0">
                <a:solidFill>
                  <a:schemeClr val="bg1"/>
                </a:solidFill>
                <a:ea typeface="ＭＳ Ｐゴシック" pitchFamily="50" charset="-128"/>
              </a:rPr>
              <a:t>Global</a:t>
            </a:r>
            <a:br>
              <a:rPr kumimoji="1" lang="en-US" altLang="ja-JP" sz="1800" dirty="0">
                <a:solidFill>
                  <a:schemeClr val="bg1"/>
                </a:solidFill>
                <a:ea typeface="ＭＳ Ｐゴシック" pitchFamily="50" charset="-128"/>
              </a:rPr>
            </a:br>
            <a:r>
              <a:rPr kumimoji="1" lang="en-US" altLang="ja-JP" sz="1800" dirty="0">
                <a:solidFill>
                  <a:schemeClr val="bg1"/>
                </a:solidFill>
                <a:ea typeface="ＭＳ Ｐゴシック" pitchFamily="50" charset="-128"/>
              </a:rPr>
              <a:t>Top</a:t>
            </a:r>
            <a:br>
              <a:rPr kumimoji="1" lang="en-US" altLang="ja-JP" sz="1800" dirty="0">
                <a:solidFill>
                  <a:schemeClr val="bg1"/>
                </a:solidFill>
                <a:ea typeface="ＭＳ Ｐゴシック" pitchFamily="50" charset="-128"/>
              </a:rPr>
            </a:br>
            <a:r>
              <a:rPr kumimoji="1" lang="en-US" altLang="ja-JP" sz="1800" dirty="0">
                <a:solidFill>
                  <a:schemeClr val="bg1"/>
                </a:solidFill>
                <a:ea typeface="ＭＳ Ｐゴシック" pitchFamily="50" charset="-128"/>
              </a:rPr>
              <a:t>Researchers</a:t>
            </a:r>
          </a:p>
        </p:txBody>
      </p:sp>
      <p:sp>
        <p:nvSpPr>
          <p:cNvPr id="417804" name="AutoShape 12"/>
          <p:cNvSpPr>
            <a:spLocks noChangeArrowheads="1"/>
          </p:cNvSpPr>
          <p:nvPr>
            <p:custDataLst>
              <p:tags r:id="rId3"/>
            </p:custDataLst>
          </p:nvPr>
        </p:nvSpPr>
        <p:spPr bwMode="auto">
          <a:xfrm>
            <a:off x="323853" y="981085"/>
            <a:ext cx="1584325" cy="2519363"/>
          </a:xfrm>
          <a:prstGeom prst="roundRect">
            <a:avLst>
              <a:gd name="adj" fmla="val 16667"/>
            </a:avLst>
          </a:prstGeom>
          <a:solidFill>
            <a:schemeClr val="tx2"/>
          </a:solidFill>
          <a:ln w="12700">
            <a:solidFill>
              <a:schemeClr val="bg1"/>
            </a:solidFill>
            <a:round/>
            <a:headEnd/>
            <a:tailEnd/>
          </a:ln>
          <a:effectLst>
            <a:outerShdw dist="35921" dir="2700000" algn="ctr" rotWithShape="0">
              <a:schemeClr val="bg2">
                <a:alpha val="50000"/>
              </a:schemeClr>
            </a:outerShdw>
          </a:effectLst>
        </p:spPr>
        <p:txBody>
          <a:bodyPr lIns="17980" tIns="46751" rIns="17980" bIns="46751" anchor="ctr"/>
          <a:lstStyle/>
          <a:p>
            <a:pPr algn="ctr">
              <a:lnSpc>
                <a:spcPct val="100000"/>
              </a:lnSpc>
              <a:spcBef>
                <a:spcPct val="20000"/>
              </a:spcBef>
              <a:buClrTx/>
              <a:defRPr/>
            </a:pPr>
            <a:r>
              <a:rPr kumimoji="1" lang="en-US" altLang="ja-JP" sz="1800" dirty="0">
                <a:solidFill>
                  <a:schemeClr val="bg1"/>
                </a:solidFill>
                <a:ea typeface="ＭＳ Ｐゴシック" pitchFamily="50" charset="-128"/>
              </a:rPr>
              <a:t>Top</a:t>
            </a:r>
            <a:br>
              <a:rPr kumimoji="1" lang="en-US" altLang="ja-JP" sz="1800" dirty="0">
                <a:solidFill>
                  <a:schemeClr val="bg1"/>
                </a:solidFill>
                <a:ea typeface="ＭＳ Ｐゴシック" pitchFamily="50" charset="-128"/>
              </a:rPr>
            </a:br>
            <a:r>
              <a:rPr kumimoji="1" lang="en-US" altLang="ja-JP" sz="1800" dirty="0">
                <a:solidFill>
                  <a:schemeClr val="bg1"/>
                </a:solidFill>
                <a:ea typeface="ＭＳ Ｐゴシック" pitchFamily="50" charset="-128"/>
              </a:rPr>
              <a:t>Cairo University</a:t>
            </a:r>
            <a:br>
              <a:rPr kumimoji="1" lang="en-US" altLang="ja-JP" sz="1800" dirty="0">
                <a:solidFill>
                  <a:schemeClr val="bg1"/>
                </a:solidFill>
                <a:ea typeface="ＭＳ Ｐゴシック" pitchFamily="50" charset="-128"/>
              </a:rPr>
            </a:br>
            <a:r>
              <a:rPr kumimoji="1" lang="en-US" altLang="ja-JP" sz="1800" dirty="0">
                <a:solidFill>
                  <a:schemeClr val="bg1"/>
                </a:solidFill>
                <a:ea typeface="ＭＳ Ｐゴシック" pitchFamily="50" charset="-128"/>
              </a:rPr>
              <a:t>Researchers</a:t>
            </a:r>
          </a:p>
        </p:txBody>
      </p:sp>
      <p:sp>
        <p:nvSpPr>
          <p:cNvPr id="22534" name="Rectangle 13"/>
          <p:cNvSpPr>
            <a:spLocks noChangeArrowheads="1"/>
          </p:cNvSpPr>
          <p:nvPr/>
        </p:nvSpPr>
        <p:spPr bwMode="auto">
          <a:xfrm>
            <a:off x="1057275" y="6483350"/>
            <a:ext cx="7475538" cy="292100"/>
          </a:xfrm>
          <a:prstGeom prst="rect">
            <a:avLst/>
          </a:prstGeom>
          <a:noFill/>
          <a:ln w="9525">
            <a:noFill/>
            <a:miter lim="800000"/>
            <a:headEnd/>
            <a:tailEnd/>
          </a:ln>
        </p:spPr>
        <p:txBody>
          <a:bodyPr wrap="none" lIns="0" tIns="0" rIns="0" bIns="0" anchor="b"/>
          <a:lstStyle/>
          <a:p>
            <a:pPr algn="l">
              <a:lnSpc>
                <a:spcPct val="90000"/>
              </a:lnSpc>
              <a:buClrTx/>
            </a:pPr>
            <a:r>
              <a:rPr lang="en-US" altLang="ja-JP" sz="1200" dirty="0">
                <a:solidFill>
                  <a:srgbClr val="000000"/>
                </a:solidFill>
                <a:ea typeface="MS PGothic" pitchFamily="34" charset="-128"/>
              </a:rPr>
              <a:t>Source: </a:t>
            </a:r>
            <a:r>
              <a:rPr lang="en-US" altLang="ja-JP" sz="1200" dirty="0" err="1">
                <a:solidFill>
                  <a:srgbClr val="000000"/>
                </a:solidFill>
                <a:ea typeface="MS PGothic" pitchFamily="34" charset="-128"/>
              </a:rPr>
              <a:t>SciVal</a:t>
            </a:r>
            <a:r>
              <a:rPr lang="en-US" altLang="ja-JP" sz="1200" dirty="0">
                <a:solidFill>
                  <a:srgbClr val="000000"/>
                </a:solidFill>
                <a:ea typeface="MS PGothic" pitchFamily="34" charset="-128"/>
              </a:rPr>
              <a:t> Spotlight National Level map 2009</a:t>
            </a:r>
            <a:endParaRPr lang="en-US" altLang="ja-JP" sz="1200" b="1" dirty="0">
              <a:ea typeface="MS PGothic" pitchFamily="34" charset="-128"/>
            </a:endParaRPr>
          </a:p>
        </p:txBody>
      </p:sp>
      <p:pic>
        <p:nvPicPr>
          <p:cNvPr id="22535" name="Picture 2"/>
          <p:cNvPicPr>
            <a:picLocks noChangeAspect="1" noChangeArrowheads="1"/>
          </p:cNvPicPr>
          <p:nvPr/>
        </p:nvPicPr>
        <p:blipFill>
          <a:blip r:embed="rId5" cstate="print"/>
          <a:srcRect l="24806" t="27991" r="47144" b="22870"/>
          <a:stretch>
            <a:fillRect/>
          </a:stretch>
        </p:blipFill>
        <p:spPr bwMode="auto">
          <a:xfrm>
            <a:off x="3924310" y="981085"/>
            <a:ext cx="4824413" cy="2663825"/>
          </a:xfrm>
          <a:prstGeom prst="rect">
            <a:avLst/>
          </a:prstGeom>
          <a:noFill/>
          <a:ln w="12700" algn="ctr">
            <a:noFill/>
            <a:miter lim="800000"/>
            <a:headEnd/>
            <a:tailEnd/>
          </a:ln>
        </p:spPr>
      </p:pic>
      <p:pic>
        <p:nvPicPr>
          <p:cNvPr id="22536" name="Picture 3"/>
          <p:cNvPicPr>
            <a:picLocks noChangeAspect="1" noChangeArrowheads="1"/>
          </p:cNvPicPr>
          <p:nvPr/>
        </p:nvPicPr>
        <p:blipFill>
          <a:blip r:embed="rId6" cstate="print"/>
          <a:srcRect l="12993" t="32990" r="68938" b="15981"/>
          <a:stretch>
            <a:fillRect/>
          </a:stretch>
        </p:blipFill>
        <p:spPr bwMode="auto">
          <a:xfrm>
            <a:off x="1908175" y="981085"/>
            <a:ext cx="1943100" cy="2519363"/>
          </a:xfrm>
          <a:prstGeom prst="rect">
            <a:avLst/>
          </a:prstGeom>
          <a:noFill/>
          <a:ln w="12700" algn="ctr">
            <a:noFill/>
            <a:miter lim="800000"/>
            <a:headEnd/>
            <a:tailEnd/>
          </a:ln>
        </p:spPr>
      </p:pic>
      <p:pic>
        <p:nvPicPr>
          <p:cNvPr id="22537" name="Picture 4"/>
          <p:cNvPicPr>
            <a:picLocks noChangeAspect="1" noChangeArrowheads="1"/>
          </p:cNvPicPr>
          <p:nvPr/>
        </p:nvPicPr>
        <p:blipFill>
          <a:blip r:embed="rId7" cstate="print"/>
          <a:srcRect l="13162" t="34880" r="24603" b="15981"/>
          <a:stretch>
            <a:fillRect/>
          </a:stretch>
        </p:blipFill>
        <p:spPr bwMode="auto">
          <a:xfrm>
            <a:off x="1979613" y="3644910"/>
            <a:ext cx="6840537" cy="2879725"/>
          </a:xfrm>
          <a:prstGeom prst="rect">
            <a:avLst/>
          </a:prstGeom>
          <a:noFill/>
          <a:ln w="12700" algn="ctr">
            <a:noFill/>
            <a:miter lim="800000"/>
            <a:headEnd/>
            <a:tailEnd/>
          </a:ln>
        </p:spPr>
      </p:pic>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 Single Corner Rectangle 17"/>
          <p:cNvSpPr/>
          <p:nvPr/>
        </p:nvSpPr>
        <p:spPr bwMode="auto">
          <a:xfrm>
            <a:off x="1619672" y="4720978"/>
            <a:ext cx="7200800" cy="1224136"/>
          </a:xfrm>
          <a:prstGeom prst="round1Rect">
            <a:avLst/>
          </a:prstGeom>
          <a:solidFill>
            <a:srgbClr val="20C782"/>
          </a:solidFill>
          <a:ln w="9525" cap="flat" cmpd="sng" algn="ctr">
            <a:solidFill>
              <a:schemeClr val="bg1"/>
            </a:solidFill>
            <a:prstDash val="solid"/>
            <a:round/>
            <a:headEnd type="none" w="med" len="med"/>
            <a:tailEnd type="none" w="med" len="med"/>
          </a:ln>
          <a:effectLst>
            <a:outerShdw blurRad="76200" dir="18900000" sy="23000" kx="-1200000" algn="bl" rotWithShape="0">
              <a:prstClr val="black">
                <a:alpha val="20000"/>
              </a:prstClr>
            </a:outerShdw>
          </a:effectLst>
          <a:scene3d>
            <a:camera prst="perspectiveLeft"/>
            <a:lightRig rig="threePt" dir="t"/>
          </a:scene3d>
        </p:spPr>
        <p:txBody>
          <a:bodyPr lIns="91320" tIns="45661" rIns="91320" bIns="45661"/>
          <a:lstStyle/>
          <a:p>
            <a:pPr algn="l">
              <a:defRPr/>
            </a:pPr>
            <a:endParaRPr lang="en-US" dirty="0">
              <a:latin typeface="굴림" pitchFamily="50" charset="-127"/>
              <a:ea typeface="굴림" pitchFamily="50" charset="-127"/>
              <a:cs typeface="굴림" charset="0"/>
            </a:endParaRPr>
          </a:p>
        </p:txBody>
      </p:sp>
      <p:sp>
        <p:nvSpPr>
          <p:cNvPr id="16" name="Round Single Corner Rectangle 15"/>
          <p:cNvSpPr/>
          <p:nvPr/>
        </p:nvSpPr>
        <p:spPr bwMode="auto">
          <a:xfrm>
            <a:off x="1259632" y="3068971"/>
            <a:ext cx="7200800" cy="1224136"/>
          </a:xfrm>
          <a:prstGeom prst="round1Rect">
            <a:avLst/>
          </a:prstGeom>
          <a:solidFill>
            <a:srgbClr val="F2CD97"/>
          </a:solidFill>
          <a:ln w="9525" cap="flat" cmpd="sng" algn="ctr">
            <a:solidFill>
              <a:schemeClr val="bg1"/>
            </a:solidFill>
            <a:prstDash val="solid"/>
            <a:round/>
            <a:headEnd type="none" w="med" len="med"/>
            <a:tailEnd type="none" w="med" len="med"/>
          </a:ln>
          <a:effectLst>
            <a:outerShdw blurRad="76200" dir="18900000" sy="23000" kx="-1200000" algn="bl" rotWithShape="0">
              <a:prstClr val="black">
                <a:alpha val="20000"/>
              </a:prstClr>
            </a:outerShdw>
          </a:effectLst>
          <a:scene3d>
            <a:camera prst="perspectiveLeft"/>
            <a:lightRig rig="threePt" dir="t"/>
          </a:scene3d>
        </p:spPr>
        <p:txBody>
          <a:bodyPr lIns="91320" tIns="45661" rIns="91320" bIns="45661"/>
          <a:lstStyle/>
          <a:p>
            <a:pPr algn="l">
              <a:defRPr/>
            </a:pPr>
            <a:endParaRPr lang="en-US" dirty="0">
              <a:latin typeface="굴림" pitchFamily="50" charset="-127"/>
              <a:ea typeface="굴림" pitchFamily="50" charset="-127"/>
              <a:cs typeface="굴림" charset="0"/>
            </a:endParaRPr>
          </a:p>
        </p:txBody>
      </p:sp>
      <p:sp>
        <p:nvSpPr>
          <p:cNvPr id="14" name="Round Single Corner Rectangle 13"/>
          <p:cNvSpPr/>
          <p:nvPr/>
        </p:nvSpPr>
        <p:spPr bwMode="auto">
          <a:xfrm>
            <a:off x="971600" y="1484791"/>
            <a:ext cx="7200800" cy="1224136"/>
          </a:xfrm>
          <a:prstGeom prst="round1Rect">
            <a:avLst/>
          </a:prstGeom>
          <a:solidFill>
            <a:srgbClr val="F25C7C"/>
          </a:solidFill>
          <a:ln w="9525" cap="flat" cmpd="sng" algn="ctr">
            <a:solidFill>
              <a:schemeClr val="bg1"/>
            </a:solidFill>
            <a:prstDash val="solid"/>
            <a:round/>
            <a:headEnd type="none" w="med" len="med"/>
            <a:tailEnd type="none" w="med" len="med"/>
          </a:ln>
          <a:effectLst>
            <a:outerShdw blurRad="76200" dir="18900000" sy="23000" kx="-1200000" algn="bl" rotWithShape="0">
              <a:prstClr val="black">
                <a:alpha val="20000"/>
              </a:prstClr>
            </a:outerShdw>
          </a:effectLst>
          <a:scene3d>
            <a:camera prst="perspectiveLeft"/>
            <a:lightRig rig="threePt" dir="t"/>
          </a:scene3d>
        </p:spPr>
        <p:txBody>
          <a:bodyPr lIns="91320" tIns="45661" rIns="91320" bIns="45661"/>
          <a:lstStyle/>
          <a:p>
            <a:pPr algn="l">
              <a:defRPr/>
            </a:pPr>
            <a:endParaRPr lang="en-US" dirty="0">
              <a:latin typeface="굴림" pitchFamily="50" charset="-127"/>
              <a:ea typeface="굴림" pitchFamily="50" charset="-127"/>
              <a:cs typeface="굴림" charset="0"/>
            </a:endParaRPr>
          </a:p>
        </p:txBody>
      </p:sp>
      <p:sp>
        <p:nvSpPr>
          <p:cNvPr id="6149" name="Slide Number Placeholder 3"/>
          <p:cNvSpPr>
            <a:spLocks noGrp="1"/>
          </p:cNvSpPr>
          <p:nvPr>
            <p:ph type="sldNum" sz="quarter" idx="10"/>
          </p:nvPr>
        </p:nvSpPr>
        <p:spPr>
          <a:noFill/>
        </p:spPr>
        <p:txBody>
          <a:bodyPr/>
          <a:lstStyle/>
          <a:p>
            <a:fld id="{688D4B8B-7FE2-4427-9349-885B5CADB4C4}" type="slidenum">
              <a:rPr lang="en-US" altLang="ko-KR" smtClean="0">
                <a:ea typeface="Gulim" pitchFamily="34" charset="-127"/>
              </a:rPr>
              <a:pPr/>
              <a:t>3</a:t>
            </a:fld>
            <a:endParaRPr lang="en-US" altLang="ko-KR" smtClean="0">
              <a:ea typeface="Gulim" pitchFamily="34" charset="-127"/>
            </a:endParaRPr>
          </a:p>
        </p:txBody>
      </p:sp>
      <p:pic>
        <p:nvPicPr>
          <p:cNvPr id="6161" name="그림 24" descr="10_2.png"/>
          <p:cNvPicPr>
            <a:picLocks noChangeAspect="1"/>
          </p:cNvPicPr>
          <p:nvPr/>
        </p:nvPicPr>
        <p:blipFill>
          <a:blip r:embed="rId2" cstate="print"/>
          <a:srcRect/>
          <a:stretch>
            <a:fillRect/>
          </a:stretch>
        </p:blipFill>
        <p:spPr bwMode="auto">
          <a:xfrm>
            <a:off x="120651" y="1263650"/>
            <a:ext cx="1666875" cy="1733550"/>
          </a:xfrm>
          <a:prstGeom prst="rect">
            <a:avLst/>
          </a:prstGeom>
          <a:noFill/>
          <a:ln w="9525">
            <a:noFill/>
            <a:miter lim="800000"/>
            <a:headEnd/>
            <a:tailEnd/>
          </a:ln>
        </p:spPr>
      </p:pic>
      <p:sp>
        <p:nvSpPr>
          <p:cNvPr id="6162" name="Rectangle 11"/>
          <p:cNvSpPr>
            <a:spLocks noChangeArrowheads="1"/>
          </p:cNvSpPr>
          <p:nvPr/>
        </p:nvSpPr>
        <p:spPr bwMode="auto">
          <a:xfrm>
            <a:off x="106363" y="1968500"/>
            <a:ext cx="1727200" cy="314325"/>
          </a:xfrm>
          <a:prstGeom prst="rect">
            <a:avLst/>
          </a:prstGeom>
          <a:noFill/>
          <a:ln w="9525">
            <a:noFill/>
            <a:round/>
            <a:headEnd/>
            <a:tailEnd/>
          </a:ln>
        </p:spPr>
        <p:txBody>
          <a:bodyPr lIns="0" tIns="0" rIns="0" bIns="0">
            <a:spAutoFit/>
          </a:bodyPr>
          <a:lstStyle/>
          <a:p>
            <a:pPr algn="ctr" latinLnBrk="0">
              <a:buClr>
                <a:srgbClr val="003366"/>
              </a:buClr>
              <a:buSzPct val="100000"/>
              <a:tabLst>
                <a:tab pos="0" algn="l"/>
                <a:tab pos="447080" algn="l"/>
                <a:tab pos="895754" algn="l"/>
                <a:tab pos="1344424" algn="l"/>
                <a:tab pos="1793093" algn="l"/>
                <a:tab pos="2241762" algn="l"/>
                <a:tab pos="2690431" algn="l"/>
                <a:tab pos="3139101" algn="l"/>
                <a:tab pos="3587770" algn="l"/>
                <a:tab pos="4036440" algn="l"/>
                <a:tab pos="4485108" algn="l"/>
                <a:tab pos="4933777" algn="l"/>
                <a:tab pos="5382449" algn="l"/>
                <a:tab pos="5831117" algn="l"/>
                <a:tab pos="6279788" algn="l"/>
                <a:tab pos="6728456" algn="l"/>
                <a:tab pos="7177126" algn="l"/>
                <a:tab pos="7625796" algn="l"/>
                <a:tab pos="8074467" algn="l"/>
                <a:tab pos="8523132" algn="l"/>
                <a:tab pos="8971804" algn="l"/>
              </a:tabLst>
            </a:pPr>
            <a:r>
              <a:rPr kumimoji="0" lang="en-GB" altLang="ko-KR" sz="2000" b="1" dirty="0">
                <a:latin typeface="Arial" pitchFamily="34" charset="0"/>
                <a:cs typeface="Arial" pitchFamily="34" charset="0"/>
              </a:rPr>
              <a:t>VISION</a:t>
            </a:r>
          </a:p>
        </p:txBody>
      </p:sp>
      <p:pic>
        <p:nvPicPr>
          <p:cNvPr id="6159" name="그림 23" descr="09_2.png"/>
          <p:cNvPicPr>
            <a:picLocks noChangeAspect="1"/>
          </p:cNvPicPr>
          <p:nvPr/>
        </p:nvPicPr>
        <p:blipFill>
          <a:blip r:embed="rId3" cstate="print"/>
          <a:srcRect/>
          <a:stretch>
            <a:fillRect/>
          </a:stretch>
        </p:blipFill>
        <p:spPr bwMode="auto">
          <a:xfrm>
            <a:off x="698513" y="2924188"/>
            <a:ext cx="1657350" cy="1704975"/>
          </a:xfrm>
          <a:prstGeom prst="rect">
            <a:avLst/>
          </a:prstGeom>
          <a:noFill/>
          <a:ln w="9525">
            <a:noFill/>
            <a:miter lim="800000"/>
            <a:headEnd/>
            <a:tailEnd/>
          </a:ln>
        </p:spPr>
      </p:pic>
      <p:sp>
        <p:nvSpPr>
          <p:cNvPr id="6160" name="Rectangle 10"/>
          <p:cNvSpPr>
            <a:spLocks noChangeArrowheads="1"/>
          </p:cNvSpPr>
          <p:nvPr/>
        </p:nvSpPr>
        <p:spPr bwMode="auto">
          <a:xfrm>
            <a:off x="646126" y="3644913"/>
            <a:ext cx="1766887" cy="314325"/>
          </a:xfrm>
          <a:prstGeom prst="rect">
            <a:avLst/>
          </a:prstGeom>
          <a:noFill/>
          <a:ln w="9525">
            <a:noFill/>
            <a:round/>
            <a:headEnd/>
            <a:tailEnd/>
          </a:ln>
        </p:spPr>
        <p:txBody>
          <a:bodyPr lIns="0" tIns="0" rIns="0" bIns="0">
            <a:spAutoFit/>
          </a:bodyPr>
          <a:lstStyle/>
          <a:p>
            <a:pPr algn="ctr" latinLnBrk="0">
              <a:buClr>
                <a:srgbClr val="003366"/>
              </a:buClr>
              <a:buSzPct val="100000"/>
              <a:tabLst>
                <a:tab pos="0" algn="l"/>
                <a:tab pos="447080" algn="l"/>
                <a:tab pos="895754" algn="l"/>
                <a:tab pos="1344424" algn="l"/>
                <a:tab pos="1793093" algn="l"/>
                <a:tab pos="2241762" algn="l"/>
                <a:tab pos="2690431" algn="l"/>
                <a:tab pos="3139101" algn="l"/>
                <a:tab pos="3587770" algn="l"/>
                <a:tab pos="4036440" algn="l"/>
                <a:tab pos="4485108" algn="l"/>
                <a:tab pos="4933777" algn="l"/>
                <a:tab pos="5382449" algn="l"/>
                <a:tab pos="5831117" algn="l"/>
                <a:tab pos="6279788" algn="l"/>
                <a:tab pos="6728456" algn="l"/>
                <a:tab pos="7177126" algn="l"/>
                <a:tab pos="7625796" algn="l"/>
                <a:tab pos="8074467" algn="l"/>
                <a:tab pos="8523132" algn="l"/>
                <a:tab pos="8971804" algn="l"/>
              </a:tabLst>
            </a:pPr>
            <a:r>
              <a:rPr kumimoji="0" lang="en-GB" altLang="ko-KR" sz="2000" b="1" dirty="0">
                <a:latin typeface="Arial" pitchFamily="34" charset="0"/>
                <a:cs typeface="Arial" pitchFamily="34" charset="0"/>
              </a:rPr>
              <a:t>MISSION</a:t>
            </a:r>
            <a:endParaRPr kumimoji="0" lang="en-GB" altLang="ko-KR" sz="2000" dirty="0">
              <a:latin typeface="Arial" pitchFamily="34" charset="0"/>
              <a:cs typeface="Arial" pitchFamily="34" charset="0"/>
            </a:endParaRPr>
          </a:p>
        </p:txBody>
      </p:sp>
      <p:pic>
        <p:nvPicPr>
          <p:cNvPr id="6157" name="그림 22" descr="08_2.png"/>
          <p:cNvPicPr>
            <a:picLocks noChangeAspect="1"/>
          </p:cNvPicPr>
          <p:nvPr/>
        </p:nvPicPr>
        <p:blipFill>
          <a:blip r:embed="rId4" cstate="print"/>
          <a:srcRect/>
          <a:stretch>
            <a:fillRect/>
          </a:stretch>
        </p:blipFill>
        <p:spPr bwMode="auto">
          <a:xfrm>
            <a:off x="1547816" y="4581527"/>
            <a:ext cx="1638300" cy="1724025"/>
          </a:xfrm>
          <a:prstGeom prst="rect">
            <a:avLst/>
          </a:prstGeom>
          <a:noFill/>
          <a:ln w="9525">
            <a:noFill/>
            <a:miter lim="800000"/>
            <a:headEnd/>
            <a:tailEnd/>
          </a:ln>
        </p:spPr>
      </p:pic>
      <p:sp>
        <p:nvSpPr>
          <p:cNvPr id="6158" name="Rectangle 9"/>
          <p:cNvSpPr>
            <a:spLocks noChangeArrowheads="1"/>
          </p:cNvSpPr>
          <p:nvPr/>
        </p:nvSpPr>
        <p:spPr bwMode="auto">
          <a:xfrm>
            <a:off x="1606554" y="5157790"/>
            <a:ext cx="1525588" cy="554038"/>
          </a:xfrm>
          <a:prstGeom prst="rect">
            <a:avLst/>
          </a:prstGeom>
          <a:noFill/>
          <a:ln w="9525">
            <a:noFill/>
            <a:round/>
            <a:headEnd/>
            <a:tailEnd/>
          </a:ln>
        </p:spPr>
        <p:txBody>
          <a:bodyPr lIns="0" tIns="0" rIns="0" bIns="0">
            <a:spAutoFit/>
          </a:bodyPr>
          <a:lstStyle/>
          <a:p>
            <a:pPr algn="ctr" latinLnBrk="0">
              <a:buClr>
                <a:srgbClr val="003366"/>
              </a:buClr>
              <a:buSzPct val="100000"/>
              <a:tabLst>
                <a:tab pos="0" algn="l"/>
                <a:tab pos="447080" algn="l"/>
                <a:tab pos="895754" algn="l"/>
                <a:tab pos="1344424" algn="l"/>
                <a:tab pos="1793093" algn="l"/>
                <a:tab pos="2241762" algn="l"/>
                <a:tab pos="2690431" algn="l"/>
                <a:tab pos="3139101" algn="l"/>
                <a:tab pos="3587770" algn="l"/>
                <a:tab pos="4036440" algn="l"/>
                <a:tab pos="4485108" algn="l"/>
                <a:tab pos="4933777" algn="l"/>
                <a:tab pos="5382449" algn="l"/>
                <a:tab pos="5831117" algn="l"/>
                <a:tab pos="6279788" algn="l"/>
                <a:tab pos="6728456" algn="l"/>
                <a:tab pos="7177126" algn="l"/>
                <a:tab pos="7625796" algn="l"/>
                <a:tab pos="8074467" algn="l"/>
                <a:tab pos="8523132" algn="l"/>
                <a:tab pos="8971804" algn="l"/>
              </a:tabLst>
            </a:pPr>
            <a:r>
              <a:rPr kumimoji="0" lang="en-GB" altLang="ko-KR" b="1" dirty="0">
                <a:latin typeface="Arial" pitchFamily="34" charset="0"/>
                <a:cs typeface="Arial" pitchFamily="34" charset="0"/>
              </a:rPr>
              <a:t>STRATEGIC</a:t>
            </a:r>
          </a:p>
          <a:p>
            <a:pPr algn="ctr" latinLnBrk="0">
              <a:buClr>
                <a:srgbClr val="003366"/>
              </a:buClr>
              <a:buSzPct val="100000"/>
              <a:tabLst>
                <a:tab pos="0" algn="l"/>
                <a:tab pos="447080" algn="l"/>
                <a:tab pos="895754" algn="l"/>
                <a:tab pos="1344424" algn="l"/>
                <a:tab pos="1793093" algn="l"/>
                <a:tab pos="2241762" algn="l"/>
                <a:tab pos="2690431" algn="l"/>
                <a:tab pos="3139101" algn="l"/>
                <a:tab pos="3587770" algn="l"/>
                <a:tab pos="4036440" algn="l"/>
                <a:tab pos="4485108" algn="l"/>
                <a:tab pos="4933777" algn="l"/>
                <a:tab pos="5382449" algn="l"/>
                <a:tab pos="5831117" algn="l"/>
                <a:tab pos="6279788" algn="l"/>
                <a:tab pos="6728456" algn="l"/>
                <a:tab pos="7177126" algn="l"/>
                <a:tab pos="7625796" algn="l"/>
                <a:tab pos="8074467" algn="l"/>
                <a:tab pos="8523132" algn="l"/>
                <a:tab pos="8971804" algn="l"/>
              </a:tabLst>
            </a:pPr>
            <a:r>
              <a:rPr kumimoji="0" lang="en-GB" altLang="ko-KR" b="1" dirty="0">
                <a:latin typeface="Arial" pitchFamily="34" charset="0"/>
                <a:cs typeface="Arial" pitchFamily="34" charset="0"/>
              </a:rPr>
              <a:t>OBJECTIVE</a:t>
            </a:r>
          </a:p>
        </p:txBody>
      </p:sp>
      <p:sp>
        <p:nvSpPr>
          <p:cNvPr id="6153" name="TextBox 14"/>
          <p:cNvSpPr txBox="1">
            <a:spLocks noChangeArrowheads="1"/>
          </p:cNvSpPr>
          <p:nvPr/>
        </p:nvSpPr>
        <p:spPr bwMode="auto">
          <a:xfrm>
            <a:off x="1692276" y="1557340"/>
            <a:ext cx="6696075" cy="1200209"/>
          </a:xfrm>
          <a:prstGeom prst="rect">
            <a:avLst/>
          </a:prstGeom>
          <a:noFill/>
          <a:ln w="9525">
            <a:noFill/>
            <a:miter lim="800000"/>
            <a:headEnd/>
            <a:tailEnd/>
          </a:ln>
        </p:spPr>
        <p:txBody>
          <a:bodyPr lIns="91320" tIns="45661" rIns="91320" bIns="45661">
            <a:spAutoFit/>
          </a:bodyPr>
          <a:lstStyle/>
          <a:p>
            <a:pPr algn="l"/>
            <a:r>
              <a:rPr lang="en-US" b="1">
                <a:solidFill>
                  <a:schemeClr val="bg1"/>
                </a:solidFill>
                <a:latin typeface="Arial" pitchFamily="34" charset="0"/>
                <a:cs typeface="Arial" pitchFamily="34" charset="0"/>
              </a:rPr>
              <a:t>A scientific society capable of presenting applied scientific solutions to society</a:t>
            </a:r>
            <a:r>
              <a:rPr lang="en-US" altLang="en-US" b="1">
                <a:solidFill>
                  <a:schemeClr val="bg1"/>
                </a:solidFill>
                <a:latin typeface="Arial" pitchFamily="34" charset="0"/>
                <a:cs typeface="Arial" pitchFamily="34" charset="0"/>
              </a:rPr>
              <a:t>’</a:t>
            </a:r>
            <a:r>
              <a:rPr lang="en-US" b="1">
                <a:solidFill>
                  <a:schemeClr val="bg1"/>
                </a:solidFill>
                <a:latin typeface="Arial" pitchFamily="34" charset="0"/>
                <a:cs typeface="Arial" pitchFamily="34" charset="0"/>
              </a:rPr>
              <a:t>s needs and supports knowledge – </a:t>
            </a:r>
          </a:p>
          <a:p>
            <a:pPr algn="l"/>
            <a:r>
              <a:rPr lang="en-US" b="1">
                <a:solidFill>
                  <a:schemeClr val="bg1"/>
                </a:solidFill>
                <a:latin typeface="Arial" pitchFamily="34" charset="0"/>
                <a:cs typeface="Arial" pitchFamily="34" charset="0"/>
              </a:rPr>
              <a:t>based economy.</a:t>
            </a:r>
          </a:p>
          <a:p>
            <a:pPr algn="l"/>
            <a:endParaRPr lang="en-US" b="1">
              <a:latin typeface="Arial" pitchFamily="34" charset="0"/>
              <a:cs typeface="Arial" pitchFamily="34" charset="0"/>
            </a:endParaRPr>
          </a:p>
        </p:txBody>
      </p:sp>
      <p:sp>
        <p:nvSpPr>
          <p:cNvPr id="6154" name="TextBox 16"/>
          <p:cNvSpPr txBox="1">
            <a:spLocks noChangeArrowheads="1"/>
          </p:cNvSpPr>
          <p:nvPr/>
        </p:nvSpPr>
        <p:spPr bwMode="auto">
          <a:xfrm>
            <a:off x="2268538" y="3141666"/>
            <a:ext cx="6335712" cy="1200209"/>
          </a:xfrm>
          <a:prstGeom prst="rect">
            <a:avLst/>
          </a:prstGeom>
          <a:noFill/>
          <a:ln w="9525">
            <a:noFill/>
            <a:miter lim="800000"/>
            <a:headEnd/>
            <a:tailEnd/>
          </a:ln>
        </p:spPr>
        <p:txBody>
          <a:bodyPr lIns="91320" tIns="45661" rIns="91320" bIns="45661">
            <a:spAutoFit/>
          </a:bodyPr>
          <a:lstStyle/>
          <a:p>
            <a:pPr algn="l"/>
            <a:r>
              <a:rPr lang="en-US" b="1">
                <a:latin typeface="Arial" pitchFamily="34" charset="0"/>
                <a:cs typeface="Arial" pitchFamily="34" charset="0"/>
              </a:rPr>
              <a:t>Reaching knowledge Economy through innovation in </a:t>
            </a:r>
          </a:p>
          <a:p>
            <a:pPr algn="l"/>
            <a:r>
              <a:rPr lang="en-US" b="1">
                <a:latin typeface="Arial" pitchFamily="34" charset="0"/>
                <a:cs typeface="Arial" pitchFamily="34" charset="0"/>
              </a:rPr>
              <a:t>A competitive atmosphere based on Excellence to </a:t>
            </a:r>
          </a:p>
          <a:p>
            <a:pPr algn="l"/>
            <a:r>
              <a:rPr lang="en-US" b="1">
                <a:latin typeface="Arial" pitchFamily="34" charset="0"/>
                <a:cs typeface="Arial" pitchFamily="34" charset="0"/>
              </a:rPr>
              <a:t>increase economic growth.</a:t>
            </a:r>
          </a:p>
          <a:p>
            <a:pPr algn="l"/>
            <a:endParaRPr lang="en-US" b="1">
              <a:latin typeface="Arial" pitchFamily="34" charset="0"/>
              <a:cs typeface="Arial" pitchFamily="34" charset="0"/>
            </a:endParaRPr>
          </a:p>
        </p:txBody>
      </p:sp>
      <p:sp>
        <p:nvSpPr>
          <p:cNvPr id="6155" name="TextBox 18"/>
          <p:cNvSpPr txBox="1">
            <a:spLocks noChangeArrowheads="1"/>
          </p:cNvSpPr>
          <p:nvPr/>
        </p:nvSpPr>
        <p:spPr bwMode="auto">
          <a:xfrm>
            <a:off x="3059123" y="4724400"/>
            <a:ext cx="5976937" cy="1477208"/>
          </a:xfrm>
          <a:prstGeom prst="rect">
            <a:avLst/>
          </a:prstGeom>
          <a:noFill/>
          <a:ln w="9525">
            <a:noFill/>
            <a:miter lim="800000"/>
            <a:headEnd/>
            <a:tailEnd/>
          </a:ln>
        </p:spPr>
        <p:txBody>
          <a:bodyPr lIns="91320" tIns="45661" rIns="91320" bIns="45661">
            <a:spAutoFit/>
          </a:bodyPr>
          <a:lstStyle/>
          <a:p>
            <a:pPr algn="l"/>
            <a:r>
              <a:rPr lang="en-US" b="1">
                <a:solidFill>
                  <a:schemeClr val="bg1"/>
                </a:solidFill>
                <a:latin typeface="Arial" pitchFamily="34" charset="0"/>
                <a:cs typeface="Arial" pitchFamily="34" charset="0"/>
              </a:rPr>
              <a:t>Building Scientific and Technology Base .....Produce Knowledge ….. Innovation ……………Internationally- ranked …………….. Supporting Economic </a:t>
            </a:r>
          </a:p>
          <a:p>
            <a:pPr algn="l"/>
            <a:r>
              <a:rPr lang="en-US" b="1">
                <a:solidFill>
                  <a:schemeClr val="bg1"/>
                </a:solidFill>
                <a:latin typeface="Arial" pitchFamily="34" charset="0"/>
                <a:cs typeface="Arial" pitchFamily="34" charset="0"/>
              </a:rPr>
              <a:t>development</a:t>
            </a:r>
          </a:p>
          <a:p>
            <a:pPr algn="l"/>
            <a:endParaRPr lang="en-US" b="1">
              <a:latin typeface="Arial" pitchFamily="34" charset="0"/>
              <a:cs typeface="Arial" pitchFamily="34" charset="0"/>
            </a:endParaRPr>
          </a:p>
        </p:txBody>
      </p:sp>
      <p:sp>
        <p:nvSpPr>
          <p:cNvPr id="6156" name="TextBox 19"/>
          <p:cNvSpPr txBox="1">
            <a:spLocks noChangeArrowheads="1"/>
          </p:cNvSpPr>
          <p:nvPr/>
        </p:nvSpPr>
        <p:spPr bwMode="auto">
          <a:xfrm>
            <a:off x="1692277" y="620725"/>
            <a:ext cx="5832475" cy="845993"/>
          </a:xfrm>
          <a:prstGeom prst="rect">
            <a:avLst/>
          </a:prstGeom>
          <a:noFill/>
          <a:ln w="9525">
            <a:noFill/>
            <a:miter lim="800000"/>
            <a:headEnd/>
            <a:tailEnd/>
          </a:ln>
        </p:spPr>
        <p:txBody>
          <a:bodyPr lIns="91320" tIns="45661" rIns="91320" bIns="45661">
            <a:spAutoFit/>
          </a:bodyPr>
          <a:lstStyle/>
          <a:p>
            <a:r>
              <a:rPr lang="en-US" sz="2400" b="1" dirty="0">
                <a:solidFill>
                  <a:schemeClr val="accent2"/>
                </a:solidFill>
                <a:latin typeface="Franklin Gothic Medium" pitchFamily="34" charset="0"/>
              </a:rPr>
              <a:t>National Strategy for Scientific Research &amp; Technology in Egypt</a:t>
            </a:r>
          </a:p>
        </p:txBody>
      </p:sp>
    </p:spTree>
  </p:cSld>
  <p:clrMapOvr>
    <a:masterClrMapping/>
  </p:clrMapOvr>
  <p:transition>
    <p:zoom/>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395298" y="-3222"/>
            <a:ext cx="8353425" cy="765175"/>
          </a:xfrm>
        </p:spPr>
        <p:txBody>
          <a:bodyPr>
            <a:normAutofit fontScale="90000"/>
          </a:bodyPr>
          <a:lstStyle/>
          <a:p>
            <a:pPr eaLnBrk="1" hangingPunct="1">
              <a:lnSpc>
                <a:spcPct val="90000"/>
              </a:lnSpc>
            </a:pPr>
            <a:r>
              <a:rPr lang="en-US" altLang="ja-JP" sz="2800" dirty="0" smtClean="0">
                <a:ea typeface="MS PGothic" pitchFamily="34" charset="-128"/>
              </a:rPr>
              <a:t>Get detailed information for each competency</a:t>
            </a:r>
            <a:br>
              <a:rPr lang="en-US" altLang="ja-JP" sz="2800" dirty="0" smtClean="0">
                <a:ea typeface="MS PGothic" pitchFamily="34" charset="-128"/>
              </a:rPr>
            </a:br>
            <a:r>
              <a:rPr lang="en-US" altLang="ja-JP" sz="2800" dirty="0" smtClean="0">
                <a:ea typeface="MS PGothic" pitchFamily="34" charset="-128"/>
              </a:rPr>
              <a:t>3 - Top institutions</a:t>
            </a:r>
          </a:p>
        </p:txBody>
      </p:sp>
      <p:sp>
        <p:nvSpPr>
          <p:cNvPr id="418819" name="Rectangle 3"/>
          <p:cNvSpPr>
            <a:spLocks noChangeArrowheads="1"/>
          </p:cNvSpPr>
          <p:nvPr>
            <p:custDataLst>
              <p:tags r:id="rId1"/>
            </p:custDataLst>
          </p:nvPr>
        </p:nvSpPr>
        <p:spPr bwMode="auto">
          <a:xfrm>
            <a:off x="7493040" y="0"/>
            <a:ext cx="1577945" cy="476250"/>
          </a:xfrm>
          <a:prstGeom prst="rect">
            <a:avLst/>
          </a:prstGeom>
          <a:solidFill>
            <a:schemeClr val="bg1"/>
          </a:solidFill>
          <a:ln w="12700">
            <a:solidFill>
              <a:srgbClr val="800000"/>
            </a:solidFill>
            <a:miter lim="800000"/>
            <a:headEnd/>
            <a:tailEnd/>
          </a:ln>
          <a:effectLst>
            <a:outerShdw dist="35921" dir="2700000" algn="ctr" rotWithShape="0">
              <a:schemeClr val="bg2">
                <a:alpha val="50000"/>
              </a:schemeClr>
            </a:outerShdw>
          </a:effectLst>
        </p:spPr>
        <p:txBody>
          <a:bodyPr lIns="17980" tIns="46751" rIns="17980" bIns="46751" anchor="ctr"/>
          <a:lstStyle/>
          <a:p>
            <a:pPr algn="ctr">
              <a:lnSpc>
                <a:spcPct val="100000"/>
              </a:lnSpc>
              <a:spcBef>
                <a:spcPct val="20000"/>
              </a:spcBef>
              <a:buClrTx/>
              <a:defRPr/>
            </a:pPr>
            <a:r>
              <a:rPr kumimoji="1" lang="en-US" altLang="ja-JP" b="1" dirty="0">
                <a:solidFill>
                  <a:srgbClr val="5C3C3A"/>
                </a:solidFill>
                <a:latin typeface="Arial" charset="0"/>
                <a:ea typeface="ＭＳ Ｐゴシック" pitchFamily="50" charset="-128"/>
              </a:rPr>
              <a:t>EXAMPLE</a:t>
            </a:r>
          </a:p>
        </p:txBody>
      </p:sp>
      <p:sp>
        <p:nvSpPr>
          <p:cNvPr id="418821" name="AutoShape 5"/>
          <p:cNvSpPr>
            <a:spLocks noChangeArrowheads="1"/>
          </p:cNvSpPr>
          <p:nvPr>
            <p:custDataLst>
              <p:tags r:id="rId2"/>
            </p:custDataLst>
          </p:nvPr>
        </p:nvSpPr>
        <p:spPr bwMode="auto">
          <a:xfrm>
            <a:off x="339731" y="3667136"/>
            <a:ext cx="1584325" cy="2519363"/>
          </a:xfrm>
          <a:prstGeom prst="roundRect">
            <a:avLst>
              <a:gd name="adj" fmla="val 16667"/>
            </a:avLst>
          </a:prstGeom>
          <a:solidFill>
            <a:schemeClr val="tx2"/>
          </a:solidFill>
          <a:ln w="12700">
            <a:solidFill>
              <a:schemeClr val="bg1"/>
            </a:solidFill>
            <a:round/>
            <a:headEnd/>
            <a:tailEnd/>
          </a:ln>
          <a:effectLst>
            <a:outerShdw dist="35921" dir="2700000" algn="ctr" rotWithShape="0">
              <a:schemeClr val="bg2">
                <a:alpha val="50000"/>
              </a:schemeClr>
            </a:outerShdw>
          </a:effectLst>
        </p:spPr>
        <p:txBody>
          <a:bodyPr lIns="17980" tIns="46751" rIns="17980" bIns="46751" anchor="ctr"/>
          <a:lstStyle/>
          <a:p>
            <a:pPr algn="ctr">
              <a:lnSpc>
                <a:spcPct val="100000"/>
              </a:lnSpc>
              <a:spcBef>
                <a:spcPct val="20000"/>
              </a:spcBef>
              <a:buClrTx/>
              <a:defRPr/>
            </a:pPr>
            <a:r>
              <a:rPr kumimoji="1" lang="en-US" altLang="ja-JP" sz="1800" dirty="0">
                <a:solidFill>
                  <a:schemeClr val="bg1"/>
                </a:solidFill>
                <a:ea typeface="ＭＳ Ｐゴシック" pitchFamily="50" charset="-128"/>
              </a:rPr>
              <a:t>Top Collaborating </a:t>
            </a:r>
          </a:p>
          <a:p>
            <a:pPr algn="ctr">
              <a:lnSpc>
                <a:spcPct val="100000"/>
              </a:lnSpc>
              <a:spcBef>
                <a:spcPct val="20000"/>
              </a:spcBef>
              <a:buClrTx/>
              <a:defRPr/>
            </a:pPr>
            <a:r>
              <a:rPr kumimoji="1" lang="en-GB" altLang="ja-JP" sz="1800" dirty="0">
                <a:solidFill>
                  <a:schemeClr val="bg1"/>
                </a:solidFill>
                <a:ea typeface="ＭＳ Ｐゴシック" pitchFamily="50" charset="-128"/>
              </a:rPr>
              <a:t>Universities</a:t>
            </a:r>
            <a:endParaRPr kumimoji="1" lang="en-US" altLang="ja-JP" sz="1800" dirty="0">
              <a:solidFill>
                <a:schemeClr val="bg1"/>
              </a:solidFill>
              <a:ea typeface="ＭＳ Ｐゴシック" pitchFamily="50" charset="-128"/>
            </a:endParaRPr>
          </a:p>
        </p:txBody>
      </p:sp>
      <p:sp>
        <p:nvSpPr>
          <p:cNvPr id="418823" name="AutoShape 7"/>
          <p:cNvSpPr>
            <a:spLocks noChangeArrowheads="1"/>
          </p:cNvSpPr>
          <p:nvPr>
            <p:custDataLst>
              <p:tags r:id="rId3"/>
            </p:custDataLst>
          </p:nvPr>
        </p:nvSpPr>
        <p:spPr bwMode="auto">
          <a:xfrm>
            <a:off x="339731" y="1047761"/>
            <a:ext cx="1584325" cy="2519363"/>
          </a:xfrm>
          <a:prstGeom prst="roundRect">
            <a:avLst>
              <a:gd name="adj" fmla="val 16667"/>
            </a:avLst>
          </a:prstGeom>
          <a:solidFill>
            <a:schemeClr val="tx2"/>
          </a:solidFill>
          <a:ln w="12700">
            <a:solidFill>
              <a:schemeClr val="bg1"/>
            </a:solidFill>
            <a:round/>
            <a:headEnd/>
            <a:tailEnd/>
          </a:ln>
          <a:effectLst>
            <a:outerShdw dist="35921" dir="2700000" algn="ctr" rotWithShape="0">
              <a:schemeClr val="bg2">
                <a:alpha val="50000"/>
              </a:schemeClr>
            </a:outerShdw>
          </a:effectLst>
        </p:spPr>
        <p:txBody>
          <a:bodyPr lIns="17980" tIns="46751" rIns="17980" bIns="46751" anchor="ctr"/>
          <a:lstStyle/>
          <a:p>
            <a:pPr algn="ctr">
              <a:lnSpc>
                <a:spcPct val="100000"/>
              </a:lnSpc>
              <a:spcBef>
                <a:spcPct val="20000"/>
              </a:spcBef>
              <a:buClrTx/>
              <a:defRPr/>
            </a:pPr>
            <a:r>
              <a:rPr kumimoji="1" lang="en-US" altLang="ja-JP" sz="1800" dirty="0">
                <a:solidFill>
                  <a:schemeClr val="bg1"/>
                </a:solidFill>
                <a:ea typeface="ＭＳ Ｐゴシック" pitchFamily="50" charset="-128"/>
              </a:rPr>
              <a:t>Global</a:t>
            </a:r>
          </a:p>
          <a:p>
            <a:pPr algn="ctr">
              <a:lnSpc>
                <a:spcPct val="100000"/>
              </a:lnSpc>
              <a:spcBef>
                <a:spcPct val="20000"/>
              </a:spcBef>
              <a:buClrTx/>
              <a:defRPr/>
            </a:pPr>
            <a:r>
              <a:rPr kumimoji="1" lang="en-US" altLang="ja-JP" sz="1800" dirty="0">
                <a:solidFill>
                  <a:schemeClr val="bg1"/>
                </a:solidFill>
                <a:ea typeface="ＭＳ Ｐゴシック" pitchFamily="50" charset="-128"/>
              </a:rPr>
              <a:t>Top</a:t>
            </a:r>
          </a:p>
          <a:p>
            <a:pPr algn="ctr">
              <a:lnSpc>
                <a:spcPct val="100000"/>
              </a:lnSpc>
              <a:spcBef>
                <a:spcPct val="20000"/>
              </a:spcBef>
              <a:buClrTx/>
              <a:defRPr/>
            </a:pPr>
            <a:r>
              <a:rPr kumimoji="1" lang="en-US" altLang="ja-JP" sz="1800" dirty="0">
                <a:solidFill>
                  <a:schemeClr val="bg1"/>
                </a:solidFill>
                <a:ea typeface="ＭＳ Ｐゴシック" pitchFamily="50" charset="-128"/>
              </a:rPr>
              <a:t>Institution</a:t>
            </a:r>
          </a:p>
        </p:txBody>
      </p:sp>
      <p:sp>
        <p:nvSpPr>
          <p:cNvPr id="23558" name="Rectangle 10"/>
          <p:cNvSpPr>
            <a:spLocks noChangeArrowheads="1"/>
          </p:cNvSpPr>
          <p:nvPr/>
        </p:nvSpPr>
        <p:spPr bwMode="auto">
          <a:xfrm>
            <a:off x="1116013" y="6237288"/>
            <a:ext cx="7475537" cy="431800"/>
          </a:xfrm>
          <a:prstGeom prst="rect">
            <a:avLst/>
          </a:prstGeom>
          <a:noFill/>
          <a:ln w="9525">
            <a:noFill/>
            <a:miter lim="800000"/>
            <a:headEnd/>
            <a:tailEnd/>
          </a:ln>
        </p:spPr>
        <p:txBody>
          <a:bodyPr wrap="none" lIns="0" tIns="0" rIns="0" bIns="0" anchor="b"/>
          <a:lstStyle/>
          <a:p>
            <a:pPr algn="l">
              <a:lnSpc>
                <a:spcPct val="90000"/>
              </a:lnSpc>
              <a:buClrTx/>
            </a:pPr>
            <a:r>
              <a:rPr lang="en-US" altLang="ja-JP" sz="1200" dirty="0">
                <a:solidFill>
                  <a:srgbClr val="000000"/>
                </a:solidFill>
                <a:ea typeface="MS PGothic" pitchFamily="34" charset="-128"/>
              </a:rPr>
              <a:t>Source: </a:t>
            </a:r>
            <a:r>
              <a:rPr lang="en-US" altLang="ja-JP" sz="1200" dirty="0" err="1">
                <a:solidFill>
                  <a:srgbClr val="000000"/>
                </a:solidFill>
                <a:ea typeface="MS PGothic" pitchFamily="34" charset="-128"/>
              </a:rPr>
              <a:t>SciVal</a:t>
            </a:r>
            <a:r>
              <a:rPr lang="en-US" altLang="ja-JP" sz="1200" dirty="0">
                <a:solidFill>
                  <a:srgbClr val="000000"/>
                </a:solidFill>
                <a:ea typeface="MS PGothic" pitchFamily="34" charset="-128"/>
              </a:rPr>
              <a:t> Spotlight National Level map 2009</a:t>
            </a:r>
            <a:endParaRPr lang="en-US" altLang="ja-JP" sz="1200" b="1" dirty="0">
              <a:ea typeface="MS PGothic" pitchFamily="34" charset="-128"/>
            </a:endParaRPr>
          </a:p>
        </p:txBody>
      </p:sp>
      <p:pic>
        <p:nvPicPr>
          <p:cNvPr id="23559" name="Picture 10"/>
          <p:cNvPicPr>
            <a:picLocks noChangeAspect="1" noChangeArrowheads="1"/>
          </p:cNvPicPr>
          <p:nvPr/>
        </p:nvPicPr>
        <p:blipFill>
          <a:blip r:embed="rId5" cstate="print"/>
          <a:srcRect l="13284" t="34605" r="25000" b="13422"/>
          <a:stretch>
            <a:fillRect/>
          </a:stretch>
        </p:blipFill>
        <p:spPr bwMode="auto">
          <a:xfrm>
            <a:off x="2051050" y="981075"/>
            <a:ext cx="6842125" cy="2808288"/>
          </a:xfrm>
          <a:prstGeom prst="rect">
            <a:avLst/>
          </a:prstGeom>
          <a:noFill/>
          <a:ln w="12700" algn="ctr">
            <a:noFill/>
            <a:miter lim="800000"/>
            <a:headEnd/>
            <a:tailEnd/>
          </a:ln>
        </p:spPr>
      </p:pic>
      <p:pic>
        <p:nvPicPr>
          <p:cNvPr id="23560" name="Picture 11"/>
          <p:cNvPicPr>
            <a:picLocks noChangeAspect="1" noChangeArrowheads="1"/>
          </p:cNvPicPr>
          <p:nvPr/>
        </p:nvPicPr>
        <p:blipFill>
          <a:blip r:embed="rId6" cstate="print"/>
          <a:srcRect l="13142" t="34880" r="25194" b="14090"/>
          <a:stretch>
            <a:fillRect/>
          </a:stretch>
        </p:blipFill>
        <p:spPr bwMode="auto">
          <a:xfrm>
            <a:off x="2051060" y="3644910"/>
            <a:ext cx="6913563" cy="2879725"/>
          </a:xfrm>
          <a:prstGeom prst="rect">
            <a:avLst/>
          </a:prstGeom>
          <a:noFill/>
          <a:ln w="12700" algn="ctr">
            <a:noFill/>
            <a:miter lim="800000"/>
            <a:headEnd/>
            <a:tailEnd/>
          </a:ln>
        </p:spPr>
      </p:pic>
    </p:spTree>
  </p:cSld>
  <p:clrMapOvr>
    <a:masterClrMapping/>
  </p:clrMapOv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3" cstate="print"/>
          <a:srcRect/>
          <a:stretch>
            <a:fillRect/>
          </a:stretch>
        </p:blipFill>
        <p:spPr bwMode="auto">
          <a:xfrm>
            <a:off x="3563888" y="1124745"/>
            <a:ext cx="2880320" cy="3464498"/>
          </a:xfrm>
          <a:prstGeom prst="rect">
            <a:avLst/>
          </a:prstGeom>
          <a:noFill/>
          <a:ln w="9525">
            <a:noFill/>
            <a:miter lim="800000"/>
            <a:headEnd/>
            <a:tailEnd/>
          </a:ln>
        </p:spPr>
      </p:pic>
      <p:sp>
        <p:nvSpPr>
          <p:cNvPr id="4" name="Slide Number Placeholder 3"/>
          <p:cNvSpPr>
            <a:spLocks noGrp="1"/>
          </p:cNvSpPr>
          <p:nvPr>
            <p:ph type="sldNum" sz="quarter" idx="10"/>
          </p:nvPr>
        </p:nvSpPr>
        <p:spPr/>
        <p:txBody>
          <a:bodyPr/>
          <a:lstStyle/>
          <a:p>
            <a:pPr>
              <a:defRPr/>
            </a:pPr>
            <a:endParaRPr lang="en-US" smtClean="0">
              <a:solidFill>
                <a:srgbClr val="04617B">
                  <a:shade val="90000"/>
                </a:srgbClr>
              </a:solidFill>
            </a:endParaRPr>
          </a:p>
          <a:p>
            <a:pPr>
              <a:defRPr/>
            </a:pPr>
            <a:fld id="{259221E5-4944-402D-9585-35E9CC32F311}" type="slidenum">
              <a:rPr lang="en-US" smtClean="0">
                <a:solidFill>
                  <a:srgbClr val="04617B">
                    <a:shade val="90000"/>
                  </a:srgbClr>
                </a:solidFill>
              </a:rPr>
              <a:pPr>
                <a:defRPr/>
              </a:pPr>
              <a:t>31</a:t>
            </a:fld>
            <a:endParaRPr lang="en-US">
              <a:solidFill>
                <a:srgbClr val="04617B">
                  <a:shade val="90000"/>
                </a:srgbClr>
              </a:solidFill>
            </a:endParaRPr>
          </a:p>
        </p:txBody>
      </p:sp>
      <p:sp>
        <p:nvSpPr>
          <p:cNvPr id="2" name="Title 1"/>
          <p:cNvSpPr>
            <a:spLocks noGrp="1"/>
          </p:cNvSpPr>
          <p:nvPr>
            <p:ph type="title" idx="4294967295"/>
          </p:nvPr>
        </p:nvSpPr>
        <p:spPr>
          <a:xfrm>
            <a:off x="0" y="0"/>
            <a:ext cx="9144000" cy="1187450"/>
          </a:xfrm>
          <a:prstGeom prst="rect">
            <a:avLst/>
          </a:prstGeom>
          <a:solidFill>
            <a:schemeClr val="bg1">
              <a:lumMod val="95000"/>
            </a:schemeClr>
          </a:solidFill>
        </p:spPr>
        <p:txBody>
          <a:bodyPr>
            <a:normAutofit fontScale="90000"/>
          </a:bodyPr>
          <a:lstStyle/>
          <a:p>
            <a:r>
              <a:rPr lang="en-US" sz="2400" b="1" dirty="0" smtClean="0">
                <a:solidFill>
                  <a:srgbClr val="FF0000"/>
                </a:solidFill>
              </a:rPr>
              <a:t>Research Strengths: DC #1</a:t>
            </a:r>
            <a:br>
              <a:rPr lang="en-US" sz="2400" b="1" dirty="0" smtClean="0">
                <a:solidFill>
                  <a:srgbClr val="FF0000"/>
                </a:solidFill>
              </a:rPr>
            </a:br>
            <a:r>
              <a:rPr lang="en-US" sz="2400" b="1" dirty="0" smtClean="0">
                <a:solidFill>
                  <a:srgbClr val="FF0000"/>
                </a:solidFill>
              </a:rPr>
              <a:t>General Chemistry, Drug Discovery,</a:t>
            </a:r>
            <a:br>
              <a:rPr lang="en-US" sz="2400" b="1" dirty="0" smtClean="0">
                <a:solidFill>
                  <a:srgbClr val="FF0000"/>
                </a:solidFill>
              </a:rPr>
            </a:br>
            <a:r>
              <a:rPr lang="en-US" sz="2400" b="1" dirty="0" smtClean="0">
                <a:solidFill>
                  <a:srgbClr val="FF0000"/>
                </a:solidFill>
              </a:rPr>
              <a:t>Organic Chemistry, Analytical Chemistry</a:t>
            </a:r>
            <a:endParaRPr lang="en-US" sz="2400" b="1" dirty="0">
              <a:solidFill>
                <a:srgbClr val="FF0000"/>
              </a:solidFill>
            </a:endParaRPr>
          </a:p>
        </p:txBody>
      </p:sp>
      <p:sp>
        <p:nvSpPr>
          <p:cNvPr id="8" name="Oval 7"/>
          <p:cNvSpPr/>
          <p:nvPr/>
        </p:nvSpPr>
        <p:spPr bwMode="auto">
          <a:xfrm>
            <a:off x="4932040" y="3095248"/>
            <a:ext cx="504056" cy="477768"/>
          </a:xfrm>
          <a:prstGeom prst="ellipse">
            <a:avLst/>
          </a:prstGeom>
          <a:noFill/>
          <a:ln w="254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0" hangingPunct="0"/>
            <a:endParaRPr lang="en-US" sz="2400" baseline="-25000" smtClean="0">
              <a:solidFill>
                <a:prstClr val="black"/>
              </a:solidFill>
              <a:latin typeface="Arial" charset="0"/>
              <a:ea typeface="ＭＳ Ｐゴシック" charset="-128"/>
            </a:endParaRPr>
          </a:p>
        </p:txBody>
      </p:sp>
      <p:sp>
        <p:nvSpPr>
          <p:cNvPr id="16" name="TextBox 15"/>
          <p:cNvSpPr txBox="1"/>
          <p:nvPr/>
        </p:nvSpPr>
        <p:spPr>
          <a:xfrm>
            <a:off x="6516216" y="2825641"/>
            <a:ext cx="2555776" cy="1323439"/>
          </a:xfrm>
          <a:prstGeom prst="rect">
            <a:avLst/>
          </a:prstGeom>
          <a:noFill/>
        </p:spPr>
        <p:txBody>
          <a:bodyPr wrap="square" rtlCol="0">
            <a:spAutoFit/>
          </a:bodyPr>
          <a:lstStyle/>
          <a:p>
            <a:r>
              <a:rPr lang="en-US" sz="1600" smtClean="0">
                <a:solidFill>
                  <a:prstClr val="black"/>
                </a:solidFill>
                <a:latin typeface="Calibri" pitchFamily="34" charset="0"/>
                <a:ea typeface="ＭＳ Ｐゴシック" charset="-128"/>
              </a:rPr>
              <a:t>Cairo U. is leader in all KPIs:</a:t>
            </a:r>
          </a:p>
          <a:p>
            <a:endParaRPr lang="en-US" sz="1600" smtClean="0">
              <a:solidFill>
                <a:prstClr val="black"/>
              </a:solidFill>
              <a:latin typeface="Calibri" pitchFamily="34" charset="0"/>
              <a:ea typeface="ＭＳ Ｐゴシック" charset="-128"/>
            </a:endParaRPr>
          </a:p>
          <a:p>
            <a:pPr>
              <a:buFont typeface="Arial" pitchFamily="34" charset="0"/>
              <a:buChar char="•"/>
            </a:pPr>
            <a:r>
              <a:rPr lang="nl-NL" sz="1600" smtClean="0">
                <a:solidFill>
                  <a:prstClr val="black"/>
                </a:solidFill>
                <a:latin typeface="Calibri" pitchFamily="34" charset="0"/>
                <a:ea typeface="ＭＳ Ｐゴシック" charset="-128"/>
              </a:rPr>
              <a:t>Published articles</a:t>
            </a:r>
          </a:p>
          <a:p>
            <a:pPr>
              <a:buFont typeface="Arial" pitchFamily="34" charset="0"/>
              <a:buChar char="•"/>
            </a:pPr>
            <a:r>
              <a:rPr lang="nl-NL" sz="1600" smtClean="0">
                <a:solidFill>
                  <a:prstClr val="black"/>
                </a:solidFill>
                <a:latin typeface="Calibri" pitchFamily="34" charset="0"/>
                <a:ea typeface="ＭＳ Ｐゴシック" charset="-128"/>
              </a:rPr>
              <a:t>Reference articles</a:t>
            </a:r>
          </a:p>
          <a:p>
            <a:pPr>
              <a:buFont typeface="Arial" pitchFamily="34" charset="0"/>
              <a:buChar char="•"/>
            </a:pPr>
            <a:r>
              <a:rPr lang="nl-NL" sz="1600" smtClean="0">
                <a:solidFill>
                  <a:prstClr val="black"/>
                </a:solidFill>
                <a:latin typeface="Calibri" pitchFamily="34" charset="0"/>
                <a:ea typeface="ＭＳ Ｐゴシック" charset="-128"/>
              </a:rPr>
              <a:t>State of the Art</a:t>
            </a:r>
          </a:p>
        </p:txBody>
      </p:sp>
      <p:pic>
        <p:nvPicPr>
          <p:cNvPr id="1026" name="Picture 2"/>
          <p:cNvPicPr>
            <a:picLocks noChangeAspect="1" noChangeArrowheads="1"/>
          </p:cNvPicPr>
          <p:nvPr/>
        </p:nvPicPr>
        <p:blipFill>
          <a:blip r:embed="rId4" cstate="print"/>
          <a:srcRect/>
          <a:stretch>
            <a:fillRect/>
          </a:stretch>
        </p:blipFill>
        <p:spPr bwMode="auto">
          <a:xfrm>
            <a:off x="35496" y="1196752"/>
            <a:ext cx="3473982" cy="3377927"/>
          </a:xfrm>
          <a:prstGeom prst="rect">
            <a:avLst/>
          </a:prstGeom>
          <a:noFill/>
          <a:ln w="9525">
            <a:noFill/>
            <a:miter lim="800000"/>
            <a:headEnd/>
            <a:tailEnd/>
          </a:ln>
        </p:spPr>
      </p:pic>
      <p:pic>
        <p:nvPicPr>
          <p:cNvPr id="1028" name="Picture 4"/>
          <p:cNvPicPr>
            <a:picLocks noChangeAspect="1" noChangeArrowheads="1"/>
          </p:cNvPicPr>
          <p:nvPr/>
        </p:nvPicPr>
        <p:blipFill>
          <a:blip r:embed="rId5" cstate="print"/>
          <a:srcRect/>
          <a:stretch>
            <a:fillRect/>
          </a:stretch>
        </p:blipFill>
        <p:spPr bwMode="auto">
          <a:xfrm>
            <a:off x="6804248" y="1117873"/>
            <a:ext cx="2124075" cy="942975"/>
          </a:xfrm>
          <a:prstGeom prst="rect">
            <a:avLst/>
          </a:prstGeom>
          <a:noFill/>
          <a:ln w="9525">
            <a:noFill/>
            <a:miter lim="800000"/>
            <a:headEnd/>
            <a:tailEnd/>
          </a:ln>
        </p:spPr>
      </p:pic>
      <p:sp>
        <p:nvSpPr>
          <p:cNvPr id="18" name="TextBox 17"/>
          <p:cNvSpPr txBox="1"/>
          <p:nvPr/>
        </p:nvSpPr>
        <p:spPr>
          <a:xfrm>
            <a:off x="6156176" y="1403783"/>
            <a:ext cx="864096" cy="692497"/>
          </a:xfrm>
          <a:prstGeom prst="rect">
            <a:avLst/>
          </a:prstGeom>
          <a:noFill/>
        </p:spPr>
        <p:txBody>
          <a:bodyPr wrap="square" rtlCol="0">
            <a:spAutoFit/>
          </a:bodyPr>
          <a:lstStyle/>
          <a:p>
            <a:pPr algn="r"/>
            <a:r>
              <a:rPr lang="en-US" sz="1300" dirty="0" smtClean="0">
                <a:solidFill>
                  <a:prstClr val="black"/>
                </a:solidFill>
                <a:latin typeface="Calibri" pitchFamily="34" charset="0"/>
                <a:ea typeface="ＭＳ Ｐゴシック" charset="-128"/>
              </a:rPr>
              <a:t>World</a:t>
            </a:r>
          </a:p>
          <a:p>
            <a:pPr algn="r"/>
            <a:r>
              <a:rPr lang="en-US" sz="1300" smtClean="0">
                <a:solidFill>
                  <a:prstClr val="black"/>
                </a:solidFill>
                <a:latin typeface="Calibri" pitchFamily="34" charset="0"/>
                <a:ea typeface="ＭＳ Ｐゴシック" charset="-128"/>
              </a:rPr>
              <a:t>Egypt</a:t>
            </a:r>
            <a:endParaRPr lang="en-US" sz="1300" dirty="0" smtClean="0">
              <a:solidFill>
                <a:prstClr val="black"/>
              </a:solidFill>
              <a:latin typeface="Calibri" pitchFamily="34" charset="0"/>
              <a:ea typeface="ＭＳ Ｐゴシック" charset="-128"/>
            </a:endParaRPr>
          </a:p>
          <a:p>
            <a:pPr algn="r"/>
            <a:r>
              <a:rPr lang="en-US" sz="1300" smtClean="0">
                <a:solidFill>
                  <a:prstClr val="black"/>
                </a:solidFill>
                <a:latin typeface="Calibri" pitchFamily="34" charset="0"/>
                <a:ea typeface="ＭＳ Ｐゴシック" charset="-128"/>
              </a:rPr>
              <a:t>Cairo U.</a:t>
            </a:r>
            <a:endParaRPr lang="en-US" sz="1300" dirty="0">
              <a:solidFill>
                <a:prstClr val="black"/>
              </a:solidFill>
              <a:latin typeface="Calibri" pitchFamily="34" charset="0"/>
              <a:ea typeface="ＭＳ Ｐゴシック" charset="-128"/>
            </a:endParaRPr>
          </a:p>
        </p:txBody>
      </p:sp>
      <p:pic>
        <p:nvPicPr>
          <p:cNvPr id="1029" name="Picture 5"/>
          <p:cNvPicPr>
            <a:picLocks noChangeAspect="1" noChangeArrowheads="1"/>
          </p:cNvPicPr>
          <p:nvPr/>
        </p:nvPicPr>
        <p:blipFill>
          <a:blip r:embed="rId6" cstate="print"/>
          <a:srcRect/>
          <a:stretch>
            <a:fillRect/>
          </a:stretch>
        </p:blipFill>
        <p:spPr bwMode="auto">
          <a:xfrm>
            <a:off x="259482" y="4653136"/>
            <a:ext cx="2584326" cy="1977801"/>
          </a:xfrm>
          <a:prstGeom prst="rect">
            <a:avLst/>
          </a:prstGeom>
          <a:noFill/>
          <a:ln w="9525">
            <a:noFill/>
            <a:miter lim="800000"/>
            <a:headEnd/>
            <a:tailEnd/>
          </a:ln>
        </p:spPr>
      </p:pic>
      <p:pic>
        <p:nvPicPr>
          <p:cNvPr id="1030" name="Picture 6"/>
          <p:cNvPicPr>
            <a:picLocks noChangeAspect="1" noChangeArrowheads="1"/>
          </p:cNvPicPr>
          <p:nvPr/>
        </p:nvPicPr>
        <p:blipFill>
          <a:blip r:embed="rId7" cstate="print"/>
          <a:srcRect/>
          <a:stretch>
            <a:fillRect/>
          </a:stretch>
        </p:blipFill>
        <p:spPr bwMode="auto">
          <a:xfrm>
            <a:off x="3023256" y="4649678"/>
            <a:ext cx="2376264" cy="1939636"/>
          </a:xfrm>
          <a:prstGeom prst="rect">
            <a:avLst/>
          </a:prstGeom>
          <a:noFill/>
          <a:ln w="9525">
            <a:noFill/>
            <a:miter lim="800000"/>
            <a:headEnd/>
            <a:tailEnd/>
          </a:ln>
        </p:spPr>
      </p:pic>
      <p:sp>
        <p:nvSpPr>
          <p:cNvPr id="19" name="TextBox 18"/>
          <p:cNvSpPr txBox="1"/>
          <p:nvPr/>
        </p:nvSpPr>
        <p:spPr>
          <a:xfrm>
            <a:off x="6019800" y="6248400"/>
            <a:ext cx="2771800" cy="338554"/>
          </a:xfrm>
          <a:prstGeom prst="rect">
            <a:avLst/>
          </a:prstGeom>
          <a:noFill/>
        </p:spPr>
        <p:txBody>
          <a:bodyPr wrap="square" rtlCol="0">
            <a:spAutoFit/>
          </a:bodyPr>
          <a:lstStyle/>
          <a:p>
            <a:pPr algn="r"/>
            <a:r>
              <a:rPr lang="en-US" sz="1600" b="1" i="1" dirty="0" smtClean="0">
                <a:solidFill>
                  <a:srgbClr val="000000"/>
                </a:solidFill>
                <a:latin typeface="Calibri" pitchFamily="34" charset="0"/>
                <a:ea typeface="ＭＳ Ｐゴシック" charset="-128"/>
              </a:rPr>
              <a:t>Source: </a:t>
            </a:r>
            <a:r>
              <a:rPr lang="en-US" sz="1600" b="1" i="1" dirty="0" err="1" smtClean="0">
                <a:solidFill>
                  <a:srgbClr val="000000"/>
                </a:solidFill>
                <a:latin typeface="Calibri" pitchFamily="34" charset="0"/>
                <a:ea typeface="ＭＳ Ｐゴシック" charset="-128"/>
              </a:rPr>
              <a:t>SciVal</a:t>
            </a:r>
            <a:r>
              <a:rPr lang="en-US" sz="1600" b="1" i="1" dirty="0" smtClean="0">
                <a:solidFill>
                  <a:srgbClr val="000000"/>
                </a:solidFill>
                <a:latin typeface="Calibri" pitchFamily="34" charset="0"/>
                <a:ea typeface="ＭＳ Ｐゴシック" charset="-128"/>
              </a:rPr>
              <a:t> Spotlight</a:t>
            </a:r>
            <a:endParaRPr lang="en-US" sz="1600" b="1" i="1" dirty="0">
              <a:solidFill>
                <a:srgbClr val="000000"/>
              </a:solidFill>
              <a:latin typeface="Calibri" pitchFamily="34" charset="0"/>
              <a:ea typeface="ＭＳ Ｐゴシック" charset="-128"/>
            </a:endParaRPr>
          </a:p>
        </p:txBody>
      </p:sp>
      <p:pic>
        <p:nvPicPr>
          <p:cNvPr id="1031" name="Picture 7"/>
          <p:cNvPicPr>
            <a:picLocks noChangeAspect="1" noChangeArrowheads="1"/>
          </p:cNvPicPr>
          <p:nvPr/>
        </p:nvPicPr>
        <p:blipFill>
          <a:blip r:embed="rId8" cstate="print"/>
          <a:srcRect/>
          <a:stretch>
            <a:fillRect/>
          </a:stretch>
        </p:blipFill>
        <p:spPr bwMode="auto">
          <a:xfrm>
            <a:off x="5580112" y="4653136"/>
            <a:ext cx="3096344" cy="1080120"/>
          </a:xfrm>
          <a:prstGeom prst="rect">
            <a:avLst/>
          </a:prstGeom>
          <a:noFill/>
          <a:ln w="9525">
            <a:noFill/>
            <a:miter lim="800000"/>
            <a:headEnd/>
            <a:tailEnd/>
          </a:ln>
        </p:spPr>
      </p:pic>
    </p:spTree>
  </p:cSld>
  <p:clrMapOvr>
    <a:masterClrMapping/>
  </p:clrMapOvr>
  <p:transition>
    <p:zoom/>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5" name="Picture 7"/>
          <p:cNvPicPr>
            <a:picLocks noChangeAspect="1" noChangeArrowheads="1"/>
          </p:cNvPicPr>
          <p:nvPr/>
        </p:nvPicPr>
        <p:blipFill>
          <a:blip r:embed="rId3" cstate="print"/>
          <a:srcRect/>
          <a:stretch>
            <a:fillRect/>
          </a:stretch>
        </p:blipFill>
        <p:spPr bwMode="auto">
          <a:xfrm>
            <a:off x="7020272" y="1196752"/>
            <a:ext cx="1933575" cy="847725"/>
          </a:xfrm>
          <a:prstGeom prst="rect">
            <a:avLst/>
          </a:prstGeom>
          <a:noFill/>
          <a:ln w="9525">
            <a:noFill/>
            <a:miter lim="800000"/>
            <a:headEnd/>
            <a:tailEnd/>
          </a:ln>
        </p:spPr>
      </p:pic>
      <p:pic>
        <p:nvPicPr>
          <p:cNvPr id="2051" name="Picture 3"/>
          <p:cNvPicPr>
            <a:picLocks noChangeAspect="1" noChangeArrowheads="1"/>
          </p:cNvPicPr>
          <p:nvPr/>
        </p:nvPicPr>
        <p:blipFill>
          <a:blip r:embed="rId4" cstate="print"/>
          <a:srcRect/>
          <a:stretch>
            <a:fillRect/>
          </a:stretch>
        </p:blipFill>
        <p:spPr bwMode="auto">
          <a:xfrm>
            <a:off x="3760267" y="1124744"/>
            <a:ext cx="2827957" cy="3267177"/>
          </a:xfrm>
          <a:prstGeom prst="rect">
            <a:avLst/>
          </a:prstGeom>
          <a:noFill/>
          <a:ln w="9525">
            <a:noFill/>
            <a:miter lim="800000"/>
            <a:headEnd/>
            <a:tailEnd/>
          </a:ln>
        </p:spPr>
      </p:pic>
      <p:sp>
        <p:nvSpPr>
          <p:cNvPr id="4" name="Slide Number Placeholder 3"/>
          <p:cNvSpPr>
            <a:spLocks noGrp="1"/>
          </p:cNvSpPr>
          <p:nvPr>
            <p:ph type="sldNum" sz="quarter" idx="10"/>
          </p:nvPr>
        </p:nvSpPr>
        <p:spPr/>
        <p:txBody>
          <a:bodyPr/>
          <a:lstStyle/>
          <a:p>
            <a:pPr>
              <a:defRPr/>
            </a:pPr>
            <a:endParaRPr lang="en-US" smtClean="0">
              <a:solidFill>
                <a:srgbClr val="04617B">
                  <a:shade val="90000"/>
                </a:srgbClr>
              </a:solidFill>
            </a:endParaRPr>
          </a:p>
          <a:p>
            <a:pPr>
              <a:defRPr/>
            </a:pPr>
            <a:fld id="{259221E5-4944-402D-9585-35E9CC32F311}" type="slidenum">
              <a:rPr lang="en-US" smtClean="0">
                <a:solidFill>
                  <a:srgbClr val="04617B">
                    <a:shade val="90000"/>
                  </a:srgbClr>
                </a:solidFill>
              </a:rPr>
              <a:pPr>
                <a:defRPr/>
              </a:pPr>
              <a:t>32</a:t>
            </a:fld>
            <a:endParaRPr lang="en-US">
              <a:solidFill>
                <a:srgbClr val="04617B">
                  <a:shade val="90000"/>
                </a:srgbClr>
              </a:solidFill>
            </a:endParaRPr>
          </a:p>
        </p:txBody>
      </p:sp>
      <p:sp>
        <p:nvSpPr>
          <p:cNvPr id="2" name="Title 1"/>
          <p:cNvSpPr>
            <a:spLocks noGrp="1"/>
          </p:cNvSpPr>
          <p:nvPr>
            <p:ph type="title" idx="4294967295"/>
          </p:nvPr>
        </p:nvSpPr>
        <p:spPr>
          <a:xfrm>
            <a:off x="0" y="0"/>
            <a:ext cx="9144000" cy="1143000"/>
          </a:xfrm>
          <a:prstGeom prst="rect">
            <a:avLst/>
          </a:prstGeom>
          <a:solidFill>
            <a:schemeClr val="bg1">
              <a:lumMod val="95000"/>
            </a:schemeClr>
          </a:solidFill>
        </p:spPr>
        <p:txBody>
          <a:bodyPr vert="horz" lIns="0" rIns="0" bIns="0" anchor="t">
            <a:normAutofit/>
          </a:bodyPr>
          <a:lstStyle/>
          <a:p>
            <a:r>
              <a:rPr lang="en-US" sz="2400" b="1" dirty="0" smtClean="0">
                <a:solidFill>
                  <a:schemeClr val="tx1"/>
                </a:solidFill>
              </a:rPr>
              <a:t>Research Strengths: DC #7</a:t>
            </a:r>
            <a:br>
              <a:rPr lang="en-US" sz="2400" b="1" dirty="0" smtClean="0">
                <a:solidFill>
                  <a:schemeClr val="tx1"/>
                </a:solidFill>
              </a:rPr>
            </a:br>
            <a:r>
              <a:rPr lang="en-US" sz="2400" b="1" dirty="0" smtClean="0">
                <a:solidFill>
                  <a:schemeClr val="tx1"/>
                </a:solidFill>
              </a:rPr>
              <a:t>Plant Science, Applied Microbiology and Biotechnology, </a:t>
            </a:r>
            <a:br>
              <a:rPr lang="en-US" sz="2400" b="1" dirty="0" smtClean="0">
                <a:solidFill>
                  <a:schemeClr val="tx1"/>
                </a:solidFill>
              </a:rPr>
            </a:br>
            <a:r>
              <a:rPr lang="en-US" sz="2400" b="1" dirty="0" smtClean="0">
                <a:solidFill>
                  <a:schemeClr val="tx1"/>
                </a:solidFill>
              </a:rPr>
              <a:t>Drug Discovery</a:t>
            </a:r>
            <a:endParaRPr lang="en-US" sz="2400" b="1" dirty="0">
              <a:solidFill>
                <a:schemeClr val="tx1"/>
              </a:solidFill>
            </a:endParaRPr>
          </a:p>
        </p:txBody>
      </p:sp>
      <p:sp>
        <p:nvSpPr>
          <p:cNvPr id="8" name="Oval 7"/>
          <p:cNvSpPr/>
          <p:nvPr/>
        </p:nvSpPr>
        <p:spPr bwMode="auto">
          <a:xfrm>
            <a:off x="5618014" y="2505075"/>
            <a:ext cx="216024" cy="216024"/>
          </a:xfrm>
          <a:prstGeom prst="ellipse">
            <a:avLst/>
          </a:prstGeom>
          <a:noFill/>
          <a:ln w="25400" cap="flat" cmpd="sng" algn="ctr">
            <a:solidFill>
              <a:srgbClr val="FF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eaLnBrk="0" hangingPunct="0"/>
            <a:endParaRPr lang="en-US" sz="2400" baseline="-25000" smtClean="0">
              <a:solidFill>
                <a:prstClr val="black"/>
              </a:solidFill>
              <a:latin typeface="Arial" charset="0"/>
              <a:ea typeface="ＭＳ Ｐゴシック" charset="-128"/>
            </a:endParaRPr>
          </a:p>
        </p:txBody>
      </p:sp>
      <p:sp>
        <p:nvSpPr>
          <p:cNvPr id="16" name="TextBox 15"/>
          <p:cNvSpPr txBox="1"/>
          <p:nvPr/>
        </p:nvSpPr>
        <p:spPr>
          <a:xfrm>
            <a:off x="6516216" y="2825641"/>
            <a:ext cx="2555776" cy="1323439"/>
          </a:xfrm>
          <a:prstGeom prst="rect">
            <a:avLst/>
          </a:prstGeom>
          <a:noFill/>
        </p:spPr>
        <p:txBody>
          <a:bodyPr wrap="square" rtlCol="0">
            <a:spAutoFit/>
          </a:bodyPr>
          <a:lstStyle/>
          <a:p>
            <a:r>
              <a:rPr lang="en-US" sz="1600" smtClean="0">
                <a:solidFill>
                  <a:prstClr val="black"/>
                </a:solidFill>
                <a:latin typeface="Calibri" pitchFamily="34" charset="0"/>
                <a:ea typeface="ＭＳ Ｐゴシック" charset="-128"/>
              </a:rPr>
              <a:t>Cairo U. is leader in all KPIs:</a:t>
            </a:r>
          </a:p>
          <a:p>
            <a:endParaRPr lang="en-US" sz="1600" smtClean="0">
              <a:solidFill>
                <a:prstClr val="black"/>
              </a:solidFill>
              <a:latin typeface="Calibri" pitchFamily="34" charset="0"/>
              <a:ea typeface="ＭＳ Ｐゴシック" charset="-128"/>
            </a:endParaRPr>
          </a:p>
          <a:p>
            <a:pPr>
              <a:buFont typeface="Arial" pitchFamily="34" charset="0"/>
              <a:buChar char="•"/>
            </a:pPr>
            <a:r>
              <a:rPr lang="nl-NL" sz="1600" smtClean="0">
                <a:solidFill>
                  <a:prstClr val="black"/>
                </a:solidFill>
                <a:latin typeface="Calibri" pitchFamily="34" charset="0"/>
                <a:ea typeface="ＭＳ Ｐゴシック" charset="-128"/>
              </a:rPr>
              <a:t>Published articles</a:t>
            </a:r>
          </a:p>
          <a:p>
            <a:pPr>
              <a:buFont typeface="Arial" pitchFamily="34" charset="0"/>
              <a:buChar char="•"/>
            </a:pPr>
            <a:r>
              <a:rPr lang="nl-NL" sz="1600" smtClean="0">
                <a:solidFill>
                  <a:prstClr val="black"/>
                </a:solidFill>
                <a:latin typeface="Calibri" pitchFamily="34" charset="0"/>
                <a:ea typeface="ＭＳ Ｐゴシック" charset="-128"/>
              </a:rPr>
              <a:t>Reference articles</a:t>
            </a:r>
          </a:p>
          <a:p>
            <a:pPr>
              <a:buFont typeface="Arial" pitchFamily="34" charset="0"/>
              <a:buChar char="•"/>
            </a:pPr>
            <a:r>
              <a:rPr lang="nl-NL" sz="1600" smtClean="0">
                <a:solidFill>
                  <a:prstClr val="black"/>
                </a:solidFill>
                <a:latin typeface="Calibri" pitchFamily="34" charset="0"/>
                <a:ea typeface="ＭＳ Ｐゴシック" charset="-128"/>
              </a:rPr>
              <a:t>State of the Art</a:t>
            </a:r>
          </a:p>
        </p:txBody>
      </p:sp>
      <p:sp>
        <p:nvSpPr>
          <p:cNvPr id="18" name="TextBox 17"/>
          <p:cNvSpPr txBox="1"/>
          <p:nvPr/>
        </p:nvSpPr>
        <p:spPr>
          <a:xfrm>
            <a:off x="6300192" y="1403783"/>
            <a:ext cx="864096" cy="692497"/>
          </a:xfrm>
          <a:prstGeom prst="rect">
            <a:avLst/>
          </a:prstGeom>
          <a:noFill/>
        </p:spPr>
        <p:txBody>
          <a:bodyPr wrap="square" rtlCol="0">
            <a:spAutoFit/>
          </a:bodyPr>
          <a:lstStyle/>
          <a:p>
            <a:pPr algn="r"/>
            <a:r>
              <a:rPr lang="en-US" sz="1300" dirty="0" smtClean="0">
                <a:solidFill>
                  <a:prstClr val="black"/>
                </a:solidFill>
                <a:latin typeface="Calibri" pitchFamily="34" charset="0"/>
                <a:ea typeface="ＭＳ Ｐゴシック" charset="-128"/>
              </a:rPr>
              <a:t>World</a:t>
            </a:r>
          </a:p>
          <a:p>
            <a:pPr algn="r"/>
            <a:r>
              <a:rPr lang="en-US" sz="1300" smtClean="0">
                <a:solidFill>
                  <a:prstClr val="black"/>
                </a:solidFill>
                <a:latin typeface="Calibri" pitchFamily="34" charset="0"/>
                <a:ea typeface="ＭＳ Ｐゴシック" charset="-128"/>
              </a:rPr>
              <a:t>Egypt</a:t>
            </a:r>
            <a:endParaRPr lang="en-US" sz="1300" dirty="0" smtClean="0">
              <a:solidFill>
                <a:prstClr val="black"/>
              </a:solidFill>
              <a:latin typeface="Calibri" pitchFamily="34" charset="0"/>
              <a:ea typeface="ＭＳ Ｐゴシック" charset="-128"/>
            </a:endParaRPr>
          </a:p>
          <a:p>
            <a:pPr algn="r"/>
            <a:r>
              <a:rPr lang="en-US" sz="1300" smtClean="0">
                <a:solidFill>
                  <a:prstClr val="black"/>
                </a:solidFill>
                <a:latin typeface="Calibri" pitchFamily="34" charset="0"/>
                <a:ea typeface="ＭＳ Ｐゴシック" charset="-128"/>
              </a:rPr>
              <a:t>Cairo U.</a:t>
            </a:r>
            <a:endParaRPr lang="en-US" sz="1300" dirty="0">
              <a:solidFill>
                <a:prstClr val="black"/>
              </a:solidFill>
              <a:latin typeface="Calibri" pitchFamily="34" charset="0"/>
              <a:ea typeface="ＭＳ Ｐゴシック" charset="-128"/>
            </a:endParaRPr>
          </a:p>
        </p:txBody>
      </p:sp>
      <p:sp>
        <p:nvSpPr>
          <p:cNvPr id="19" name="TextBox 18"/>
          <p:cNvSpPr txBox="1"/>
          <p:nvPr/>
        </p:nvSpPr>
        <p:spPr>
          <a:xfrm>
            <a:off x="6372200" y="6248400"/>
            <a:ext cx="2771800" cy="338554"/>
          </a:xfrm>
          <a:prstGeom prst="rect">
            <a:avLst/>
          </a:prstGeom>
          <a:noFill/>
        </p:spPr>
        <p:txBody>
          <a:bodyPr wrap="square" rtlCol="0">
            <a:spAutoFit/>
          </a:bodyPr>
          <a:lstStyle/>
          <a:p>
            <a:pPr algn="r"/>
            <a:r>
              <a:rPr lang="en-US" sz="1600" b="1" i="1" dirty="0" smtClean="0">
                <a:solidFill>
                  <a:srgbClr val="000000"/>
                </a:solidFill>
                <a:latin typeface="Calibri" pitchFamily="34" charset="0"/>
                <a:ea typeface="ＭＳ Ｐゴシック" charset="-128"/>
              </a:rPr>
              <a:t>Source: </a:t>
            </a:r>
            <a:r>
              <a:rPr lang="en-US" sz="1600" b="1" i="1" dirty="0" err="1" smtClean="0">
                <a:solidFill>
                  <a:srgbClr val="000000"/>
                </a:solidFill>
                <a:latin typeface="Calibri" pitchFamily="34" charset="0"/>
                <a:ea typeface="ＭＳ Ｐゴシック" charset="-128"/>
              </a:rPr>
              <a:t>SciVal</a:t>
            </a:r>
            <a:r>
              <a:rPr lang="en-US" sz="1600" b="1" i="1" dirty="0" smtClean="0">
                <a:solidFill>
                  <a:srgbClr val="000000"/>
                </a:solidFill>
                <a:latin typeface="Calibri" pitchFamily="34" charset="0"/>
                <a:ea typeface="ＭＳ Ｐゴシック" charset="-128"/>
              </a:rPr>
              <a:t> Spotlight</a:t>
            </a:r>
            <a:endParaRPr lang="en-US" sz="1600" b="1" i="1" dirty="0">
              <a:solidFill>
                <a:srgbClr val="000000"/>
              </a:solidFill>
              <a:latin typeface="Calibri" pitchFamily="34" charset="0"/>
              <a:ea typeface="ＭＳ Ｐゴシック" charset="-128"/>
            </a:endParaRPr>
          </a:p>
        </p:txBody>
      </p:sp>
      <p:pic>
        <p:nvPicPr>
          <p:cNvPr id="2050" name="Picture 2"/>
          <p:cNvPicPr>
            <a:picLocks noChangeAspect="1" noChangeArrowheads="1"/>
          </p:cNvPicPr>
          <p:nvPr/>
        </p:nvPicPr>
        <p:blipFill>
          <a:blip r:embed="rId5" cstate="print"/>
          <a:srcRect/>
          <a:stretch>
            <a:fillRect/>
          </a:stretch>
        </p:blipFill>
        <p:spPr bwMode="auto">
          <a:xfrm>
            <a:off x="35496" y="1178818"/>
            <a:ext cx="3634841" cy="3186286"/>
          </a:xfrm>
          <a:prstGeom prst="rect">
            <a:avLst/>
          </a:prstGeom>
          <a:noFill/>
          <a:ln w="9525">
            <a:noFill/>
            <a:miter lim="800000"/>
            <a:headEnd/>
            <a:tailEnd/>
          </a:ln>
        </p:spPr>
      </p:pic>
      <p:pic>
        <p:nvPicPr>
          <p:cNvPr id="2052" name="Picture 4"/>
          <p:cNvPicPr>
            <a:picLocks noChangeAspect="1" noChangeArrowheads="1"/>
          </p:cNvPicPr>
          <p:nvPr/>
        </p:nvPicPr>
        <p:blipFill>
          <a:blip r:embed="rId6" cstate="print"/>
          <a:srcRect/>
          <a:stretch>
            <a:fillRect/>
          </a:stretch>
        </p:blipFill>
        <p:spPr bwMode="auto">
          <a:xfrm>
            <a:off x="107504" y="4437112"/>
            <a:ext cx="2790825" cy="2181225"/>
          </a:xfrm>
          <a:prstGeom prst="rect">
            <a:avLst/>
          </a:prstGeom>
          <a:noFill/>
          <a:ln w="9525">
            <a:noFill/>
            <a:miter lim="800000"/>
            <a:headEnd/>
            <a:tailEnd/>
          </a:ln>
        </p:spPr>
      </p:pic>
      <p:pic>
        <p:nvPicPr>
          <p:cNvPr id="2053" name="Picture 5"/>
          <p:cNvPicPr>
            <a:picLocks noChangeAspect="1" noChangeArrowheads="1"/>
          </p:cNvPicPr>
          <p:nvPr/>
        </p:nvPicPr>
        <p:blipFill>
          <a:blip r:embed="rId7" cstate="print"/>
          <a:srcRect/>
          <a:stretch>
            <a:fillRect/>
          </a:stretch>
        </p:blipFill>
        <p:spPr bwMode="auto">
          <a:xfrm>
            <a:off x="3131840" y="4437112"/>
            <a:ext cx="2657475" cy="2152650"/>
          </a:xfrm>
          <a:prstGeom prst="rect">
            <a:avLst/>
          </a:prstGeom>
          <a:noFill/>
          <a:ln w="9525">
            <a:noFill/>
            <a:miter lim="800000"/>
            <a:headEnd/>
            <a:tailEnd/>
          </a:ln>
        </p:spPr>
      </p:pic>
      <p:pic>
        <p:nvPicPr>
          <p:cNvPr id="2054" name="Picture 6"/>
          <p:cNvPicPr>
            <a:picLocks noChangeAspect="1" noChangeArrowheads="1"/>
          </p:cNvPicPr>
          <p:nvPr/>
        </p:nvPicPr>
        <p:blipFill>
          <a:blip r:embed="rId8" cstate="print"/>
          <a:srcRect/>
          <a:stretch>
            <a:fillRect/>
          </a:stretch>
        </p:blipFill>
        <p:spPr bwMode="auto">
          <a:xfrm>
            <a:off x="5940152" y="4437112"/>
            <a:ext cx="3203848" cy="1205659"/>
          </a:xfrm>
          <a:prstGeom prst="rect">
            <a:avLst/>
          </a:prstGeom>
          <a:noFill/>
          <a:ln w="9525">
            <a:noFill/>
            <a:miter lim="800000"/>
            <a:headEnd/>
            <a:tailEnd/>
          </a:ln>
        </p:spPr>
      </p:pic>
    </p:spTree>
  </p:cSld>
  <p:clrMapOvr>
    <a:masterClrMapping/>
  </p:clrMapOvr>
  <p:transition>
    <p:zoom/>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itle 1"/>
          <p:cNvSpPr>
            <a:spLocks noGrp="1"/>
          </p:cNvSpPr>
          <p:nvPr>
            <p:ph type="title" idx="4294967295"/>
          </p:nvPr>
        </p:nvSpPr>
        <p:spPr>
          <a:xfrm>
            <a:off x="1371600" y="228600"/>
            <a:ext cx="8229600" cy="762000"/>
          </a:xfrm>
          <a:prstGeom prst="rect">
            <a:avLst/>
          </a:prstGeom>
        </p:spPr>
        <p:txBody>
          <a:bodyPr>
            <a:normAutofit/>
          </a:bodyPr>
          <a:lstStyle/>
          <a:p>
            <a:r>
              <a:rPr lang="it-IT" sz="2400" b="1" dirty="0" smtClean="0">
                <a:effectLst>
                  <a:outerShdw blurRad="38100" dist="38100" dir="2700000" algn="tl">
                    <a:srgbClr val="000000">
                      <a:alpha val="43137"/>
                    </a:srgbClr>
                  </a:outerShdw>
                </a:effectLst>
                <a:latin typeface="Arial" pitchFamily="34" charset="0"/>
                <a:cs typeface="Arial" pitchFamily="34" charset="0"/>
              </a:rPr>
              <a:t>Collaboration: Computer Science</a:t>
            </a:r>
            <a:endParaRPr lang="en-US" sz="2400" b="1" dirty="0" smtClean="0">
              <a:effectLst>
                <a:outerShdw blurRad="38100" dist="38100" dir="2700000" algn="tl">
                  <a:srgbClr val="000000">
                    <a:alpha val="43137"/>
                  </a:srgbClr>
                </a:outerShdw>
              </a:effectLst>
              <a:latin typeface="Arial" pitchFamily="34" charset="0"/>
              <a:cs typeface="Arial" pitchFamily="34" charset="0"/>
            </a:endParaRPr>
          </a:p>
        </p:txBody>
      </p:sp>
      <p:pic>
        <p:nvPicPr>
          <p:cNvPr id="4099" name="Picture 3"/>
          <p:cNvPicPr>
            <a:picLocks noChangeAspect="1" noChangeArrowheads="1"/>
          </p:cNvPicPr>
          <p:nvPr/>
        </p:nvPicPr>
        <p:blipFill>
          <a:blip r:embed="rId3" cstate="print"/>
          <a:srcRect/>
          <a:stretch>
            <a:fillRect/>
          </a:stretch>
        </p:blipFill>
        <p:spPr bwMode="auto">
          <a:xfrm>
            <a:off x="35496" y="1877144"/>
            <a:ext cx="5019675" cy="4648200"/>
          </a:xfrm>
          <a:prstGeom prst="rect">
            <a:avLst/>
          </a:prstGeom>
          <a:noFill/>
          <a:ln w="9525">
            <a:noFill/>
            <a:miter lim="800000"/>
            <a:headEnd/>
            <a:tailEnd/>
          </a:ln>
        </p:spPr>
      </p:pic>
      <p:pic>
        <p:nvPicPr>
          <p:cNvPr id="4100" name="Picture 4"/>
          <p:cNvPicPr>
            <a:picLocks noChangeAspect="1" noChangeArrowheads="1"/>
          </p:cNvPicPr>
          <p:nvPr/>
        </p:nvPicPr>
        <p:blipFill>
          <a:blip r:embed="rId4" cstate="print"/>
          <a:srcRect/>
          <a:stretch>
            <a:fillRect/>
          </a:stretch>
        </p:blipFill>
        <p:spPr bwMode="auto">
          <a:xfrm>
            <a:off x="5377755" y="1916832"/>
            <a:ext cx="3766245" cy="4638675"/>
          </a:xfrm>
          <a:prstGeom prst="rect">
            <a:avLst/>
          </a:prstGeom>
          <a:noFill/>
          <a:ln w="9525">
            <a:noFill/>
            <a:miter lim="800000"/>
            <a:headEnd/>
            <a:tailEnd/>
          </a:ln>
        </p:spPr>
      </p:pic>
      <p:sp>
        <p:nvSpPr>
          <p:cNvPr id="8" name="TextBox 7"/>
          <p:cNvSpPr txBox="1"/>
          <p:nvPr/>
        </p:nvSpPr>
        <p:spPr>
          <a:xfrm>
            <a:off x="720080" y="1268760"/>
            <a:ext cx="4067944" cy="461665"/>
          </a:xfrm>
          <a:prstGeom prst="rect">
            <a:avLst/>
          </a:prstGeom>
          <a:noFill/>
        </p:spPr>
        <p:txBody>
          <a:bodyPr wrap="square" rtlCol="0">
            <a:spAutoFit/>
          </a:bodyPr>
          <a:lstStyle/>
          <a:p>
            <a:pPr algn="ctr"/>
            <a:r>
              <a:rPr lang="en-US" sz="2400" smtClean="0">
                <a:solidFill>
                  <a:prstClr val="black"/>
                </a:solidFill>
                <a:latin typeface="Arial" charset="0"/>
                <a:ea typeface="ＭＳ Ｐゴシック" charset="-128"/>
              </a:rPr>
              <a:t>Existing collaborations</a:t>
            </a:r>
            <a:endParaRPr lang="en-US" sz="2400">
              <a:solidFill>
                <a:prstClr val="black"/>
              </a:solidFill>
              <a:latin typeface="Arial" charset="0"/>
              <a:ea typeface="ＭＳ Ｐゴシック" charset="-128"/>
            </a:endParaRPr>
          </a:p>
        </p:txBody>
      </p:sp>
      <p:sp>
        <p:nvSpPr>
          <p:cNvPr id="9" name="TextBox 8"/>
          <p:cNvSpPr txBox="1"/>
          <p:nvPr/>
        </p:nvSpPr>
        <p:spPr>
          <a:xfrm>
            <a:off x="5004048" y="1268760"/>
            <a:ext cx="4067944" cy="461665"/>
          </a:xfrm>
          <a:prstGeom prst="rect">
            <a:avLst/>
          </a:prstGeom>
          <a:noFill/>
        </p:spPr>
        <p:txBody>
          <a:bodyPr wrap="square" rtlCol="0">
            <a:spAutoFit/>
          </a:bodyPr>
          <a:lstStyle/>
          <a:p>
            <a:pPr algn="ctr"/>
            <a:r>
              <a:rPr lang="en-US" sz="2400" smtClean="0">
                <a:solidFill>
                  <a:prstClr val="black"/>
                </a:solidFill>
                <a:latin typeface="Arial" charset="0"/>
                <a:ea typeface="ＭＳ Ｐゴシック" charset="-128"/>
              </a:rPr>
              <a:t>Potential collaborations</a:t>
            </a:r>
            <a:endParaRPr lang="en-US" sz="2400">
              <a:solidFill>
                <a:prstClr val="black"/>
              </a:solidFill>
              <a:latin typeface="Arial" charset="0"/>
              <a:ea typeface="ＭＳ Ｐゴシック" charset="-128"/>
            </a:endParaRPr>
          </a:p>
        </p:txBody>
      </p:sp>
    </p:spTree>
  </p:cSld>
  <p:clrMapOvr>
    <a:masterClrMapping/>
  </p:clrMapOvr>
  <p:transition>
    <p:zoom/>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8898" name="Picture 2"/>
          <p:cNvPicPr>
            <a:picLocks noChangeAspect="1" noChangeArrowheads="1"/>
          </p:cNvPicPr>
          <p:nvPr/>
        </p:nvPicPr>
        <p:blipFill>
          <a:blip r:embed="rId2" cstate="print"/>
          <a:srcRect/>
          <a:stretch>
            <a:fillRect/>
          </a:stretch>
        </p:blipFill>
        <p:spPr bwMode="auto">
          <a:xfrm>
            <a:off x="0" y="0"/>
            <a:ext cx="9144000" cy="6172200"/>
          </a:xfrm>
          <a:prstGeom prst="rect">
            <a:avLst/>
          </a:prstGeom>
          <a:noFill/>
          <a:ln w="9525">
            <a:noFill/>
            <a:miter lim="800000"/>
            <a:headEnd/>
            <a:tailEnd/>
          </a:ln>
        </p:spPr>
      </p:pic>
      <p:sp>
        <p:nvSpPr>
          <p:cNvPr id="4" name="TextBox 3"/>
          <p:cNvSpPr txBox="1"/>
          <p:nvPr/>
        </p:nvSpPr>
        <p:spPr>
          <a:xfrm>
            <a:off x="228600" y="6248400"/>
            <a:ext cx="7467600" cy="369332"/>
          </a:xfrm>
          <a:prstGeom prst="rect">
            <a:avLst/>
          </a:prstGeom>
          <a:noFill/>
        </p:spPr>
        <p:txBody>
          <a:bodyPr wrap="square" rtlCol="0">
            <a:spAutoFit/>
          </a:bodyPr>
          <a:lstStyle/>
          <a:p>
            <a:pPr fontAlgn="auto">
              <a:spcBef>
                <a:spcPts val="0"/>
              </a:spcBef>
              <a:spcAft>
                <a:spcPts val="0"/>
              </a:spcAft>
            </a:pPr>
            <a:r>
              <a:rPr lang="en-US" b="1" dirty="0" smtClean="0">
                <a:solidFill>
                  <a:srgbClr val="000000"/>
                </a:solidFill>
              </a:rPr>
              <a:t>Figure 1 – International Mobility of Egypt’s researchers, 1996-2011. </a:t>
            </a:r>
            <a:endParaRPr lang="en-US" dirty="0">
              <a:solidFill>
                <a:srgbClr val="000000"/>
              </a:solidFill>
            </a:endParaRPr>
          </a:p>
        </p:txBody>
      </p:sp>
    </p:spTree>
  </p:cSld>
  <p:clrMapOvr>
    <a:masterClrMapping/>
  </p:clrMapOvr>
  <p:transition>
    <p:zoom/>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722313" y="952500"/>
            <a:ext cx="7772400" cy="820738"/>
          </a:xfrm>
        </p:spPr>
        <p:txBody>
          <a:bodyPr/>
          <a:lstStyle/>
          <a:p>
            <a:pPr algn="ctr" rtl="0" eaLnBrk="1" hangingPunct="1"/>
            <a:r>
              <a:rPr lang="en-US" b="1" dirty="0" smtClean="0">
                <a:solidFill>
                  <a:schemeClr val="accent1"/>
                </a:solidFill>
                <a:latin typeface="Arial" pitchFamily="34" charset="0"/>
                <a:cs typeface="Arial" pitchFamily="34" charset="0"/>
              </a:rPr>
              <a:t>Targets of </a:t>
            </a:r>
            <a:r>
              <a:rPr lang="en-US" b="1" dirty="0" err="1" smtClean="0">
                <a:solidFill>
                  <a:schemeClr val="accent1"/>
                </a:solidFill>
                <a:latin typeface="Arial" pitchFamily="34" charset="0"/>
                <a:cs typeface="Arial" pitchFamily="34" charset="0"/>
              </a:rPr>
              <a:t>Mobtakron</a:t>
            </a:r>
            <a:r>
              <a:rPr lang="en-US" b="1" dirty="0" smtClean="0">
                <a:solidFill>
                  <a:schemeClr val="accent1"/>
                </a:solidFill>
                <a:latin typeface="Arial" pitchFamily="34" charset="0"/>
                <a:cs typeface="Arial" pitchFamily="34" charset="0"/>
              </a:rPr>
              <a:t> Initiative</a:t>
            </a:r>
          </a:p>
        </p:txBody>
      </p:sp>
      <p:sp>
        <p:nvSpPr>
          <p:cNvPr id="3" name="Text Placeholder 2"/>
          <p:cNvSpPr>
            <a:spLocks noGrp="1"/>
          </p:cNvSpPr>
          <p:nvPr>
            <p:ph type="body" idx="1"/>
          </p:nvPr>
        </p:nvSpPr>
        <p:spPr>
          <a:xfrm>
            <a:off x="250825" y="2547938"/>
            <a:ext cx="8713788" cy="3976687"/>
          </a:xfrm>
        </p:spPr>
        <p:txBody>
          <a:bodyPr>
            <a:normAutofit fontScale="25000" lnSpcReduction="20000"/>
          </a:bodyPr>
          <a:lstStyle/>
          <a:p>
            <a:pPr marL="457200" indent="-457200" algn="l" rtl="0" eaLnBrk="1" fontAlgn="auto" hangingPunct="1">
              <a:spcBef>
                <a:spcPts val="580"/>
              </a:spcBef>
              <a:spcAft>
                <a:spcPts val="0"/>
              </a:spcAft>
              <a:buFont typeface="+mj-lt"/>
              <a:buAutoNum type="arabicPeriod"/>
              <a:defRPr/>
            </a:pPr>
            <a:endParaRPr lang="en-US" sz="5500" b="1" dirty="0" smtClean="0">
              <a:solidFill>
                <a:schemeClr val="tx1"/>
              </a:solidFill>
              <a:latin typeface="Times New Roman" pitchFamily="18" charset="0"/>
              <a:cs typeface="Times New Roman" pitchFamily="18" charset="0"/>
            </a:endParaRPr>
          </a:p>
          <a:p>
            <a:pPr marL="457200" indent="-457200" algn="l" rtl="0" eaLnBrk="1" fontAlgn="auto" hangingPunct="1">
              <a:lnSpc>
                <a:spcPct val="170000"/>
              </a:lnSpc>
              <a:spcBef>
                <a:spcPts val="580"/>
              </a:spcBef>
              <a:spcAft>
                <a:spcPts val="0"/>
              </a:spcAft>
              <a:buFont typeface="+mj-lt"/>
              <a:buAutoNum type="arabicPeriod"/>
              <a:defRPr/>
            </a:pPr>
            <a:r>
              <a:rPr lang="en-US" sz="9800" b="1" dirty="0" smtClean="0">
                <a:solidFill>
                  <a:schemeClr val="tx1"/>
                </a:solidFill>
                <a:latin typeface="Times New Roman" pitchFamily="18" charset="0"/>
                <a:cs typeface="Times New Roman" pitchFamily="18" charset="0"/>
              </a:rPr>
              <a:t>Grassroots Innovation of Communities “TOK-TOK”</a:t>
            </a:r>
          </a:p>
          <a:p>
            <a:pPr marL="457200" indent="-457200" algn="l" rtl="0" eaLnBrk="1" fontAlgn="auto" hangingPunct="1">
              <a:lnSpc>
                <a:spcPct val="170000"/>
              </a:lnSpc>
              <a:spcBef>
                <a:spcPts val="580"/>
              </a:spcBef>
              <a:spcAft>
                <a:spcPts val="0"/>
              </a:spcAft>
              <a:buFont typeface="+mj-lt"/>
              <a:buAutoNum type="arabicPeriod"/>
              <a:defRPr/>
            </a:pPr>
            <a:r>
              <a:rPr lang="en-US" sz="9800" b="1" dirty="0" smtClean="0">
                <a:solidFill>
                  <a:schemeClr val="tx1"/>
                </a:solidFill>
                <a:latin typeface="Times New Roman" pitchFamily="18" charset="0"/>
                <a:cs typeface="Times New Roman" pitchFamily="18" charset="0"/>
              </a:rPr>
              <a:t>STEM School Innovation “FAB-LAB”</a:t>
            </a:r>
          </a:p>
          <a:p>
            <a:pPr marL="457200" indent="-457200" algn="l" rtl="0" eaLnBrk="1" fontAlgn="auto" hangingPunct="1">
              <a:lnSpc>
                <a:spcPct val="170000"/>
              </a:lnSpc>
              <a:spcBef>
                <a:spcPts val="580"/>
              </a:spcBef>
              <a:spcAft>
                <a:spcPts val="0"/>
              </a:spcAft>
              <a:buFont typeface="+mj-lt"/>
              <a:buAutoNum type="arabicPeriod"/>
              <a:defRPr/>
            </a:pPr>
            <a:r>
              <a:rPr lang="en-US" sz="9800" b="1" dirty="0" smtClean="0">
                <a:solidFill>
                  <a:schemeClr val="tx1"/>
                </a:solidFill>
                <a:latin typeface="Times New Roman" pitchFamily="18" charset="0"/>
                <a:cs typeface="Times New Roman" pitchFamily="18" charset="0"/>
              </a:rPr>
              <a:t>University Student Innovation  “AICE ” “GP” “ASMP”</a:t>
            </a:r>
          </a:p>
          <a:p>
            <a:pPr marL="457200" indent="-457200" algn="l" rtl="0" eaLnBrk="1" fontAlgn="auto" hangingPunct="1">
              <a:lnSpc>
                <a:spcPct val="170000"/>
              </a:lnSpc>
              <a:spcBef>
                <a:spcPts val="580"/>
              </a:spcBef>
              <a:spcAft>
                <a:spcPts val="0"/>
              </a:spcAft>
              <a:buFont typeface="+mj-lt"/>
              <a:buAutoNum type="arabicPeriod"/>
              <a:defRPr/>
            </a:pPr>
            <a:r>
              <a:rPr lang="en-US" sz="9800" b="1" dirty="0" smtClean="0">
                <a:solidFill>
                  <a:schemeClr val="tx1"/>
                </a:solidFill>
                <a:latin typeface="Times New Roman" pitchFamily="18" charset="0"/>
                <a:cs typeface="Times New Roman" pitchFamily="18" charset="0"/>
              </a:rPr>
              <a:t>University and R.C Research Innovation “TICO”</a:t>
            </a:r>
          </a:p>
          <a:p>
            <a:pPr marL="457200" indent="-457200" algn="l" rtl="0" eaLnBrk="1" fontAlgn="auto" hangingPunct="1">
              <a:lnSpc>
                <a:spcPct val="170000"/>
              </a:lnSpc>
              <a:spcBef>
                <a:spcPts val="580"/>
              </a:spcBef>
              <a:spcAft>
                <a:spcPts val="0"/>
              </a:spcAft>
              <a:buFont typeface="+mj-lt"/>
              <a:buAutoNum type="arabicPeriod"/>
              <a:defRPr/>
            </a:pPr>
            <a:r>
              <a:rPr lang="en-US" sz="9800" b="1" dirty="0" smtClean="0">
                <a:solidFill>
                  <a:schemeClr val="tx1"/>
                </a:solidFill>
                <a:latin typeface="Times New Roman" pitchFamily="18" charset="0"/>
                <a:cs typeface="Times New Roman" pitchFamily="18" charset="0"/>
              </a:rPr>
              <a:t>Enterprises Innovation “IRA’</a:t>
            </a:r>
          </a:p>
          <a:p>
            <a:pPr marL="457200" indent="-457200" algn="l" rtl="0" eaLnBrk="1" fontAlgn="auto" hangingPunct="1">
              <a:spcBef>
                <a:spcPts val="580"/>
              </a:spcBef>
              <a:spcAft>
                <a:spcPts val="0"/>
              </a:spcAft>
              <a:buFont typeface="+mj-lt"/>
              <a:buAutoNum type="arabicPeriod"/>
              <a:defRPr/>
            </a:pPr>
            <a:endParaRPr lang="en-US" sz="5500" b="1" dirty="0" smtClean="0">
              <a:solidFill>
                <a:schemeClr val="tx1"/>
              </a:solidFill>
              <a:latin typeface="Times New Roman" pitchFamily="18" charset="0"/>
              <a:cs typeface="Times New Roman" pitchFamily="18" charset="0"/>
            </a:endParaRPr>
          </a:p>
          <a:p>
            <a:pPr algn="l" rtl="0" eaLnBrk="1" fontAlgn="auto" hangingPunct="1">
              <a:spcBef>
                <a:spcPts val="580"/>
              </a:spcBef>
              <a:spcAft>
                <a:spcPts val="0"/>
              </a:spcAft>
              <a:buFont typeface="Wingdings 2"/>
              <a:buNone/>
              <a:defRPr/>
            </a:pPr>
            <a:endParaRPr lang="en-US" dirty="0" smtClean="0"/>
          </a:p>
          <a:p>
            <a:pPr algn="l" rtl="0" eaLnBrk="1" fontAlgn="auto" hangingPunct="1">
              <a:spcBef>
                <a:spcPts val="580"/>
              </a:spcBef>
              <a:spcAft>
                <a:spcPts val="0"/>
              </a:spcAft>
              <a:buFont typeface="Wingdings 2"/>
              <a:buNone/>
              <a:defRPr/>
            </a:pPr>
            <a:endParaRPr lang="ar-EG" dirty="0" smtClean="0"/>
          </a:p>
          <a:p>
            <a:pPr algn="l" rtl="0" eaLnBrk="1" fontAlgn="auto" hangingPunct="1">
              <a:spcBef>
                <a:spcPts val="580"/>
              </a:spcBef>
              <a:spcAft>
                <a:spcPts val="0"/>
              </a:spcAft>
              <a:buFont typeface="Wingdings 2"/>
              <a:buNone/>
              <a:defRPr/>
            </a:pPr>
            <a:r>
              <a:rPr lang="en-US" dirty="0" smtClean="0"/>
              <a:t>  </a:t>
            </a:r>
            <a:endParaRPr lang="en-US" dirty="0"/>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Isosceles Triangle 3"/>
          <p:cNvSpPr/>
          <p:nvPr/>
        </p:nvSpPr>
        <p:spPr>
          <a:xfrm>
            <a:off x="179512" y="1340768"/>
            <a:ext cx="5256584" cy="5040560"/>
          </a:xfrm>
          <a:prstGeom prst="triangle">
            <a:avLst/>
          </a:prstGeom>
          <a:solidFill>
            <a:srgbClr val="0070C0"/>
          </a:solidFill>
          <a:effectLst>
            <a:outerShdw blurRad="50800" dist="38100" dir="10800000" algn="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scene3d>
              <a:camera prst="isometricOffAxis1Right"/>
              <a:lightRig rig="threePt" dir="t"/>
            </a:scene3d>
          </a:bodyPr>
          <a:lstStyle/>
          <a:p>
            <a:pPr algn="ctr"/>
            <a:endParaRPr lang="en-US">
              <a:effectLst>
                <a:outerShdw blurRad="38100" dist="38100" dir="2700000" algn="tl">
                  <a:srgbClr val="000000">
                    <a:alpha val="43137"/>
                  </a:srgbClr>
                </a:outerShdw>
              </a:effectLst>
            </a:endParaRPr>
          </a:p>
        </p:txBody>
      </p:sp>
      <p:cxnSp>
        <p:nvCxnSpPr>
          <p:cNvPr id="6" name="Straight Connector 5"/>
          <p:cNvCxnSpPr/>
          <p:nvPr/>
        </p:nvCxnSpPr>
        <p:spPr>
          <a:xfrm>
            <a:off x="1763688" y="3068960"/>
            <a:ext cx="2088232"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nvCxnSpPr>
        <p:spPr>
          <a:xfrm>
            <a:off x="1331640" y="4005064"/>
            <a:ext cx="3456384"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683568" y="5085184"/>
            <a:ext cx="4464496"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14" name="TextBox 13"/>
          <p:cNvSpPr txBox="1"/>
          <p:nvPr/>
        </p:nvSpPr>
        <p:spPr>
          <a:xfrm>
            <a:off x="2051720" y="2237963"/>
            <a:ext cx="1512168" cy="830997"/>
          </a:xfrm>
          <a:prstGeom prst="rect">
            <a:avLst/>
          </a:prstGeom>
          <a:noFill/>
        </p:spPr>
        <p:txBody>
          <a:bodyPr wrap="square" rtlCol="0">
            <a:spAutoFit/>
          </a:bodyPr>
          <a:lstStyle/>
          <a:p>
            <a:pPr algn="ctr"/>
            <a:r>
              <a:rPr lang="en-US" sz="1600" b="1" dirty="0" smtClean="0">
                <a:solidFill>
                  <a:schemeClr val="bg1"/>
                </a:solidFill>
              </a:rPr>
              <a:t>Enterprise </a:t>
            </a:r>
          </a:p>
          <a:p>
            <a:pPr algn="ctr"/>
            <a:r>
              <a:rPr lang="en-US" sz="1600" b="1" dirty="0" smtClean="0">
                <a:solidFill>
                  <a:schemeClr val="bg1"/>
                </a:solidFill>
              </a:rPr>
              <a:t>Innovation </a:t>
            </a:r>
          </a:p>
          <a:p>
            <a:pPr algn="ctr"/>
            <a:r>
              <a:rPr lang="en-US" sz="1600" b="1" dirty="0" smtClean="0">
                <a:solidFill>
                  <a:schemeClr val="bg1"/>
                </a:solidFill>
              </a:rPr>
              <a:t>“</a:t>
            </a:r>
            <a:r>
              <a:rPr lang="en-US" sz="1600" b="1" dirty="0" smtClean="0">
                <a:solidFill>
                  <a:srgbClr val="FFFF00"/>
                </a:solidFill>
              </a:rPr>
              <a:t>IRA</a:t>
            </a:r>
            <a:r>
              <a:rPr lang="en-US" sz="1600" b="1" dirty="0" smtClean="0">
                <a:solidFill>
                  <a:schemeClr val="bg1"/>
                </a:solidFill>
              </a:rPr>
              <a:t>”</a:t>
            </a:r>
            <a:endParaRPr lang="en-US" sz="1600" b="1" dirty="0">
              <a:solidFill>
                <a:schemeClr val="bg1"/>
              </a:solidFill>
            </a:endParaRPr>
          </a:p>
        </p:txBody>
      </p:sp>
      <p:sp>
        <p:nvSpPr>
          <p:cNvPr id="16" name="TextBox 15"/>
          <p:cNvSpPr txBox="1"/>
          <p:nvPr/>
        </p:nvSpPr>
        <p:spPr>
          <a:xfrm>
            <a:off x="1763688" y="3068960"/>
            <a:ext cx="2088232" cy="923330"/>
          </a:xfrm>
          <a:prstGeom prst="rect">
            <a:avLst/>
          </a:prstGeom>
          <a:noFill/>
        </p:spPr>
        <p:txBody>
          <a:bodyPr wrap="square" rtlCol="0">
            <a:spAutoFit/>
          </a:bodyPr>
          <a:lstStyle/>
          <a:p>
            <a:pPr algn="ctr"/>
            <a:r>
              <a:rPr lang="en-US" b="1" dirty="0" smtClean="0">
                <a:solidFill>
                  <a:schemeClr val="bg1"/>
                </a:solidFill>
              </a:rPr>
              <a:t>Researchers </a:t>
            </a:r>
          </a:p>
          <a:p>
            <a:pPr algn="ctr"/>
            <a:r>
              <a:rPr lang="en-US" b="1" dirty="0" smtClean="0">
                <a:solidFill>
                  <a:schemeClr val="bg1"/>
                </a:solidFill>
              </a:rPr>
              <a:t>Innovation </a:t>
            </a:r>
          </a:p>
          <a:p>
            <a:pPr algn="ctr"/>
            <a:r>
              <a:rPr lang="en-US" b="1" dirty="0" smtClean="0">
                <a:solidFill>
                  <a:schemeClr val="bg1"/>
                </a:solidFill>
              </a:rPr>
              <a:t>“</a:t>
            </a:r>
            <a:r>
              <a:rPr lang="en-US" b="1" dirty="0" smtClean="0">
                <a:solidFill>
                  <a:srgbClr val="FFFF00"/>
                </a:solidFill>
              </a:rPr>
              <a:t>TICO</a:t>
            </a:r>
            <a:r>
              <a:rPr lang="en-US" b="1" dirty="0" smtClean="0">
                <a:solidFill>
                  <a:schemeClr val="bg1"/>
                </a:solidFill>
              </a:rPr>
              <a:t>”</a:t>
            </a:r>
            <a:endParaRPr lang="en-US" b="1" dirty="0">
              <a:solidFill>
                <a:schemeClr val="bg1"/>
              </a:solidFill>
            </a:endParaRPr>
          </a:p>
        </p:txBody>
      </p:sp>
      <p:sp>
        <p:nvSpPr>
          <p:cNvPr id="17" name="TextBox 16"/>
          <p:cNvSpPr txBox="1"/>
          <p:nvPr/>
        </p:nvSpPr>
        <p:spPr>
          <a:xfrm>
            <a:off x="1475656" y="4077072"/>
            <a:ext cx="2664296" cy="923330"/>
          </a:xfrm>
          <a:prstGeom prst="rect">
            <a:avLst/>
          </a:prstGeom>
          <a:noFill/>
        </p:spPr>
        <p:txBody>
          <a:bodyPr wrap="square" rtlCol="0">
            <a:spAutoFit/>
          </a:bodyPr>
          <a:lstStyle/>
          <a:p>
            <a:pPr algn="ctr"/>
            <a:r>
              <a:rPr lang="en-US" b="1" dirty="0" smtClean="0">
                <a:solidFill>
                  <a:schemeClr val="bg1"/>
                </a:solidFill>
              </a:rPr>
              <a:t>University Students Innovation</a:t>
            </a:r>
          </a:p>
          <a:p>
            <a:pPr algn="ctr"/>
            <a:r>
              <a:rPr lang="en-US" b="1" dirty="0" smtClean="0">
                <a:solidFill>
                  <a:schemeClr val="bg1"/>
                </a:solidFill>
              </a:rPr>
              <a:t>“</a:t>
            </a:r>
            <a:r>
              <a:rPr lang="en-US" b="1" dirty="0" smtClean="0">
                <a:solidFill>
                  <a:srgbClr val="FFFF00"/>
                </a:solidFill>
              </a:rPr>
              <a:t>AICE, G.P, ASMP</a:t>
            </a:r>
            <a:r>
              <a:rPr lang="en-US" b="1" dirty="0" smtClean="0">
                <a:solidFill>
                  <a:schemeClr val="bg1"/>
                </a:solidFill>
              </a:rPr>
              <a:t>”</a:t>
            </a:r>
            <a:endParaRPr lang="en-US" b="1" dirty="0">
              <a:solidFill>
                <a:schemeClr val="bg1"/>
              </a:solidFill>
            </a:endParaRPr>
          </a:p>
        </p:txBody>
      </p:sp>
      <p:sp>
        <p:nvSpPr>
          <p:cNvPr id="18" name="TextBox 17"/>
          <p:cNvSpPr txBox="1"/>
          <p:nvPr/>
        </p:nvSpPr>
        <p:spPr>
          <a:xfrm>
            <a:off x="971600" y="5085184"/>
            <a:ext cx="3744416" cy="646331"/>
          </a:xfrm>
          <a:prstGeom prst="rect">
            <a:avLst/>
          </a:prstGeom>
          <a:noFill/>
        </p:spPr>
        <p:txBody>
          <a:bodyPr wrap="square" rtlCol="0">
            <a:spAutoFit/>
          </a:bodyPr>
          <a:lstStyle/>
          <a:p>
            <a:pPr algn="ctr"/>
            <a:r>
              <a:rPr lang="en-US" b="1" dirty="0" smtClean="0">
                <a:solidFill>
                  <a:schemeClr val="bg1"/>
                </a:solidFill>
              </a:rPr>
              <a:t>STEM School  Innovation </a:t>
            </a:r>
          </a:p>
          <a:p>
            <a:pPr algn="ctr"/>
            <a:r>
              <a:rPr lang="en-US" b="1" dirty="0" smtClean="0">
                <a:solidFill>
                  <a:schemeClr val="bg1"/>
                </a:solidFill>
              </a:rPr>
              <a:t>“</a:t>
            </a:r>
            <a:r>
              <a:rPr lang="en-US" b="1" dirty="0" smtClean="0">
                <a:solidFill>
                  <a:srgbClr val="FFFF00"/>
                </a:solidFill>
              </a:rPr>
              <a:t>FAB-LAB</a:t>
            </a:r>
            <a:r>
              <a:rPr lang="en-US" b="1" dirty="0" smtClean="0">
                <a:solidFill>
                  <a:schemeClr val="bg1"/>
                </a:solidFill>
              </a:rPr>
              <a:t>”</a:t>
            </a:r>
            <a:endParaRPr lang="en-US" b="1" dirty="0">
              <a:solidFill>
                <a:schemeClr val="bg1"/>
              </a:solidFill>
            </a:endParaRPr>
          </a:p>
        </p:txBody>
      </p:sp>
      <p:cxnSp>
        <p:nvCxnSpPr>
          <p:cNvPr id="19" name="Straight Connector 18"/>
          <p:cNvCxnSpPr/>
          <p:nvPr/>
        </p:nvCxnSpPr>
        <p:spPr>
          <a:xfrm>
            <a:off x="467544" y="5733256"/>
            <a:ext cx="4752528"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323528" y="5733256"/>
            <a:ext cx="5040560" cy="646331"/>
          </a:xfrm>
          <a:prstGeom prst="rect">
            <a:avLst/>
          </a:prstGeom>
          <a:noFill/>
        </p:spPr>
        <p:txBody>
          <a:bodyPr wrap="square" rtlCol="0">
            <a:spAutoFit/>
          </a:bodyPr>
          <a:lstStyle/>
          <a:p>
            <a:pPr algn="ctr"/>
            <a:r>
              <a:rPr lang="en-US" b="1" dirty="0" smtClean="0">
                <a:solidFill>
                  <a:schemeClr val="bg1"/>
                </a:solidFill>
              </a:rPr>
              <a:t>Grassroots Innovation of communities</a:t>
            </a:r>
          </a:p>
          <a:p>
            <a:pPr algn="ctr"/>
            <a:r>
              <a:rPr lang="en-US" b="1" dirty="0" smtClean="0">
                <a:solidFill>
                  <a:schemeClr val="bg1"/>
                </a:solidFill>
              </a:rPr>
              <a:t>“</a:t>
            </a:r>
            <a:r>
              <a:rPr lang="en-US" b="1" dirty="0" smtClean="0">
                <a:solidFill>
                  <a:srgbClr val="FFFF00"/>
                </a:solidFill>
              </a:rPr>
              <a:t>TOK </a:t>
            </a:r>
            <a:r>
              <a:rPr lang="en-US" b="1" dirty="0" err="1" smtClean="0">
                <a:solidFill>
                  <a:srgbClr val="FFFF00"/>
                </a:solidFill>
              </a:rPr>
              <a:t>TOK</a:t>
            </a:r>
            <a:r>
              <a:rPr lang="en-US" b="1" dirty="0" smtClean="0">
                <a:solidFill>
                  <a:schemeClr val="bg1"/>
                </a:solidFill>
              </a:rPr>
              <a:t>”</a:t>
            </a:r>
            <a:endParaRPr lang="en-US" b="1" dirty="0">
              <a:solidFill>
                <a:schemeClr val="bg1"/>
              </a:solidFill>
            </a:endParaRPr>
          </a:p>
        </p:txBody>
      </p:sp>
      <p:sp>
        <p:nvSpPr>
          <p:cNvPr id="23" name="TextBox 22"/>
          <p:cNvSpPr txBox="1"/>
          <p:nvPr/>
        </p:nvSpPr>
        <p:spPr>
          <a:xfrm>
            <a:off x="1279525" y="119534"/>
            <a:ext cx="7016750" cy="1077218"/>
          </a:xfrm>
          <a:prstGeom prst="rect">
            <a:avLst/>
          </a:prstGeom>
          <a:noFill/>
        </p:spPr>
        <p:txBody>
          <a:bodyPr wrap="square">
            <a:spAutoFit/>
          </a:bodyPr>
          <a:lstStyle/>
          <a:p>
            <a:pPr algn="ctr" fontAlgn="auto">
              <a:spcBef>
                <a:spcPts val="0"/>
              </a:spcBef>
              <a:spcAft>
                <a:spcPts val="0"/>
              </a:spcAft>
              <a:defRPr/>
            </a:pPr>
            <a:r>
              <a:rPr lang="en-US" sz="3200" b="1" dirty="0" smtClean="0">
                <a:cs typeface="Arabic Transparent" pitchFamily="2" charset="-78"/>
              </a:rPr>
              <a:t>INNOVA </a:t>
            </a:r>
            <a:r>
              <a:rPr lang="en-US" sz="3200" b="1" dirty="0">
                <a:cs typeface="Arabic Transparent" pitchFamily="2" charset="-78"/>
              </a:rPr>
              <a:t>–ALL (</a:t>
            </a:r>
            <a:r>
              <a:rPr lang="en-US" sz="3200" b="1" dirty="0">
                <a:solidFill>
                  <a:schemeClr val="accent1"/>
                </a:solidFill>
                <a:cs typeface="Arabic Transparent" pitchFamily="2" charset="-78"/>
              </a:rPr>
              <a:t>MOBTAKERON</a:t>
            </a:r>
            <a:r>
              <a:rPr lang="en-US" sz="3200" b="1" dirty="0" smtClean="0">
                <a:cs typeface="Arabic Transparent" pitchFamily="2" charset="-78"/>
              </a:rPr>
              <a:t>)</a:t>
            </a:r>
          </a:p>
          <a:p>
            <a:pPr algn="ctr" fontAlgn="auto">
              <a:spcBef>
                <a:spcPts val="0"/>
              </a:spcBef>
              <a:spcAft>
                <a:spcPts val="0"/>
              </a:spcAft>
              <a:defRPr/>
            </a:pPr>
            <a:r>
              <a:rPr lang="en-US" sz="3200" b="1" dirty="0" smtClean="0">
                <a:cs typeface="Arabic Transparent" pitchFamily="2" charset="-78"/>
              </a:rPr>
              <a:t>INNOVATION  PYRAMID</a:t>
            </a:r>
            <a:endParaRPr lang="en-US" sz="3200" b="1" dirty="0">
              <a:cs typeface="Arabic Transparent" pitchFamily="2" charset="-78"/>
            </a:endParaRPr>
          </a:p>
        </p:txBody>
      </p:sp>
      <p:sp>
        <p:nvSpPr>
          <p:cNvPr id="24" name="Oval 23"/>
          <p:cNvSpPr/>
          <p:nvPr/>
        </p:nvSpPr>
        <p:spPr>
          <a:xfrm>
            <a:off x="5868144" y="1916832"/>
            <a:ext cx="2520280" cy="1008112"/>
          </a:xfrm>
          <a:prstGeom prst="ellipse">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TextBox 24"/>
          <p:cNvSpPr txBox="1"/>
          <p:nvPr/>
        </p:nvSpPr>
        <p:spPr>
          <a:xfrm>
            <a:off x="5940152" y="2132856"/>
            <a:ext cx="2448272" cy="646331"/>
          </a:xfrm>
          <a:prstGeom prst="rect">
            <a:avLst/>
          </a:prstGeom>
          <a:noFill/>
        </p:spPr>
        <p:txBody>
          <a:bodyPr wrap="square" rtlCol="0">
            <a:spAutoFit/>
          </a:bodyPr>
          <a:lstStyle/>
          <a:p>
            <a:pPr algn="ctr"/>
            <a:r>
              <a:rPr lang="en-US" b="1" dirty="0" smtClean="0">
                <a:solidFill>
                  <a:schemeClr val="bg1">
                    <a:lumMod val="95000"/>
                  </a:schemeClr>
                </a:solidFill>
              </a:rPr>
              <a:t>Commercialization</a:t>
            </a:r>
          </a:p>
          <a:p>
            <a:pPr algn="ctr"/>
            <a:r>
              <a:rPr lang="en-US" b="1" dirty="0" smtClean="0">
                <a:solidFill>
                  <a:schemeClr val="bg1">
                    <a:lumMod val="95000"/>
                  </a:schemeClr>
                </a:solidFill>
              </a:rPr>
              <a:t>Program</a:t>
            </a:r>
            <a:endParaRPr lang="en-US" b="1" dirty="0">
              <a:solidFill>
                <a:schemeClr val="bg1">
                  <a:lumMod val="95000"/>
                </a:schemeClr>
              </a:solidFill>
            </a:endParaRPr>
          </a:p>
        </p:txBody>
      </p:sp>
      <p:sp>
        <p:nvSpPr>
          <p:cNvPr id="26" name="Oval 25"/>
          <p:cNvSpPr/>
          <p:nvPr/>
        </p:nvSpPr>
        <p:spPr>
          <a:xfrm>
            <a:off x="6228184" y="2996952"/>
            <a:ext cx="1872208" cy="864096"/>
          </a:xfrm>
          <a:prstGeom prst="ellipse">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Box 26"/>
          <p:cNvSpPr txBox="1"/>
          <p:nvPr/>
        </p:nvSpPr>
        <p:spPr>
          <a:xfrm>
            <a:off x="6084168" y="3140968"/>
            <a:ext cx="2304256" cy="646331"/>
          </a:xfrm>
          <a:prstGeom prst="rect">
            <a:avLst/>
          </a:prstGeom>
          <a:noFill/>
        </p:spPr>
        <p:txBody>
          <a:bodyPr wrap="square" rtlCol="0">
            <a:spAutoFit/>
          </a:bodyPr>
          <a:lstStyle/>
          <a:p>
            <a:pPr algn="ctr"/>
            <a:r>
              <a:rPr lang="en-US" b="1" dirty="0" smtClean="0">
                <a:solidFill>
                  <a:schemeClr val="bg1">
                    <a:lumMod val="95000"/>
                  </a:schemeClr>
                </a:solidFill>
              </a:rPr>
              <a:t>Incubators</a:t>
            </a:r>
          </a:p>
          <a:p>
            <a:pPr algn="ctr"/>
            <a:r>
              <a:rPr lang="en-US" b="1" dirty="0" smtClean="0">
                <a:solidFill>
                  <a:schemeClr val="bg1">
                    <a:lumMod val="95000"/>
                  </a:schemeClr>
                </a:solidFill>
              </a:rPr>
              <a:t>Program</a:t>
            </a:r>
            <a:endParaRPr lang="en-US" b="1" dirty="0">
              <a:solidFill>
                <a:schemeClr val="bg1">
                  <a:lumMod val="95000"/>
                </a:schemeClr>
              </a:solidFill>
            </a:endParaRPr>
          </a:p>
        </p:txBody>
      </p:sp>
      <p:sp>
        <p:nvSpPr>
          <p:cNvPr id="28" name="Oval 27"/>
          <p:cNvSpPr/>
          <p:nvPr/>
        </p:nvSpPr>
        <p:spPr>
          <a:xfrm>
            <a:off x="6156176" y="3933056"/>
            <a:ext cx="720080" cy="792088"/>
          </a:xfrm>
          <a:prstGeom prst="ellipse">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9" name="TextBox 28"/>
          <p:cNvSpPr txBox="1"/>
          <p:nvPr/>
        </p:nvSpPr>
        <p:spPr>
          <a:xfrm>
            <a:off x="6156176" y="4149080"/>
            <a:ext cx="792088" cy="369332"/>
          </a:xfrm>
          <a:prstGeom prst="rect">
            <a:avLst/>
          </a:prstGeom>
          <a:noFill/>
        </p:spPr>
        <p:txBody>
          <a:bodyPr wrap="square" rtlCol="0">
            <a:spAutoFit/>
          </a:bodyPr>
          <a:lstStyle/>
          <a:p>
            <a:pPr algn="ctr"/>
            <a:r>
              <a:rPr lang="en-US" b="1" dirty="0" smtClean="0">
                <a:solidFill>
                  <a:schemeClr val="bg1">
                    <a:lumMod val="95000"/>
                  </a:schemeClr>
                </a:solidFill>
              </a:rPr>
              <a:t>HBO</a:t>
            </a:r>
            <a:endParaRPr lang="en-US" b="1" dirty="0">
              <a:solidFill>
                <a:schemeClr val="bg1">
                  <a:lumMod val="95000"/>
                </a:schemeClr>
              </a:solidFill>
            </a:endParaRPr>
          </a:p>
        </p:txBody>
      </p:sp>
      <p:sp>
        <p:nvSpPr>
          <p:cNvPr id="30" name="Oval 29"/>
          <p:cNvSpPr/>
          <p:nvPr/>
        </p:nvSpPr>
        <p:spPr>
          <a:xfrm>
            <a:off x="7452320" y="3933056"/>
            <a:ext cx="720080" cy="792088"/>
          </a:xfrm>
          <a:prstGeom prst="ellipse">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TextBox 30"/>
          <p:cNvSpPr txBox="1"/>
          <p:nvPr/>
        </p:nvSpPr>
        <p:spPr>
          <a:xfrm>
            <a:off x="7452320" y="4149080"/>
            <a:ext cx="792088" cy="369332"/>
          </a:xfrm>
          <a:prstGeom prst="rect">
            <a:avLst/>
          </a:prstGeom>
          <a:noFill/>
        </p:spPr>
        <p:txBody>
          <a:bodyPr wrap="square" rtlCol="0">
            <a:spAutoFit/>
          </a:bodyPr>
          <a:lstStyle/>
          <a:p>
            <a:pPr algn="ctr"/>
            <a:r>
              <a:rPr lang="en-US" b="1" dirty="0" smtClean="0">
                <a:solidFill>
                  <a:schemeClr val="bg1">
                    <a:lumMod val="95000"/>
                  </a:schemeClr>
                </a:solidFill>
              </a:rPr>
              <a:t>EGP</a:t>
            </a:r>
            <a:endParaRPr lang="en-US" b="1" dirty="0">
              <a:solidFill>
                <a:schemeClr val="bg1">
                  <a:lumMod val="95000"/>
                </a:schemeClr>
              </a:solidFill>
            </a:endParaRPr>
          </a:p>
        </p:txBody>
      </p:sp>
      <p:sp>
        <p:nvSpPr>
          <p:cNvPr id="32" name="Oval 31"/>
          <p:cNvSpPr/>
          <p:nvPr/>
        </p:nvSpPr>
        <p:spPr>
          <a:xfrm>
            <a:off x="5436096" y="4797152"/>
            <a:ext cx="3312368" cy="864096"/>
          </a:xfrm>
          <a:prstGeom prst="ellipse">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3" name="TextBox 32"/>
          <p:cNvSpPr txBox="1"/>
          <p:nvPr/>
        </p:nvSpPr>
        <p:spPr>
          <a:xfrm>
            <a:off x="5652120" y="4941168"/>
            <a:ext cx="3024336" cy="584775"/>
          </a:xfrm>
          <a:prstGeom prst="rect">
            <a:avLst/>
          </a:prstGeom>
          <a:noFill/>
        </p:spPr>
        <p:txBody>
          <a:bodyPr wrap="square" rtlCol="0">
            <a:spAutoFit/>
          </a:bodyPr>
          <a:lstStyle/>
          <a:p>
            <a:pPr algn="ctr"/>
            <a:r>
              <a:rPr lang="en-US" sz="1600" b="1" dirty="0" smtClean="0">
                <a:solidFill>
                  <a:schemeClr val="bg1">
                    <a:lumMod val="95000"/>
                  </a:schemeClr>
                </a:solidFill>
              </a:rPr>
              <a:t>Industry Prototyping Center </a:t>
            </a:r>
          </a:p>
          <a:p>
            <a:pPr algn="ctr"/>
            <a:r>
              <a:rPr lang="en-US" sz="1600" b="1" dirty="0" smtClean="0">
                <a:solidFill>
                  <a:schemeClr val="bg1">
                    <a:lumMod val="95000"/>
                  </a:schemeClr>
                </a:solidFill>
              </a:rPr>
              <a:t>Prototype Design Center</a:t>
            </a:r>
            <a:endParaRPr lang="en-US" sz="1600" b="1" dirty="0">
              <a:solidFill>
                <a:schemeClr val="bg1">
                  <a:lumMod val="95000"/>
                </a:schemeClr>
              </a:solidFill>
            </a:endParaRPr>
          </a:p>
        </p:txBody>
      </p:sp>
      <p:sp>
        <p:nvSpPr>
          <p:cNvPr id="34" name="Oval 33"/>
          <p:cNvSpPr/>
          <p:nvPr/>
        </p:nvSpPr>
        <p:spPr>
          <a:xfrm>
            <a:off x="6444208" y="5805264"/>
            <a:ext cx="1440160" cy="741682"/>
          </a:xfrm>
          <a:prstGeom prst="ellipse">
            <a:avLst/>
          </a:prstGeom>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TextBox 34"/>
          <p:cNvSpPr txBox="1"/>
          <p:nvPr/>
        </p:nvSpPr>
        <p:spPr>
          <a:xfrm>
            <a:off x="6516216" y="5949280"/>
            <a:ext cx="1296144" cy="461665"/>
          </a:xfrm>
          <a:prstGeom prst="rect">
            <a:avLst/>
          </a:prstGeom>
          <a:noFill/>
        </p:spPr>
        <p:txBody>
          <a:bodyPr wrap="square" rtlCol="0">
            <a:spAutoFit/>
          </a:bodyPr>
          <a:lstStyle/>
          <a:p>
            <a:pPr algn="ctr"/>
            <a:r>
              <a:rPr lang="en-US" sz="2400" b="1" dirty="0" err="1" smtClean="0">
                <a:solidFill>
                  <a:schemeClr val="bg1">
                    <a:lumMod val="95000"/>
                  </a:schemeClr>
                </a:solidFill>
              </a:rPr>
              <a:t>EgPO</a:t>
            </a:r>
            <a:endParaRPr lang="en-US" sz="2400" b="1" dirty="0">
              <a:solidFill>
                <a:schemeClr val="bg1">
                  <a:lumMod val="95000"/>
                </a:schemeClr>
              </a:solidFill>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5778" name="Picture 2" descr="G:\toktok\flyer-front-small.tif"/>
          <p:cNvPicPr>
            <a:picLocks noChangeAspect="1" noChangeArrowheads="1"/>
          </p:cNvPicPr>
          <p:nvPr/>
        </p:nvPicPr>
        <p:blipFill>
          <a:blip r:embed="rId2" cstate="print"/>
          <a:srcRect/>
          <a:stretch>
            <a:fillRect/>
          </a:stretch>
        </p:blipFill>
        <p:spPr bwMode="auto">
          <a:xfrm flipH="1">
            <a:off x="4535488" y="3962400"/>
            <a:ext cx="4608512" cy="2895600"/>
          </a:xfrm>
          <a:prstGeom prst="rect">
            <a:avLst/>
          </a:prstGeom>
          <a:noFill/>
        </p:spPr>
      </p:pic>
      <p:sp>
        <p:nvSpPr>
          <p:cNvPr id="5122" name="Subtitle 1"/>
          <p:cNvSpPr>
            <a:spLocks noGrp="1"/>
          </p:cNvSpPr>
          <p:nvPr>
            <p:ph type="subTitle" idx="4294967295"/>
          </p:nvPr>
        </p:nvSpPr>
        <p:spPr>
          <a:xfrm>
            <a:off x="-252536" y="5301208"/>
            <a:ext cx="5637213" cy="881063"/>
          </a:xfrm>
        </p:spPr>
        <p:txBody>
          <a:bodyPr/>
          <a:lstStyle/>
          <a:p>
            <a:pPr algn="ctr" rtl="0">
              <a:buNone/>
            </a:pPr>
            <a:r>
              <a:rPr lang="en-US" b="1" dirty="0" smtClean="0"/>
              <a:t>Grassroots Innovation </a:t>
            </a:r>
          </a:p>
          <a:p>
            <a:pPr algn="ctr" rtl="0">
              <a:buNone/>
            </a:pPr>
            <a:r>
              <a:rPr lang="en-US" b="1" dirty="0" smtClean="0"/>
              <a:t>of Community </a:t>
            </a:r>
          </a:p>
          <a:p>
            <a:pPr algn="ctr" rtl="0">
              <a:buNone/>
            </a:pPr>
            <a:r>
              <a:rPr lang="en-US" b="1" dirty="0" smtClean="0"/>
              <a:t>(</a:t>
            </a:r>
            <a:r>
              <a:rPr lang="en-US" b="1" dirty="0" smtClean="0">
                <a:solidFill>
                  <a:srgbClr val="FF0000"/>
                </a:solidFill>
              </a:rPr>
              <a:t>TOK </a:t>
            </a:r>
            <a:r>
              <a:rPr lang="en-US" b="1" dirty="0" err="1" smtClean="0">
                <a:solidFill>
                  <a:srgbClr val="FF0000"/>
                </a:solidFill>
              </a:rPr>
              <a:t>TOK</a:t>
            </a:r>
            <a:r>
              <a:rPr lang="en-US" b="1" dirty="0" smtClean="0"/>
              <a:t>)</a:t>
            </a:r>
          </a:p>
        </p:txBody>
      </p:sp>
      <p:grpSp>
        <p:nvGrpSpPr>
          <p:cNvPr id="2" name="Group 7"/>
          <p:cNvGrpSpPr>
            <a:grpSpLocks/>
          </p:cNvGrpSpPr>
          <p:nvPr/>
        </p:nvGrpSpPr>
        <p:grpSpPr bwMode="auto">
          <a:xfrm>
            <a:off x="114300" y="382588"/>
            <a:ext cx="3259138" cy="4887912"/>
            <a:chOff x="114588" y="381928"/>
            <a:chExt cx="3259122" cy="4888682"/>
          </a:xfrm>
        </p:grpSpPr>
        <p:pic>
          <p:nvPicPr>
            <p:cNvPr id="4" name="Picture 3" descr="www.copts-letter.com--be2b86ff9c.jpg"/>
            <p:cNvPicPr>
              <a:picLocks noChangeAspect="1"/>
            </p:cNvPicPr>
            <p:nvPr/>
          </p:nvPicPr>
          <p:blipFill>
            <a:blip r:embed="rId3" cstate="print">
              <a:extLst/>
            </a:blip>
            <a:stretch>
              <a:fillRect/>
            </a:stretch>
          </p:blipFill>
          <p:spPr>
            <a:xfrm>
              <a:off x="114588" y="381928"/>
              <a:ext cx="3259122" cy="2444341"/>
            </a:xfrm>
            <a:prstGeom prst="rect">
              <a:avLst/>
            </a:prstGeom>
            <a:ln>
              <a:noFill/>
            </a:ln>
            <a:effectLst>
              <a:softEdge rad="112500"/>
            </a:effectLst>
          </p:spPr>
        </p:pic>
        <p:pic>
          <p:nvPicPr>
            <p:cNvPr id="5" name="Picture 4" descr="rickshaw_stand_lazzari.jpg"/>
            <p:cNvPicPr>
              <a:picLocks noChangeAspect="1"/>
            </p:cNvPicPr>
            <p:nvPr/>
          </p:nvPicPr>
          <p:blipFill>
            <a:blip r:embed="rId4" cstate="print">
              <a:extLst/>
            </a:blip>
            <a:stretch>
              <a:fillRect/>
            </a:stretch>
          </p:blipFill>
          <p:spPr>
            <a:xfrm>
              <a:off x="114590" y="2826269"/>
              <a:ext cx="3259120" cy="2444341"/>
            </a:xfrm>
            <a:prstGeom prst="rect">
              <a:avLst/>
            </a:prstGeom>
            <a:ln>
              <a:noFill/>
            </a:ln>
            <a:effectLst>
              <a:softEdge rad="112500"/>
            </a:effectLst>
          </p:spPr>
        </p:pic>
      </p:grpSp>
      <p:pic>
        <p:nvPicPr>
          <p:cNvPr id="6" name="Picture 5" descr="preview_html_62a4bfb2.jpg"/>
          <p:cNvPicPr>
            <a:picLocks noChangeAspect="1"/>
          </p:cNvPicPr>
          <p:nvPr/>
        </p:nvPicPr>
        <p:blipFill>
          <a:blip r:embed="rId5" cstate="print">
            <a:extLst/>
          </a:blip>
          <a:stretch>
            <a:fillRect/>
          </a:stretch>
        </p:blipFill>
        <p:spPr>
          <a:xfrm>
            <a:off x="3491880" y="332656"/>
            <a:ext cx="5256584" cy="3551792"/>
          </a:xfrm>
          <a:prstGeom prst="rect">
            <a:avLst/>
          </a:prstGeom>
          <a:ln>
            <a:noFill/>
          </a:ln>
          <a:effectLst>
            <a:softEdge rad="112500"/>
          </a:effectLst>
        </p:spPr>
      </p:pic>
      <p:pic>
        <p:nvPicPr>
          <p:cNvPr id="75779" name="Picture 3" descr="\\195.43.2.40\Dr Maged Sharing\STCE 2013\Help Files\photo\087fbe828c.gif"/>
          <p:cNvPicPr>
            <a:picLocks noChangeAspect="1" noChangeArrowheads="1"/>
          </p:cNvPicPr>
          <p:nvPr/>
        </p:nvPicPr>
        <p:blipFill>
          <a:blip r:embed="rId6" cstate="print"/>
          <a:srcRect/>
          <a:stretch>
            <a:fillRect/>
          </a:stretch>
        </p:blipFill>
        <p:spPr bwMode="auto">
          <a:xfrm>
            <a:off x="3491880" y="4149080"/>
            <a:ext cx="1221954" cy="864096"/>
          </a:xfrm>
          <a:prstGeom prst="rect">
            <a:avLst/>
          </a:prstGeom>
          <a:noFill/>
        </p:spPr>
      </p:pic>
      <p:pic>
        <p:nvPicPr>
          <p:cNvPr id="75780" name="Picture 4" descr="\\195.43.2.40\Dr Maged Sharing\STCE 2013\Help Files\photo\Aoi_logo.jpg"/>
          <p:cNvPicPr>
            <a:picLocks noChangeAspect="1" noChangeArrowheads="1"/>
          </p:cNvPicPr>
          <p:nvPr/>
        </p:nvPicPr>
        <p:blipFill>
          <a:blip r:embed="rId7" cstate="print"/>
          <a:srcRect/>
          <a:stretch>
            <a:fillRect/>
          </a:stretch>
        </p:blipFill>
        <p:spPr bwMode="auto">
          <a:xfrm>
            <a:off x="4644008" y="4005064"/>
            <a:ext cx="809544" cy="1008112"/>
          </a:xfrm>
          <a:prstGeom prst="rect">
            <a:avLst/>
          </a:prstGeom>
          <a:noFill/>
        </p:spPr>
      </p:pic>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765175"/>
            <a:ext cx="9144000" cy="1079500"/>
          </a:xfrm>
        </p:spPr>
        <p:txBody>
          <a:bodyPr/>
          <a:lstStyle/>
          <a:p>
            <a:pPr algn="ctr"/>
            <a:r>
              <a:rPr lang="en-US" sz="3600" b="1" kern="1200" dirty="0" smtClean="0">
                <a:solidFill>
                  <a:schemeClr val="accent1"/>
                </a:solidFill>
                <a:effectLst>
                  <a:outerShdw blurRad="38100" dist="38100" dir="2700000" algn="tl">
                    <a:srgbClr val="000000">
                      <a:alpha val="43137"/>
                    </a:srgbClr>
                  </a:outerShdw>
                </a:effectLst>
                <a:latin typeface="Arial" pitchFamily="34" charset="0"/>
                <a:cs typeface="Arial" pitchFamily="34" charset="0"/>
              </a:rPr>
              <a:t>Community “Grassroots” Innovation </a:t>
            </a:r>
            <a:r>
              <a:rPr lang="en-US" sz="3600" b="1" kern="1200" dirty="0" smtClean="0">
                <a:solidFill>
                  <a:schemeClr val="tx1"/>
                </a:solidFill>
                <a:effectLst>
                  <a:outerShdw blurRad="38100" dist="38100" dir="2700000" algn="tl">
                    <a:srgbClr val="000000">
                      <a:alpha val="43137"/>
                    </a:srgbClr>
                  </a:outerShdw>
                </a:effectLst>
                <a:latin typeface="Arial" pitchFamily="34" charset="0"/>
                <a:cs typeface="Arial" pitchFamily="34" charset="0"/>
              </a:rPr>
              <a:t>TOKTOK </a:t>
            </a:r>
            <a:r>
              <a:rPr lang="en-US" sz="3600" b="1" kern="1200" dirty="0" smtClean="0">
                <a:solidFill>
                  <a:schemeClr val="accent1"/>
                </a:solidFill>
                <a:effectLst>
                  <a:outerShdw blurRad="38100" dist="38100" dir="2700000" algn="tl">
                    <a:srgbClr val="000000">
                      <a:alpha val="43137"/>
                    </a:srgbClr>
                  </a:outerShdw>
                </a:effectLst>
                <a:latin typeface="Arial" pitchFamily="34" charset="0"/>
                <a:cs typeface="Arial" pitchFamily="34" charset="0"/>
              </a:rPr>
              <a:t/>
            </a:r>
            <a:br>
              <a:rPr lang="en-US" sz="3600" b="1" kern="1200" dirty="0" smtClean="0">
                <a:solidFill>
                  <a:schemeClr val="accent1"/>
                </a:solidFill>
                <a:effectLst>
                  <a:outerShdw blurRad="38100" dist="38100" dir="2700000" algn="tl">
                    <a:srgbClr val="000000">
                      <a:alpha val="43137"/>
                    </a:srgbClr>
                  </a:outerShdw>
                </a:effectLst>
                <a:latin typeface="Arial" pitchFamily="34" charset="0"/>
                <a:cs typeface="Arial" pitchFamily="34" charset="0"/>
              </a:rPr>
            </a:br>
            <a:endParaRPr lang="en-US" sz="3600" b="1" kern="1200" dirty="0">
              <a:solidFill>
                <a:schemeClr val="accent1"/>
              </a:solidFill>
              <a:effectLst>
                <a:outerShdw blurRad="38100" dist="38100" dir="2700000" algn="tl">
                  <a:srgbClr val="000000">
                    <a:alpha val="43137"/>
                  </a:srgbClr>
                </a:outerShdw>
              </a:effectLst>
              <a:latin typeface="Arial" pitchFamily="34" charset="0"/>
              <a:cs typeface="Arial" pitchFamily="34" charset="0"/>
            </a:endParaRPr>
          </a:p>
        </p:txBody>
      </p:sp>
      <p:sp>
        <p:nvSpPr>
          <p:cNvPr id="3" name="Content Placeholder 2"/>
          <p:cNvSpPr>
            <a:spLocks noGrp="1"/>
          </p:cNvSpPr>
          <p:nvPr>
            <p:ph idx="4294967295"/>
          </p:nvPr>
        </p:nvSpPr>
        <p:spPr>
          <a:xfrm>
            <a:off x="0" y="1268413"/>
            <a:ext cx="8891588" cy="5518150"/>
          </a:xfrm>
        </p:spPr>
        <p:txBody>
          <a:bodyPr/>
          <a:lstStyle/>
          <a:p>
            <a:pPr lvl="0" algn="l" rtl="0">
              <a:lnSpc>
                <a:spcPct val="150000"/>
              </a:lnSpc>
            </a:pPr>
            <a:r>
              <a:rPr lang="en-US" sz="2000" dirty="0" smtClean="0">
                <a:latin typeface="Arial" pitchFamily="34" charset="0"/>
                <a:cs typeface="Arial" pitchFamily="34" charset="0"/>
              </a:rPr>
              <a:t>To economically </a:t>
            </a:r>
            <a:r>
              <a:rPr lang="en-US" sz="2000" b="1" dirty="0" smtClean="0">
                <a:solidFill>
                  <a:srgbClr val="FF0000"/>
                </a:solidFill>
                <a:latin typeface="Arial" pitchFamily="34" charset="0"/>
                <a:cs typeface="Arial" pitchFamily="34" charset="0"/>
              </a:rPr>
              <a:t>develop micro and small enterprises (MSEs)</a:t>
            </a:r>
            <a:r>
              <a:rPr lang="en-US" sz="2000" dirty="0" smtClean="0">
                <a:latin typeface="Arial" pitchFamily="34" charset="0"/>
                <a:cs typeface="Arial" pitchFamily="34" charset="0"/>
              </a:rPr>
              <a:t> through scientific research and innovation.</a:t>
            </a:r>
          </a:p>
          <a:p>
            <a:pPr lvl="0" algn="l" rtl="0">
              <a:lnSpc>
                <a:spcPct val="150000"/>
              </a:lnSpc>
            </a:pPr>
            <a:r>
              <a:rPr lang="en-US" sz="2000" dirty="0" smtClean="0">
                <a:latin typeface="Arial" pitchFamily="34" charset="0"/>
                <a:cs typeface="Arial" pitchFamily="34" charset="0"/>
              </a:rPr>
              <a:t>To unleash the creativity and innovation of the </a:t>
            </a:r>
            <a:r>
              <a:rPr lang="en-US" sz="2000" b="1" dirty="0" smtClean="0">
                <a:solidFill>
                  <a:srgbClr val="002060"/>
                </a:solidFill>
                <a:latin typeface="Arial" pitchFamily="34" charset="0"/>
                <a:cs typeface="Arial" pitchFamily="34" charset="0"/>
              </a:rPr>
              <a:t>Egyptian youth </a:t>
            </a:r>
            <a:r>
              <a:rPr lang="en-US" sz="2000" dirty="0" smtClean="0">
                <a:latin typeface="Arial" pitchFamily="34" charset="0"/>
                <a:cs typeface="Arial" pitchFamily="34" charset="0"/>
              </a:rPr>
              <a:t>in order to improve the quality, productivity and competitiveness of Egyptian products.</a:t>
            </a:r>
          </a:p>
          <a:p>
            <a:pPr lvl="0" algn="l" rtl="0">
              <a:lnSpc>
                <a:spcPct val="150000"/>
              </a:lnSpc>
            </a:pPr>
            <a:r>
              <a:rPr lang="en-US" sz="2000" dirty="0" smtClean="0">
                <a:latin typeface="Arial" pitchFamily="34" charset="0"/>
                <a:cs typeface="Arial" pitchFamily="34" charset="0"/>
              </a:rPr>
              <a:t>To </a:t>
            </a:r>
            <a:r>
              <a:rPr lang="en-US" sz="2000" b="1" dirty="0" smtClean="0">
                <a:solidFill>
                  <a:srgbClr val="FF0000"/>
                </a:solidFill>
                <a:latin typeface="Arial" pitchFamily="34" charset="0"/>
                <a:cs typeface="Arial" pitchFamily="34" charset="0"/>
              </a:rPr>
              <a:t>bridge the gaps </a:t>
            </a:r>
            <a:r>
              <a:rPr lang="en-US" sz="2000" dirty="0" smtClean="0">
                <a:latin typeface="Arial" pitchFamily="34" charset="0"/>
                <a:cs typeface="Arial" pitchFamily="34" charset="0"/>
              </a:rPr>
              <a:t>between the challenges faced by the MSEs and the innovative ideas and skills of potential problem solvers through open-innovation tools.</a:t>
            </a:r>
          </a:p>
          <a:p>
            <a:pPr lvl="0" algn="l" rtl="0">
              <a:lnSpc>
                <a:spcPct val="150000"/>
              </a:lnSpc>
            </a:pPr>
            <a:r>
              <a:rPr lang="en-US" sz="2000" dirty="0" smtClean="0">
                <a:latin typeface="Arial" pitchFamily="34" charset="0"/>
                <a:cs typeface="Arial" pitchFamily="34" charset="0"/>
              </a:rPr>
              <a:t>To </a:t>
            </a:r>
            <a:r>
              <a:rPr lang="en-US" sz="2000" b="1" dirty="0" smtClean="0">
                <a:solidFill>
                  <a:srgbClr val="002060"/>
                </a:solidFill>
                <a:latin typeface="Arial" pitchFamily="34" charset="0"/>
                <a:cs typeface="Arial" pitchFamily="34" charset="0"/>
              </a:rPr>
              <a:t>provide channels for MSEs </a:t>
            </a:r>
            <a:r>
              <a:rPr lang="en-US" sz="2000" dirty="0" smtClean="0">
                <a:latin typeface="Arial" pitchFamily="34" charset="0"/>
                <a:cs typeface="Arial" pitchFamily="34" charset="0"/>
              </a:rPr>
              <a:t>solve the challenges they are facing with the support of the Egyptian universities and Research Centers.</a:t>
            </a:r>
          </a:p>
          <a:p>
            <a:pPr lvl="0" algn="l" rtl="0">
              <a:lnSpc>
                <a:spcPct val="150000"/>
              </a:lnSpc>
            </a:pPr>
            <a:r>
              <a:rPr lang="en-US" sz="2000" dirty="0" smtClean="0">
                <a:latin typeface="Arial" pitchFamily="34" charset="0"/>
                <a:cs typeface="Arial" pitchFamily="34" charset="0"/>
              </a:rPr>
              <a:t>To </a:t>
            </a:r>
            <a:r>
              <a:rPr lang="en-US" sz="2000" b="1" dirty="0" smtClean="0">
                <a:solidFill>
                  <a:srgbClr val="FF0000"/>
                </a:solidFill>
                <a:latin typeface="Arial" pitchFamily="34" charset="0"/>
                <a:cs typeface="Arial" pitchFamily="34" charset="0"/>
              </a:rPr>
              <a:t>support innovators </a:t>
            </a:r>
            <a:r>
              <a:rPr lang="en-US" sz="2000" dirty="0" smtClean="0">
                <a:latin typeface="Arial" pitchFamily="34" charset="0"/>
                <a:cs typeface="Arial" pitchFamily="34" charset="0"/>
              </a:rPr>
              <a:t>to bring their prototype or idea to the market and transform it to a concrete product through crowd-funding.</a:t>
            </a:r>
          </a:p>
          <a:p>
            <a:endParaRPr lang="en-US" dirty="0"/>
          </a:p>
        </p:txBody>
      </p:sp>
      <p:cxnSp>
        <p:nvCxnSpPr>
          <p:cNvPr id="5" name="Straight Connector 4"/>
          <p:cNvCxnSpPr>
            <a:endCxn id="2" idx="3"/>
          </p:cNvCxnSpPr>
          <p:nvPr/>
        </p:nvCxnSpPr>
        <p:spPr>
          <a:xfrm flipV="1">
            <a:off x="0" y="1219200"/>
            <a:ext cx="9171709" cy="49560"/>
          </a:xfrm>
          <a:prstGeom prst="line">
            <a:avLst/>
          </a:prstGeom>
          <a:ln w="57150"/>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nip Same Side Corner Rectangle 4"/>
          <p:cNvSpPr/>
          <p:nvPr/>
        </p:nvSpPr>
        <p:spPr>
          <a:xfrm>
            <a:off x="0" y="0"/>
            <a:ext cx="9144000" cy="953344"/>
          </a:xfrm>
          <a:prstGeom prst="snip2SameRect">
            <a:avLst/>
          </a:prstGeom>
          <a:gradFill flip="none" rotWithShape="1">
            <a:gsLst>
              <a:gs pos="0">
                <a:schemeClr val="accent1">
                  <a:shade val="30000"/>
                  <a:satMod val="115000"/>
                </a:schemeClr>
              </a:gs>
              <a:gs pos="50000">
                <a:schemeClr val="accent1">
                  <a:shade val="67500"/>
                  <a:satMod val="115000"/>
                </a:schemeClr>
              </a:gs>
              <a:gs pos="100000">
                <a:schemeClr val="accent1">
                  <a:shade val="100000"/>
                  <a:satMod val="115000"/>
                </a:schemeClr>
              </a:gs>
            </a:gsLst>
            <a:lin ang="18900000" scaled="1"/>
            <a:tileRect/>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idx="4294967295"/>
          </p:nvPr>
        </p:nvSpPr>
        <p:spPr>
          <a:xfrm>
            <a:off x="0" y="836712"/>
            <a:ext cx="9144000" cy="635000"/>
          </a:xfrm>
        </p:spPr>
        <p:txBody>
          <a:bodyPr/>
          <a:lstStyle/>
          <a:p>
            <a:pPr algn="ctr"/>
            <a:r>
              <a:rPr lang="en-US" sz="3600" b="1" dirty="0" smtClean="0">
                <a:solidFill>
                  <a:schemeClr val="bg1"/>
                </a:solidFill>
                <a:latin typeface="Arial" pitchFamily="34" charset="0"/>
                <a:cs typeface="Arial" pitchFamily="34" charset="0"/>
              </a:rPr>
              <a:t>Provided Services </a:t>
            </a:r>
            <a:r>
              <a:rPr lang="en-US" dirty="0" smtClean="0">
                <a:solidFill>
                  <a:schemeClr val="bg1"/>
                </a:solidFill>
              </a:rPr>
              <a:t/>
            </a:r>
            <a:br>
              <a:rPr lang="en-US" dirty="0" smtClean="0">
                <a:solidFill>
                  <a:schemeClr val="bg1"/>
                </a:solidFill>
              </a:rPr>
            </a:br>
            <a:endParaRPr lang="en-US" dirty="0">
              <a:solidFill>
                <a:schemeClr val="bg1"/>
              </a:solidFill>
            </a:endParaRPr>
          </a:p>
        </p:txBody>
      </p:sp>
      <p:sp>
        <p:nvSpPr>
          <p:cNvPr id="3" name="Content Placeholder 2"/>
          <p:cNvSpPr>
            <a:spLocks noGrp="1"/>
          </p:cNvSpPr>
          <p:nvPr>
            <p:ph idx="4294967295"/>
          </p:nvPr>
        </p:nvSpPr>
        <p:spPr>
          <a:xfrm>
            <a:off x="107504" y="980728"/>
            <a:ext cx="8820472" cy="4525963"/>
          </a:xfrm>
        </p:spPr>
        <p:txBody>
          <a:bodyPr/>
          <a:lstStyle/>
          <a:p>
            <a:pPr algn="just" rtl="0">
              <a:lnSpc>
                <a:spcPct val="200000"/>
              </a:lnSpc>
              <a:buFont typeface="Wingdings" pitchFamily="2" charset="2"/>
              <a:buChar char="v"/>
            </a:pPr>
            <a:r>
              <a:rPr lang="en-US" sz="2000" b="1" dirty="0" smtClean="0">
                <a:solidFill>
                  <a:srgbClr val="002060"/>
                </a:solidFill>
                <a:latin typeface="Arial" pitchFamily="34" charset="0"/>
                <a:cs typeface="Arial" pitchFamily="34" charset="0"/>
              </a:rPr>
              <a:t>Open-innovation platform </a:t>
            </a:r>
            <a:r>
              <a:rPr lang="en-US" sz="2000" b="1" dirty="0" smtClean="0">
                <a:latin typeface="Arial" pitchFamily="34" charset="0"/>
                <a:cs typeface="Arial" pitchFamily="34" charset="0"/>
              </a:rPr>
              <a:t>for MSEs or NGOs working with MSEs to post the challenges they face.</a:t>
            </a:r>
          </a:p>
          <a:p>
            <a:pPr algn="just" rtl="0">
              <a:lnSpc>
                <a:spcPct val="200000"/>
              </a:lnSpc>
              <a:buFont typeface="Wingdings" pitchFamily="2" charset="2"/>
              <a:buChar char="v"/>
            </a:pPr>
            <a:r>
              <a:rPr lang="en-US" sz="2000" b="1" dirty="0" smtClean="0">
                <a:latin typeface="Arial" pitchFamily="34" charset="0"/>
                <a:cs typeface="Arial" pitchFamily="34" charset="0"/>
              </a:rPr>
              <a:t>These challenges can vary from product development (innovative design or utilization of a </a:t>
            </a:r>
            <a:r>
              <a:rPr lang="en-US" sz="2000" b="1" dirty="0" smtClean="0">
                <a:solidFill>
                  <a:srgbClr val="FF0000"/>
                </a:solidFill>
                <a:latin typeface="Arial" pitchFamily="34" charset="0"/>
                <a:cs typeface="Arial" pitchFamily="34" charset="0"/>
              </a:rPr>
              <a:t>handicraft product </a:t>
            </a:r>
            <a:r>
              <a:rPr lang="en-US" sz="2000" b="1" dirty="0" smtClean="0">
                <a:latin typeface="Arial" pitchFamily="34" charset="0"/>
                <a:cs typeface="Arial" pitchFamily="34" charset="0"/>
              </a:rPr>
              <a:t>with a diminishing marketability), production process optimization (e.g. designing new machine that is compatible to the size of the local workshops), usage of alternative raw material, etc.</a:t>
            </a:r>
          </a:p>
          <a:p>
            <a:pPr algn="just" rtl="0">
              <a:lnSpc>
                <a:spcPct val="200000"/>
              </a:lnSpc>
              <a:buFont typeface="Wingdings" pitchFamily="2" charset="2"/>
              <a:buChar char="v"/>
            </a:pPr>
            <a:r>
              <a:rPr lang="en-US" sz="2000" b="1" dirty="0" smtClean="0">
                <a:latin typeface="Arial" pitchFamily="34" charset="0"/>
                <a:cs typeface="Arial" pitchFamily="34" charset="0"/>
              </a:rPr>
              <a:t>Provide </a:t>
            </a:r>
            <a:r>
              <a:rPr lang="en-US" sz="2000" b="1" dirty="0" smtClean="0">
                <a:solidFill>
                  <a:srgbClr val="002060"/>
                </a:solidFill>
                <a:latin typeface="Arial" pitchFamily="34" charset="0"/>
                <a:cs typeface="Arial" pitchFamily="34" charset="0"/>
              </a:rPr>
              <a:t>creative solutions </a:t>
            </a:r>
            <a:r>
              <a:rPr lang="en-US" sz="2000" b="1" dirty="0" smtClean="0">
                <a:latin typeface="Arial" pitchFamily="34" charset="0"/>
                <a:cs typeface="Arial" pitchFamily="34" charset="0"/>
              </a:rPr>
              <a:t>by the wisdom of the crowd through Crowd-funding for new innovative product.</a:t>
            </a:r>
          </a:p>
          <a:p>
            <a:pPr algn="just"/>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sp>
        <p:nvSpPr>
          <p:cNvPr id="11267" name="Footer Placeholder 4"/>
          <p:cNvSpPr>
            <a:spLocks noGrp="1"/>
          </p:cNvSpPr>
          <p:nvPr>
            <p:ph type="ftr" sz="quarter" idx="11"/>
          </p:nvPr>
        </p:nvSpPr>
        <p:spPr>
          <a:noFill/>
        </p:spPr>
        <p:txBody>
          <a:bodyPr/>
          <a:lstStyle/>
          <a:p>
            <a:r>
              <a:rPr lang="en-US" smtClean="0"/>
              <a:t>Towards Science, Technology and Innovation</a:t>
            </a:r>
          </a:p>
        </p:txBody>
      </p:sp>
      <p:sp>
        <p:nvSpPr>
          <p:cNvPr id="11268" name="Date Placeholder 5"/>
          <p:cNvSpPr>
            <a:spLocks noGrp="1"/>
          </p:cNvSpPr>
          <p:nvPr>
            <p:ph type="dt" sz="quarter" idx="12"/>
          </p:nvPr>
        </p:nvSpPr>
        <p:spPr>
          <a:noFill/>
        </p:spPr>
        <p:txBody>
          <a:bodyPr/>
          <a:lstStyle/>
          <a:p>
            <a:fld id="{8DC7D560-4DE4-424D-B9AF-E3D018CC1827}" type="datetime1">
              <a:rPr lang="en-US" smtClean="0"/>
              <a:pPr/>
              <a:t>5/6/2013</a:t>
            </a:fld>
            <a:endParaRPr lang="en-US" smtClean="0"/>
          </a:p>
        </p:txBody>
      </p:sp>
      <p:sp>
        <p:nvSpPr>
          <p:cNvPr id="11269" name="Rectangle 2"/>
          <p:cNvSpPr>
            <a:spLocks noGrp="1" noChangeArrowheads="1"/>
          </p:cNvSpPr>
          <p:nvPr>
            <p:ph type="title"/>
          </p:nvPr>
        </p:nvSpPr>
        <p:spPr bwMode="auto">
          <a:xfrm>
            <a:off x="2087563" y="944563"/>
            <a:ext cx="4500562" cy="828675"/>
          </a:xfrm>
          <a:noFill/>
          <a:ln>
            <a:miter lim="800000"/>
            <a:headEnd/>
            <a:tailEnd/>
          </a:ln>
        </p:spPr>
        <p:txBody>
          <a:bodyPr vert="horz" wrap="square" lIns="91440" tIns="45720" rIns="91440" bIns="45720" numCol="1" anchor="t" anchorCtr="0" compatLnSpc="1">
            <a:prstTxWarp prst="textNoShape">
              <a:avLst/>
            </a:prstTxWarp>
          </a:bodyPr>
          <a:lstStyle/>
          <a:p>
            <a:pPr eaLnBrk="1" hangingPunct="1"/>
            <a:r>
              <a:rPr lang="en-US" sz="3600" b="1" smtClean="0">
                <a:solidFill>
                  <a:srgbClr val="FF0000"/>
                </a:solidFill>
              </a:rPr>
              <a:t>“4P’s” Concept</a:t>
            </a:r>
          </a:p>
        </p:txBody>
      </p:sp>
      <p:grpSp>
        <p:nvGrpSpPr>
          <p:cNvPr id="2" name="Group 3"/>
          <p:cNvGrpSpPr>
            <a:grpSpLocks/>
          </p:cNvGrpSpPr>
          <p:nvPr/>
        </p:nvGrpSpPr>
        <p:grpSpPr bwMode="auto">
          <a:xfrm>
            <a:off x="647700" y="2097088"/>
            <a:ext cx="8135938" cy="3779837"/>
            <a:chOff x="272" y="1321"/>
            <a:chExt cx="5125" cy="2381"/>
          </a:xfrm>
        </p:grpSpPr>
        <p:sp useBgFill="1">
          <p:nvSpPr>
            <p:cNvPr id="11271" name="Text Box 4"/>
            <p:cNvSpPr txBox="1">
              <a:spLocks noChangeArrowheads="1"/>
            </p:cNvSpPr>
            <p:nvPr/>
          </p:nvSpPr>
          <p:spPr bwMode="auto">
            <a:xfrm>
              <a:off x="3282" y="1330"/>
              <a:ext cx="895" cy="417"/>
            </a:xfrm>
            <a:prstGeom prst="rect">
              <a:avLst/>
            </a:prstGeom>
            <a:ln w="9525">
              <a:noFill/>
              <a:miter lim="800000"/>
              <a:headEnd/>
              <a:tailEnd/>
            </a:ln>
          </p:spPr>
          <p:txBody>
            <a:bodyPr/>
            <a:lstStyle/>
            <a:p>
              <a:pPr algn="r" rtl="1"/>
              <a:endParaRPr lang="en-US" sz="1800">
                <a:solidFill>
                  <a:schemeClr val="tx1"/>
                </a:solidFill>
              </a:endParaRPr>
            </a:p>
          </p:txBody>
        </p:sp>
        <p:grpSp>
          <p:nvGrpSpPr>
            <p:cNvPr id="3" name="Group 5"/>
            <p:cNvGrpSpPr>
              <a:grpSpLocks/>
            </p:cNvGrpSpPr>
            <p:nvPr/>
          </p:nvGrpSpPr>
          <p:grpSpPr bwMode="auto">
            <a:xfrm>
              <a:off x="923" y="1580"/>
              <a:ext cx="3254" cy="2113"/>
              <a:chOff x="923" y="1580"/>
              <a:chExt cx="3254" cy="2113"/>
            </a:xfrm>
          </p:grpSpPr>
          <p:pic>
            <p:nvPicPr>
              <p:cNvPr id="11285" name="Picture 6" descr="4Pmodified-3"/>
              <p:cNvPicPr>
                <a:picLocks noChangeAspect="1" noChangeArrowheads="1"/>
              </p:cNvPicPr>
              <p:nvPr/>
            </p:nvPicPr>
            <p:blipFill>
              <a:blip r:embed="rId3" cstate="print">
                <a:clrChange>
                  <a:clrFrom>
                    <a:srgbClr val="FFFFFF"/>
                  </a:clrFrom>
                  <a:clrTo>
                    <a:srgbClr val="FFFFFF">
                      <a:alpha val="0"/>
                    </a:srgbClr>
                  </a:clrTo>
                </a:clrChange>
              </a:blip>
              <a:srcRect l="14655" t="12149" r="19536" b="11816"/>
              <a:stretch>
                <a:fillRect/>
              </a:stretch>
            </p:blipFill>
            <p:spPr bwMode="auto">
              <a:xfrm>
                <a:off x="1086" y="1663"/>
                <a:ext cx="3010" cy="1798"/>
              </a:xfrm>
              <a:prstGeom prst="rect">
                <a:avLst/>
              </a:prstGeom>
              <a:noFill/>
              <a:ln w="9525">
                <a:noFill/>
                <a:miter lim="800000"/>
                <a:headEnd/>
                <a:tailEnd/>
              </a:ln>
            </p:spPr>
          </p:pic>
          <p:sp useBgFill="1">
            <p:nvSpPr>
              <p:cNvPr id="11286" name="Text Box 7"/>
              <p:cNvSpPr txBox="1">
                <a:spLocks noChangeArrowheads="1"/>
              </p:cNvSpPr>
              <p:nvPr/>
            </p:nvSpPr>
            <p:spPr bwMode="auto">
              <a:xfrm>
                <a:off x="935" y="1710"/>
                <a:ext cx="569" cy="417"/>
              </a:xfrm>
              <a:prstGeom prst="rect">
                <a:avLst/>
              </a:prstGeom>
              <a:ln w="9525">
                <a:noFill/>
                <a:miter lim="800000"/>
                <a:headEnd/>
                <a:tailEnd/>
              </a:ln>
            </p:spPr>
            <p:txBody>
              <a:bodyPr/>
              <a:lstStyle/>
              <a:p>
                <a:pPr algn="r" rtl="1"/>
                <a:endParaRPr lang="en-US" sz="1800">
                  <a:solidFill>
                    <a:schemeClr val="tx1"/>
                  </a:solidFill>
                </a:endParaRPr>
              </a:p>
            </p:txBody>
          </p:sp>
          <p:sp useBgFill="1">
            <p:nvSpPr>
              <p:cNvPr id="11287" name="Text Box 8"/>
              <p:cNvSpPr txBox="1">
                <a:spLocks noChangeArrowheads="1"/>
              </p:cNvSpPr>
              <p:nvPr/>
            </p:nvSpPr>
            <p:spPr bwMode="auto">
              <a:xfrm>
                <a:off x="923" y="2247"/>
                <a:ext cx="569" cy="417"/>
              </a:xfrm>
              <a:prstGeom prst="rect">
                <a:avLst/>
              </a:prstGeom>
              <a:ln w="9525">
                <a:noFill/>
                <a:miter lim="800000"/>
                <a:headEnd/>
                <a:tailEnd/>
              </a:ln>
            </p:spPr>
            <p:txBody>
              <a:bodyPr/>
              <a:lstStyle/>
              <a:p>
                <a:pPr algn="r" rtl="1"/>
                <a:endParaRPr lang="en-US" sz="1800">
                  <a:solidFill>
                    <a:schemeClr val="tx1"/>
                  </a:solidFill>
                </a:endParaRPr>
              </a:p>
            </p:txBody>
          </p:sp>
          <p:sp useBgFill="1">
            <p:nvSpPr>
              <p:cNvPr id="11288" name="Text Box 9"/>
              <p:cNvSpPr txBox="1">
                <a:spLocks noChangeArrowheads="1"/>
              </p:cNvSpPr>
              <p:nvPr/>
            </p:nvSpPr>
            <p:spPr bwMode="auto">
              <a:xfrm>
                <a:off x="1504" y="3369"/>
                <a:ext cx="1058" cy="250"/>
              </a:xfrm>
              <a:prstGeom prst="rect">
                <a:avLst/>
              </a:prstGeom>
              <a:ln w="9525">
                <a:noFill/>
                <a:miter lim="800000"/>
                <a:headEnd/>
                <a:tailEnd/>
              </a:ln>
            </p:spPr>
            <p:txBody>
              <a:bodyPr/>
              <a:lstStyle/>
              <a:p>
                <a:pPr algn="r" rtl="1"/>
                <a:endParaRPr lang="en-US" sz="1800">
                  <a:solidFill>
                    <a:schemeClr val="tx1"/>
                  </a:solidFill>
                </a:endParaRPr>
              </a:p>
            </p:txBody>
          </p:sp>
          <p:sp>
            <p:nvSpPr>
              <p:cNvPr id="11289" name="Text Box 10"/>
              <p:cNvSpPr txBox="1">
                <a:spLocks noChangeArrowheads="1"/>
              </p:cNvSpPr>
              <p:nvPr/>
            </p:nvSpPr>
            <p:spPr bwMode="auto">
              <a:xfrm>
                <a:off x="3201" y="1580"/>
                <a:ext cx="976" cy="167"/>
              </a:xfrm>
              <a:prstGeom prst="rect">
                <a:avLst/>
              </a:prstGeom>
              <a:solidFill>
                <a:srgbClr val="FFFFFF"/>
              </a:solidFill>
              <a:ln w="9525">
                <a:noFill/>
                <a:miter lim="800000"/>
                <a:headEnd/>
                <a:tailEnd/>
              </a:ln>
            </p:spPr>
            <p:txBody>
              <a:bodyPr/>
              <a:lstStyle/>
              <a:p>
                <a:pPr algn="r" rtl="1"/>
                <a:endParaRPr lang="en-US" sz="1800">
                  <a:solidFill>
                    <a:schemeClr val="tx1"/>
                  </a:solidFill>
                </a:endParaRPr>
              </a:p>
            </p:txBody>
          </p:sp>
          <p:sp useBgFill="1">
            <p:nvSpPr>
              <p:cNvPr id="11290" name="Text Box 11"/>
              <p:cNvSpPr txBox="1">
                <a:spLocks noChangeArrowheads="1"/>
              </p:cNvSpPr>
              <p:nvPr/>
            </p:nvSpPr>
            <p:spPr bwMode="auto">
              <a:xfrm>
                <a:off x="2469" y="3443"/>
                <a:ext cx="1708" cy="250"/>
              </a:xfrm>
              <a:prstGeom prst="rect">
                <a:avLst/>
              </a:prstGeom>
              <a:ln w="9525">
                <a:noFill/>
                <a:miter lim="800000"/>
                <a:headEnd/>
                <a:tailEnd/>
              </a:ln>
            </p:spPr>
            <p:txBody>
              <a:bodyPr/>
              <a:lstStyle/>
              <a:p>
                <a:pPr algn="r" rtl="1"/>
                <a:endParaRPr lang="en-US" sz="1800">
                  <a:solidFill>
                    <a:schemeClr val="tx1"/>
                  </a:solidFill>
                </a:endParaRPr>
              </a:p>
            </p:txBody>
          </p:sp>
        </p:grpSp>
        <p:sp>
          <p:nvSpPr>
            <p:cNvPr id="11273" name="Text Box 12"/>
            <p:cNvSpPr txBox="1">
              <a:spLocks noChangeArrowheads="1"/>
            </p:cNvSpPr>
            <p:nvPr/>
          </p:nvSpPr>
          <p:spPr bwMode="auto">
            <a:xfrm>
              <a:off x="3119" y="1488"/>
              <a:ext cx="2197" cy="250"/>
            </a:xfrm>
            <a:prstGeom prst="rect">
              <a:avLst/>
            </a:prstGeom>
            <a:solidFill>
              <a:srgbClr val="000000"/>
            </a:solidFill>
            <a:ln w="9525">
              <a:noFill/>
              <a:miter lim="800000"/>
              <a:headEnd/>
              <a:tailEnd/>
            </a:ln>
          </p:spPr>
          <p:txBody>
            <a:bodyPr/>
            <a:lstStyle/>
            <a:p>
              <a:pPr algn="r" rtl="1"/>
              <a:r>
                <a:rPr lang="en-US" sz="1200" b="1">
                  <a:solidFill>
                    <a:srgbClr val="FFFFFF"/>
                  </a:solidFill>
                  <a:latin typeface="Times New Roman" pitchFamily="18" charset="0"/>
                </a:rPr>
                <a:t>Direct Impact of International Cooperation</a:t>
              </a:r>
              <a:endParaRPr lang="en-US" sz="1800">
                <a:solidFill>
                  <a:schemeClr val="tx1"/>
                </a:solidFill>
              </a:endParaRPr>
            </a:p>
          </p:txBody>
        </p:sp>
        <p:sp>
          <p:nvSpPr>
            <p:cNvPr id="11274" name="Text Box 13"/>
            <p:cNvSpPr txBox="1">
              <a:spLocks noChangeArrowheads="1"/>
            </p:cNvSpPr>
            <p:nvPr/>
          </p:nvSpPr>
          <p:spPr bwMode="auto">
            <a:xfrm>
              <a:off x="4095" y="1831"/>
              <a:ext cx="1139" cy="250"/>
            </a:xfrm>
            <a:prstGeom prst="rect">
              <a:avLst/>
            </a:prstGeom>
            <a:noFill/>
            <a:ln w="9525">
              <a:noFill/>
              <a:miter lim="800000"/>
              <a:headEnd/>
              <a:tailEnd/>
            </a:ln>
          </p:spPr>
          <p:txBody>
            <a:bodyPr/>
            <a:lstStyle/>
            <a:p>
              <a:r>
                <a:rPr lang="en-US" sz="1200" b="1">
                  <a:solidFill>
                    <a:srgbClr val="FF6600"/>
                  </a:solidFill>
                  <a:latin typeface="Times New Roman" pitchFamily="18" charset="0"/>
                </a:rPr>
                <a:t>Products</a:t>
              </a:r>
              <a:endParaRPr lang="en-US" sz="1800">
                <a:solidFill>
                  <a:schemeClr val="tx1"/>
                </a:solidFill>
              </a:endParaRPr>
            </a:p>
          </p:txBody>
        </p:sp>
        <p:sp>
          <p:nvSpPr>
            <p:cNvPr id="11275" name="Text Box 14"/>
            <p:cNvSpPr txBox="1">
              <a:spLocks noChangeArrowheads="1"/>
            </p:cNvSpPr>
            <p:nvPr/>
          </p:nvSpPr>
          <p:spPr bwMode="auto">
            <a:xfrm>
              <a:off x="4095" y="2377"/>
              <a:ext cx="1139" cy="250"/>
            </a:xfrm>
            <a:prstGeom prst="rect">
              <a:avLst/>
            </a:prstGeom>
            <a:noFill/>
            <a:ln w="9525">
              <a:noFill/>
              <a:miter lim="800000"/>
              <a:headEnd/>
              <a:tailEnd/>
            </a:ln>
          </p:spPr>
          <p:txBody>
            <a:bodyPr/>
            <a:lstStyle/>
            <a:p>
              <a:r>
                <a:rPr lang="en-US" sz="1200" b="1">
                  <a:solidFill>
                    <a:srgbClr val="FF6600"/>
                  </a:solidFill>
                  <a:latin typeface="Times New Roman" pitchFamily="18" charset="0"/>
                </a:rPr>
                <a:t>Patents</a:t>
              </a:r>
              <a:endParaRPr lang="en-US" sz="1800">
                <a:solidFill>
                  <a:schemeClr val="tx1"/>
                </a:solidFill>
              </a:endParaRPr>
            </a:p>
          </p:txBody>
        </p:sp>
        <p:sp>
          <p:nvSpPr>
            <p:cNvPr id="11276" name="Text Box 15"/>
            <p:cNvSpPr txBox="1">
              <a:spLocks noChangeArrowheads="1"/>
            </p:cNvSpPr>
            <p:nvPr/>
          </p:nvSpPr>
          <p:spPr bwMode="auto">
            <a:xfrm>
              <a:off x="4086" y="2711"/>
              <a:ext cx="1139" cy="250"/>
            </a:xfrm>
            <a:prstGeom prst="rect">
              <a:avLst/>
            </a:prstGeom>
            <a:noFill/>
            <a:ln w="9525">
              <a:noFill/>
              <a:miter lim="800000"/>
              <a:headEnd/>
              <a:tailEnd/>
            </a:ln>
          </p:spPr>
          <p:txBody>
            <a:bodyPr/>
            <a:lstStyle/>
            <a:p>
              <a:r>
                <a:rPr lang="en-US" sz="1200" b="1">
                  <a:solidFill>
                    <a:srgbClr val="FF6600"/>
                  </a:solidFill>
                  <a:latin typeface="Times New Roman" pitchFamily="18" charset="0"/>
                </a:rPr>
                <a:t>Publications</a:t>
              </a:r>
              <a:endParaRPr lang="en-US" sz="1800">
                <a:solidFill>
                  <a:schemeClr val="tx1"/>
                </a:solidFill>
              </a:endParaRPr>
            </a:p>
          </p:txBody>
        </p:sp>
        <p:sp>
          <p:nvSpPr>
            <p:cNvPr id="11277" name="Text Box 16"/>
            <p:cNvSpPr txBox="1">
              <a:spLocks noChangeArrowheads="1"/>
            </p:cNvSpPr>
            <p:nvPr/>
          </p:nvSpPr>
          <p:spPr bwMode="auto">
            <a:xfrm>
              <a:off x="4095" y="3035"/>
              <a:ext cx="1139" cy="250"/>
            </a:xfrm>
            <a:prstGeom prst="rect">
              <a:avLst/>
            </a:prstGeom>
            <a:noFill/>
            <a:ln w="9525">
              <a:noFill/>
              <a:miter lim="800000"/>
              <a:headEnd/>
              <a:tailEnd/>
            </a:ln>
          </p:spPr>
          <p:txBody>
            <a:bodyPr/>
            <a:lstStyle/>
            <a:p>
              <a:r>
                <a:rPr lang="en-US" sz="1200" b="1">
                  <a:solidFill>
                    <a:srgbClr val="FF6600"/>
                  </a:solidFill>
                  <a:latin typeface="Times New Roman" pitchFamily="18" charset="0"/>
                </a:rPr>
                <a:t>Scientific Research</a:t>
              </a:r>
              <a:endParaRPr lang="en-US" sz="1800">
                <a:solidFill>
                  <a:schemeClr val="tx1"/>
                </a:solidFill>
              </a:endParaRPr>
            </a:p>
          </p:txBody>
        </p:sp>
        <p:sp>
          <p:nvSpPr>
            <p:cNvPr id="11278" name="Text Box 17"/>
            <p:cNvSpPr txBox="1">
              <a:spLocks noChangeArrowheads="1"/>
            </p:cNvSpPr>
            <p:nvPr/>
          </p:nvSpPr>
          <p:spPr bwMode="auto">
            <a:xfrm>
              <a:off x="435" y="1803"/>
              <a:ext cx="1057" cy="417"/>
            </a:xfrm>
            <a:prstGeom prst="rect">
              <a:avLst/>
            </a:prstGeom>
            <a:noFill/>
            <a:ln w="9525">
              <a:noFill/>
              <a:miter lim="800000"/>
              <a:headEnd/>
              <a:tailEnd/>
            </a:ln>
          </p:spPr>
          <p:txBody>
            <a:bodyPr/>
            <a:lstStyle/>
            <a:p>
              <a:pPr algn="ctr"/>
              <a:r>
                <a:rPr lang="en-US" sz="1200" b="1">
                  <a:solidFill>
                    <a:srgbClr val="FF6600"/>
                  </a:solidFill>
                  <a:latin typeface="Times New Roman" pitchFamily="18" charset="0"/>
                </a:rPr>
                <a:t>Knowledge Based Economy</a:t>
              </a:r>
              <a:endParaRPr lang="en-US" sz="1800">
                <a:solidFill>
                  <a:schemeClr val="tx1"/>
                </a:solidFill>
              </a:endParaRPr>
            </a:p>
          </p:txBody>
        </p:sp>
        <p:sp>
          <p:nvSpPr>
            <p:cNvPr id="11279" name="Text Box 18"/>
            <p:cNvSpPr txBox="1">
              <a:spLocks noChangeArrowheads="1"/>
            </p:cNvSpPr>
            <p:nvPr/>
          </p:nvSpPr>
          <p:spPr bwMode="auto">
            <a:xfrm>
              <a:off x="435" y="2312"/>
              <a:ext cx="1057" cy="482"/>
            </a:xfrm>
            <a:prstGeom prst="rect">
              <a:avLst/>
            </a:prstGeom>
            <a:noFill/>
            <a:ln w="9525">
              <a:noFill/>
              <a:miter lim="800000"/>
              <a:headEnd/>
              <a:tailEnd/>
            </a:ln>
          </p:spPr>
          <p:txBody>
            <a:bodyPr/>
            <a:lstStyle/>
            <a:p>
              <a:pPr algn="ctr"/>
              <a:r>
                <a:rPr lang="en-US" sz="1200" b="1">
                  <a:solidFill>
                    <a:srgbClr val="FF6600"/>
                  </a:solidFill>
                  <a:latin typeface="Times New Roman" pitchFamily="18" charset="0"/>
                </a:rPr>
                <a:t>S&amp;T Role in Knowledge Based Community</a:t>
              </a:r>
              <a:endParaRPr lang="en-US" sz="1800">
                <a:solidFill>
                  <a:schemeClr val="tx1"/>
                </a:solidFill>
              </a:endParaRPr>
            </a:p>
          </p:txBody>
        </p:sp>
        <p:sp>
          <p:nvSpPr>
            <p:cNvPr id="11280" name="Text Box 19"/>
            <p:cNvSpPr txBox="1">
              <a:spLocks noChangeArrowheads="1"/>
            </p:cNvSpPr>
            <p:nvPr/>
          </p:nvSpPr>
          <p:spPr bwMode="auto">
            <a:xfrm>
              <a:off x="2550" y="3452"/>
              <a:ext cx="2847" cy="250"/>
            </a:xfrm>
            <a:prstGeom prst="rect">
              <a:avLst/>
            </a:prstGeom>
            <a:solidFill>
              <a:srgbClr val="000000"/>
            </a:solidFill>
            <a:ln w="9525">
              <a:noFill/>
              <a:miter lim="800000"/>
              <a:headEnd/>
              <a:tailEnd/>
            </a:ln>
          </p:spPr>
          <p:txBody>
            <a:bodyPr/>
            <a:lstStyle/>
            <a:p>
              <a:pPr algn="r" rtl="1"/>
              <a:r>
                <a:rPr lang="en-US" sz="1200" b="1">
                  <a:solidFill>
                    <a:srgbClr val="FFFFFF"/>
                  </a:solidFill>
                  <a:latin typeface="Times New Roman" pitchFamily="18" charset="0"/>
                </a:rPr>
                <a:t>S&amp;T Research not Involving International Cooperation</a:t>
              </a:r>
              <a:endParaRPr lang="en-US" sz="1800">
                <a:solidFill>
                  <a:schemeClr val="tx1"/>
                </a:solidFill>
              </a:endParaRPr>
            </a:p>
          </p:txBody>
        </p:sp>
        <p:sp>
          <p:nvSpPr>
            <p:cNvPr id="11281" name="Text Box 20"/>
            <p:cNvSpPr txBox="1">
              <a:spLocks noChangeArrowheads="1"/>
            </p:cNvSpPr>
            <p:nvPr/>
          </p:nvSpPr>
          <p:spPr bwMode="auto">
            <a:xfrm>
              <a:off x="516" y="3368"/>
              <a:ext cx="1952" cy="251"/>
            </a:xfrm>
            <a:prstGeom prst="rect">
              <a:avLst/>
            </a:prstGeom>
            <a:solidFill>
              <a:srgbClr val="000000"/>
            </a:solidFill>
            <a:ln w="9525">
              <a:noFill/>
              <a:miter lim="800000"/>
              <a:headEnd/>
              <a:tailEnd/>
            </a:ln>
          </p:spPr>
          <p:txBody>
            <a:bodyPr/>
            <a:lstStyle/>
            <a:p>
              <a:pPr rtl="1"/>
              <a:r>
                <a:rPr lang="en-US" sz="1200" b="1">
                  <a:solidFill>
                    <a:srgbClr val="FFFFFF"/>
                  </a:solidFill>
                  <a:latin typeface="Times New Roman" pitchFamily="18" charset="0"/>
                </a:rPr>
                <a:t>Current Status of Scientific Research</a:t>
              </a:r>
              <a:endParaRPr lang="en-US" sz="1800">
                <a:solidFill>
                  <a:schemeClr val="tx1"/>
                </a:solidFill>
              </a:endParaRPr>
            </a:p>
          </p:txBody>
        </p:sp>
        <p:sp>
          <p:nvSpPr>
            <p:cNvPr id="11282" name="Text Box 21"/>
            <p:cNvSpPr txBox="1">
              <a:spLocks noChangeArrowheads="1"/>
            </p:cNvSpPr>
            <p:nvPr/>
          </p:nvSpPr>
          <p:spPr bwMode="auto">
            <a:xfrm>
              <a:off x="272" y="1321"/>
              <a:ext cx="2522" cy="334"/>
            </a:xfrm>
            <a:prstGeom prst="rect">
              <a:avLst/>
            </a:prstGeom>
            <a:solidFill>
              <a:srgbClr val="000000"/>
            </a:solidFill>
            <a:ln w="9525">
              <a:noFill/>
              <a:miter lim="800000"/>
              <a:headEnd/>
              <a:tailEnd/>
            </a:ln>
          </p:spPr>
          <p:txBody>
            <a:bodyPr/>
            <a:lstStyle/>
            <a:p>
              <a:pPr algn="ctr" rtl="1"/>
              <a:r>
                <a:rPr lang="en-US" sz="1200" b="1">
                  <a:solidFill>
                    <a:srgbClr val="FFFFFF"/>
                  </a:solidFill>
                  <a:latin typeface="Times New Roman" pitchFamily="18" charset="0"/>
                </a:rPr>
                <a:t>Indirect Experience Gained through International Cooperation</a:t>
              </a:r>
              <a:endParaRPr lang="en-US" sz="1800">
                <a:solidFill>
                  <a:schemeClr val="tx1"/>
                </a:solidFill>
              </a:endParaRPr>
            </a:p>
          </p:txBody>
        </p:sp>
        <p:sp useBgFill="1">
          <p:nvSpPr>
            <p:cNvPr id="11283" name="Text Box 22"/>
            <p:cNvSpPr txBox="1">
              <a:spLocks noChangeArrowheads="1"/>
            </p:cNvSpPr>
            <p:nvPr/>
          </p:nvSpPr>
          <p:spPr bwMode="auto">
            <a:xfrm>
              <a:off x="4062" y="2118"/>
              <a:ext cx="651" cy="167"/>
            </a:xfrm>
            <a:prstGeom prst="rect">
              <a:avLst/>
            </a:prstGeom>
            <a:ln w="9525">
              <a:noFill/>
              <a:miter lim="800000"/>
              <a:headEnd/>
              <a:tailEnd/>
            </a:ln>
          </p:spPr>
          <p:txBody>
            <a:bodyPr/>
            <a:lstStyle/>
            <a:p>
              <a:pPr algn="r" rtl="1"/>
              <a:endParaRPr lang="en-US" sz="1800">
                <a:solidFill>
                  <a:schemeClr val="tx1"/>
                </a:solidFill>
              </a:endParaRPr>
            </a:p>
          </p:txBody>
        </p:sp>
        <p:sp>
          <p:nvSpPr>
            <p:cNvPr id="11284" name="Text Box 23"/>
            <p:cNvSpPr txBox="1">
              <a:spLocks noChangeArrowheads="1"/>
            </p:cNvSpPr>
            <p:nvPr/>
          </p:nvSpPr>
          <p:spPr bwMode="auto">
            <a:xfrm>
              <a:off x="4086" y="2081"/>
              <a:ext cx="1139" cy="250"/>
            </a:xfrm>
            <a:prstGeom prst="rect">
              <a:avLst/>
            </a:prstGeom>
            <a:noFill/>
            <a:ln w="9525">
              <a:noFill/>
              <a:miter lim="800000"/>
              <a:headEnd/>
              <a:tailEnd/>
            </a:ln>
          </p:spPr>
          <p:txBody>
            <a:bodyPr/>
            <a:lstStyle/>
            <a:p>
              <a:r>
                <a:rPr lang="en-US" sz="1200" b="1">
                  <a:solidFill>
                    <a:srgbClr val="FF6600"/>
                  </a:solidFill>
                  <a:latin typeface="Times New Roman" pitchFamily="18" charset="0"/>
                </a:rPr>
                <a:t>Prototypes</a:t>
              </a:r>
              <a:endParaRPr lang="en-US" sz="1800">
                <a:solidFill>
                  <a:schemeClr val="tx1"/>
                </a:solidFill>
              </a:endParaRPr>
            </a:p>
          </p:txBody>
        </p:sp>
      </p:grpSp>
      <p:pic>
        <p:nvPicPr>
          <p:cNvPr id="11292" name="Picture 6" descr="flag"/>
          <p:cNvPicPr>
            <a:picLocks noChangeAspect="1" noChangeArrowheads="1"/>
          </p:cNvPicPr>
          <p:nvPr/>
        </p:nvPicPr>
        <p:blipFill>
          <a:blip r:embed="rId4" cstate="print"/>
          <a:srcRect/>
          <a:stretch>
            <a:fillRect/>
          </a:stretch>
        </p:blipFill>
        <p:spPr bwMode="auto">
          <a:xfrm>
            <a:off x="323850" y="260350"/>
            <a:ext cx="1143000" cy="806450"/>
          </a:xfrm>
          <a:prstGeom prst="rect">
            <a:avLst/>
          </a:prstGeom>
          <a:noFill/>
          <a:ln w="9525">
            <a:noFill/>
            <a:miter lim="800000"/>
            <a:headEnd/>
            <a:tailEnd/>
          </a:ln>
        </p:spPr>
      </p:pic>
      <p:pic>
        <p:nvPicPr>
          <p:cNvPr id="11293" name="Picture 9" descr="untitled"/>
          <p:cNvPicPr>
            <a:picLocks noChangeAspect="1" noChangeArrowheads="1"/>
          </p:cNvPicPr>
          <p:nvPr/>
        </p:nvPicPr>
        <p:blipFill>
          <a:blip r:embed="rId5" cstate="print"/>
          <a:srcRect/>
          <a:stretch>
            <a:fillRect/>
          </a:stretch>
        </p:blipFill>
        <p:spPr bwMode="auto">
          <a:xfrm>
            <a:off x="6948488" y="0"/>
            <a:ext cx="1952625" cy="1295400"/>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 presetClass="entr" presetSubtype="16" fill="hold" grpId="0" nodeType="withEffect">
                                  <p:stCondLst>
                                    <p:cond delay="0"/>
                                  </p:stCondLst>
                                  <p:childTnLst>
                                    <p:set>
                                      <p:cBhvr>
                                        <p:cTn id="6" dur="1" fill="hold">
                                          <p:stCondLst>
                                            <p:cond delay="0"/>
                                          </p:stCondLst>
                                        </p:cTn>
                                        <p:tgtEl>
                                          <p:spTgt spid="11269"/>
                                        </p:tgtEl>
                                        <p:attrNameLst>
                                          <p:attrName>style.visibility</p:attrName>
                                        </p:attrNameLst>
                                      </p:cBhvr>
                                      <p:to>
                                        <p:strVal val="visible"/>
                                      </p:to>
                                    </p:set>
                                    <p:animEffect transition="in" filter="box(in)">
                                      <p:cBhvr>
                                        <p:cTn id="7" dur="500"/>
                                        <p:tgtEl>
                                          <p:spTgt spid="11269"/>
                                        </p:tgtEl>
                                      </p:cBhvr>
                                    </p:animEffect>
                                  </p:childTnLst>
                                </p:cTn>
                              </p:par>
                            </p:childTnLst>
                          </p:cTn>
                        </p:par>
                        <p:par>
                          <p:cTn id="8" fill="hold">
                            <p:stCondLst>
                              <p:cond delay="500"/>
                            </p:stCondLst>
                            <p:childTnLst>
                              <p:par>
                                <p:cTn id="9" presetID="24"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anim to="" calcmode="lin" valueType="num">
                                      <p:cBhvr>
                                        <p:cTn id="11" dur="1" fill="hold"/>
                                        <p:tgtEl>
                                          <p:spTgt spid="2"/>
                                        </p:tgtEl>
                                        <p:attrNameLst>
                                          <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269"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44008" y="4149080"/>
            <a:ext cx="4104455" cy="1492895"/>
          </a:xfrm>
        </p:spPr>
        <p:txBody>
          <a:bodyPr/>
          <a:lstStyle/>
          <a:p>
            <a:pPr marL="0" indent="0" algn="ctr" rtl="0" fontAlgn="auto">
              <a:spcAft>
                <a:spcPts val="0"/>
              </a:spcAft>
              <a:buClr>
                <a:schemeClr val="accent6">
                  <a:lumMod val="75000"/>
                </a:schemeClr>
              </a:buClr>
              <a:buFont typeface="Georgia" pitchFamily="18" charset="0"/>
              <a:buNone/>
              <a:defRPr/>
            </a:pPr>
            <a:r>
              <a:rPr lang="en-US" sz="3200" b="1" dirty="0" smtClean="0">
                <a:solidFill>
                  <a:schemeClr val="tx1"/>
                </a:solidFill>
                <a:latin typeface="Arial" pitchFamily="34" charset="0"/>
                <a:cs typeface="Arial" pitchFamily="34" charset="0"/>
              </a:rPr>
              <a:t>STEM School Innovation </a:t>
            </a:r>
            <a:r>
              <a:rPr lang="en-US" sz="3200" b="1" dirty="0" smtClean="0">
                <a:latin typeface="Arial" pitchFamily="34" charset="0"/>
                <a:cs typeface="Arial" pitchFamily="34" charset="0"/>
              </a:rPr>
              <a:t/>
            </a:r>
            <a:br>
              <a:rPr lang="en-US" sz="3200" b="1" dirty="0" smtClean="0">
                <a:latin typeface="Arial" pitchFamily="34" charset="0"/>
                <a:cs typeface="Arial" pitchFamily="34" charset="0"/>
              </a:rPr>
            </a:br>
            <a:r>
              <a:rPr lang="en-US" sz="3200" b="1" dirty="0" smtClean="0">
                <a:latin typeface="Arial" pitchFamily="34" charset="0"/>
                <a:cs typeface="Arial" pitchFamily="34" charset="0"/>
              </a:rPr>
              <a:t> “</a:t>
            </a:r>
            <a:r>
              <a:rPr lang="en-US" sz="3200" b="1" dirty="0" smtClean="0">
                <a:solidFill>
                  <a:srgbClr val="FF0000"/>
                </a:solidFill>
                <a:latin typeface="Arial" pitchFamily="34" charset="0"/>
                <a:cs typeface="Arial" pitchFamily="34" charset="0"/>
              </a:rPr>
              <a:t>FAB-LAB</a:t>
            </a:r>
            <a:r>
              <a:rPr lang="en-US" sz="3200" b="1" dirty="0" smtClean="0">
                <a:latin typeface="Arial" pitchFamily="34" charset="0"/>
                <a:cs typeface="Arial" pitchFamily="34" charset="0"/>
              </a:rPr>
              <a:t>”</a:t>
            </a:r>
          </a:p>
        </p:txBody>
      </p:sp>
      <p:pic>
        <p:nvPicPr>
          <p:cNvPr id="4" name="Picture 3" descr="Fab-Lab-Image.jpg"/>
          <p:cNvPicPr>
            <a:picLocks noChangeAspect="1"/>
          </p:cNvPicPr>
          <p:nvPr/>
        </p:nvPicPr>
        <p:blipFill>
          <a:blip r:embed="rId2" cstate="print">
            <a:extLst/>
          </a:blip>
          <a:stretch>
            <a:fillRect/>
          </a:stretch>
        </p:blipFill>
        <p:spPr>
          <a:xfrm>
            <a:off x="4702527" y="592665"/>
            <a:ext cx="4092223" cy="3069167"/>
          </a:xfrm>
          <a:prstGeom prst="rect">
            <a:avLst/>
          </a:prstGeom>
          <a:ln>
            <a:noFill/>
          </a:ln>
          <a:effectLst>
            <a:softEdge rad="112500"/>
          </a:effectLst>
        </p:spPr>
      </p:pic>
      <p:pic>
        <p:nvPicPr>
          <p:cNvPr id="5" name="Picture 4" descr="projects.jpg"/>
          <p:cNvPicPr>
            <a:picLocks noChangeAspect="1"/>
          </p:cNvPicPr>
          <p:nvPr/>
        </p:nvPicPr>
        <p:blipFill>
          <a:blip r:embed="rId3" cstate="print">
            <a:extLst/>
          </a:blip>
          <a:stretch>
            <a:fillRect/>
          </a:stretch>
        </p:blipFill>
        <p:spPr>
          <a:xfrm>
            <a:off x="418042" y="592665"/>
            <a:ext cx="3986609" cy="3037416"/>
          </a:xfrm>
          <a:prstGeom prst="rect">
            <a:avLst/>
          </a:prstGeom>
          <a:ln>
            <a:noFill/>
          </a:ln>
          <a:effectLst>
            <a:softEdge rad="112500"/>
          </a:effectLst>
        </p:spPr>
      </p:pic>
      <p:pic>
        <p:nvPicPr>
          <p:cNvPr id="6" name="Picture 5" descr="mobile.jpg"/>
          <p:cNvPicPr>
            <a:picLocks noChangeAspect="1"/>
          </p:cNvPicPr>
          <p:nvPr/>
        </p:nvPicPr>
        <p:blipFill>
          <a:blip r:embed="rId4" cstate="print">
            <a:extLst/>
          </a:blip>
          <a:stretch>
            <a:fillRect/>
          </a:stretch>
        </p:blipFill>
        <p:spPr>
          <a:xfrm>
            <a:off x="418042" y="3918414"/>
            <a:ext cx="3986609" cy="2800781"/>
          </a:xfrm>
          <a:prstGeom prst="rect">
            <a:avLst/>
          </a:prstGeom>
          <a:ln>
            <a:noFill/>
          </a:ln>
          <a:effectLst>
            <a:softEdge rad="112500"/>
          </a:effectLst>
        </p:spPr>
      </p:pic>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dirty="0"/>
          </a:p>
        </p:txBody>
      </p:sp>
      <p:sp>
        <p:nvSpPr>
          <p:cNvPr id="3" name="Subtitle 2"/>
          <p:cNvSpPr>
            <a:spLocks noGrp="1"/>
          </p:cNvSpPr>
          <p:nvPr>
            <p:ph type="subTitle" idx="1"/>
          </p:nvPr>
        </p:nvSpPr>
        <p:spPr/>
        <p:txBody>
          <a:bodyPr/>
          <a:lstStyle/>
          <a:p>
            <a:endParaRPr lang="en-US"/>
          </a:p>
        </p:txBody>
      </p:sp>
      <p:pic>
        <p:nvPicPr>
          <p:cNvPr id="4" name="Picture 3" descr="Screen Shot 2013-03-16 at 2.50.02 PM.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9144000" cy="6369886"/>
          </a:xfrm>
          <a:prstGeom prst="rect">
            <a:avLst/>
          </a:prstGeom>
        </p:spPr>
      </p:pic>
    </p:spTree>
    <p:extLst>
      <p:ext uri="{BB962C8B-B14F-4D97-AF65-F5344CB8AC3E}">
        <p14:creationId xmlns:p14="http://schemas.microsoft.com/office/powerpoint/2010/main" val="408010316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Screen Shot 2013-03-16 at 2.50.22 PM.png"/>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l="-1510" t="1" r="-1888" b="198"/>
          <a:stretch/>
        </p:blipFill>
        <p:spPr>
          <a:xfrm>
            <a:off x="0" y="374650"/>
            <a:ext cx="9207500" cy="6363821"/>
          </a:xfrm>
        </p:spPr>
      </p:pic>
    </p:spTree>
    <p:extLst>
      <p:ext uri="{BB962C8B-B14F-4D97-AF65-F5344CB8AC3E}">
        <p14:creationId xmlns:p14="http://schemas.microsoft.com/office/powerpoint/2010/main" val="165934664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Screen Shot 2013-03-16 at 2.50.45 PM.png"/>
          <p:cNvPicPr>
            <a:picLocks noGrp="1" noChangeAspect="1"/>
          </p:cNvPicPr>
          <p:nvPr>
            <p:ph idx="1"/>
          </p:nvPr>
        </p:nvPicPr>
        <p:blipFill rotWithShape="1">
          <a:blip r:embed="rId2" cstate="print">
            <a:extLst>
              <a:ext uri="{28A0092B-C50C-407E-A947-70E740481C1C}">
                <a14:useLocalDpi xmlns:a14="http://schemas.microsoft.com/office/drawing/2010/main" val="0"/>
              </a:ext>
            </a:extLst>
          </a:blip>
          <a:srcRect t="-3650" b="-2151"/>
          <a:stretch/>
        </p:blipFill>
        <p:spPr>
          <a:xfrm>
            <a:off x="544" y="552824"/>
            <a:ext cx="9143456" cy="5737411"/>
          </a:xfrm>
        </p:spPr>
      </p:pic>
    </p:spTree>
    <p:extLst>
      <p:ext uri="{BB962C8B-B14F-4D97-AF65-F5344CB8AC3E}">
        <p14:creationId xmlns:p14="http://schemas.microsoft.com/office/powerpoint/2010/main" val="3726085643"/>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idx="1"/>
          </p:nvPr>
        </p:nvSpPr>
        <p:spPr/>
        <p:txBody>
          <a:bodyPr/>
          <a:lstStyle/>
          <a:p>
            <a:endParaRPr lang="en-US"/>
          </a:p>
        </p:txBody>
      </p:sp>
      <p:pic>
        <p:nvPicPr>
          <p:cNvPr id="6" name="Picture 5" descr="Screen Shot 2013-03-16 at 2.51.07 PM.pn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164353"/>
            <a:ext cx="9144000" cy="6424205"/>
          </a:xfrm>
          <a:prstGeom prst="rect">
            <a:avLst/>
          </a:prstGeom>
        </p:spPr>
      </p:pic>
    </p:spTree>
    <p:extLst>
      <p:ext uri="{BB962C8B-B14F-4D97-AF65-F5344CB8AC3E}">
        <p14:creationId xmlns:p14="http://schemas.microsoft.com/office/powerpoint/2010/main" val="221451637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Title 1"/>
          <p:cNvSpPr>
            <a:spLocks noGrp="1"/>
          </p:cNvSpPr>
          <p:nvPr>
            <p:ph type="title"/>
          </p:nvPr>
        </p:nvSpPr>
        <p:spPr/>
        <p:txBody>
          <a:bodyPr/>
          <a:lstStyle/>
          <a:p>
            <a:pPr eaLnBrk="1" hangingPunct="1"/>
            <a:r>
              <a:rPr lang="en-US" smtClean="0">
                <a:latin typeface="Candara" panose="020E0502030303020204" pitchFamily="34" charset="0"/>
              </a:rPr>
              <a:t>Egypt-GLORIAD Link</a:t>
            </a:r>
          </a:p>
        </p:txBody>
      </p:sp>
      <p:pic>
        <p:nvPicPr>
          <p:cNvPr id="21506" name="Picture 1"/>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t="4398" b="4398"/>
          <a:stretch>
            <a:fillRect/>
          </a:stretch>
        </p:blipFill>
        <p:spPr>
          <a:noFill/>
          <a:extLst>
            <a:ext uri="{91240B29-F687-4F45-9708-019B960494DF}">
              <a14:hiddenLine xmlns:a14="http://schemas.microsoft.com/office/drawing/2010/main" w="25400">
                <a:solidFill>
                  <a:schemeClr val="tx1"/>
                </a:solidFill>
                <a:miter lim="800000"/>
                <a:headEnd/>
                <a:tailEnd/>
              </a14:hiddenLine>
            </a:ext>
          </a:extLst>
        </p:spPr>
      </p:pic>
    </p:spTree>
  </p:cSld>
  <p:clrMapOvr>
    <a:masterClrMapping/>
  </p:clrMapOvr>
  <p:transition spd="slow"/>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7" name="Picture 2" descr="C:\Users\user\AppData\Local\Microsoft\Windows\Temporary Internet Files\Content.IE5\89BSM8M8\icecairo -2.png"/>
          <p:cNvPicPr>
            <a:picLocks noGrp="1" noChangeAspect="1" noChangeArrowheads="1"/>
          </p:cNvPicPr>
          <p:nvPr>
            <p:ph sz="quarter" idx="1"/>
          </p:nvPr>
        </p:nvPicPr>
        <p:blipFill>
          <a:blip r:embed="rId2" cstate="print"/>
          <a:srcRect/>
          <a:stretch>
            <a:fillRect/>
          </a:stretch>
        </p:blipFill>
        <p:spPr>
          <a:xfrm>
            <a:off x="3851920" y="1772816"/>
            <a:ext cx="5002114" cy="4608512"/>
          </a:xfrm>
        </p:spPr>
      </p:pic>
      <p:sp>
        <p:nvSpPr>
          <p:cNvPr id="5" name="Rounded Rectangle 4"/>
          <p:cNvSpPr/>
          <p:nvPr/>
        </p:nvSpPr>
        <p:spPr>
          <a:xfrm>
            <a:off x="179512" y="1628800"/>
            <a:ext cx="3528392" cy="504056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buFont typeface="Wingdings" pitchFamily="2" charset="2"/>
              <a:buChar char="ü"/>
            </a:pPr>
            <a:r>
              <a:rPr lang="en-US" sz="2400" dirty="0" smtClean="0"/>
              <a:t>AICE Centers in each University main campus to attract students innovation.</a:t>
            </a:r>
          </a:p>
          <a:p>
            <a:pPr>
              <a:buFont typeface="Wingdings" pitchFamily="2" charset="2"/>
              <a:buChar char="ü"/>
            </a:pPr>
            <a:r>
              <a:rPr lang="en-US" sz="2400" dirty="0" smtClean="0"/>
              <a:t>The centers will be run by senior students linked to scientists.</a:t>
            </a:r>
          </a:p>
          <a:p>
            <a:pPr>
              <a:buFont typeface="Wingdings" pitchFamily="2" charset="2"/>
              <a:buChar char="ü"/>
            </a:pPr>
            <a:r>
              <a:rPr lang="en-US" sz="2400" dirty="0" smtClean="0"/>
              <a:t>It will contain a small prototyping facility.</a:t>
            </a:r>
          </a:p>
          <a:p>
            <a:pPr>
              <a:buFont typeface="Wingdings" pitchFamily="2" charset="2"/>
              <a:buChar char="ü"/>
            </a:pPr>
            <a:r>
              <a:rPr lang="en-US" sz="2400" dirty="0" smtClean="0"/>
              <a:t>The major aim is to provide business opportunity after graduation projects.</a:t>
            </a:r>
            <a:endParaRPr lang="en-US" sz="2400" dirty="0"/>
          </a:p>
        </p:txBody>
      </p:sp>
      <p:sp>
        <p:nvSpPr>
          <p:cNvPr id="7" name="Title 6"/>
          <p:cNvSpPr>
            <a:spLocks noGrp="1"/>
          </p:cNvSpPr>
          <p:nvPr>
            <p:ph type="title"/>
          </p:nvPr>
        </p:nvSpPr>
        <p:spPr>
          <a:xfrm>
            <a:off x="252536" y="-27384"/>
            <a:ext cx="9144000" cy="1456120"/>
          </a:xfrm>
        </p:spPr>
        <p:txBody>
          <a:bodyPr/>
          <a:lstStyle/>
          <a:p>
            <a:pPr algn="ctr"/>
            <a:r>
              <a:rPr lang="en-US" b="1" dirty="0" smtClean="0">
                <a:solidFill>
                  <a:schemeClr val="accent1"/>
                </a:solidFill>
                <a:latin typeface="Arial" pitchFamily="34" charset="0"/>
                <a:cs typeface="Arial" pitchFamily="34" charset="0"/>
              </a:rPr>
              <a:t>Academy Innovation Center</a:t>
            </a:r>
            <a:br>
              <a:rPr lang="en-US" b="1" dirty="0" smtClean="0">
                <a:solidFill>
                  <a:schemeClr val="accent1"/>
                </a:solidFill>
                <a:latin typeface="Arial" pitchFamily="34" charset="0"/>
                <a:cs typeface="Arial" pitchFamily="34" charset="0"/>
              </a:rPr>
            </a:br>
            <a:r>
              <a:rPr lang="en-US" b="1" dirty="0" smtClean="0">
                <a:solidFill>
                  <a:schemeClr val="accent1"/>
                </a:solidFill>
                <a:latin typeface="Arial" pitchFamily="34" charset="0"/>
                <a:cs typeface="Arial" pitchFamily="34" charset="0"/>
              </a:rPr>
              <a:t> for Entrepreneur “AICE”</a:t>
            </a:r>
            <a:endParaRPr lang="en-US" b="1" dirty="0">
              <a:solidFill>
                <a:schemeClr val="accent1"/>
              </a:solidFill>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1284820_89838071.jpg"/>
          <p:cNvPicPr/>
          <p:nvPr/>
        </p:nvPicPr>
        <p:blipFill>
          <a:blip r:embed="rId2" cstate="print"/>
          <a:stretch>
            <a:fillRect/>
          </a:stretch>
        </p:blipFill>
        <p:spPr>
          <a:xfrm>
            <a:off x="-152400" y="4225636"/>
            <a:ext cx="9448800" cy="2784764"/>
          </a:xfrm>
          <a:prstGeom prst="rect">
            <a:avLst/>
          </a:prstGeom>
          <a:ln>
            <a:noFill/>
          </a:ln>
          <a:effectLst>
            <a:softEdge rad="112500"/>
          </a:effectLst>
        </p:spPr>
      </p:pic>
      <p:sp>
        <p:nvSpPr>
          <p:cNvPr id="2" name="Title 1"/>
          <p:cNvSpPr>
            <a:spLocks noGrp="1"/>
          </p:cNvSpPr>
          <p:nvPr>
            <p:ph type="ctrTitle"/>
          </p:nvPr>
        </p:nvSpPr>
        <p:spPr>
          <a:xfrm>
            <a:off x="685800" y="1676400"/>
            <a:ext cx="7772400" cy="1470025"/>
          </a:xfrm>
        </p:spPr>
        <p:txBody>
          <a:bodyPr/>
          <a:lstStyle/>
          <a:p>
            <a:pPr rtl="1"/>
            <a:r>
              <a:rPr lang="ar-EG" b="1" dirty="0">
                <a:solidFill>
                  <a:srgbClr val="FF0000"/>
                </a:solidFill>
              </a:rPr>
              <a:t>وزارة البحث العلمي</a:t>
            </a:r>
            <a:r>
              <a:rPr lang="en-US" b="1" dirty="0">
                <a:solidFill>
                  <a:srgbClr val="FF0000"/>
                </a:solidFill>
              </a:rPr>
              <a:t/>
            </a:r>
            <a:br>
              <a:rPr lang="en-US" b="1" dirty="0">
                <a:solidFill>
                  <a:srgbClr val="FF0000"/>
                </a:solidFill>
              </a:rPr>
            </a:br>
            <a:r>
              <a:rPr lang="ar-EG" b="1" dirty="0">
                <a:solidFill>
                  <a:srgbClr val="FF0000"/>
                </a:solidFill>
              </a:rPr>
              <a:t>أكاديمية البحث العلمي والتكنولوجيا</a:t>
            </a:r>
            <a:endParaRPr lang="en-US" b="1" dirty="0">
              <a:solidFill>
                <a:srgbClr val="FF0000"/>
              </a:solidFill>
            </a:endParaRPr>
          </a:p>
        </p:txBody>
      </p:sp>
      <p:sp>
        <p:nvSpPr>
          <p:cNvPr id="3" name="Subtitle 2"/>
          <p:cNvSpPr>
            <a:spLocks noGrp="1"/>
          </p:cNvSpPr>
          <p:nvPr>
            <p:ph type="subTitle" idx="1"/>
          </p:nvPr>
        </p:nvSpPr>
        <p:spPr>
          <a:xfrm>
            <a:off x="1143000" y="3048000"/>
            <a:ext cx="7086600" cy="1752600"/>
          </a:xfrm>
        </p:spPr>
        <p:txBody>
          <a:bodyPr>
            <a:normAutofit fontScale="92500"/>
          </a:bodyPr>
          <a:lstStyle/>
          <a:p>
            <a:pPr rtl="1"/>
            <a:r>
              <a:rPr lang="ar-EG" b="1" dirty="0" smtClean="0">
                <a:solidFill>
                  <a:schemeClr val="tx2"/>
                </a:solidFill>
              </a:rPr>
              <a:t>لائحــة</a:t>
            </a:r>
            <a:r>
              <a:rPr lang="en-US" b="1" dirty="0" smtClean="0">
                <a:solidFill>
                  <a:schemeClr val="tx2"/>
                </a:solidFill>
              </a:rPr>
              <a:t> </a:t>
            </a:r>
            <a:r>
              <a:rPr lang="ar-EG" b="1" dirty="0" smtClean="0">
                <a:solidFill>
                  <a:schemeClr val="tx2"/>
                </a:solidFill>
              </a:rPr>
              <a:t>دعـــم منــــح</a:t>
            </a:r>
            <a:r>
              <a:rPr lang="en-US" b="1" dirty="0" smtClean="0">
                <a:solidFill>
                  <a:schemeClr val="tx2"/>
                </a:solidFill>
              </a:rPr>
              <a:t> </a:t>
            </a:r>
            <a:r>
              <a:rPr lang="ar-EG" b="1" dirty="0" smtClean="0">
                <a:solidFill>
                  <a:schemeClr val="tx2"/>
                </a:solidFill>
              </a:rPr>
              <a:t>الماجستير والدكتوراة</a:t>
            </a:r>
            <a:endParaRPr lang="en-US" b="1" dirty="0" smtClean="0">
              <a:solidFill>
                <a:schemeClr val="tx2"/>
              </a:solidFill>
            </a:endParaRPr>
          </a:p>
          <a:p>
            <a:pPr rtl="1"/>
            <a:r>
              <a:rPr lang="ar-EG" b="1" dirty="0" smtClean="0">
                <a:solidFill>
                  <a:schemeClr val="tx2"/>
                </a:solidFill>
              </a:rPr>
              <a:t>ودعــم مشروعــات التخــرج</a:t>
            </a:r>
            <a:r>
              <a:rPr lang="en-US" b="1" dirty="0" smtClean="0">
                <a:solidFill>
                  <a:schemeClr val="tx2"/>
                </a:solidFill>
              </a:rPr>
              <a:t> </a:t>
            </a:r>
            <a:r>
              <a:rPr lang="ar-EG" b="1" dirty="0" smtClean="0">
                <a:solidFill>
                  <a:schemeClr val="tx2"/>
                </a:solidFill>
              </a:rPr>
              <a:t>( كليات </a:t>
            </a:r>
            <a:r>
              <a:rPr lang="ar-EG" b="1" dirty="0" smtClean="0">
                <a:solidFill>
                  <a:srgbClr val="FF0000"/>
                </a:solidFill>
              </a:rPr>
              <a:t>العلوم والهندسة </a:t>
            </a:r>
            <a:r>
              <a:rPr lang="ar-EG" b="1" dirty="0" smtClean="0">
                <a:solidFill>
                  <a:schemeClr val="tx2"/>
                </a:solidFill>
              </a:rPr>
              <a:t>)</a:t>
            </a:r>
            <a:endParaRPr lang="en-US" b="1" dirty="0">
              <a:solidFill>
                <a:schemeClr val="tx2"/>
              </a:solidFill>
            </a:endParaRPr>
          </a:p>
          <a:p>
            <a:pPr rtl="1"/>
            <a:r>
              <a:rPr lang="ar-EG" dirty="0"/>
              <a:t> </a:t>
            </a:r>
            <a:endParaRPr lang="en-US" dirty="0"/>
          </a:p>
          <a:p>
            <a:endParaRPr lang="en-US" dirty="0"/>
          </a:p>
        </p:txBody>
      </p:sp>
    </p:spTree>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pic>
        <p:nvPicPr>
          <p:cNvPr id="4" name="Picture 2" descr="H:\work_gun\engineering_day\engineer day\stce.bmp"/>
          <p:cNvPicPr>
            <a:picLocks noChangeAspect="1" noChangeArrowheads="1"/>
          </p:cNvPicPr>
          <p:nvPr/>
        </p:nvPicPr>
        <p:blipFill>
          <a:blip r:embed="rId2" cstate="print"/>
          <a:srcRect/>
          <a:stretch>
            <a:fillRect/>
          </a:stretch>
        </p:blipFill>
        <p:spPr bwMode="auto">
          <a:xfrm>
            <a:off x="0" y="0"/>
            <a:ext cx="9144000" cy="6858024"/>
          </a:xfrm>
          <a:prstGeom prst="rect">
            <a:avLst/>
          </a:prstGeom>
          <a:noFill/>
          <a:ln w="9525">
            <a:noFill/>
            <a:miter lim="800000"/>
            <a:headEnd/>
            <a:tailEnd/>
          </a:ln>
        </p:spPr>
      </p:pic>
      <p:sp>
        <p:nvSpPr>
          <p:cNvPr id="5" name="Oval Callout 4">
            <a:hlinkClick r:id="rId3" action="ppaction://hlinkfile"/>
          </p:cNvPr>
          <p:cNvSpPr/>
          <p:nvPr/>
        </p:nvSpPr>
        <p:spPr>
          <a:xfrm>
            <a:off x="3071802" y="2227738"/>
            <a:ext cx="1732671" cy="705974"/>
          </a:xfrm>
          <a:prstGeom prst="wedgeEllipseCallout">
            <a:avLst>
              <a:gd name="adj1" fmla="val -46331"/>
              <a:gd name="adj2" fmla="val 68278"/>
            </a:avLst>
          </a:prstGeom>
          <a:solidFill>
            <a:schemeClr val="accent2">
              <a:lumMod val="75000"/>
            </a:schemeClr>
          </a:solidFill>
          <a:ln>
            <a:noFill/>
          </a:ln>
          <a:effectLst>
            <a:glow rad="63500">
              <a:schemeClr val="accent4">
                <a:satMod val="175000"/>
                <a:alpha val="40000"/>
              </a:schemeClr>
            </a:glow>
            <a:outerShdw blurRad="50800" dist="38100" dir="5400000" algn="t" rotWithShape="0">
              <a:prstClr val="black">
                <a:alpha val="40000"/>
              </a:prstClr>
            </a:outerShdw>
            <a:reflection blurRad="6350" stA="50000" endA="300" endPos="55000" dir="5400000" sy="-100000" algn="bl" rotWithShape="0"/>
          </a:effectLst>
          <a:scene3d>
            <a:camera prst="orthographicFront">
              <a:rot lat="0" lon="0" rev="0"/>
            </a:camera>
            <a:lightRig rig="soft" dir="t">
              <a:rot lat="0" lon="0" rev="0"/>
            </a:lightRig>
          </a:scene3d>
          <a:sp3d contourW="44450" prstMaterial="matte">
            <a:bevelT w="63500" h="63500" prst="relaxedInset"/>
            <a:contourClr>
              <a:srgbClr val="FFFFFF"/>
            </a:contourClr>
          </a:sp3d>
        </p:spPr>
        <p:style>
          <a:lnRef idx="1">
            <a:schemeClr val="accent4"/>
          </a:lnRef>
          <a:fillRef idx="3">
            <a:schemeClr val="accent4"/>
          </a:fillRef>
          <a:effectRef idx="2">
            <a:schemeClr val="accent4"/>
          </a:effectRef>
          <a:fontRef idx="minor">
            <a:schemeClr val="lt1"/>
          </a:fontRef>
        </p:style>
        <p:txBody>
          <a:bodyPr anchor="ctr"/>
          <a:lstStyle/>
          <a:p>
            <a:pPr algn="ctr" rtl="1">
              <a:defRPr/>
            </a:pPr>
            <a:r>
              <a:rPr lang="ar-EG" sz="1600" dirty="0">
                <a:solidFill>
                  <a:schemeClr val="bg1">
                    <a:lumMod val="95000"/>
                  </a:schemeClr>
                </a:solidFill>
              </a:rPr>
              <a:t>المعامل الهندسية</a:t>
            </a:r>
            <a:endParaRPr lang="en-US" sz="1600" dirty="0">
              <a:solidFill>
                <a:schemeClr val="bg1">
                  <a:lumMod val="95000"/>
                </a:schemeClr>
              </a:solidFill>
            </a:endParaRPr>
          </a:p>
        </p:txBody>
      </p:sp>
      <p:sp>
        <p:nvSpPr>
          <p:cNvPr id="6" name="Oval Callout 5">
            <a:hlinkClick r:id="rId4" action="ppaction://hlinkfile"/>
          </p:cNvPr>
          <p:cNvSpPr/>
          <p:nvPr/>
        </p:nvSpPr>
        <p:spPr>
          <a:xfrm>
            <a:off x="1721848" y="3537854"/>
            <a:ext cx="1447800" cy="605120"/>
          </a:xfrm>
          <a:prstGeom prst="wedgeEllipseCallout">
            <a:avLst>
              <a:gd name="adj1" fmla="val -22699"/>
              <a:gd name="adj2" fmla="val 121912"/>
            </a:avLst>
          </a:prstGeom>
          <a:solidFill>
            <a:schemeClr val="accent2">
              <a:lumMod val="75000"/>
            </a:schemeClr>
          </a:solidFill>
          <a:ln>
            <a:noFill/>
          </a:ln>
          <a:effectLst>
            <a:glow rad="63500">
              <a:schemeClr val="accent4">
                <a:satMod val="175000"/>
                <a:alpha val="40000"/>
              </a:schemeClr>
            </a:glow>
            <a:outerShdw blurRad="50800" dist="38100" dir="5400000" algn="t" rotWithShape="0">
              <a:prstClr val="black">
                <a:alpha val="40000"/>
              </a:prstClr>
            </a:outerShdw>
            <a:reflection blurRad="6350" stA="50000" endA="300" endPos="55000" dir="5400000" sy="-100000" algn="bl" rotWithShape="0"/>
          </a:effectLst>
          <a:scene3d>
            <a:camera prst="orthographicFront">
              <a:rot lat="0" lon="0" rev="0"/>
            </a:camera>
            <a:lightRig rig="soft" dir="t">
              <a:rot lat="0" lon="0" rev="0"/>
            </a:lightRig>
          </a:scene3d>
          <a:sp3d contourW="44450" prstMaterial="matte">
            <a:bevelT w="63500" h="63500" prst="relaxedInset"/>
            <a:contourClr>
              <a:srgbClr val="FFFFFF"/>
            </a:contourClr>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ar-EG" sz="1600" dirty="0">
                <a:solidFill>
                  <a:schemeClr val="bg1">
                    <a:lumMod val="95000"/>
                  </a:schemeClr>
                </a:solidFill>
                <a:latin typeface="Times New Roman" pitchFamily="18" charset="0"/>
                <a:cs typeface="Times New Roman" pitchFamily="18" charset="0"/>
              </a:rPr>
              <a:t>المعامل الكيمائية</a:t>
            </a:r>
            <a:endParaRPr lang="en-US" sz="1600" dirty="0">
              <a:solidFill>
                <a:schemeClr val="bg1">
                  <a:lumMod val="95000"/>
                </a:schemeClr>
              </a:solidFill>
              <a:latin typeface="Times New Roman" pitchFamily="18" charset="0"/>
              <a:cs typeface="Times New Roman" pitchFamily="18" charset="0"/>
            </a:endParaRPr>
          </a:p>
        </p:txBody>
      </p:sp>
      <p:pic>
        <p:nvPicPr>
          <p:cNvPr id="7" name="Picture 6" descr="DSC03039.JPG"/>
          <p:cNvPicPr>
            <a:picLocks noChangeAspect="1"/>
          </p:cNvPicPr>
          <p:nvPr/>
        </p:nvPicPr>
        <p:blipFill>
          <a:blip r:embed="rId5" cstate="email"/>
          <a:stretch>
            <a:fillRect/>
          </a:stretch>
        </p:blipFill>
        <p:spPr>
          <a:xfrm>
            <a:off x="755576" y="1445082"/>
            <a:ext cx="2318132" cy="201706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8" name="Picture 7" descr="DSC03035.JPG"/>
          <p:cNvPicPr>
            <a:picLocks noChangeAspect="1"/>
          </p:cNvPicPr>
          <p:nvPr/>
        </p:nvPicPr>
        <p:blipFill>
          <a:blip r:embed="rId6" cstate="email"/>
          <a:stretch>
            <a:fillRect/>
          </a:stretch>
        </p:blipFill>
        <p:spPr>
          <a:xfrm>
            <a:off x="6247228" y="1211556"/>
            <a:ext cx="2896771" cy="1589989"/>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pic>
        <p:nvPicPr>
          <p:cNvPr id="9" name="Picture 8" descr="DSC03048.JPG"/>
          <p:cNvPicPr>
            <a:picLocks noChangeAspect="1"/>
          </p:cNvPicPr>
          <p:nvPr/>
        </p:nvPicPr>
        <p:blipFill>
          <a:blip r:embed="rId7" cstate="email"/>
          <a:stretch>
            <a:fillRect/>
          </a:stretch>
        </p:blipFill>
        <p:spPr>
          <a:xfrm>
            <a:off x="6215074" y="2713814"/>
            <a:ext cx="2214578" cy="2224428"/>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
        <p:nvSpPr>
          <p:cNvPr id="10" name="Oval Callout 9">
            <a:hlinkClick r:id="rId4" action="ppaction://hlinkfile"/>
          </p:cNvPr>
          <p:cNvSpPr/>
          <p:nvPr/>
        </p:nvSpPr>
        <p:spPr>
          <a:xfrm>
            <a:off x="4350823" y="3342755"/>
            <a:ext cx="1864251" cy="820487"/>
          </a:xfrm>
          <a:prstGeom prst="wedgeEllipseCallout">
            <a:avLst>
              <a:gd name="adj1" fmla="val 69550"/>
              <a:gd name="adj2" fmla="val 42612"/>
            </a:avLst>
          </a:prstGeom>
          <a:solidFill>
            <a:schemeClr val="accent2">
              <a:lumMod val="75000"/>
            </a:schemeClr>
          </a:solidFill>
          <a:ln>
            <a:noFill/>
          </a:ln>
          <a:effectLst>
            <a:glow rad="63500">
              <a:schemeClr val="accent4">
                <a:satMod val="175000"/>
                <a:alpha val="40000"/>
              </a:schemeClr>
            </a:glow>
            <a:outerShdw blurRad="50800" dist="38100" dir="5400000" algn="t" rotWithShape="0">
              <a:prstClr val="black">
                <a:alpha val="40000"/>
              </a:prstClr>
            </a:outerShdw>
            <a:reflection blurRad="6350" stA="50000" endA="300" endPos="55000" dir="5400000" sy="-100000" algn="bl" rotWithShape="0"/>
          </a:effectLst>
          <a:scene3d>
            <a:camera prst="orthographicFront">
              <a:rot lat="0" lon="0" rev="0"/>
            </a:camera>
            <a:lightRig rig="soft" dir="t">
              <a:rot lat="0" lon="0" rev="0"/>
            </a:lightRig>
          </a:scene3d>
          <a:sp3d contourW="44450" prstMaterial="matte">
            <a:bevelT w="63500" h="63500" prst="relaxedInset"/>
            <a:contourClr>
              <a:srgbClr val="FFFFFF"/>
            </a:contourClr>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ar-EG" sz="1600" dirty="0">
                <a:solidFill>
                  <a:schemeClr val="bg1">
                    <a:lumMod val="95000"/>
                  </a:schemeClr>
                </a:solidFill>
                <a:latin typeface="Times New Roman" pitchFamily="18" charset="0"/>
                <a:cs typeface="Times New Roman" pitchFamily="18" charset="0"/>
              </a:rPr>
              <a:t>البحوث النصف صناعية</a:t>
            </a:r>
            <a:endParaRPr lang="en-US" sz="1600" dirty="0">
              <a:solidFill>
                <a:schemeClr val="bg1">
                  <a:lumMod val="95000"/>
                </a:schemeClr>
              </a:solidFill>
              <a:latin typeface="Times New Roman" pitchFamily="18" charset="0"/>
              <a:cs typeface="Times New Roman" pitchFamily="18" charset="0"/>
            </a:endParaRPr>
          </a:p>
        </p:txBody>
      </p:sp>
      <p:pic>
        <p:nvPicPr>
          <p:cNvPr id="11" name="Picture 2" descr="E:\work\stce_work\stce_data\101MSDCF\124_2433.JPG"/>
          <p:cNvPicPr>
            <a:picLocks noChangeAspect="1" noChangeArrowheads="1"/>
          </p:cNvPicPr>
          <p:nvPr/>
        </p:nvPicPr>
        <p:blipFill rotWithShape="1">
          <a:blip r:embed="rId8" cstate="email">
            <a:extLst/>
          </a:blip>
          <a:srcRect/>
          <a:stretch/>
        </p:blipFill>
        <p:spPr bwMode="auto">
          <a:xfrm>
            <a:off x="0" y="3444504"/>
            <a:ext cx="2046392" cy="1922178"/>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a:extLst/>
        </p:spPr>
      </p:pic>
      <p:sp>
        <p:nvSpPr>
          <p:cNvPr id="12" name="Oval Callout 11">
            <a:hlinkClick r:id="rId4" action="ppaction://hlinkfile"/>
          </p:cNvPr>
          <p:cNvSpPr/>
          <p:nvPr/>
        </p:nvSpPr>
        <p:spPr>
          <a:xfrm>
            <a:off x="2857488" y="5485895"/>
            <a:ext cx="1864251" cy="820487"/>
          </a:xfrm>
          <a:prstGeom prst="wedgeEllipseCallout">
            <a:avLst>
              <a:gd name="adj1" fmla="val -68780"/>
              <a:gd name="adj2" fmla="val 24381"/>
            </a:avLst>
          </a:prstGeom>
          <a:solidFill>
            <a:schemeClr val="accent2">
              <a:lumMod val="75000"/>
            </a:schemeClr>
          </a:solidFill>
          <a:ln>
            <a:noFill/>
          </a:ln>
          <a:effectLst>
            <a:glow rad="63500">
              <a:schemeClr val="accent4">
                <a:satMod val="175000"/>
                <a:alpha val="40000"/>
              </a:schemeClr>
            </a:glow>
            <a:outerShdw blurRad="50800" dist="38100" dir="5400000" algn="t" rotWithShape="0">
              <a:prstClr val="black">
                <a:alpha val="40000"/>
              </a:prstClr>
            </a:outerShdw>
            <a:reflection blurRad="6350" stA="50000" endA="300" endPos="55000" dir="5400000" sy="-100000" algn="bl" rotWithShape="0"/>
          </a:effectLst>
          <a:scene3d>
            <a:camera prst="orthographicFront">
              <a:rot lat="0" lon="0" rev="0"/>
            </a:camera>
            <a:lightRig rig="soft" dir="t">
              <a:rot lat="0" lon="0" rev="0"/>
            </a:lightRig>
          </a:scene3d>
          <a:sp3d contourW="44450" prstMaterial="matte">
            <a:bevelT w="63500" h="63500" prst="relaxedInset"/>
            <a:contourClr>
              <a:srgbClr val="FFFFFF"/>
            </a:contourClr>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ar-EG" sz="1600" dirty="0" smtClean="0">
                <a:solidFill>
                  <a:schemeClr val="bg1">
                    <a:lumMod val="95000"/>
                  </a:schemeClr>
                </a:solidFill>
                <a:latin typeface="Times New Roman" pitchFamily="18" charset="0"/>
                <a:cs typeface="Times New Roman" pitchFamily="18" charset="0"/>
              </a:rPr>
              <a:t>مبنى المواد</a:t>
            </a:r>
            <a:endParaRPr lang="en-US" sz="1600" dirty="0">
              <a:solidFill>
                <a:schemeClr val="bg1">
                  <a:lumMod val="95000"/>
                </a:schemeClr>
              </a:solidFill>
              <a:latin typeface="Times New Roman" pitchFamily="18" charset="0"/>
              <a:cs typeface="Times New Roman" pitchFamily="18" charset="0"/>
            </a:endParaRPr>
          </a:p>
        </p:txBody>
      </p:sp>
      <p:sp>
        <p:nvSpPr>
          <p:cNvPr id="13" name="Oval Callout 12">
            <a:hlinkClick r:id="rId4" action="ppaction://hlinkfile"/>
          </p:cNvPr>
          <p:cNvSpPr/>
          <p:nvPr/>
        </p:nvSpPr>
        <p:spPr>
          <a:xfrm>
            <a:off x="7494063" y="4842953"/>
            <a:ext cx="1649937" cy="820487"/>
          </a:xfrm>
          <a:prstGeom prst="wedgeEllipseCallout">
            <a:avLst>
              <a:gd name="adj1" fmla="val -55081"/>
              <a:gd name="adj2" fmla="val 72443"/>
            </a:avLst>
          </a:prstGeom>
          <a:solidFill>
            <a:schemeClr val="accent2">
              <a:lumMod val="75000"/>
            </a:schemeClr>
          </a:solidFill>
          <a:ln>
            <a:noFill/>
          </a:ln>
          <a:effectLst>
            <a:glow rad="63500">
              <a:schemeClr val="accent4">
                <a:satMod val="175000"/>
                <a:alpha val="40000"/>
              </a:schemeClr>
            </a:glow>
            <a:outerShdw blurRad="50800" dist="38100" dir="5400000" algn="t" rotWithShape="0">
              <a:prstClr val="black">
                <a:alpha val="40000"/>
              </a:prstClr>
            </a:outerShdw>
            <a:reflection blurRad="6350" stA="50000" endA="300" endPos="55000" dir="5400000" sy="-100000" algn="bl" rotWithShape="0"/>
          </a:effectLst>
          <a:scene3d>
            <a:camera prst="orthographicFront">
              <a:rot lat="0" lon="0" rev="0"/>
            </a:camera>
            <a:lightRig rig="soft" dir="t">
              <a:rot lat="0" lon="0" rev="0"/>
            </a:lightRig>
          </a:scene3d>
          <a:sp3d contourW="44450" prstMaterial="matte">
            <a:bevelT w="63500" h="63500" prst="relaxedInset"/>
            <a:contourClr>
              <a:srgbClr val="FFFFFF"/>
            </a:contourClr>
          </a:sp3d>
        </p:spPr>
        <p:style>
          <a:lnRef idx="1">
            <a:schemeClr val="accent4"/>
          </a:lnRef>
          <a:fillRef idx="3">
            <a:schemeClr val="accent4"/>
          </a:fillRef>
          <a:effectRef idx="2">
            <a:schemeClr val="accent4"/>
          </a:effectRef>
          <a:fontRef idx="minor">
            <a:schemeClr val="lt1"/>
          </a:fontRef>
        </p:style>
        <p:txBody>
          <a:bodyPr anchor="ctr"/>
          <a:lstStyle/>
          <a:p>
            <a:pPr algn="ctr">
              <a:defRPr/>
            </a:pPr>
            <a:r>
              <a:rPr lang="ar-EG" sz="1600" dirty="0" smtClean="0">
                <a:solidFill>
                  <a:schemeClr val="bg1">
                    <a:lumMod val="95000"/>
                  </a:schemeClr>
                </a:solidFill>
                <a:latin typeface="Times New Roman" pitchFamily="18" charset="0"/>
                <a:cs typeface="Times New Roman" pitchFamily="18" charset="0"/>
              </a:rPr>
              <a:t>المجمع التكنولوجى</a:t>
            </a:r>
            <a:endParaRPr lang="en-US" sz="1600" dirty="0">
              <a:solidFill>
                <a:schemeClr val="bg1">
                  <a:lumMod val="95000"/>
                </a:schemeClr>
              </a:solidFill>
              <a:latin typeface="Times New Roman" pitchFamily="18" charset="0"/>
              <a:cs typeface="Times New Roman" pitchFamily="18" charset="0"/>
            </a:endParaRPr>
          </a:p>
        </p:txBody>
      </p:sp>
      <p:pic>
        <p:nvPicPr>
          <p:cNvPr id="14" name="Picture 2" descr="E:\Presentation\Picture.jpg"/>
          <p:cNvPicPr>
            <a:picLocks noChangeAspect="1" noChangeArrowheads="1"/>
          </p:cNvPicPr>
          <p:nvPr/>
        </p:nvPicPr>
        <p:blipFill>
          <a:blip r:embed="rId9" cstate="print"/>
          <a:srcRect l="6688" t="20543" r="4326" b="14879"/>
          <a:stretch>
            <a:fillRect/>
          </a:stretch>
        </p:blipFill>
        <p:spPr bwMode="auto">
          <a:xfrm>
            <a:off x="611560" y="5374139"/>
            <a:ext cx="1888738" cy="1260966"/>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style>
          <a:lnRef idx="2">
            <a:schemeClr val="dk1"/>
          </a:lnRef>
          <a:fillRef idx="1">
            <a:schemeClr val="lt1"/>
          </a:fillRef>
          <a:effectRef idx="0">
            <a:schemeClr val="dk1"/>
          </a:effectRef>
          <a:fontRef idx="minor">
            <a:schemeClr val="dk1"/>
          </a:fontRef>
        </p:style>
      </p:pic>
      <p:pic>
        <p:nvPicPr>
          <p:cNvPr id="15" name="Picture 14" descr="IMG_0772.JPG"/>
          <p:cNvPicPr>
            <a:picLocks noChangeAspect="1"/>
          </p:cNvPicPr>
          <p:nvPr/>
        </p:nvPicPr>
        <p:blipFill>
          <a:blip r:embed="rId10" cstate="print"/>
          <a:stretch>
            <a:fillRect/>
          </a:stretch>
        </p:blipFill>
        <p:spPr>
          <a:xfrm>
            <a:off x="5929322" y="5001522"/>
            <a:ext cx="1571604" cy="1560054"/>
          </a:xfrm>
          <a:prstGeom prst="roundRect">
            <a:avLst>
              <a:gd name="adj" fmla="val 16667"/>
            </a:avLst>
          </a:prstGeom>
          <a:ln>
            <a:noFill/>
          </a:ln>
          <a:effectLst>
            <a:outerShdw blurRad="152400" dist="12000" dir="900000" sy="98000" kx="110000" ky="200000" algn="tl" rotWithShape="0">
              <a:srgbClr val="000000">
                <a:alpha val="30000"/>
              </a:srgbClr>
            </a:outerShdw>
          </a:effectLst>
          <a:scene3d>
            <a:camera prst="perspectiveRelaxed">
              <a:rot lat="19800000" lon="1200000" rev="20820000"/>
            </a:camera>
            <a:lightRig rig="threePt" dir="t"/>
          </a:scene3d>
          <a:sp3d contourW="6350" prstMaterial="matte">
            <a:bevelT w="101600" h="101600"/>
            <a:contourClr>
              <a:srgbClr val="969696"/>
            </a:contourClr>
          </a:sp3d>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1" presetClass="entr" presetSubtype="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770" decel="100000"/>
                                        <p:tgtEl>
                                          <p:spTgt spid="8"/>
                                        </p:tgtEl>
                                      </p:cBhvr>
                                    </p:animEffect>
                                    <p:animScale>
                                      <p:cBhvr>
                                        <p:cTn id="8" dur="770" decel="100000"/>
                                        <p:tgtEl>
                                          <p:spTgt spid="8"/>
                                        </p:tgtEl>
                                      </p:cBhvr>
                                      <p:from x="10000" y="10000"/>
                                      <p:to x="200000" y="450000"/>
                                    </p:animScale>
                                    <p:animScale>
                                      <p:cBhvr>
                                        <p:cTn id="9" dur="1230" accel="100000" fill="hold">
                                          <p:stCondLst>
                                            <p:cond delay="770"/>
                                          </p:stCondLst>
                                        </p:cTn>
                                        <p:tgtEl>
                                          <p:spTgt spid="8"/>
                                        </p:tgtEl>
                                      </p:cBhvr>
                                      <p:from x="200000" y="450000"/>
                                      <p:to x="100000" y="100000"/>
                                    </p:animScale>
                                    <p:set>
                                      <p:cBhvr>
                                        <p:cTn id="10" dur="770" fill="hold"/>
                                        <p:tgtEl>
                                          <p:spTgt spid="8"/>
                                        </p:tgtEl>
                                        <p:attrNameLst>
                                          <p:attrName>ppt_x</p:attrName>
                                        </p:attrNameLst>
                                      </p:cBhvr>
                                      <p:to>
                                        <p:strVal val="(0.5)"/>
                                      </p:to>
                                    </p:set>
                                    <p:anim from="(0.5)" to="(#ppt_x)" calcmode="lin" valueType="num">
                                      <p:cBhvr>
                                        <p:cTn id="11" dur="1230" accel="100000" fill="hold">
                                          <p:stCondLst>
                                            <p:cond delay="770"/>
                                          </p:stCondLst>
                                        </p:cTn>
                                        <p:tgtEl>
                                          <p:spTgt spid="8"/>
                                        </p:tgtEl>
                                        <p:attrNameLst>
                                          <p:attrName>ppt_x</p:attrName>
                                        </p:attrNameLst>
                                      </p:cBhvr>
                                    </p:anim>
                                    <p:set>
                                      <p:cBhvr>
                                        <p:cTn id="12" dur="770" fill="hold"/>
                                        <p:tgtEl>
                                          <p:spTgt spid="8"/>
                                        </p:tgtEl>
                                        <p:attrNameLst>
                                          <p:attrName>ppt_y</p:attrName>
                                        </p:attrNameLst>
                                      </p:cBhvr>
                                      <p:to>
                                        <p:strVal val="(#ppt_y+0.4)"/>
                                      </p:to>
                                    </p:set>
                                    <p:anim from="(#ppt_y+0.4)" to="(#ppt_y)" calcmode="lin" valueType="num">
                                      <p:cBhvr>
                                        <p:cTn id="13" dur="1230" accel="100000" fill="hold">
                                          <p:stCondLst>
                                            <p:cond delay="770"/>
                                          </p:stCondLst>
                                        </p:cTn>
                                        <p:tgtEl>
                                          <p:spTgt spid="8"/>
                                        </p:tgtEl>
                                        <p:attrNameLst>
                                          <p:attrName>ppt_y</p:attrName>
                                        </p:attrNameLst>
                                      </p:cBhvr>
                                    </p:anim>
                                  </p:childTnLst>
                                </p:cTn>
                              </p:par>
                            </p:childTnLst>
                          </p:cTn>
                        </p:par>
                      </p:childTnLst>
                    </p:cTn>
                  </p:par>
                  <p:par>
                    <p:cTn id="14" fill="hold">
                      <p:stCondLst>
                        <p:cond delay="indefinite"/>
                      </p:stCondLst>
                      <p:childTnLst>
                        <p:par>
                          <p:cTn id="15" fill="hold">
                            <p:stCondLst>
                              <p:cond delay="0"/>
                            </p:stCondLst>
                            <p:childTnLst>
                              <p:par>
                                <p:cTn id="16" presetID="51"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770" decel="100000"/>
                                        <p:tgtEl>
                                          <p:spTgt spid="5"/>
                                        </p:tgtEl>
                                      </p:cBhvr>
                                    </p:animEffect>
                                    <p:animScale>
                                      <p:cBhvr>
                                        <p:cTn id="19" dur="770" decel="100000"/>
                                        <p:tgtEl>
                                          <p:spTgt spid="5"/>
                                        </p:tgtEl>
                                      </p:cBhvr>
                                      <p:from x="10000" y="10000"/>
                                      <p:to x="200000" y="450000"/>
                                    </p:animScale>
                                    <p:animScale>
                                      <p:cBhvr>
                                        <p:cTn id="20" dur="1230" accel="100000" fill="hold">
                                          <p:stCondLst>
                                            <p:cond delay="770"/>
                                          </p:stCondLst>
                                        </p:cTn>
                                        <p:tgtEl>
                                          <p:spTgt spid="5"/>
                                        </p:tgtEl>
                                      </p:cBhvr>
                                      <p:from x="200000" y="450000"/>
                                      <p:to x="100000" y="100000"/>
                                    </p:animScale>
                                    <p:set>
                                      <p:cBhvr>
                                        <p:cTn id="21" dur="770" fill="hold"/>
                                        <p:tgtEl>
                                          <p:spTgt spid="5"/>
                                        </p:tgtEl>
                                        <p:attrNameLst>
                                          <p:attrName>ppt_x</p:attrName>
                                        </p:attrNameLst>
                                      </p:cBhvr>
                                      <p:to>
                                        <p:strVal val="(0.5)"/>
                                      </p:to>
                                    </p:set>
                                    <p:anim from="(0.5)" to="(#ppt_x)" calcmode="lin" valueType="num">
                                      <p:cBhvr>
                                        <p:cTn id="22" dur="1230" accel="100000" fill="hold">
                                          <p:stCondLst>
                                            <p:cond delay="770"/>
                                          </p:stCondLst>
                                        </p:cTn>
                                        <p:tgtEl>
                                          <p:spTgt spid="5"/>
                                        </p:tgtEl>
                                        <p:attrNameLst>
                                          <p:attrName>ppt_x</p:attrName>
                                        </p:attrNameLst>
                                      </p:cBhvr>
                                    </p:anim>
                                    <p:set>
                                      <p:cBhvr>
                                        <p:cTn id="23" dur="770" fill="hold"/>
                                        <p:tgtEl>
                                          <p:spTgt spid="5"/>
                                        </p:tgtEl>
                                        <p:attrNameLst>
                                          <p:attrName>ppt_y</p:attrName>
                                        </p:attrNameLst>
                                      </p:cBhvr>
                                      <p:to>
                                        <p:strVal val="(#ppt_y+0.4)"/>
                                      </p:to>
                                    </p:set>
                                    <p:anim from="(#ppt_y+0.4)" to="(#ppt_y)" calcmode="lin" valueType="num">
                                      <p:cBhvr>
                                        <p:cTn id="24" dur="1230" accel="100000" fill="hold">
                                          <p:stCondLst>
                                            <p:cond delay="770"/>
                                          </p:stCondLst>
                                        </p:cTn>
                                        <p:tgtEl>
                                          <p:spTgt spid="5"/>
                                        </p:tgtEl>
                                        <p:attrNameLst>
                                          <p:attrName>ppt_y</p:attrName>
                                        </p:attrNameLst>
                                      </p:cBhvr>
                                    </p:anim>
                                  </p:childTnLst>
                                </p:cTn>
                              </p:par>
                              <p:par>
                                <p:cTn id="25" presetID="51" presetClass="entr" presetSubtype="0" fill="hold" nodeType="with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770" decel="100000"/>
                                        <p:tgtEl>
                                          <p:spTgt spid="7"/>
                                        </p:tgtEl>
                                      </p:cBhvr>
                                    </p:animEffect>
                                    <p:animScale>
                                      <p:cBhvr>
                                        <p:cTn id="28" dur="770" decel="100000"/>
                                        <p:tgtEl>
                                          <p:spTgt spid="7"/>
                                        </p:tgtEl>
                                      </p:cBhvr>
                                      <p:from x="10000" y="10000"/>
                                      <p:to x="200000" y="450000"/>
                                    </p:animScale>
                                    <p:animScale>
                                      <p:cBhvr>
                                        <p:cTn id="29" dur="1230" accel="100000" fill="hold">
                                          <p:stCondLst>
                                            <p:cond delay="770"/>
                                          </p:stCondLst>
                                        </p:cTn>
                                        <p:tgtEl>
                                          <p:spTgt spid="7"/>
                                        </p:tgtEl>
                                      </p:cBhvr>
                                      <p:from x="200000" y="450000"/>
                                      <p:to x="100000" y="100000"/>
                                    </p:animScale>
                                    <p:set>
                                      <p:cBhvr>
                                        <p:cTn id="30" dur="770" fill="hold"/>
                                        <p:tgtEl>
                                          <p:spTgt spid="7"/>
                                        </p:tgtEl>
                                        <p:attrNameLst>
                                          <p:attrName>ppt_x</p:attrName>
                                        </p:attrNameLst>
                                      </p:cBhvr>
                                      <p:to>
                                        <p:strVal val="(0.5)"/>
                                      </p:to>
                                    </p:set>
                                    <p:anim from="(0.5)" to="(#ppt_x)" calcmode="lin" valueType="num">
                                      <p:cBhvr>
                                        <p:cTn id="31" dur="1230" accel="100000" fill="hold">
                                          <p:stCondLst>
                                            <p:cond delay="770"/>
                                          </p:stCondLst>
                                        </p:cTn>
                                        <p:tgtEl>
                                          <p:spTgt spid="7"/>
                                        </p:tgtEl>
                                        <p:attrNameLst>
                                          <p:attrName>ppt_x</p:attrName>
                                        </p:attrNameLst>
                                      </p:cBhvr>
                                    </p:anim>
                                    <p:set>
                                      <p:cBhvr>
                                        <p:cTn id="32" dur="770" fill="hold"/>
                                        <p:tgtEl>
                                          <p:spTgt spid="7"/>
                                        </p:tgtEl>
                                        <p:attrNameLst>
                                          <p:attrName>ppt_y</p:attrName>
                                        </p:attrNameLst>
                                      </p:cBhvr>
                                      <p:to>
                                        <p:strVal val="(#ppt_y+0.4)"/>
                                      </p:to>
                                    </p:set>
                                    <p:anim from="(#ppt_y+0.4)" to="(#ppt_y)" calcmode="lin" valueType="num">
                                      <p:cBhvr>
                                        <p:cTn id="33" dur="1230" accel="100000" fill="hold">
                                          <p:stCondLst>
                                            <p:cond delay="770"/>
                                          </p:stCondLst>
                                        </p:cTn>
                                        <p:tgtEl>
                                          <p:spTgt spid="7"/>
                                        </p:tgtEl>
                                        <p:attrNameLst>
                                          <p:attrName>ppt_y</p:attrName>
                                        </p:attrNameLst>
                                      </p:cBhvr>
                                    </p:anim>
                                  </p:childTnLst>
                                </p:cTn>
                              </p:par>
                            </p:childTnLst>
                          </p:cTn>
                        </p:par>
                      </p:childTnLst>
                    </p:cTn>
                  </p:par>
                  <p:par>
                    <p:cTn id="34" fill="hold">
                      <p:stCondLst>
                        <p:cond delay="indefinite"/>
                      </p:stCondLst>
                      <p:childTnLst>
                        <p:par>
                          <p:cTn id="35" fill="hold">
                            <p:stCondLst>
                              <p:cond delay="0"/>
                            </p:stCondLst>
                            <p:childTnLst>
                              <p:par>
                                <p:cTn id="36" presetID="51" presetClass="entr" presetSubtype="0" fill="hold" nodeType="clickEffect">
                                  <p:stCondLst>
                                    <p:cond delay="0"/>
                                  </p:stCondLst>
                                  <p:childTnLst>
                                    <p:set>
                                      <p:cBhvr>
                                        <p:cTn id="37" dur="1" fill="hold">
                                          <p:stCondLst>
                                            <p:cond delay="0"/>
                                          </p:stCondLst>
                                        </p:cTn>
                                        <p:tgtEl>
                                          <p:spTgt spid="6"/>
                                        </p:tgtEl>
                                        <p:attrNameLst>
                                          <p:attrName>style.visibility</p:attrName>
                                        </p:attrNameLst>
                                      </p:cBhvr>
                                      <p:to>
                                        <p:strVal val="visible"/>
                                      </p:to>
                                    </p:set>
                                    <p:animEffect transition="in" filter="fade">
                                      <p:cBhvr>
                                        <p:cTn id="38" dur="770" decel="100000"/>
                                        <p:tgtEl>
                                          <p:spTgt spid="6"/>
                                        </p:tgtEl>
                                      </p:cBhvr>
                                    </p:animEffect>
                                    <p:animScale>
                                      <p:cBhvr>
                                        <p:cTn id="39" dur="770" decel="100000"/>
                                        <p:tgtEl>
                                          <p:spTgt spid="6"/>
                                        </p:tgtEl>
                                      </p:cBhvr>
                                      <p:from x="10000" y="10000"/>
                                      <p:to x="200000" y="450000"/>
                                    </p:animScale>
                                    <p:animScale>
                                      <p:cBhvr>
                                        <p:cTn id="40" dur="1230" accel="100000" fill="hold">
                                          <p:stCondLst>
                                            <p:cond delay="770"/>
                                          </p:stCondLst>
                                        </p:cTn>
                                        <p:tgtEl>
                                          <p:spTgt spid="6"/>
                                        </p:tgtEl>
                                      </p:cBhvr>
                                      <p:from x="200000" y="450000"/>
                                      <p:to x="100000" y="100000"/>
                                    </p:animScale>
                                    <p:set>
                                      <p:cBhvr>
                                        <p:cTn id="41" dur="770" fill="hold"/>
                                        <p:tgtEl>
                                          <p:spTgt spid="6"/>
                                        </p:tgtEl>
                                        <p:attrNameLst>
                                          <p:attrName>ppt_x</p:attrName>
                                        </p:attrNameLst>
                                      </p:cBhvr>
                                      <p:to>
                                        <p:strVal val="(0.5)"/>
                                      </p:to>
                                    </p:set>
                                    <p:anim from="(0.5)" to="(#ppt_x)" calcmode="lin" valueType="num">
                                      <p:cBhvr>
                                        <p:cTn id="42" dur="1230" accel="100000" fill="hold">
                                          <p:stCondLst>
                                            <p:cond delay="770"/>
                                          </p:stCondLst>
                                        </p:cTn>
                                        <p:tgtEl>
                                          <p:spTgt spid="6"/>
                                        </p:tgtEl>
                                        <p:attrNameLst>
                                          <p:attrName>ppt_x</p:attrName>
                                        </p:attrNameLst>
                                      </p:cBhvr>
                                    </p:anim>
                                    <p:set>
                                      <p:cBhvr>
                                        <p:cTn id="43" dur="770" fill="hold"/>
                                        <p:tgtEl>
                                          <p:spTgt spid="6"/>
                                        </p:tgtEl>
                                        <p:attrNameLst>
                                          <p:attrName>ppt_y</p:attrName>
                                        </p:attrNameLst>
                                      </p:cBhvr>
                                      <p:to>
                                        <p:strVal val="(#ppt_y+0.4)"/>
                                      </p:to>
                                    </p:set>
                                    <p:anim from="(#ppt_y+0.4)" to="(#ppt_y)" calcmode="lin" valueType="num">
                                      <p:cBhvr>
                                        <p:cTn id="44" dur="1230" accel="100000" fill="hold">
                                          <p:stCondLst>
                                            <p:cond delay="770"/>
                                          </p:stCondLst>
                                        </p:cTn>
                                        <p:tgtEl>
                                          <p:spTgt spid="6"/>
                                        </p:tgtEl>
                                        <p:attrNameLst>
                                          <p:attrName>ppt_y</p:attrName>
                                        </p:attrNameLst>
                                      </p:cBhvr>
                                    </p:anim>
                                  </p:childTnLst>
                                </p:cTn>
                              </p:par>
                              <p:par>
                                <p:cTn id="45" presetID="53" presetClass="entr" presetSubtype="16" fill="hold" nodeType="withEffect">
                                  <p:stCondLst>
                                    <p:cond delay="0"/>
                                  </p:stCondLst>
                                  <p:childTnLst>
                                    <p:set>
                                      <p:cBhvr>
                                        <p:cTn id="46" dur="1" fill="hold">
                                          <p:stCondLst>
                                            <p:cond delay="0"/>
                                          </p:stCondLst>
                                        </p:cTn>
                                        <p:tgtEl>
                                          <p:spTgt spid="11"/>
                                        </p:tgtEl>
                                        <p:attrNameLst>
                                          <p:attrName>style.visibility</p:attrName>
                                        </p:attrNameLst>
                                      </p:cBhvr>
                                      <p:to>
                                        <p:strVal val="visible"/>
                                      </p:to>
                                    </p:set>
                                    <p:anim calcmode="lin" valueType="num">
                                      <p:cBhvr>
                                        <p:cTn id="47" dur="500" fill="hold"/>
                                        <p:tgtEl>
                                          <p:spTgt spid="11"/>
                                        </p:tgtEl>
                                        <p:attrNameLst>
                                          <p:attrName>ppt_w</p:attrName>
                                        </p:attrNameLst>
                                      </p:cBhvr>
                                      <p:tavLst>
                                        <p:tav tm="0">
                                          <p:val>
                                            <p:fltVal val="0"/>
                                          </p:val>
                                        </p:tav>
                                        <p:tav tm="100000">
                                          <p:val>
                                            <p:strVal val="#ppt_w"/>
                                          </p:val>
                                        </p:tav>
                                      </p:tavLst>
                                    </p:anim>
                                    <p:anim calcmode="lin" valueType="num">
                                      <p:cBhvr>
                                        <p:cTn id="48" dur="500" fill="hold"/>
                                        <p:tgtEl>
                                          <p:spTgt spid="11"/>
                                        </p:tgtEl>
                                        <p:attrNameLst>
                                          <p:attrName>ppt_h</p:attrName>
                                        </p:attrNameLst>
                                      </p:cBhvr>
                                      <p:tavLst>
                                        <p:tav tm="0">
                                          <p:val>
                                            <p:fltVal val="0"/>
                                          </p:val>
                                        </p:tav>
                                        <p:tav tm="100000">
                                          <p:val>
                                            <p:strVal val="#ppt_h"/>
                                          </p:val>
                                        </p:tav>
                                      </p:tavLst>
                                    </p:anim>
                                    <p:animEffect transition="in" filter="fade">
                                      <p:cBhvr>
                                        <p:cTn id="49" dur="500"/>
                                        <p:tgtEl>
                                          <p:spTgt spid="11"/>
                                        </p:tgtEl>
                                      </p:cBhvr>
                                    </p:animEffect>
                                  </p:childTnLst>
                                </p:cTn>
                              </p:par>
                            </p:childTnLst>
                          </p:cTn>
                        </p:par>
                      </p:childTnLst>
                    </p:cTn>
                  </p:par>
                  <p:par>
                    <p:cTn id="50" fill="hold">
                      <p:stCondLst>
                        <p:cond delay="indefinite"/>
                      </p:stCondLst>
                      <p:childTnLst>
                        <p:par>
                          <p:cTn id="51" fill="hold">
                            <p:stCondLst>
                              <p:cond delay="0"/>
                            </p:stCondLst>
                            <p:childTnLst>
                              <p:par>
                                <p:cTn id="52" presetID="51" presetClass="entr" presetSubtype="0" fill="hold" nodeType="clickEffect">
                                  <p:stCondLst>
                                    <p:cond delay="0"/>
                                  </p:stCondLst>
                                  <p:childTnLst>
                                    <p:set>
                                      <p:cBhvr>
                                        <p:cTn id="53" dur="1" fill="hold">
                                          <p:stCondLst>
                                            <p:cond delay="0"/>
                                          </p:stCondLst>
                                        </p:cTn>
                                        <p:tgtEl>
                                          <p:spTgt spid="10"/>
                                        </p:tgtEl>
                                        <p:attrNameLst>
                                          <p:attrName>style.visibility</p:attrName>
                                        </p:attrNameLst>
                                      </p:cBhvr>
                                      <p:to>
                                        <p:strVal val="visible"/>
                                      </p:to>
                                    </p:set>
                                    <p:animEffect transition="in" filter="fade">
                                      <p:cBhvr>
                                        <p:cTn id="54" dur="770" decel="100000"/>
                                        <p:tgtEl>
                                          <p:spTgt spid="10"/>
                                        </p:tgtEl>
                                      </p:cBhvr>
                                    </p:animEffect>
                                    <p:animScale>
                                      <p:cBhvr>
                                        <p:cTn id="55" dur="770" decel="100000"/>
                                        <p:tgtEl>
                                          <p:spTgt spid="10"/>
                                        </p:tgtEl>
                                      </p:cBhvr>
                                      <p:from x="10000" y="10000"/>
                                      <p:to x="200000" y="450000"/>
                                    </p:animScale>
                                    <p:animScale>
                                      <p:cBhvr>
                                        <p:cTn id="56" dur="1230" accel="100000" fill="hold">
                                          <p:stCondLst>
                                            <p:cond delay="770"/>
                                          </p:stCondLst>
                                        </p:cTn>
                                        <p:tgtEl>
                                          <p:spTgt spid="10"/>
                                        </p:tgtEl>
                                      </p:cBhvr>
                                      <p:from x="200000" y="450000"/>
                                      <p:to x="100000" y="100000"/>
                                    </p:animScale>
                                    <p:set>
                                      <p:cBhvr>
                                        <p:cTn id="57" dur="770" fill="hold"/>
                                        <p:tgtEl>
                                          <p:spTgt spid="10"/>
                                        </p:tgtEl>
                                        <p:attrNameLst>
                                          <p:attrName>ppt_x</p:attrName>
                                        </p:attrNameLst>
                                      </p:cBhvr>
                                      <p:to>
                                        <p:strVal val="(0.5)"/>
                                      </p:to>
                                    </p:set>
                                    <p:anim from="(0.5)" to="(#ppt_x)" calcmode="lin" valueType="num">
                                      <p:cBhvr>
                                        <p:cTn id="58" dur="1230" accel="100000" fill="hold">
                                          <p:stCondLst>
                                            <p:cond delay="770"/>
                                          </p:stCondLst>
                                        </p:cTn>
                                        <p:tgtEl>
                                          <p:spTgt spid="10"/>
                                        </p:tgtEl>
                                        <p:attrNameLst>
                                          <p:attrName>ppt_x</p:attrName>
                                        </p:attrNameLst>
                                      </p:cBhvr>
                                    </p:anim>
                                    <p:set>
                                      <p:cBhvr>
                                        <p:cTn id="59" dur="770" fill="hold"/>
                                        <p:tgtEl>
                                          <p:spTgt spid="10"/>
                                        </p:tgtEl>
                                        <p:attrNameLst>
                                          <p:attrName>ppt_y</p:attrName>
                                        </p:attrNameLst>
                                      </p:cBhvr>
                                      <p:to>
                                        <p:strVal val="(#ppt_y+0.4)"/>
                                      </p:to>
                                    </p:set>
                                    <p:anim from="(#ppt_y+0.4)" to="(#ppt_y)" calcmode="lin" valueType="num">
                                      <p:cBhvr>
                                        <p:cTn id="60" dur="1230" accel="100000" fill="hold">
                                          <p:stCondLst>
                                            <p:cond delay="770"/>
                                          </p:stCondLst>
                                        </p:cTn>
                                        <p:tgtEl>
                                          <p:spTgt spid="10"/>
                                        </p:tgtEl>
                                        <p:attrNameLst>
                                          <p:attrName>ppt_y</p:attrName>
                                        </p:attrNameLst>
                                      </p:cBhvr>
                                    </p:anim>
                                  </p:childTnLst>
                                </p:cTn>
                              </p:par>
                              <p:par>
                                <p:cTn id="61" presetID="51" presetClass="entr" presetSubtype="0" fill="hold" nodeType="withEffect">
                                  <p:stCondLst>
                                    <p:cond delay="0"/>
                                  </p:stCondLst>
                                  <p:childTnLst>
                                    <p:set>
                                      <p:cBhvr>
                                        <p:cTn id="62" dur="1" fill="hold">
                                          <p:stCondLst>
                                            <p:cond delay="0"/>
                                          </p:stCondLst>
                                        </p:cTn>
                                        <p:tgtEl>
                                          <p:spTgt spid="9"/>
                                        </p:tgtEl>
                                        <p:attrNameLst>
                                          <p:attrName>style.visibility</p:attrName>
                                        </p:attrNameLst>
                                      </p:cBhvr>
                                      <p:to>
                                        <p:strVal val="visible"/>
                                      </p:to>
                                    </p:set>
                                    <p:animEffect transition="in" filter="fade">
                                      <p:cBhvr>
                                        <p:cTn id="63" dur="770" decel="100000"/>
                                        <p:tgtEl>
                                          <p:spTgt spid="9"/>
                                        </p:tgtEl>
                                      </p:cBhvr>
                                    </p:animEffect>
                                    <p:animScale>
                                      <p:cBhvr>
                                        <p:cTn id="64" dur="770" decel="100000"/>
                                        <p:tgtEl>
                                          <p:spTgt spid="9"/>
                                        </p:tgtEl>
                                      </p:cBhvr>
                                      <p:from x="10000" y="10000"/>
                                      <p:to x="200000" y="450000"/>
                                    </p:animScale>
                                    <p:animScale>
                                      <p:cBhvr>
                                        <p:cTn id="65" dur="1230" accel="100000" fill="hold">
                                          <p:stCondLst>
                                            <p:cond delay="770"/>
                                          </p:stCondLst>
                                        </p:cTn>
                                        <p:tgtEl>
                                          <p:spTgt spid="9"/>
                                        </p:tgtEl>
                                      </p:cBhvr>
                                      <p:from x="200000" y="450000"/>
                                      <p:to x="100000" y="100000"/>
                                    </p:animScale>
                                    <p:set>
                                      <p:cBhvr>
                                        <p:cTn id="66" dur="770" fill="hold"/>
                                        <p:tgtEl>
                                          <p:spTgt spid="9"/>
                                        </p:tgtEl>
                                        <p:attrNameLst>
                                          <p:attrName>ppt_x</p:attrName>
                                        </p:attrNameLst>
                                      </p:cBhvr>
                                      <p:to>
                                        <p:strVal val="(0.5)"/>
                                      </p:to>
                                    </p:set>
                                    <p:anim from="(0.5)" to="(#ppt_x)" calcmode="lin" valueType="num">
                                      <p:cBhvr>
                                        <p:cTn id="67" dur="1230" accel="100000" fill="hold">
                                          <p:stCondLst>
                                            <p:cond delay="770"/>
                                          </p:stCondLst>
                                        </p:cTn>
                                        <p:tgtEl>
                                          <p:spTgt spid="9"/>
                                        </p:tgtEl>
                                        <p:attrNameLst>
                                          <p:attrName>ppt_x</p:attrName>
                                        </p:attrNameLst>
                                      </p:cBhvr>
                                    </p:anim>
                                    <p:set>
                                      <p:cBhvr>
                                        <p:cTn id="68" dur="770" fill="hold"/>
                                        <p:tgtEl>
                                          <p:spTgt spid="9"/>
                                        </p:tgtEl>
                                        <p:attrNameLst>
                                          <p:attrName>ppt_y</p:attrName>
                                        </p:attrNameLst>
                                      </p:cBhvr>
                                      <p:to>
                                        <p:strVal val="(#ppt_y+0.4)"/>
                                      </p:to>
                                    </p:set>
                                    <p:anim from="(#ppt_y+0.4)" to="(#ppt_y)" calcmode="lin" valueType="num">
                                      <p:cBhvr>
                                        <p:cTn id="69" dur="1230" accel="100000" fill="hold">
                                          <p:stCondLst>
                                            <p:cond delay="770"/>
                                          </p:stCondLst>
                                        </p:cTn>
                                        <p:tgtEl>
                                          <p:spTgt spid="9"/>
                                        </p:tgtEl>
                                        <p:attrNameLst>
                                          <p:attrName>ppt_y</p:attrName>
                                        </p:attrNameLst>
                                      </p:cBhvr>
                                    </p:anim>
                                  </p:childTnLst>
                                </p:cTn>
                              </p:par>
                            </p:childTnLst>
                          </p:cTn>
                        </p:par>
                      </p:childTnLst>
                    </p:cTn>
                  </p:par>
                  <p:par>
                    <p:cTn id="70" fill="hold">
                      <p:stCondLst>
                        <p:cond delay="indefinite"/>
                      </p:stCondLst>
                      <p:childTnLst>
                        <p:par>
                          <p:cTn id="71" fill="hold">
                            <p:stCondLst>
                              <p:cond delay="0"/>
                            </p:stCondLst>
                            <p:childTnLst>
                              <p:par>
                                <p:cTn id="72" presetID="51" presetClass="entr" presetSubtype="0" fill="hold" nodeType="clickEffect">
                                  <p:stCondLst>
                                    <p:cond delay="0"/>
                                  </p:stCondLst>
                                  <p:childTnLst>
                                    <p:set>
                                      <p:cBhvr>
                                        <p:cTn id="73" dur="1" fill="hold">
                                          <p:stCondLst>
                                            <p:cond delay="0"/>
                                          </p:stCondLst>
                                        </p:cTn>
                                        <p:tgtEl>
                                          <p:spTgt spid="12"/>
                                        </p:tgtEl>
                                        <p:attrNameLst>
                                          <p:attrName>style.visibility</p:attrName>
                                        </p:attrNameLst>
                                      </p:cBhvr>
                                      <p:to>
                                        <p:strVal val="visible"/>
                                      </p:to>
                                    </p:set>
                                    <p:animEffect transition="in" filter="fade">
                                      <p:cBhvr>
                                        <p:cTn id="74" dur="770" decel="100000"/>
                                        <p:tgtEl>
                                          <p:spTgt spid="12"/>
                                        </p:tgtEl>
                                      </p:cBhvr>
                                    </p:animEffect>
                                    <p:animScale>
                                      <p:cBhvr>
                                        <p:cTn id="75" dur="770" decel="100000"/>
                                        <p:tgtEl>
                                          <p:spTgt spid="12"/>
                                        </p:tgtEl>
                                      </p:cBhvr>
                                      <p:from x="10000" y="10000"/>
                                      <p:to x="200000" y="450000"/>
                                    </p:animScale>
                                    <p:animScale>
                                      <p:cBhvr>
                                        <p:cTn id="76" dur="1230" accel="100000" fill="hold">
                                          <p:stCondLst>
                                            <p:cond delay="770"/>
                                          </p:stCondLst>
                                        </p:cTn>
                                        <p:tgtEl>
                                          <p:spTgt spid="12"/>
                                        </p:tgtEl>
                                      </p:cBhvr>
                                      <p:from x="200000" y="450000"/>
                                      <p:to x="100000" y="100000"/>
                                    </p:animScale>
                                    <p:set>
                                      <p:cBhvr>
                                        <p:cTn id="77" dur="770" fill="hold"/>
                                        <p:tgtEl>
                                          <p:spTgt spid="12"/>
                                        </p:tgtEl>
                                        <p:attrNameLst>
                                          <p:attrName>ppt_x</p:attrName>
                                        </p:attrNameLst>
                                      </p:cBhvr>
                                      <p:to>
                                        <p:strVal val="(0.5)"/>
                                      </p:to>
                                    </p:set>
                                    <p:anim from="(0.5)" to="(#ppt_x)" calcmode="lin" valueType="num">
                                      <p:cBhvr>
                                        <p:cTn id="78" dur="1230" accel="100000" fill="hold">
                                          <p:stCondLst>
                                            <p:cond delay="770"/>
                                          </p:stCondLst>
                                        </p:cTn>
                                        <p:tgtEl>
                                          <p:spTgt spid="12"/>
                                        </p:tgtEl>
                                        <p:attrNameLst>
                                          <p:attrName>ppt_x</p:attrName>
                                        </p:attrNameLst>
                                      </p:cBhvr>
                                    </p:anim>
                                    <p:set>
                                      <p:cBhvr>
                                        <p:cTn id="79" dur="770" fill="hold"/>
                                        <p:tgtEl>
                                          <p:spTgt spid="12"/>
                                        </p:tgtEl>
                                        <p:attrNameLst>
                                          <p:attrName>ppt_y</p:attrName>
                                        </p:attrNameLst>
                                      </p:cBhvr>
                                      <p:to>
                                        <p:strVal val="(#ppt_y+0.4)"/>
                                      </p:to>
                                    </p:set>
                                    <p:anim from="(#ppt_y+0.4)" to="(#ppt_y)" calcmode="lin" valueType="num">
                                      <p:cBhvr>
                                        <p:cTn id="80" dur="1230" accel="100000" fill="hold">
                                          <p:stCondLst>
                                            <p:cond delay="770"/>
                                          </p:stCondLst>
                                        </p:cTn>
                                        <p:tgtEl>
                                          <p:spTgt spid="12"/>
                                        </p:tgtEl>
                                        <p:attrNameLst>
                                          <p:attrName>ppt_y</p:attrName>
                                        </p:attrNameLst>
                                      </p:cBhvr>
                                    </p:anim>
                                  </p:childTnLst>
                                </p:cTn>
                              </p:par>
                            </p:childTnLst>
                          </p:cTn>
                        </p:par>
                      </p:childTnLst>
                    </p:cTn>
                  </p:par>
                  <p:par>
                    <p:cTn id="81" fill="hold">
                      <p:stCondLst>
                        <p:cond delay="indefinite"/>
                      </p:stCondLst>
                      <p:childTnLst>
                        <p:par>
                          <p:cTn id="82" fill="hold">
                            <p:stCondLst>
                              <p:cond delay="0"/>
                            </p:stCondLst>
                            <p:childTnLst>
                              <p:par>
                                <p:cTn id="83" presetID="51" presetClass="entr" presetSubtype="0" fill="hold" nodeType="clickEffect">
                                  <p:stCondLst>
                                    <p:cond delay="0"/>
                                  </p:stCondLst>
                                  <p:childTnLst>
                                    <p:set>
                                      <p:cBhvr>
                                        <p:cTn id="84" dur="1" fill="hold">
                                          <p:stCondLst>
                                            <p:cond delay="0"/>
                                          </p:stCondLst>
                                        </p:cTn>
                                        <p:tgtEl>
                                          <p:spTgt spid="13"/>
                                        </p:tgtEl>
                                        <p:attrNameLst>
                                          <p:attrName>style.visibility</p:attrName>
                                        </p:attrNameLst>
                                      </p:cBhvr>
                                      <p:to>
                                        <p:strVal val="visible"/>
                                      </p:to>
                                    </p:set>
                                    <p:animEffect transition="in" filter="fade">
                                      <p:cBhvr>
                                        <p:cTn id="85" dur="770" decel="100000"/>
                                        <p:tgtEl>
                                          <p:spTgt spid="13"/>
                                        </p:tgtEl>
                                      </p:cBhvr>
                                    </p:animEffect>
                                    <p:animScale>
                                      <p:cBhvr>
                                        <p:cTn id="86" dur="770" decel="100000"/>
                                        <p:tgtEl>
                                          <p:spTgt spid="13"/>
                                        </p:tgtEl>
                                      </p:cBhvr>
                                      <p:from x="10000" y="10000"/>
                                      <p:to x="200000" y="450000"/>
                                    </p:animScale>
                                    <p:animScale>
                                      <p:cBhvr>
                                        <p:cTn id="87" dur="1230" accel="100000" fill="hold">
                                          <p:stCondLst>
                                            <p:cond delay="770"/>
                                          </p:stCondLst>
                                        </p:cTn>
                                        <p:tgtEl>
                                          <p:spTgt spid="13"/>
                                        </p:tgtEl>
                                      </p:cBhvr>
                                      <p:from x="200000" y="450000"/>
                                      <p:to x="100000" y="100000"/>
                                    </p:animScale>
                                    <p:set>
                                      <p:cBhvr>
                                        <p:cTn id="88" dur="770" fill="hold"/>
                                        <p:tgtEl>
                                          <p:spTgt spid="13"/>
                                        </p:tgtEl>
                                        <p:attrNameLst>
                                          <p:attrName>ppt_x</p:attrName>
                                        </p:attrNameLst>
                                      </p:cBhvr>
                                      <p:to>
                                        <p:strVal val="(0.5)"/>
                                      </p:to>
                                    </p:set>
                                    <p:anim from="(0.5)" to="(#ppt_x)" calcmode="lin" valueType="num">
                                      <p:cBhvr>
                                        <p:cTn id="89" dur="1230" accel="100000" fill="hold">
                                          <p:stCondLst>
                                            <p:cond delay="770"/>
                                          </p:stCondLst>
                                        </p:cTn>
                                        <p:tgtEl>
                                          <p:spTgt spid="13"/>
                                        </p:tgtEl>
                                        <p:attrNameLst>
                                          <p:attrName>ppt_x</p:attrName>
                                        </p:attrNameLst>
                                      </p:cBhvr>
                                    </p:anim>
                                    <p:set>
                                      <p:cBhvr>
                                        <p:cTn id="90" dur="770" fill="hold"/>
                                        <p:tgtEl>
                                          <p:spTgt spid="13"/>
                                        </p:tgtEl>
                                        <p:attrNameLst>
                                          <p:attrName>ppt_y</p:attrName>
                                        </p:attrNameLst>
                                      </p:cBhvr>
                                      <p:to>
                                        <p:strVal val="(#ppt_y+0.4)"/>
                                      </p:to>
                                    </p:set>
                                    <p:anim from="(#ppt_y+0.4)" to="(#ppt_y)" calcmode="lin" valueType="num">
                                      <p:cBhvr>
                                        <p:cTn id="91" dur="1230" accel="100000" fill="hold">
                                          <p:stCondLst>
                                            <p:cond delay="770"/>
                                          </p:stCondLst>
                                        </p:cTn>
                                        <p:tgtEl>
                                          <p:spTgt spid="13"/>
                                        </p:tgtEl>
                                        <p:attrNameLst>
                                          <p:attrName>ppt_y</p:attrName>
                                        </p:attrNameLst>
                                      </p:cBhvr>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7" name="Rectangle 1"/>
          <p:cNvSpPr>
            <a:spLocks noChangeArrowheads="1"/>
          </p:cNvSpPr>
          <p:nvPr/>
        </p:nvSpPr>
        <p:spPr bwMode="auto">
          <a:xfrm>
            <a:off x="0" y="1189009"/>
            <a:ext cx="9001156" cy="95410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gn="ctr" rtl="1"/>
            <a:r>
              <a:rPr lang="ar-EG" sz="2800" b="1" dirty="0" smtClean="0">
                <a:solidFill>
                  <a:schemeClr val="accent2">
                    <a:lumMod val="75000"/>
                  </a:schemeClr>
                </a:solidFill>
              </a:rPr>
              <a:t>  نظام</a:t>
            </a:r>
            <a:r>
              <a:rPr lang="ar-SA" sz="2800" b="1" dirty="0" smtClean="0">
                <a:solidFill>
                  <a:schemeClr val="accent2">
                    <a:lumMod val="75000"/>
                  </a:schemeClr>
                </a:solidFill>
              </a:rPr>
              <a:t> الربط بين محطة التحكم ووحدة </a:t>
            </a:r>
            <a:r>
              <a:rPr lang="ar-EG" sz="2800" b="1" dirty="0" smtClean="0">
                <a:solidFill>
                  <a:schemeClr val="accent2">
                    <a:lumMod val="75000"/>
                  </a:schemeClr>
                </a:solidFill>
              </a:rPr>
              <a:t>الانتاج مع</a:t>
            </a:r>
            <a:r>
              <a:rPr lang="ar-SA" sz="2800" b="1" dirty="0" smtClean="0">
                <a:solidFill>
                  <a:schemeClr val="accent2">
                    <a:lumMod val="75000"/>
                  </a:schemeClr>
                </a:solidFill>
              </a:rPr>
              <a:t> وحدة خلط المواد</a:t>
            </a:r>
            <a:endParaRPr lang="en-US" sz="2800" dirty="0" smtClean="0">
              <a:solidFill>
                <a:schemeClr val="accent2">
                  <a:lumMod val="75000"/>
                </a:schemeClr>
              </a:solidFill>
            </a:endParaRPr>
          </a:p>
          <a:p>
            <a:pPr algn="ctr" rtl="1"/>
            <a:endParaRPr lang="en-US" sz="2800" dirty="0">
              <a:solidFill>
                <a:schemeClr val="accent2">
                  <a:lumMod val="75000"/>
                </a:schemeClr>
              </a:solidFill>
            </a:endParaRPr>
          </a:p>
        </p:txBody>
      </p:sp>
      <p:pic>
        <p:nvPicPr>
          <p:cNvPr id="5" name="Picture 4" descr="IMG_2055"/>
          <p:cNvPicPr/>
          <p:nvPr/>
        </p:nvPicPr>
        <p:blipFill>
          <a:blip r:embed="rId2" cstate="print"/>
          <a:srcRect/>
          <a:stretch>
            <a:fillRect/>
          </a:stretch>
        </p:blipFill>
        <p:spPr bwMode="auto">
          <a:xfrm>
            <a:off x="1657049" y="2214554"/>
            <a:ext cx="5772471" cy="4357718"/>
          </a:xfrm>
          <a:prstGeom prst="rect">
            <a:avLst/>
          </a:prstGeom>
          <a:noFill/>
          <a:ln w="38100" cmpd="sng" algn="ctr">
            <a:solidFill>
              <a:srgbClr val="1F497D"/>
            </a:solidFill>
            <a:miter lim="800000"/>
            <a:headEnd/>
            <a:tailEnd/>
          </a:ln>
          <a:effectLst/>
        </p:spPr>
      </p:pic>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Rectangle 10"/>
          <p:cNvSpPr>
            <a:spLocks noChangeArrowheads="1"/>
          </p:cNvSpPr>
          <p:nvPr/>
        </p:nvSpPr>
        <p:spPr bwMode="auto">
          <a:xfrm>
            <a:off x="0" y="11"/>
            <a:ext cx="9144000" cy="6858000"/>
          </a:xfrm>
          <a:prstGeom prst="rect">
            <a:avLst/>
          </a:prstGeom>
          <a:solidFill>
            <a:schemeClr val="bg1"/>
          </a:solidFill>
          <a:ln w="9525">
            <a:solidFill>
              <a:srgbClr val="000000"/>
            </a:solidFill>
            <a:round/>
            <a:headEnd/>
            <a:tailEnd/>
          </a:ln>
        </p:spPr>
        <p:txBody>
          <a:bodyPr lIns="91320" tIns="45661" rIns="91320" bIns="45661"/>
          <a:lstStyle/>
          <a:p>
            <a:pPr algn="ctr" latinLnBrk="1"/>
            <a:endParaRPr kumimoji="1" lang="en-US">
              <a:solidFill>
                <a:srgbClr val="000000"/>
              </a:solidFill>
              <a:latin typeface="Gulim" pitchFamily="34" charset="-127"/>
            </a:endParaRPr>
          </a:p>
        </p:txBody>
      </p:sp>
      <p:sp>
        <p:nvSpPr>
          <p:cNvPr id="4" name="Oval 3"/>
          <p:cNvSpPr>
            <a:spLocks noChangeArrowheads="1"/>
          </p:cNvSpPr>
          <p:nvPr/>
        </p:nvSpPr>
        <p:spPr bwMode="auto">
          <a:xfrm>
            <a:off x="4038600" y="2930537"/>
            <a:ext cx="1219200" cy="1219200"/>
          </a:xfrm>
          <a:prstGeom prst="ellipse">
            <a:avLst/>
          </a:prstGeom>
          <a:blipFill dpi="0" rotWithShape="1">
            <a:blip r:embed="rId3" cstate="print"/>
            <a:srcRect/>
            <a:stretch>
              <a:fillRect/>
            </a:stretch>
          </a:blipFill>
          <a:ln w="38100">
            <a:solidFill>
              <a:schemeClr val="bg1"/>
            </a:solidFill>
            <a:round/>
            <a:headEnd/>
            <a:tailEnd/>
          </a:ln>
          <a:effectLst>
            <a:outerShdw dist="20000" dir="5400000" rotWithShape="0">
              <a:srgbClr val="808080">
                <a:alpha val="37999"/>
              </a:srgbClr>
            </a:outerShdw>
          </a:effectLst>
        </p:spPr>
        <p:txBody>
          <a:bodyPr lIns="91223" tIns="45612" rIns="91223" bIns="45612" anchor="ctr"/>
          <a:lstStyle/>
          <a:p>
            <a:pPr algn="ctr" defTabSz="456113" latinLnBrk="1">
              <a:defRPr/>
            </a:pPr>
            <a:r>
              <a:rPr kumimoji="1" lang="en-US" sz="1400" dirty="0">
                <a:solidFill>
                  <a:srgbClr val="FFFFFF"/>
                </a:solidFill>
                <a:latin typeface="Trebuchet MS" charset="0"/>
                <a:ea typeface="MS PGothic" pitchFamily="34" charset="-128"/>
              </a:rPr>
              <a:t>Egypt</a:t>
            </a:r>
          </a:p>
        </p:txBody>
      </p:sp>
      <p:cxnSp>
        <p:nvCxnSpPr>
          <p:cNvPr id="10" name="Straight Arrow Connector 9"/>
          <p:cNvCxnSpPr/>
          <p:nvPr/>
        </p:nvCxnSpPr>
        <p:spPr bwMode="auto">
          <a:xfrm rot="16200000" flipH="1">
            <a:off x="5186172" y="3966972"/>
            <a:ext cx="864014" cy="940223"/>
          </a:xfrm>
          <a:prstGeom prst="straightConnector1">
            <a:avLst/>
          </a:prstGeom>
          <a:ln>
            <a:solidFill>
              <a:schemeClr val="tx1">
                <a:lumMod val="95000"/>
              </a:schemeClr>
            </a:solidFill>
            <a:tailEnd type="arrow"/>
          </a:ln>
          <a:effectLst>
            <a:innerShdw blurRad="50800" dist="25400" dir="10800000">
              <a:srgbClr val="FFFFFF">
                <a:alpha val="75000"/>
              </a:srgbClr>
            </a:innerShdw>
          </a:effectLst>
        </p:spPr>
        <p:style>
          <a:lnRef idx="3">
            <a:schemeClr val="accent1"/>
          </a:lnRef>
          <a:fillRef idx="0">
            <a:schemeClr val="accent1"/>
          </a:fillRef>
          <a:effectRef idx="2">
            <a:schemeClr val="accent1"/>
          </a:effectRef>
          <a:fontRef idx="minor">
            <a:schemeClr val="tx1"/>
          </a:fontRef>
        </p:style>
      </p:cxnSp>
      <p:sp>
        <p:nvSpPr>
          <p:cNvPr id="14" name="Oval 13"/>
          <p:cNvSpPr>
            <a:spLocks noChangeArrowheads="1"/>
          </p:cNvSpPr>
          <p:nvPr/>
        </p:nvSpPr>
        <p:spPr bwMode="auto">
          <a:xfrm>
            <a:off x="6019802" y="4657736"/>
            <a:ext cx="1219200" cy="1219200"/>
          </a:xfrm>
          <a:prstGeom prst="ellipse">
            <a:avLst/>
          </a:prstGeom>
          <a:blipFill dpi="0" rotWithShape="1">
            <a:blip r:embed="rId4" cstate="print"/>
            <a:srcRect/>
            <a:stretch>
              <a:fillRect/>
            </a:stretch>
          </a:blipFill>
          <a:ln w="38100">
            <a:solidFill>
              <a:schemeClr val="bg1"/>
            </a:solidFill>
            <a:round/>
            <a:headEnd/>
            <a:tailEnd/>
          </a:ln>
          <a:effectLst>
            <a:outerShdw dist="20000" dir="5400000" rotWithShape="0">
              <a:srgbClr val="808080">
                <a:alpha val="37999"/>
              </a:srgbClr>
            </a:outerShdw>
          </a:effectLst>
        </p:spPr>
        <p:txBody>
          <a:bodyPr lIns="91320" tIns="45661" rIns="91320" bIns="45661" anchor="ctr"/>
          <a:lstStyle/>
          <a:p>
            <a:pPr algn="ctr" defTabSz="456113" latinLnBrk="1">
              <a:defRPr/>
            </a:pPr>
            <a:endParaRPr kumimoji="1" lang="en-US" sz="1400" dirty="0">
              <a:solidFill>
                <a:srgbClr val="FFFFFF"/>
              </a:solidFill>
              <a:latin typeface="Trebuchet MS" charset="0"/>
              <a:ea typeface="MS PGothic" pitchFamily="34" charset="-128"/>
            </a:endParaRPr>
          </a:p>
        </p:txBody>
      </p:sp>
      <p:grpSp>
        <p:nvGrpSpPr>
          <p:cNvPr id="2" name="Group 72"/>
          <p:cNvGrpSpPr>
            <a:grpSpLocks/>
          </p:cNvGrpSpPr>
          <p:nvPr/>
        </p:nvGrpSpPr>
        <p:grpSpPr bwMode="auto">
          <a:xfrm>
            <a:off x="4048139" y="4572012"/>
            <a:ext cx="1236663" cy="2057401"/>
            <a:chOff x="4038600" y="4114809"/>
            <a:chExt cx="1237488" cy="2057391"/>
          </a:xfrm>
        </p:grpSpPr>
        <p:cxnSp>
          <p:nvCxnSpPr>
            <p:cNvPr id="21" name="Straight Arrow Connector 20"/>
            <p:cNvCxnSpPr/>
            <p:nvPr/>
          </p:nvCxnSpPr>
          <p:spPr>
            <a:xfrm rot="5400000">
              <a:off x="4190610" y="4571607"/>
              <a:ext cx="915183" cy="1588"/>
            </a:xfrm>
            <a:prstGeom prst="straightConnector1">
              <a:avLst/>
            </a:prstGeom>
            <a:ln>
              <a:solidFill>
                <a:schemeClr val="bg1"/>
              </a:solidFill>
              <a:tailEnd type="arrow"/>
            </a:ln>
            <a:effectLst>
              <a:innerShdw blurRad="50800" dist="25400" dir="10800000">
                <a:srgbClr val="FFFFFF">
                  <a:alpha val="75000"/>
                </a:srgbClr>
              </a:innerShdw>
            </a:effectLst>
          </p:spPr>
          <p:style>
            <a:lnRef idx="3">
              <a:schemeClr val="accent1"/>
            </a:lnRef>
            <a:fillRef idx="0">
              <a:schemeClr val="accent1"/>
            </a:fillRef>
            <a:effectRef idx="2">
              <a:schemeClr val="accent1"/>
            </a:effectRef>
            <a:fontRef idx="minor">
              <a:schemeClr val="tx1"/>
            </a:fontRef>
          </p:style>
        </p:cxnSp>
        <p:sp>
          <p:nvSpPr>
            <p:cNvPr id="22" name="Hexagon 21"/>
            <p:cNvSpPr>
              <a:spLocks noChangeArrowheads="1"/>
            </p:cNvSpPr>
            <p:nvPr/>
          </p:nvSpPr>
          <p:spPr bwMode="auto">
            <a:xfrm>
              <a:off x="4038600" y="5105405"/>
              <a:ext cx="1237488" cy="1066795"/>
            </a:xfrm>
            <a:prstGeom prst="hexagon">
              <a:avLst>
                <a:gd name="adj" fmla="val 24999"/>
                <a:gd name="vf" fmla="val 115470"/>
              </a:avLst>
            </a:prstGeom>
            <a:solidFill>
              <a:srgbClr val="222268"/>
            </a:solidFill>
            <a:ln w="38100">
              <a:solidFill>
                <a:schemeClr val="bg1"/>
              </a:solidFill>
              <a:miter lim="800000"/>
              <a:headEnd/>
              <a:tailEnd/>
            </a:ln>
            <a:effectLst>
              <a:outerShdw dist="20000" dir="5400000" rotWithShape="0">
                <a:srgbClr val="808080">
                  <a:alpha val="37999"/>
                </a:srgbClr>
              </a:outerShdw>
            </a:effectLst>
          </p:spPr>
          <p:txBody>
            <a:bodyPr anchor="ctr"/>
            <a:lstStyle/>
            <a:p>
              <a:pPr algn="ctr" defTabSz="456113" latinLnBrk="1">
                <a:defRPr/>
              </a:pPr>
              <a:r>
                <a:rPr kumimoji="1" lang="en-US" sz="1400" dirty="0">
                  <a:solidFill>
                    <a:srgbClr val="FFFFFF"/>
                  </a:solidFill>
                  <a:latin typeface="Trebuchet MS" charset="0"/>
                  <a:ea typeface="MS PGothic" pitchFamily="34" charset="-128"/>
                </a:rPr>
                <a:t>Africa</a:t>
              </a:r>
            </a:p>
            <a:p>
              <a:pPr algn="ctr" defTabSz="456113" latinLnBrk="1">
                <a:defRPr/>
              </a:pPr>
              <a:r>
                <a:rPr kumimoji="1" lang="en-US" sz="1400" dirty="0">
                  <a:solidFill>
                    <a:srgbClr val="FFFFFF"/>
                  </a:solidFill>
                  <a:latin typeface="Trebuchet MS" charset="0"/>
                  <a:ea typeface="MS PGothic" pitchFamily="34" charset="-128"/>
                </a:rPr>
                <a:t>AMCOST</a:t>
              </a:r>
            </a:p>
          </p:txBody>
        </p:sp>
      </p:grpSp>
      <p:sp>
        <p:nvSpPr>
          <p:cNvPr id="38" name="Round Diagonal Corner Rectangle 37"/>
          <p:cNvSpPr/>
          <p:nvPr/>
        </p:nvSpPr>
        <p:spPr>
          <a:xfrm>
            <a:off x="304800" y="6096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E-JUST</a:t>
            </a:r>
          </a:p>
        </p:txBody>
      </p:sp>
      <p:sp>
        <p:nvSpPr>
          <p:cNvPr id="39" name="Round Diagonal Corner Rectangle 38"/>
          <p:cNvSpPr/>
          <p:nvPr/>
        </p:nvSpPr>
        <p:spPr>
          <a:xfrm>
            <a:off x="304800" y="10668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JST-STDF</a:t>
            </a:r>
          </a:p>
        </p:txBody>
      </p:sp>
      <p:sp>
        <p:nvSpPr>
          <p:cNvPr id="40" name="Round Diagonal Corner Rectangle 39"/>
          <p:cNvSpPr/>
          <p:nvPr/>
        </p:nvSpPr>
        <p:spPr>
          <a:xfrm>
            <a:off x="304800" y="15240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JSPS-STDF</a:t>
            </a:r>
          </a:p>
        </p:txBody>
      </p:sp>
      <p:sp>
        <p:nvSpPr>
          <p:cNvPr id="42" name="Round Diagonal Corner Rectangle 41"/>
          <p:cNvSpPr/>
          <p:nvPr/>
        </p:nvSpPr>
        <p:spPr>
          <a:xfrm>
            <a:off x="7315200" y="3352800"/>
            <a:ext cx="1600200" cy="4572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Energy and Renewable Energy </a:t>
            </a:r>
          </a:p>
        </p:txBody>
      </p:sp>
      <p:sp>
        <p:nvSpPr>
          <p:cNvPr id="43" name="Round Diagonal Corner Rectangle 42"/>
          <p:cNvSpPr/>
          <p:nvPr/>
        </p:nvSpPr>
        <p:spPr>
          <a:xfrm>
            <a:off x="7315200" y="3962400"/>
            <a:ext cx="1600200" cy="4572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Environment, including Water</a:t>
            </a:r>
          </a:p>
        </p:txBody>
      </p:sp>
      <p:sp>
        <p:nvSpPr>
          <p:cNvPr id="44" name="Round Diagonal Corner Rectangle 43"/>
          <p:cNvSpPr/>
          <p:nvPr/>
        </p:nvSpPr>
        <p:spPr>
          <a:xfrm>
            <a:off x="7315200" y="45720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Agriculture Sciences</a:t>
            </a:r>
          </a:p>
        </p:txBody>
      </p:sp>
      <p:sp>
        <p:nvSpPr>
          <p:cNvPr id="45" name="Round Diagonal Corner Rectangle 44"/>
          <p:cNvSpPr/>
          <p:nvPr/>
        </p:nvSpPr>
        <p:spPr>
          <a:xfrm>
            <a:off x="7315200" y="50292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Space Sciences</a:t>
            </a:r>
          </a:p>
        </p:txBody>
      </p:sp>
      <p:sp>
        <p:nvSpPr>
          <p:cNvPr id="46" name="Round Diagonal Corner Rectangle 45"/>
          <p:cNvSpPr/>
          <p:nvPr/>
        </p:nvSpPr>
        <p:spPr>
          <a:xfrm>
            <a:off x="304800" y="40386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err="1">
                <a:solidFill>
                  <a:srgbClr val="062C43"/>
                </a:solidFill>
                <a:latin typeface="Trebuchet MS" charset="0"/>
                <a:ea typeface="MS PGothic" pitchFamily="34" charset="-128"/>
              </a:rPr>
              <a:t>Eg</a:t>
            </a:r>
            <a:r>
              <a:rPr kumimoji="1" lang="en-US" sz="1200" dirty="0">
                <a:solidFill>
                  <a:srgbClr val="062C43"/>
                </a:solidFill>
                <a:latin typeface="Trebuchet MS" charset="0"/>
                <a:ea typeface="MS PGothic" pitchFamily="34" charset="-128"/>
              </a:rPr>
              <a:t>-It Univ.</a:t>
            </a:r>
          </a:p>
        </p:txBody>
      </p:sp>
      <p:sp>
        <p:nvSpPr>
          <p:cNvPr id="47" name="Round Diagonal Corner Rectangle 46"/>
          <p:cNvSpPr/>
          <p:nvPr/>
        </p:nvSpPr>
        <p:spPr>
          <a:xfrm>
            <a:off x="304800" y="44958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CSP</a:t>
            </a:r>
          </a:p>
        </p:txBody>
      </p:sp>
      <p:sp>
        <p:nvSpPr>
          <p:cNvPr id="48" name="Round Diagonal Corner Rectangle 47"/>
          <p:cNvSpPr/>
          <p:nvPr/>
        </p:nvSpPr>
        <p:spPr>
          <a:xfrm>
            <a:off x="304800" y="49530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Joint Research </a:t>
            </a:r>
            <a:r>
              <a:rPr kumimoji="1" lang="en-US" sz="1200" dirty="0" err="1">
                <a:solidFill>
                  <a:srgbClr val="062C43"/>
                </a:solidFill>
                <a:latin typeface="Trebuchet MS" charset="0"/>
                <a:ea typeface="MS PGothic" pitchFamily="34" charset="-128"/>
              </a:rPr>
              <a:t>Prog</a:t>
            </a:r>
            <a:r>
              <a:rPr kumimoji="1" lang="en-US" sz="1200" dirty="0">
                <a:solidFill>
                  <a:srgbClr val="062C43"/>
                </a:solidFill>
                <a:latin typeface="Trebuchet MS" charset="0"/>
                <a:ea typeface="MS PGothic" pitchFamily="34" charset="-128"/>
              </a:rPr>
              <a:t>. </a:t>
            </a:r>
          </a:p>
        </p:txBody>
      </p:sp>
      <p:cxnSp>
        <p:nvCxnSpPr>
          <p:cNvPr id="8" name="Straight Arrow Connector 7"/>
          <p:cNvCxnSpPr>
            <a:stCxn id="4" idx="1"/>
          </p:cNvCxnSpPr>
          <p:nvPr/>
        </p:nvCxnSpPr>
        <p:spPr bwMode="auto">
          <a:xfrm rot="16200000" flipV="1">
            <a:off x="3237974" y="2129983"/>
            <a:ext cx="940513" cy="1016354"/>
          </a:xfrm>
          <a:prstGeom prst="straightConnector1">
            <a:avLst/>
          </a:prstGeom>
          <a:ln>
            <a:solidFill>
              <a:schemeClr val="tx1">
                <a:lumMod val="95000"/>
              </a:schemeClr>
            </a:solidFill>
            <a:tailEnd type="arrow"/>
          </a:ln>
          <a:effectLst>
            <a:innerShdw blurRad="50800" dist="25400" dir="10800000">
              <a:srgbClr val="FFFFFF">
                <a:alpha val="75000"/>
              </a:srgbClr>
            </a:innerShdw>
          </a:effectLst>
        </p:spPr>
        <p:style>
          <a:lnRef idx="3">
            <a:schemeClr val="accent1"/>
          </a:lnRef>
          <a:fillRef idx="0">
            <a:schemeClr val="accent1"/>
          </a:fillRef>
          <a:effectRef idx="2">
            <a:schemeClr val="accent1"/>
          </a:effectRef>
          <a:fontRef idx="minor">
            <a:schemeClr val="tx1"/>
          </a:fontRef>
        </p:style>
      </p:cxnSp>
      <p:sp>
        <p:nvSpPr>
          <p:cNvPr id="16" name="Oval 15"/>
          <p:cNvSpPr>
            <a:spLocks noChangeArrowheads="1"/>
          </p:cNvSpPr>
          <p:nvPr/>
        </p:nvSpPr>
        <p:spPr bwMode="auto">
          <a:xfrm>
            <a:off x="1981211" y="609600"/>
            <a:ext cx="1295400" cy="1219200"/>
          </a:xfrm>
          <a:prstGeom prst="ellipse">
            <a:avLst/>
          </a:prstGeom>
          <a:blipFill dpi="0" rotWithShape="1">
            <a:blip r:embed="rId5" cstate="print"/>
            <a:srcRect/>
            <a:stretch>
              <a:fillRect/>
            </a:stretch>
          </a:blipFill>
          <a:ln w="38100">
            <a:solidFill>
              <a:schemeClr val="bg1"/>
            </a:solidFill>
            <a:round/>
            <a:headEnd/>
            <a:tailEnd/>
          </a:ln>
          <a:effectLst>
            <a:outerShdw dist="20000" dir="5400000" rotWithShape="0">
              <a:srgbClr val="808080">
                <a:alpha val="37999"/>
              </a:srgbClr>
            </a:outerShdw>
          </a:effectLst>
        </p:spPr>
        <p:txBody>
          <a:bodyPr lIns="91320" tIns="45661" rIns="91320" bIns="45661" anchor="ctr"/>
          <a:lstStyle/>
          <a:p>
            <a:pPr algn="ctr" defTabSz="456113" latinLnBrk="1">
              <a:defRPr/>
            </a:pPr>
            <a:endParaRPr kumimoji="1" lang="en-US" dirty="0">
              <a:solidFill>
                <a:srgbClr val="FFFFFF"/>
              </a:solidFill>
              <a:latin typeface="Trebuchet MS" charset="0"/>
              <a:ea typeface="MS PGothic" pitchFamily="34" charset="-128"/>
            </a:endParaRPr>
          </a:p>
        </p:txBody>
      </p:sp>
      <p:pic>
        <p:nvPicPr>
          <p:cNvPr id="57" name="Picture 3" descr="Logo-JESTY-08"/>
          <p:cNvPicPr>
            <a:picLocks noChangeAspect="1" noChangeArrowheads="1"/>
          </p:cNvPicPr>
          <p:nvPr/>
        </p:nvPicPr>
        <p:blipFill>
          <a:blip r:embed="rId6" cstate="print"/>
          <a:srcRect/>
          <a:stretch>
            <a:fillRect/>
          </a:stretch>
        </p:blipFill>
        <p:spPr bwMode="auto">
          <a:xfrm>
            <a:off x="355619" y="1938282"/>
            <a:ext cx="1473377" cy="695448"/>
          </a:xfrm>
          <a:prstGeom prst="rect">
            <a:avLst/>
          </a:prstGeom>
          <a:ln>
            <a:noFill/>
          </a:ln>
          <a:effectLst>
            <a:softEdge rad="112500"/>
          </a:effectLst>
        </p:spPr>
      </p:pic>
      <p:cxnSp>
        <p:nvCxnSpPr>
          <p:cNvPr id="12" name="Straight Arrow Connector 11"/>
          <p:cNvCxnSpPr/>
          <p:nvPr/>
        </p:nvCxnSpPr>
        <p:spPr bwMode="auto">
          <a:xfrm rot="5400000">
            <a:off x="3276040" y="3928798"/>
            <a:ext cx="864117" cy="1016633"/>
          </a:xfrm>
          <a:prstGeom prst="straightConnector1">
            <a:avLst/>
          </a:prstGeom>
          <a:ln>
            <a:solidFill>
              <a:schemeClr val="tx1">
                <a:lumMod val="95000"/>
              </a:schemeClr>
            </a:solidFill>
            <a:tailEnd type="arrow"/>
          </a:ln>
          <a:effectLst>
            <a:innerShdw blurRad="50800" dist="25400" dir="10800000">
              <a:srgbClr val="FFFFFF">
                <a:alpha val="75000"/>
              </a:srgbClr>
            </a:innerShdw>
          </a:effectLst>
        </p:spPr>
        <p:style>
          <a:lnRef idx="3">
            <a:schemeClr val="accent1"/>
          </a:lnRef>
          <a:fillRef idx="0">
            <a:schemeClr val="accent1"/>
          </a:fillRef>
          <a:effectRef idx="2">
            <a:schemeClr val="accent1"/>
          </a:effectRef>
          <a:fontRef idx="minor">
            <a:schemeClr val="tx1"/>
          </a:fontRef>
        </p:style>
      </p:cxnSp>
      <p:sp>
        <p:nvSpPr>
          <p:cNvPr id="15" name="Oval 14"/>
          <p:cNvSpPr>
            <a:spLocks noChangeArrowheads="1"/>
          </p:cNvSpPr>
          <p:nvPr/>
        </p:nvSpPr>
        <p:spPr bwMode="auto">
          <a:xfrm>
            <a:off x="2057401" y="4802199"/>
            <a:ext cx="1219200" cy="1219200"/>
          </a:xfrm>
          <a:prstGeom prst="ellipse">
            <a:avLst/>
          </a:prstGeom>
          <a:blipFill dpi="0" rotWithShape="1">
            <a:blip r:embed="rId7" cstate="print"/>
            <a:srcRect/>
            <a:stretch>
              <a:fillRect/>
            </a:stretch>
          </a:blipFill>
          <a:ln w="38100">
            <a:solidFill>
              <a:schemeClr val="bg1"/>
            </a:solidFill>
            <a:round/>
            <a:headEnd/>
            <a:tailEnd/>
          </a:ln>
          <a:effectLst>
            <a:outerShdw dist="20000" dir="5400000" rotWithShape="0">
              <a:srgbClr val="808080">
                <a:alpha val="37999"/>
              </a:srgbClr>
            </a:outerShdw>
          </a:effectLst>
        </p:spPr>
        <p:txBody>
          <a:bodyPr lIns="91320" tIns="45661" rIns="91320" bIns="45661" anchor="ctr"/>
          <a:lstStyle/>
          <a:p>
            <a:pPr algn="ctr" defTabSz="456113" latinLnBrk="1">
              <a:defRPr/>
            </a:pPr>
            <a:endParaRPr kumimoji="1" lang="en-US" sz="1400" dirty="0">
              <a:solidFill>
                <a:srgbClr val="FFFFFF"/>
              </a:solidFill>
              <a:latin typeface="Trebuchet MS" charset="0"/>
              <a:ea typeface="MS PGothic" pitchFamily="34" charset="-128"/>
            </a:endParaRPr>
          </a:p>
        </p:txBody>
      </p:sp>
      <p:pic>
        <p:nvPicPr>
          <p:cNvPr id="58" name="Picture 57" descr="EISY.jpg"/>
          <p:cNvPicPr>
            <a:picLocks noChangeAspect="1"/>
          </p:cNvPicPr>
          <p:nvPr/>
        </p:nvPicPr>
        <p:blipFill>
          <a:blip r:embed="rId8" cstate="print"/>
          <a:stretch>
            <a:fillRect/>
          </a:stretch>
        </p:blipFill>
        <p:spPr bwMode="auto">
          <a:xfrm>
            <a:off x="350840" y="5290552"/>
            <a:ext cx="1473782" cy="1306801"/>
          </a:xfrm>
          <a:prstGeom prst="rect">
            <a:avLst/>
          </a:prstGeom>
          <a:ln>
            <a:noFill/>
          </a:ln>
          <a:effectLst>
            <a:softEdge rad="112500"/>
          </a:effectLst>
        </p:spPr>
      </p:pic>
      <p:sp>
        <p:nvSpPr>
          <p:cNvPr id="30" name="Round Diagonal Corner Rectangle 29"/>
          <p:cNvSpPr/>
          <p:nvPr/>
        </p:nvSpPr>
        <p:spPr>
          <a:xfrm>
            <a:off x="5292725" y="115889"/>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de-DE" sz="1200" dirty="0">
                <a:solidFill>
                  <a:srgbClr val="062C43"/>
                </a:solidFill>
                <a:latin typeface="Trebuchet MS" charset="0"/>
                <a:ea typeface="MS PGothic" pitchFamily="34" charset="-128"/>
              </a:rPr>
              <a:t>GERSS</a:t>
            </a:r>
            <a:endParaRPr kumimoji="1" lang="en-US" sz="1200" dirty="0">
              <a:solidFill>
                <a:srgbClr val="062C43"/>
              </a:solidFill>
              <a:latin typeface="Trebuchet MS" charset="0"/>
              <a:ea typeface="MS PGothic" pitchFamily="34" charset="-128"/>
            </a:endParaRPr>
          </a:p>
        </p:txBody>
      </p:sp>
      <p:sp>
        <p:nvSpPr>
          <p:cNvPr id="31" name="Round Diagonal Corner Rectangle 30"/>
          <p:cNvSpPr/>
          <p:nvPr/>
        </p:nvSpPr>
        <p:spPr>
          <a:xfrm>
            <a:off x="5292725" y="47625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GESP</a:t>
            </a:r>
          </a:p>
        </p:txBody>
      </p:sp>
      <p:sp>
        <p:nvSpPr>
          <p:cNvPr id="32" name="Round Diagonal Corner Rectangle 31"/>
          <p:cNvSpPr/>
          <p:nvPr/>
        </p:nvSpPr>
        <p:spPr>
          <a:xfrm>
            <a:off x="5292725" y="90805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GERLS</a:t>
            </a:r>
          </a:p>
        </p:txBody>
      </p:sp>
      <p:sp>
        <p:nvSpPr>
          <p:cNvPr id="33" name="Round Diagonal Corner Rectangle 32"/>
          <p:cNvSpPr/>
          <p:nvPr/>
        </p:nvSpPr>
        <p:spPr>
          <a:xfrm>
            <a:off x="5292725" y="1323975"/>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GERF</a:t>
            </a:r>
          </a:p>
        </p:txBody>
      </p:sp>
      <p:sp>
        <p:nvSpPr>
          <p:cNvPr id="13" name="Oval 12"/>
          <p:cNvSpPr>
            <a:spLocks noChangeArrowheads="1"/>
          </p:cNvSpPr>
          <p:nvPr/>
        </p:nvSpPr>
        <p:spPr bwMode="auto">
          <a:xfrm>
            <a:off x="3995740" y="115899"/>
            <a:ext cx="1219200" cy="1219200"/>
          </a:xfrm>
          <a:prstGeom prst="ellipse">
            <a:avLst/>
          </a:prstGeom>
          <a:blipFill dpi="0" rotWithShape="1">
            <a:blip r:embed="rId9" cstate="print"/>
            <a:srcRect/>
            <a:stretch>
              <a:fillRect/>
            </a:stretch>
          </a:blipFill>
          <a:ln w="38100">
            <a:solidFill>
              <a:schemeClr val="bg1"/>
            </a:solidFill>
            <a:round/>
            <a:headEnd/>
            <a:tailEnd/>
          </a:ln>
          <a:effectLst>
            <a:outerShdw dist="20000" dir="5400000" rotWithShape="0">
              <a:srgbClr val="808080">
                <a:alpha val="37999"/>
              </a:srgbClr>
            </a:outerShdw>
          </a:effectLst>
        </p:spPr>
        <p:txBody>
          <a:bodyPr lIns="91320" tIns="45661" rIns="91320" bIns="45661" anchor="ctr"/>
          <a:lstStyle/>
          <a:p>
            <a:pPr algn="ctr" defTabSz="455010" latinLnBrk="1"/>
            <a:endParaRPr kumimoji="1" lang="en-US" sz="1400" dirty="0">
              <a:solidFill>
                <a:srgbClr val="FFFFFF"/>
              </a:solidFill>
              <a:latin typeface="Gulim" pitchFamily="34" charset="-127"/>
              <a:ea typeface="MS PGothic" pitchFamily="34" charset="-128"/>
            </a:endParaRPr>
          </a:p>
        </p:txBody>
      </p:sp>
      <p:pic>
        <p:nvPicPr>
          <p:cNvPr id="60" name="Picture 59" descr="Screen shot 2010-01-24 at 5.32.43 AM.png"/>
          <p:cNvPicPr>
            <a:picLocks noChangeAspect="1"/>
          </p:cNvPicPr>
          <p:nvPr/>
        </p:nvPicPr>
        <p:blipFill>
          <a:blip r:embed="rId10" cstate="print"/>
          <a:stretch>
            <a:fillRect/>
          </a:stretch>
        </p:blipFill>
        <p:spPr bwMode="auto">
          <a:xfrm>
            <a:off x="7092281" y="260661"/>
            <a:ext cx="1676073" cy="792683"/>
          </a:xfrm>
          <a:prstGeom prst="rect">
            <a:avLst/>
          </a:prstGeom>
          <a:blipFill rotWithShape="1">
            <a:blip r:embed="rId11" cstate="print"/>
            <a:stretch>
              <a:fillRect/>
            </a:stretch>
          </a:blipFill>
          <a:ln>
            <a:noFill/>
          </a:ln>
          <a:effectLst>
            <a:softEdge rad="112500"/>
          </a:effectLst>
        </p:spPr>
      </p:pic>
      <p:sp>
        <p:nvSpPr>
          <p:cNvPr id="66" name="Round Diagonal Corner Rectangle 65"/>
          <p:cNvSpPr/>
          <p:nvPr/>
        </p:nvSpPr>
        <p:spPr>
          <a:xfrm>
            <a:off x="7315200" y="54864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Archaeology</a:t>
            </a:r>
          </a:p>
        </p:txBody>
      </p:sp>
      <p:sp>
        <p:nvSpPr>
          <p:cNvPr id="67" name="Round Diagonal Corner Rectangle 66"/>
          <p:cNvSpPr/>
          <p:nvPr/>
        </p:nvSpPr>
        <p:spPr>
          <a:xfrm>
            <a:off x="7315200" y="5943600"/>
            <a:ext cx="1600200" cy="304800"/>
          </a:xfrm>
          <a:prstGeom prst="round2DiagRect">
            <a:avLst/>
          </a:prstGeom>
        </p:spPr>
        <p:style>
          <a:lnRef idx="2">
            <a:schemeClr val="accent1"/>
          </a:lnRef>
          <a:fillRef idx="1">
            <a:schemeClr val="lt1"/>
          </a:fillRef>
          <a:effectRef idx="0">
            <a:schemeClr val="accent1"/>
          </a:effectRef>
          <a:fontRef idx="minor">
            <a:schemeClr val="dk1"/>
          </a:fontRef>
        </p:style>
        <p:txBody>
          <a:bodyPr lIns="91223" tIns="45612" rIns="91223" bIns="45612" anchor="ctr"/>
          <a:lstStyle/>
          <a:p>
            <a:pPr algn="ctr" defTabSz="456113" latinLnBrk="1">
              <a:defRPr/>
            </a:pPr>
            <a:r>
              <a:rPr kumimoji="1" lang="en-US" sz="1200" dirty="0">
                <a:solidFill>
                  <a:srgbClr val="062C43"/>
                </a:solidFill>
                <a:latin typeface="Trebuchet MS" charset="0"/>
                <a:ea typeface="MS PGothic" pitchFamily="34" charset="-128"/>
              </a:rPr>
              <a:t>Life Sciences</a:t>
            </a:r>
          </a:p>
        </p:txBody>
      </p:sp>
      <p:pic>
        <p:nvPicPr>
          <p:cNvPr id="74" name="Picture 5" descr="MuCSAT_ 00024"/>
          <p:cNvPicPr>
            <a:picLocks noChangeAspect="1" noChangeArrowheads="1"/>
          </p:cNvPicPr>
          <p:nvPr/>
        </p:nvPicPr>
        <p:blipFill>
          <a:blip r:embed="rId12" cstate="print"/>
          <a:srcRect/>
          <a:stretch>
            <a:fillRect/>
          </a:stretch>
        </p:blipFill>
        <p:spPr bwMode="auto">
          <a:xfrm>
            <a:off x="304801" y="2659927"/>
            <a:ext cx="1772435" cy="1150153"/>
          </a:xfrm>
          <a:prstGeom prst="ellipse">
            <a:avLst/>
          </a:prstGeom>
          <a:ln>
            <a:noFill/>
          </a:ln>
          <a:effectLst>
            <a:softEdge rad="112500"/>
          </a:effectLst>
        </p:spPr>
      </p:pic>
      <p:cxnSp>
        <p:nvCxnSpPr>
          <p:cNvPr id="6" name="Straight Arrow Connector 5"/>
          <p:cNvCxnSpPr/>
          <p:nvPr/>
        </p:nvCxnSpPr>
        <p:spPr bwMode="auto">
          <a:xfrm flipV="1">
            <a:off x="4643438" y="1428736"/>
            <a:ext cx="0" cy="1483826"/>
          </a:xfrm>
          <a:prstGeom prst="straightConnector1">
            <a:avLst/>
          </a:prstGeom>
          <a:blipFill rotWithShape="1">
            <a:blip r:embed="rId9"/>
            <a:stretch>
              <a:fillRect/>
            </a:stretch>
          </a:blipFill>
          <a:ln>
            <a:solidFill>
              <a:schemeClr val="tx1">
                <a:lumMod val="95000"/>
              </a:schemeClr>
            </a:solidFill>
            <a:tailEnd type="arrow"/>
          </a:ln>
          <a:effectLst>
            <a:innerShdw blurRad="50800" dist="25400" dir="10800000">
              <a:srgbClr val="FFFFFF">
                <a:alpha val="75000"/>
              </a:srgbClr>
            </a:innerShdw>
          </a:effectLst>
        </p:spPr>
        <p:style>
          <a:lnRef idx="3">
            <a:schemeClr val="accent1"/>
          </a:lnRef>
          <a:fillRef idx="0">
            <a:schemeClr val="accent1"/>
          </a:fillRef>
          <a:effectRef idx="2">
            <a:schemeClr val="accent1"/>
          </a:effectRef>
          <a:fontRef idx="minor">
            <a:schemeClr val="tx1"/>
          </a:fontRef>
        </p:style>
      </p:cxnSp>
      <p:cxnSp>
        <p:nvCxnSpPr>
          <p:cNvPr id="49" name="Straight Arrow Connector 48"/>
          <p:cNvCxnSpPr/>
          <p:nvPr/>
        </p:nvCxnSpPr>
        <p:spPr bwMode="auto">
          <a:xfrm flipV="1">
            <a:off x="5004048" y="2204875"/>
            <a:ext cx="1647800" cy="872480"/>
          </a:xfrm>
          <a:prstGeom prst="straightConnector1">
            <a:avLst/>
          </a:prstGeom>
          <a:blipFill rotWithShape="1">
            <a:blip r:embed="rId13" cstate="print"/>
            <a:stretch>
              <a:fillRect/>
            </a:stretch>
          </a:blipFill>
          <a:ln>
            <a:solidFill>
              <a:schemeClr val="tx1">
                <a:lumMod val="95000"/>
              </a:schemeClr>
            </a:solidFill>
            <a:tailEnd type="arrow"/>
          </a:ln>
          <a:effectLst>
            <a:innerShdw blurRad="50800" dist="25400" dir="10800000">
              <a:srgbClr val="FFFFFF">
                <a:alpha val="75000"/>
              </a:srgbClr>
            </a:innerShdw>
          </a:effectLst>
        </p:spPr>
        <p:style>
          <a:lnRef idx="3">
            <a:schemeClr val="accent1"/>
          </a:lnRef>
          <a:fillRef idx="0">
            <a:schemeClr val="accent1"/>
          </a:fillRef>
          <a:effectRef idx="2">
            <a:schemeClr val="accent1"/>
          </a:effectRef>
          <a:fontRef idx="minor">
            <a:schemeClr val="tx1"/>
          </a:fontRef>
        </p:style>
      </p:cxnSp>
      <p:pic>
        <p:nvPicPr>
          <p:cNvPr id="23" name="Picture 22" descr="400_F_17956050_MEDipyGpzBnlvMhHaf8MQNVxXnZOWz9j copy copy.gif"/>
          <p:cNvPicPr>
            <a:picLocks noChangeAspect="1"/>
          </p:cNvPicPr>
          <p:nvPr/>
        </p:nvPicPr>
        <p:blipFill>
          <a:blip r:embed="rId14" cstate="print"/>
          <a:srcRect/>
          <a:stretch>
            <a:fillRect/>
          </a:stretch>
        </p:blipFill>
        <p:spPr bwMode="auto">
          <a:xfrm>
            <a:off x="6659574" y="1484313"/>
            <a:ext cx="1368425" cy="1422400"/>
          </a:xfrm>
          <a:prstGeom prst="rect">
            <a:avLst/>
          </a:prstGeom>
          <a:noFill/>
          <a:ln w="9525">
            <a:noFill/>
            <a:miter lim="800000"/>
            <a:headEnd/>
            <a:tailEnd/>
          </a:ln>
        </p:spPr>
      </p:pic>
      <p:pic>
        <p:nvPicPr>
          <p:cNvPr id="24" name="Picture 23" descr="US-Egypt.gif"/>
          <p:cNvPicPr>
            <a:picLocks noChangeAspect="1"/>
          </p:cNvPicPr>
          <p:nvPr/>
        </p:nvPicPr>
        <p:blipFill>
          <a:blip r:embed="rId15" cstate="print"/>
          <a:srcRect/>
          <a:stretch>
            <a:fillRect/>
          </a:stretch>
        </p:blipFill>
        <p:spPr bwMode="auto">
          <a:xfrm>
            <a:off x="8028000" y="1628787"/>
            <a:ext cx="966787" cy="1008063"/>
          </a:xfrm>
          <a:prstGeom prst="rect">
            <a:avLst/>
          </a:prstGeom>
          <a:noFill/>
          <a:ln w="9525">
            <a:noFill/>
            <a:miter lim="800000"/>
            <a:headEnd/>
            <a:tailEnd/>
          </a:ln>
        </p:spPr>
      </p:pic>
      <p:sp>
        <p:nvSpPr>
          <p:cNvPr id="27" name="Block Arc 26"/>
          <p:cNvSpPr/>
          <p:nvPr/>
        </p:nvSpPr>
        <p:spPr bwMode="auto">
          <a:xfrm rot="3152882">
            <a:off x="3174207" y="1816895"/>
            <a:ext cx="3084512" cy="3079750"/>
          </a:xfrm>
          <a:prstGeom prst="blockArc">
            <a:avLst>
              <a:gd name="adj1" fmla="val 13081137"/>
              <a:gd name="adj2" fmla="val 16340339"/>
              <a:gd name="adj3" fmla="val 8768"/>
            </a:avLst>
          </a:prstGeom>
          <a:solidFill>
            <a:srgbClr val="FFFF00"/>
          </a:solidFill>
          <a:ln w="9525" cap="flat" cmpd="sng" algn="ctr">
            <a:solidFill>
              <a:srgbClr val="000000"/>
            </a:solidFill>
            <a:prstDash val="solid"/>
            <a:round/>
            <a:headEnd type="none" w="med" len="med"/>
            <a:tailEnd type="none" w="med" len="med"/>
          </a:ln>
          <a:effectLst/>
        </p:spPr>
        <p:txBody>
          <a:bodyPr lIns="91320" tIns="45661" rIns="91320" bIns="45661"/>
          <a:lstStyle/>
          <a:p>
            <a:pPr algn="ctr" latinLnBrk="1"/>
            <a:endParaRPr kumimoji="1" lang="en-US">
              <a:solidFill>
                <a:srgbClr val="000000"/>
              </a:solidFill>
              <a:latin typeface="Gulim" pitchFamily="34" charset="-127"/>
            </a:endParaRPr>
          </a:p>
        </p:txBody>
      </p:sp>
      <p:sp>
        <p:nvSpPr>
          <p:cNvPr id="56" name="Block Arc 55"/>
          <p:cNvSpPr/>
          <p:nvPr/>
        </p:nvSpPr>
        <p:spPr bwMode="auto">
          <a:xfrm rot="3152882">
            <a:off x="3174207" y="1816895"/>
            <a:ext cx="3084512" cy="3079750"/>
          </a:xfrm>
          <a:prstGeom prst="blockArc">
            <a:avLst>
              <a:gd name="adj1" fmla="val 16715564"/>
              <a:gd name="adj2" fmla="val 21255964"/>
              <a:gd name="adj3" fmla="val 9410"/>
            </a:avLst>
          </a:prstGeom>
          <a:solidFill>
            <a:srgbClr val="FFFF00"/>
          </a:solidFill>
          <a:ln w="9525" cap="flat" cmpd="sng" algn="ctr">
            <a:solidFill>
              <a:srgbClr val="000000"/>
            </a:solidFill>
            <a:prstDash val="solid"/>
            <a:round/>
            <a:headEnd type="none" w="med" len="med"/>
            <a:tailEnd type="none" w="med" len="med"/>
          </a:ln>
          <a:effectLst/>
        </p:spPr>
        <p:txBody>
          <a:bodyPr lIns="91320" tIns="45661" rIns="91320" bIns="45661"/>
          <a:lstStyle/>
          <a:p>
            <a:pPr algn="ctr" latinLnBrk="1"/>
            <a:endParaRPr kumimoji="1" lang="en-US">
              <a:solidFill>
                <a:srgbClr val="000000"/>
              </a:solidFill>
              <a:latin typeface="Gulim" pitchFamily="34" charset="-127"/>
            </a:endParaRPr>
          </a:p>
        </p:txBody>
      </p:sp>
      <p:sp>
        <p:nvSpPr>
          <p:cNvPr id="59" name="Block Arc 58"/>
          <p:cNvSpPr/>
          <p:nvPr/>
        </p:nvSpPr>
        <p:spPr bwMode="auto">
          <a:xfrm rot="3152882">
            <a:off x="3174207" y="1816895"/>
            <a:ext cx="3084512" cy="3079750"/>
          </a:xfrm>
          <a:prstGeom prst="blockArc">
            <a:avLst>
              <a:gd name="adj1" fmla="val 5078302"/>
              <a:gd name="adj2" fmla="val 9651996"/>
              <a:gd name="adj3" fmla="val 9126"/>
            </a:avLst>
          </a:prstGeom>
          <a:solidFill>
            <a:srgbClr val="FFFF00"/>
          </a:solidFill>
          <a:ln w="9525" cap="flat" cmpd="sng" algn="ctr">
            <a:solidFill>
              <a:srgbClr val="000000"/>
            </a:solidFill>
            <a:prstDash val="solid"/>
            <a:round/>
            <a:headEnd type="none" w="med" len="med"/>
            <a:tailEnd type="none" w="med" len="med"/>
          </a:ln>
          <a:effectLst/>
        </p:spPr>
        <p:txBody>
          <a:bodyPr lIns="91320" tIns="45661" rIns="91320" bIns="45661"/>
          <a:lstStyle/>
          <a:p>
            <a:pPr algn="ctr" latinLnBrk="1"/>
            <a:endParaRPr kumimoji="1" lang="en-US">
              <a:solidFill>
                <a:srgbClr val="000000"/>
              </a:solidFill>
              <a:latin typeface="Gulim" pitchFamily="34" charset="-127"/>
            </a:endParaRPr>
          </a:p>
        </p:txBody>
      </p:sp>
      <p:sp>
        <p:nvSpPr>
          <p:cNvPr id="61" name="Block Arc 60"/>
          <p:cNvSpPr/>
          <p:nvPr/>
        </p:nvSpPr>
        <p:spPr bwMode="auto">
          <a:xfrm rot="3152882">
            <a:off x="3174207" y="1816895"/>
            <a:ext cx="3084512" cy="3079750"/>
          </a:xfrm>
          <a:prstGeom prst="blockArc">
            <a:avLst>
              <a:gd name="adj1" fmla="val 9978182"/>
              <a:gd name="adj2" fmla="val 12717284"/>
              <a:gd name="adj3" fmla="val 9236"/>
            </a:avLst>
          </a:prstGeom>
          <a:solidFill>
            <a:srgbClr val="FFFF00"/>
          </a:solidFill>
          <a:ln w="9525" cap="flat" cmpd="sng" algn="ctr">
            <a:solidFill>
              <a:srgbClr val="000000"/>
            </a:solidFill>
            <a:prstDash val="solid"/>
            <a:round/>
            <a:headEnd type="none" w="med" len="med"/>
            <a:tailEnd type="none" w="med" len="med"/>
          </a:ln>
          <a:effectLst/>
        </p:spPr>
        <p:txBody>
          <a:bodyPr lIns="91320" tIns="45661" rIns="91320" bIns="45661"/>
          <a:lstStyle/>
          <a:p>
            <a:pPr algn="ctr" latinLnBrk="1"/>
            <a:endParaRPr kumimoji="1" lang="en-US">
              <a:solidFill>
                <a:srgbClr val="000000"/>
              </a:solidFill>
              <a:latin typeface="Gulim" pitchFamily="34" charset="-127"/>
            </a:endParaRPr>
          </a:p>
        </p:txBody>
      </p:sp>
      <p:sp>
        <p:nvSpPr>
          <p:cNvPr id="62" name="Block Arc 61"/>
          <p:cNvSpPr/>
          <p:nvPr/>
        </p:nvSpPr>
        <p:spPr bwMode="auto">
          <a:xfrm rot="3152882">
            <a:off x="3174207" y="1816895"/>
            <a:ext cx="3084512" cy="3079750"/>
          </a:xfrm>
          <a:prstGeom prst="blockArc">
            <a:avLst>
              <a:gd name="adj1" fmla="val 15583"/>
              <a:gd name="adj2" fmla="val 4580788"/>
              <a:gd name="adj3" fmla="val 9322"/>
            </a:avLst>
          </a:prstGeom>
          <a:solidFill>
            <a:srgbClr val="FFFF00"/>
          </a:solidFill>
          <a:ln w="9525" cap="flat" cmpd="sng" algn="ctr">
            <a:solidFill>
              <a:srgbClr val="000000"/>
            </a:solidFill>
            <a:prstDash val="solid"/>
            <a:round/>
            <a:headEnd type="none" w="med" len="med"/>
            <a:tailEnd type="none" w="med" len="med"/>
          </a:ln>
          <a:effectLst/>
        </p:spPr>
        <p:txBody>
          <a:bodyPr lIns="91320" tIns="45661" rIns="91320" bIns="45661"/>
          <a:lstStyle/>
          <a:p>
            <a:pPr algn="ctr" latinLnBrk="1"/>
            <a:endParaRPr kumimoji="1" lang="en-US">
              <a:solidFill>
                <a:srgbClr val="000000"/>
              </a:solidFill>
              <a:latin typeface="Gulim" pitchFamily="34" charset="-127"/>
            </a:endParaRPr>
          </a:p>
        </p:txBody>
      </p:sp>
    </p:spTree>
  </p:cSld>
  <p:clrMapOvr>
    <a:masterClrMapping/>
  </p:clrMapOvr>
  <p:transition>
    <p:zoom/>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4" presetClass="entr" presetSubtype="1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randombar(horizontal)">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4"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additive="base">
                                        <p:cTn id="12" dur="500" fill="hold"/>
                                        <p:tgtEl>
                                          <p:spTgt spid="6"/>
                                        </p:tgtEl>
                                        <p:attrNameLst>
                                          <p:attrName>ppt_x</p:attrName>
                                        </p:attrNameLst>
                                      </p:cBhvr>
                                      <p:tavLst>
                                        <p:tav tm="0">
                                          <p:val>
                                            <p:strVal val="#ppt_x"/>
                                          </p:val>
                                        </p:tav>
                                        <p:tav tm="100000">
                                          <p:val>
                                            <p:strVal val="#ppt_x"/>
                                          </p:val>
                                        </p:tav>
                                      </p:tavLst>
                                    </p:anim>
                                    <p:anim calcmode="lin" valueType="num">
                                      <p:cBhvr additive="base">
                                        <p:cTn id="13" dur="500" fill="hold"/>
                                        <p:tgtEl>
                                          <p:spTgt spid="6"/>
                                        </p:tgtEl>
                                        <p:attrNameLst>
                                          <p:attrName>ppt_y</p:attrName>
                                        </p:attrNameLst>
                                      </p:cBhvr>
                                      <p:tavLst>
                                        <p:tav tm="0">
                                          <p:val>
                                            <p:strVal val="1+#ppt_h/2"/>
                                          </p:val>
                                        </p:tav>
                                        <p:tav tm="100000">
                                          <p:val>
                                            <p:strVal val="#ppt_y"/>
                                          </p:val>
                                        </p:tav>
                                      </p:tavLst>
                                    </p:anim>
                                  </p:childTnLst>
                                </p:cTn>
                              </p:par>
                            </p:childTnLst>
                          </p:cTn>
                        </p:par>
                        <p:par>
                          <p:cTn id="14" fill="hold">
                            <p:stCondLst>
                              <p:cond delay="500"/>
                            </p:stCondLst>
                            <p:childTnLst>
                              <p:par>
                                <p:cTn id="15" presetID="2" presetClass="entr" presetSubtype="4" fill="hold" grpId="0" nodeType="after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childTnLst>
                          </p:cTn>
                        </p:par>
                        <p:par>
                          <p:cTn id="19" fill="hold">
                            <p:stCondLst>
                              <p:cond delay="1000"/>
                            </p:stCondLst>
                            <p:childTnLst>
                              <p:par>
                                <p:cTn id="20" presetID="2" presetClass="entr" presetSubtype="4" fill="hold" nodeType="afterEffect">
                                  <p:stCondLst>
                                    <p:cond delay="0"/>
                                  </p:stCondLst>
                                  <p:childTnLst>
                                    <p:set>
                                      <p:cBhvr>
                                        <p:cTn id="21" dur="1" fill="hold">
                                          <p:stCondLst>
                                            <p:cond delay="0"/>
                                          </p:stCondLst>
                                        </p:cTn>
                                        <p:tgtEl>
                                          <p:spTgt spid="60"/>
                                        </p:tgtEl>
                                        <p:attrNameLst>
                                          <p:attrName>style.visibility</p:attrName>
                                        </p:attrNameLst>
                                      </p:cBhvr>
                                      <p:to>
                                        <p:strVal val="visible"/>
                                      </p:to>
                                    </p:set>
                                    <p:anim calcmode="lin" valueType="num">
                                      <p:cBhvr additive="base">
                                        <p:cTn id="22" dur="500" fill="hold"/>
                                        <p:tgtEl>
                                          <p:spTgt spid="60"/>
                                        </p:tgtEl>
                                        <p:attrNameLst>
                                          <p:attrName>ppt_x</p:attrName>
                                        </p:attrNameLst>
                                      </p:cBhvr>
                                      <p:tavLst>
                                        <p:tav tm="0">
                                          <p:val>
                                            <p:strVal val="#ppt_x"/>
                                          </p:val>
                                        </p:tav>
                                        <p:tav tm="100000">
                                          <p:val>
                                            <p:strVal val="#ppt_x"/>
                                          </p:val>
                                        </p:tav>
                                      </p:tavLst>
                                    </p:anim>
                                    <p:anim calcmode="lin" valueType="num">
                                      <p:cBhvr additive="base">
                                        <p:cTn id="23" dur="500" fill="hold"/>
                                        <p:tgtEl>
                                          <p:spTgt spid="60"/>
                                        </p:tgtEl>
                                        <p:attrNameLst>
                                          <p:attrName>ppt_y</p:attrName>
                                        </p:attrNameLst>
                                      </p:cBhvr>
                                      <p:tavLst>
                                        <p:tav tm="0">
                                          <p:val>
                                            <p:strVal val="1+#ppt_h/2"/>
                                          </p:val>
                                        </p:tav>
                                        <p:tav tm="100000">
                                          <p:val>
                                            <p:strVal val="#ppt_y"/>
                                          </p:val>
                                        </p:tav>
                                      </p:tavLst>
                                    </p:anim>
                                  </p:childTnLst>
                                </p:cTn>
                              </p:par>
                              <p:par>
                                <p:cTn id="24" presetID="2" presetClass="entr" presetSubtype="4" fill="hold" grpId="0" nodeType="withEffect">
                                  <p:stCondLst>
                                    <p:cond delay="0"/>
                                  </p:stCondLst>
                                  <p:childTnLst>
                                    <p:set>
                                      <p:cBhvr>
                                        <p:cTn id="25" dur="1" fill="hold">
                                          <p:stCondLst>
                                            <p:cond delay="0"/>
                                          </p:stCondLst>
                                        </p:cTn>
                                        <p:tgtEl>
                                          <p:spTgt spid="30"/>
                                        </p:tgtEl>
                                        <p:attrNameLst>
                                          <p:attrName>style.visibility</p:attrName>
                                        </p:attrNameLst>
                                      </p:cBhvr>
                                      <p:to>
                                        <p:strVal val="visible"/>
                                      </p:to>
                                    </p:set>
                                    <p:anim calcmode="lin" valueType="num">
                                      <p:cBhvr additive="base">
                                        <p:cTn id="26" dur="500" fill="hold"/>
                                        <p:tgtEl>
                                          <p:spTgt spid="30"/>
                                        </p:tgtEl>
                                        <p:attrNameLst>
                                          <p:attrName>ppt_x</p:attrName>
                                        </p:attrNameLst>
                                      </p:cBhvr>
                                      <p:tavLst>
                                        <p:tav tm="0">
                                          <p:val>
                                            <p:strVal val="#ppt_x"/>
                                          </p:val>
                                        </p:tav>
                                        <p:tav tm="100000">
                                          <p:val>
                                            <p:strVal val="#ppt_x"/>
                                          </p:val>
                                        </p:tav>
                                      </p:tavLst>
                                    </p:anim>
                                    <p:anim calcmode="lin" valueType="num">
                                      <p:cBhvr additive="base">
                                        <p:cTn id="27" dur="500" fill="hold"/>
                                        <p:tgtEl>
                                          <p:spTgt spid="30"/>
                                        </p:tgtEl>
                                        <p:attrNameLst>
                                          <p:attrName>ppt_y</p:attrName>
                                        </p:attrNameLst>
                                      </p:cBhvr>
                                      <p:tavLst>
                                        <p:tav tm="0">
                                          <p:val>
                                            <p:strVal val="1+#ppt_h/2"/>
                                          </p:val>
                                        </p:tav>
                                        <p:tav tm="100000">
                                          <p:val>
                                            <p:strVal val="#ppt_y"/>
                                          </p:val>
                                        </p:tav>
                                      </p:tavLst>
                                    </p:anim>
                                  </p:childTnLst>
                                </p:cTn>
                              </p:par>
                              <p:par>
                                <p:cTn id="28" presetID="2" presetClass="entr" presetSubtype="4"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 calcmode="lin" valueType="num">
                                      <p:cBhvr additive="base">
                                        <p:cTn id="30" dur="500" fill="hold"/>
                                        <p:tgtEl>
                                          <p:spTgt spid="31"/>
                                        </p:tgtEl>
                                        <p:attrNameLst>
                                          <p:attrName>ppt_x</p:attrName>
                                        </p:attrNameLst>
                                      </p:cBhvr>
                                      <p:tavLst>
                                        <p:tav tm="0">
                                          <p:val>
                                            <p:strVal val="#ppt_x"/>
                                          </p:val>
                                        </p:tav>
                                        <p:tav tm="100000">
                                          <p:val>
                                            <p:strVal val="#ppt_x"/>
                                          </p:val>
                                        </p:tav>
                                      </p:tavLst>
                                    </p:anim>
                                    <p:anim calcmode="lin" valueType="num">
                                      <p:cBhvr additive="base">
                                        <p:cTn id="31" dur="500" fill="hold"/>
                                        <p:tgtEl>
                                          <p:spTgt spid="31"/>
                                        </p:tgtEl>
                                        <p:attrNameLst>
                                          <p:attrName>ppt_y</p:attrName>
                                        </p:attrNameLst>
                                      </p:cBhvr>
                                      <p:tavLst>
                                        <p:tav tm="0">
                                          <p:val>
                                            <p:strVal val="1+#ppt_h/2"/>
                                          </p:val>
                                        </p:tav>
                                        <p:tav tm="100000">
                                          <p:val>
                                            <p:strVal val="#ppt_y"/>
                                          </p:val>
                                        </p:tav>
                                      </p:tavLst>
                                    </p:anim>
                                  </p:childTnLst>
                                </p:cTn>
                              </p:par>
                              <p:par>
                                <p:cTn id="32" presetID="2" presetClass="entr" presetSubtype="4" fill="hold" grpId="0" nodeType="withEffect">
                                  <p:stCondLst>
                                    <p:cond delay="0"/>
                                  </p:stCondLst>
                                  <p:childTnLst>
                                    <p:set>
                                      <p:cBhvr>
                                        <p:cTn id="33" dur="1" fill="hold">
                                          <p:stCondLst>
                                            <p:cond delay="0"/>
                                          </p:stCondLst>
                                        </p:cTn>
                                        <p:tgtEl>
                                          <p:spTgt spid="32"/>
                                        </p:tgtEl>
                                        <p:attrNameLst>
                                          <p:attrName>style.visibility</p:attrName>
                                        </p:attrNameLst>
                                      </p:cBhvr>
                                      <p:to>
                                        <p:strVal val="visible"/>
                                      </p:to>
                                    </p:set>
                                    <p:anim calcmode="lin" valueType="num">
                                      <p:cBhvr additive="base">
                                        <p:cTn id="34" dur="500" fill="hold"/>
                                        <p:tgtEl>
                                          <p:spTgt spid="32"/>
                                        </p:tgtEl>
                                        <p:attrNameLst>
                                          <p:attrName>ppt_x</p:attrName>
                                        </p:attrNameLst>
                                      </p:cBhvr>
                                      <p:tavLst>
                                        <p:tav tm="0">
                                          <p:val>
                                            <p:strVal val="#ppt_x"/>
                                          </p:val>
                                        </p:tav>
                                        <p:tav tm="100000">
                                          <p:val>
                                            <p:strVal val="#ppt_x"/>
                                          </p:val>
                                        </p:tav>
                                      </p:tavLst>
                                    </p:anim>
                                    <p:anim calcmode="lin" valueType="num">
                                      <p:cBhvr additive="base">
                                        <p:cTn id="35" dur="500" fill="hold"/>
                                        <p:tgtEl>
                                          <p:spTgt spid="32"/>
                                        </p:tgtEl>
                                        <p:attrNameLst>
                                          <p:attrName>ppt_y</p:attrName>
                                        </p:attrNameLst>
                                      </p:cBhvr>
                                      <p:tavLst>
                                        <p:tav tm="0">
                                          <p:val>
                                            <p:strVal val="1+#ppt_h/2"/>
                                          </p:val>
                                        </p:tav>
                                        <p:tav tm="100000">
                                          <p:val>
                                            <p:strVal val="#ppt_y"/>
                                          </p:val>
                                        </p:tav>
                                      </p:tavLst>
                                    </p:anim>
                                  </p:childTnLst>
                                </p:cTn>
                              </p:par>
                              <p:par>
                                <p:cTn id="36" presetID="2" presetClass="entr" presetSubtype="4" fill="hold" grpId="0" nodeType="withEffect">
                                  <p:stCondLst>
                                    <p:cond delay="0"/>
                                  </p:stCondLst>
                                  <p:childTnLst>
                                    <p:set>
                                      <p:cBhvr>
                                        <p:cTn id="37" dur="1" fill="hold">
                                          <p:stCondLst>
                                            <p:cond delay="0"/>
                                          </p:stCondLst>
                                        </p:cTn>
                                        <p:tgtEl>
                                          <p:spTgt spid="33"/>
                                        </p:tgtEl>
                                        <p:attrNameLst>
                                          <p:attrName>style.visibility</p:attrName>
                                        </p:attrNameLst>
                                      </p:cBhvr>
                                      <p:to>
                                        <p:strVal val="visible"/>
                                      </p:to>
                                    </p:set>
                                    <p:anim calcmode="lin" valueType="num">
                                      <p:cBhvr additive="base">
                                        <p:cTn id="38" dur="500" fill="hold"/>
                                        <p:tgtEl>
                                          <p:spTgt spid="33"/>
                                        </p:tgtEl>
                                        <p:attrNameLst>
                                          <p:attrName>ppt_x</p:attrName>
                                        </p:attrNameLst>
                                      </p:cBhvr>
                                      <p:tavLst>
                                        <p:tav tm="0">
                                          <p:val>
                                            <p:strVal val="#ppt_x"/>
                                          </p:val>
                                        </p:tav>
                                        <p:tav tm="100000">
                                          <p:val>
                                            <p:strVal val="#ppt_x"/>
                                          </p:val>
                                        </p:tav>
                                      </p:tavLst>
                                    </p:anim>
                                    <p:anim calcmode="lin" valueType="num">
                                      <p:cBhvr additive="base">
                                        <p:cTn id="39" dur="500" fill="hold"/>
                                        <p:tgtEl>
                                          <p:spTgt spid="33"/>
                                        </p:tgtEl>
                                        <p:attrNameLst>
                                          <p:attrName>ppt_y</p:attrName>
                                        </p:attrNameLst>
                                      </p:cBhvr>
                                      <p:tavLst>
                                        <p:tav tm="0">
                                          <p:val>
                                            <p:strVal val="1+#ppt_h/2"/>
                                          </p:val>
                                        </p:tav>
                                        <p:tav tm="100000">
                                          <p:val>
                                            <p:strVal val="#ppt_y"/>
                                          </p:val>
                                        </p:tav>
                                      </p:tavLst>
                                    </p:anim>
                                  </p:childTnLst>
                                </p:cTn>
                              </p:par>
                            </p:childTnLst>
                          </p:cTn>
                        </p:par>
                      </p:childTnLst>
                    </p:cTn>
                  </p:par>
                  <p:par>
                    <p:cTn id="40" fill="hold">
                      <p:stCondLst>
                        <p:cond delay="indefinite"/>
                      </p:stCondLst>
                      <p:childTnLst>
                        <p:par>
                          <p:cTn id="41" fill="hold">
                            <p:stCondLst>
                              <p:cond delay="0"/>
                            </p:stCondLst>
                            <p:childTnLst>
                              <p:par>
                                <p:cTn id="42" presetID="9" presetClass="entr" presetSubtype="0" fill="hold" nodeType="clickEffect">
                                  <p:stCondLst>
                                    <p:cond delay="0"/>
                                  </p:stCondLst>
                                  <p:childTnLst>
                                    <p:set>
                                      <p:cBhvr>
                                        <p:cTn id="43" dur="1" fill="hold">
                                          <p:stCondLst>
                                            <p:cond delay="0"/>
                                          </p:stCondLst>
                                        </p:cTn>
                                        <p:tgtEl>
                                          <p:spTgt spid="8"/>
                                        </p:tgtEl>
                                        <p:attrNameLst>
                                          <p:attrName>style.visibility</p:attrName>
                                        </p:attrNameLst>
                                      </p:cBhvr>
                                      <p:to>
                                        <p:strVal val="visible"/>
                                      </p:to>
                                    </p:set>
                                    <p:animEffect transition="in" filter="dissolve">
                                      <p:cBhvr>
                                        <p:cTn id="44" dur="500"/>
                                        <p:tgtEl>
                                          <p:spTgt spid="8"/>
                                        </p:tgtEl>
                                      </p:cBhvr>
                                    </p:animEffect>
                                  </p:childTnLst>
                                </p:cTn>
                              </p:par>
                            </p:childTnLst>
                          </p:cTn>
                        </p:par>
                        <p:par>
                          <p:cTn id="45" fill="hold">
                            <p:stCondLst>
                              <p:cond delay="500"/>
                            </p:stCondLst>
                            <p:childTnLst>
                              <p:par>
                                <p:cTn id="46" presetID="12" presetClass="entr" presetSubtype="4" fill="hold" grpId="0" nodeType="afterEffect">
                                  <p:stCondLst>
                                    <p:cond delay="0"/>
                                  </p:stCondLst>
                                  <p:childTnLst>
                                    <p:set>
                                      <p:cBhvr>
                                        <p:cTn id="47" dur="1" fill="hold">
                                          <p:stCondLst>
                                            <p:cond delay="0"/>
                                          </p:stCondLst>
                                        </p:cTn>
                                        <p:tgtEl>
                                          <p:spTgt spid="16"/>
                                        </p:tgtEl>
                                        <p:attrNameLst>
                                          <p:attrName>style.visibility</p:attrName>
                                        </p:attrNameLst>
                                      </p:cBhvr>
                                      <p:to>
                                        <p:strVal val="visible"/>
                                      </p:to>
                                    </p:set>
                                    <p:anim calcmode="lin" valueType="num">
                                      <p:cBhvr additive="base">
                                        <p:cTn id="48" dur="500"/>
                                        <p:tgtEl>
                                          <p:spTgt spid="16"/>
                                        </p:tgtEl>
                                        <p:attrNameLst>
                                          <p:attrName>ppt_y</p:attrName>
                                        </p:attrNameLst>
                                      </p:cBhvr>
                                      <p:tavLst>
                                        <p:tav tm="0">
                                          <p:val>
                                            <p:strVal val="#ppt_y+#ppt_h*1.125000"/>
                                          </p:val>
                                        </p:tav>
                                        <p:tav tm="100000">
                                          <p:val>
                                            <p:strVal val="#ppt_y"/>
                                          </p:val>
                                        </p:tav>
                                      </p:tavLst>
                                    </p:anim>
                                    <p:animEffect transition="in" filter="wipe(up)">
                                      <p:cBhvr>
                                        <p:cTn id="49" dur="500"/>
                                        <p:tgtEl>
                                          <p:spTgt spid="16"/>
                                        </p:tgtEl>
                                      </p:cBhvr>
                                    </p:animEffect>
                                  </p:childTnLst>
                                </p:cTn>
                              </p:par>
                              <p:par>
                                <p:cTn id="50" presetID="12" presetClass="entr" presetSubtype="4" fill="hold" grpId="0" nodeType="withEffect">
                                  <p:stCondLst>
                                    <p:cond delay="0"/>
                                  </p:stCondLst>
                                  <p:childTnLst>
                                    <p:set>
                                      <p:cBhvr>
                                        <p:cTn id="51" dur="1" fill="hold">
                                          <p:stCondLst>
                                            <p:cond delay="0"/>
                                          </p:stCondLst>
                                        </p:cTn>
                                        <p:tgtEl>
                                          <p:spTgt spid="38"/>
                                        </p:tgtEl>
                                        <p:attrNameLst>
                                          <p:attrName>style.visibility</p:attrName>
                                        </p:attrNameLst>
                                      </p:cBhvr>
                                      <p:to>
                                        <p:strVal val="visible"/>
                                      </p:to>
                                    </p:set>
                                    <p:anim calcmode="lin" valueType="num">
                                      <p:cBhvr additive="base">
                                        <p:cTn id="52" dur="500"/>
                                        <p:tgtEl>
                                          <p:spTgt spid="38"/>
                                        </p:tgtEl>
                                        <p:attrNameLst>
                                          <p:attrName>ppt_y</p:attrName>
                                        </p:attrNameLst>
                                      </p:cBhvr>
                                      <p:tavLst>
                                        <p:tav tm="0">
                                          <p:val>
                                            <p:strVal val="#ppt_y+#ppt_h*1.125000"/>
                                          </p:val>
                                        </p:tav>
                                        <p:tav tm="100000">
                                          <p:val>
                                            <p:strVal val="#ppt_y"/>
                                          </p:val>
                                        </p:tav>
                                      </p:tavLst>
                                    </p:anim>
                                    <p:animEffect transition="in" filter="wipe(up)">
                                      <p:cBhvr>
                                        <p:cTn id="53" dur="500"/>
                                        <p:tgtEl>
                                          <p:spTgt spid="38"/>
                                        </p:tgtEl>
                                      </p:cBhvr>
                                    </p:animEffect>
                                  </p:childTnLst>
                                </p:cTn>
                              </p:par>
                              <p:par>
                                <p:cTn id="54" presetID="12" presetClass="entr" presetSubtype="4" fill="hold" grpId="0" nodeType="withEffect">
                                  <p:stCondLst>
                                    <p:cond delay="0"/>
                                  </p:stCondLst>
                                  <p:childTnLst>
                                    <p:set>
                                      <p:cBhvr>
                                        <p:cTn id="55" dur="1" fill="hold">
                                          <p:stCondLst>
                                            <p:cond delay="0"/>
                                          </p:stCondLst>
                                        </p:cTn>
                                        <p:tgtEl>
                                          <p:spTgt spid="39"/>
                                        </p:tgtEl>
                                        <p:attrNameLst>
                                          <p:attrName>style.visibility</p:attrName>
                                        </p:attrNameLst>
                                      </p:cBhvr>
                                      <p:to>
                                        <p:strVal val="visible"/>
                                      </p:to>
                                    </p:set>
                                    <p:anim calcmode="lin" valueType="num">
                                      <p:cBhvr additive="base">
                                        <p:cTn id="56" dur="500"/>
                                        <p:tgtEl>
                                          <p:spTgt spid="39"/>
                                        </p:tgtEl>
                                        <p:attrNameLst>
                                          <p:attrName>ppt_y</p:attrName>
                                        </p:attrNameLst>
                                      </p:cBhvr>
                                      <p:tavLst>
                                        <p:tav tm="0">
                                          <p:val>
                                            <p:strVal val="#ppt_y+#ppt_h*1.125000"/>
                                          </p:val>
                                        </p:tav>
                                        <p:tav tm="100000">
                                          <p:val>
                                            <p:strVal val="#ppt_y"/>
                                          </p:val>
                                        </p:tav>
                                      </p:tavLst>
                                    </p:anim>
                                    <p:animEffect transition="in" filter="wipe(up)">
                                      <p:cBhvr>
                                        <p:cTn id="57" dur="500"/>
                                        <p:tgtEl>
                                          <p:spTgt spid="39"/>
                                        </p:tgtEl>
                                      </p:cBhvr>
                                    </p:animEffect>
                                  </p:childTnLst>
                                </p:cTn>
                              </p:par>
                              <p:par>
                                <p:cTn id="58" presetID="12" presetClass="entr" presetSubtype="4" fill="hold" grpId="0" nodeType="withEffect">
                                  <p:stCondLst>
                                    <p:cond delay="0"/>
                                  </p:stCondLst>
                                  <p:childTnLst>
                                    <p:set>
                                      <p:cBhvr>
                                        <p:cTn id="59" dur="1" fill="hold">
                                          <p:stCondLst>
                                            <p:cond delay="0"/>
                                          </p:stCondLst>
                                        </p:cTn>
                                        <p:tgtEl>
                                          <p:spTgt spid="40"/>
                                        </p:tgtEl>
                                        <p:attrNameLst>
                                          <p:attrName>style.visibility</p:attrName>
                                        </p:attrNameLst>
                                      </p:cBhvr>
                                      <p:to>
                                        <p:strVal val="visible"/>
                                      </p:to>
                                    </p:set>
                                    <p:anim calcmode="lin" valueType="num">
                                      <p:cBhvr additive="base">
                                        <p:cTn id="60" dur="500"/>
                                        <p:tgtEl>
                                          <p:spTgt spid="40"/>
                                        </p:tgtEl>
                                        <p:attrNameLst>
                                          <p:attrName>ppt_y</p:attrName>
                                        </p:attrNameLst>
                                      </p:cBhvr>
                                      <p:tavLst>
                                        <p:tav tm="0">
                                          <p:val>
                                            <p:strVal val="#ppt_y+#ppt_h*1.125000"/>
                                          </p:val>
                                        </p:tav>
                                        <p:tav tm="100000">
                                          <p:val>
                                            <p:strVal val="#ppt_y"/>
                                          </p:val>
                                        </p:tav>
                                      </p:tavLst>
                                    </p:anim>
                                    <p:animEffect transition="in" filter="wipe(up)">
                                      <p:cBhvr>
                                        <p:cTn id="61" dur="500"/>
                                        <p:tgtEl>
                                          <p:spTgt spid="40"/>
                                        </p:tgtEl>
                                      </p:cBhvr>
                                    </p:animEffect>
                                  </p:childTnLst>
                                </p:cTn>
                              </p:par>
                              <p:par>
                                <p:cTn id="62" presetID="12" presetClass="entr" presetSubtype="4" fill="hold" nodeType="withEffect">
                                  <p:stCondLst>
                                    <p:cond delay="0"/>
                                  </p:stCondLst>
                                  <p:childTnLst>
                                    <p:set>
                                      <p:cBhvr>
                                        <p:cTn id="63" dur="1" fill="hold">
                                          <p:stCondLst>
                                            <p:cond delay="0"/>
                                          </p:stCondLst>
                                        </p:cTn>
                                        <p:tgtEl>
                                          <p:spTgt spid="57"/>
                                        </p:tgtEl>
                                        <p:attrNameLst>
                                          <p:attrName>style.visibility</p:attrName>
                                        </p:attrNameLst>
                                      </p:cBhvr>
                                      <p:to>
                                        <p:strVal val="visible"/>
                                      </p:to>
                                    </p:set>
                                    <p:anim calcmode="lin" valueType="num">
                                      <p:cBhvr additive="base">
                                        <p:cTn id="64" dur="500"/>
                                        <p:tgtEl>
                                          <p:spTgt spid="57"/>
                                        </p:tgtEl>
                                        <p:attrNameLst>
                                          <p:attrName>ppt_y</p:attrName>
                                        </p:attrNameLst>
                                      </p:cBhvr>
                                      <p:tavLst>
                                        <p:tav tm="0">
                                          <p:val>
                                            <p:strVal val="#ppt_y+#ppt_h*1.125000"/>
                                          </p:val>
                                        </p:tav>
                                        <p:tav tm="100000">
                                          <p:val>
                                            <p:strVal val="#ppt_y"/>
                                          </p:val>
                                        </p:tav>
                                      </p:tavLst>
                                    </p:anim>
                                    <p:animEffect transition="in" filter="wipe(up)">
                                      <p:cBhvr>
                                        <p:cTn id="65" dur="500"/>
                                        <p:tgtEl>
                                          <p:spTgt spid="57"/>
                                        </p:tgtEl>
                                      </p:cBhvr>
                                    </p:animEffect>
                                  </p:childTnLst>
                                </p:cTn>
                              </p:par>
                              <p:par>
                                <p:cTn id="66" presetID="12" presetClass="entr" presetSubtype="4" fill="hold" nodeType="withEffect">
                                  <p:stCondLst>
                                    <p:cond delay="0"/>
                                  </p:stCondLst>
                                  <p:childTnLst>
                                    <p:set>
                                      <p:cBhvr>
                                        <p:cTn id="67" dur="1" fill="hold">
                                          <p:stCondLst>
                                            <p:cond delay="0"/>
                                          </p:stCondLst>
                                        </p:cTn>
                                        <p:tgtEl>
                                          <p:spTgt spid="74"/>
                                        </p:tgtEl>
                                        <p:attrNameLst>
                                          <p:attrName>style.visibility</p:attrName>
                                        </p:attrNameLst>
                                      </p:cBhvr>
                                      <p:to>
                                        <p:strVal val="visible"/>
                                      </p:to>
                                    </p:set>
                                    <p:anim calcmode="lin" valueType="num">
                                      <p:cBhvr additive="base">
                                        <p:cTn id="68" dur="500"/>
                                        <p:tgtEl>
                                          <p:spTgt spid="74"/>
                                        </p:tgtEl>
                                        <p:attrNameLst>
                                          <p:attrName>ppt_y</p:attrName>
                                        </p:attrNameLst>
                                      </p:cBhvr>
                                      <p:tavLst>
                                        <p:tav tm="0">
                                          <p:val>
                                            <p:strVal val="#ppt_y+#ppt_h*1.125000"/>
                                          </p:val>
                                        </p:tav>
                                        <p:tav tm="100000">
                                          <p:val>
                                            <p:strVal val="#ppt_y"/>
                                          </p:val>
                                        </p:tav>
                                      </p:tavLst>
                                    </p:anim>
                                    <p:animEffect transition="in" filter="wipe(up)">
                                      <p:cBhvr>
                                        <p:cTn id="69" dur="500"/>
                                        <p:tgtEl>
                                          <p:spTgt spid="74"/>
                                        </p:tgtEl>
                                      </p:cBhvr>
                                    </p:animEffect>
                                  </p:childTnLst>
                                </p:cTn>
                              </p:par>
                            </p:childTnLst>
                          </p:cTn>
                        </p:par>
                      </p:childTnLst>
                    </p:cTn>
                  </p:par>
                  <p:par>
                    <p:cTn id="70" fill="hold">
                      <p:stCondLst>
                        <p:cond delay="indefinite"/>
                      </p:stCondLst>
                      <p:childTnLst>
                        <p:par>
                          <p:cTn id="71" fill="hold">
                            <p:stCondLst>
                              <p:cond delay="0"/>
                            </p:stCondLst>
                            <p:childTnLst>
                              <p:par>
                                <p:cTn id="72" presetID="9" presetClass="entr" presetSubtype="0" fill="hold" nodeType="clickEffect">
                                  <p:stCondLst>
                                    <p:cond delay="0"/>
                                  </p:stCondLst>
                                  <p:childTnLst>
                                    <p:set>
                                      <p:cBhvr>
                                        <p:cTn id="73" dur="1" fill="hold">
                                          <p:stCondLst>
                                            <p:cond delay="0"/>
                                          </p:stCondLst>
                                        </p:cTn>
                                        <p:tgtEl>
                                          <p:spTgt spid="12"/>
                                        </p:tgtEl>
                                        <p:attrNameLst>
                                          <p:attrName>style.visibility</p:attrName>
                                        </p:attrNameLst>
                                      </p:cBhvr>
                                      <p:to>
                                        <p:strVal val="visible"/>
                                      </p:to>
                                    </p:set>
                                    <p:animEffect transition="in" filter="dissolve">
                                      <p:cBhvr>
                                        <p:cTn id="74" dur="500"/>
                                        <p:tgtEl>
                                          <p:spTgt spid="12"/>
                                        </p:tgtEl>
                                      </p:cBhvr>
                                    </p:animEffect>
                                  </p:childTnLst>
                                </p:cTn>
                              </p:par>
                            </p:childTnLst>
                          </p:cTn>
                        </p:par>
                        <p:par>
                          <p:cTn id="75" fill="hold">
                            <p:stCondLst>
                              <p:cond delay="500"/>
                            </p:stCondLst>
                            <p:childTnLst>
                              <p:par>
                                <p:cTn id="76" presetID="14" presetClass="entr" presetSubtype="10" fill="hold" grpId="0" nodeType="afterEffect">
                                  <p:stCondLst>
                                    <p:cond delay="0"/>
                                  </p:stCondLst>
                                  <p:childTnLst>
                                    <p:set>
                                      <p:cBhvr>
                                        <p:cTn id="77" dur="1" fill="hold">
                                          <p:stCondLst>
                                            <p:cond delay="0"/>
                                          </p:stCondLst>
                                        </p:cTn>
                                        <p:tgtEl>
                                          <p:spTgt spid="46"/>
                                        </p:tgtEl>
                                        <p:attrNameLst>
                                          <p:attrName>style.visibility</p:attrName>
                                        </p:attrNameLst>
                                      </p:cBhvr>
                                      <p:to>
                                        <p:strVal val="visible"/>
                                      </p:to>
                                    </p:set>
                                    <p:animEffect transition="in" filter="randombar(horizontal)">
                                      <p:cBhvr>
                                        <p:cTn id="78" dur="500"/>
                                        <p:tgtEl>
                                          <p:spTgt spid="46"/>
                                        </p:tgtEl>
                                      </p:cBhvr>
                                    </p:animEffect>
                                  </p:childTnLst>
                                </p:cTn>
                              </p:par>
                              <p:par>
                                <p:cTn id="79" presetID="14" presetClass="entr" presetSubtype="10" fill="hold" grpId="0" nodeType="withEffect">
                                  <p:stCondLst>
                                    <p:cond delay="0"/>
                                  </p:stCondLst>
                                  <p:childTnLst>
                                    <p:set>
                                      <p:cBhvr>
                                        <p:cTn id="80" dur="1" fill="hold">
                                          <p:stCondLst>
                                            <p:cond delay="0"/>
                                          </p:stCondLst>
                                        </p:cTn>
                                        <p:tgtEl>
                                          <p:spTgt spid="47"/>
                                        </p:tgtEl>
                                        <p:attrNameLst>
                                          <p:attrName>style.visibility</p:attrName>
                                        </p:attrNameLst>
                                      </p:cBhvr>
                                      <p:to>
                                        <p:strVal val="visible"/>
                                      </p:to>
                                    </p:set>
                                    <p:animEffect transition="in" filter="randombar(horizontal)">
                                      <p:cBhvr>
                                        <p:cTn id="81" dur="500"/>
                                        <p:tgtEl>
                                          <p:spTgt spid="47"/>
                                        </p:tgtEl>
                                      </p:cBhvr>
                                    </p:animEffect>
                                  </p:childTnLst>
                                </p:cTn>
                              </p:par>
                              <p:par>
                                <p:cTn id="82" presetID="14" presetClass="entr" presetSubtype="10" fill="hold" grpId="0" nodeType="withEffect">
                                  <p:stCondLst>
                                    <p:cond delay="0"/>
                                  </p:stCondLst>
                                  <p:childTnLst>
                                    <p:set>
                                      <p:cBhvr>
                                        <p:cTn id="83" dur="1" fill="hold">
                                          <p:stCondLst>
                                            <p:cond delay="0"/>
                                          </p:stCondLst>
                                        </p:cTn>
                                        <p:tgtEl>
                                          <p:spTgt spid="48"/>
                                        </p:tgtEl>
                                        <p:attrNameLst>
                                          <p:attrName>style.visibility</p:attrName>
                                        </p:attrNameLst>
                                      </p:cBhvr>
                                      <p:to>
                                        <p:strVal val="visible"/>
                                      </p:to>
                                    </p:set>
                                    <p:animEffect transition="in" filter="randombar(horizontal)">
                                      <p:cBhvr>
                                        <p:cTn id="84" dur="500"/>
                                        <p:tgtEl>
                                          <p:spTgt spid="48"/>
                                        </p:tgtEl>
                                      </p:cBhvr>
                                    </p:animEffect>
                                  </p:childTnLst>
                                </p:cTn>
                              </p:par>
                              <p:par>
                                <p:cTn id="85" presetID="14" presetClass="entr" presetSubtype="10" fill="hold" nodeType="withEffect">
                                  <p:stCondLst>
                                    <p:cond delay="0"/>
                                  </p:stCondLst>
                                  <p:childTnLst>
                                    <p:set>
                                      <p:cBhvr>
                                        <p:cTn id="86" dur="1" fill="hold">
                                          <p:stCondLst>
                                            <p:cond delay="0"/>
                                          </p:stCondLst>
                                        </p:cTn>
                                        <p:tgtEl>
                                          <p:spTgt spid="58"/>
                                        </p:tgtEl>
                                        <p:attrNameLst>
                                          <p:attrName>style.visibility</p:attrName>
                                        </p:attrNameLst>
                                      </p:cBhvr>
                                      <p:to>
                                        <p:strVal val="visible"/>
                                      </p:to>
                                    </p:set>
                                    <p:animEffect transition="in" filter="randombar(horizontal)">
                                      <p:cBhvr>
                                        <p:cTn id="87" dur="500"/>
                                        <p:tgtEl>
                                          <p:spTgt spid="58"/>
                                        </p:tgtEl>
                                      </p:cBhvr>
                                    </p:animEffect>
                                  </p:childTnLst>
                                </p:cTn>
                              </p:par>
                              <p:par>
                                <p:cTn id="88" presetID="14" presetClass="entr" presetSubtype="10" fill="hold" grpId="0" nodeType="with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randombar(horizontal)">
                                      <p:cBhvr>
                                        <p:cTn id="90" dur="500"/>
                                        <p:tgtEl>
                                          <p:spTgt spid="15"/>
                                        </p:tgtEl>
                                      </p:cBhvr>
                                    </p:animEffect>
                                  </p:childTnLst>
                                </p:cTn>
                              </p:par>
                            </p:childTnLst>
                          </p:cTn>
                        </p:par>
                      </p:childTnLst>
                    </p:cTn>
                  </p:par>
                  <p:par>
                    <p:cTn id="91" fill="hold">
                      <p:stCondLst>
                        <p:cond delay="indefinite"/>
                      </p:stCondLst>
                      <p:childTnLst>
                        <p:par>
                          <p:cTn id="92" fill="hold">
                            <p:stCondLst>
                              <p:cond delay="0"/>
                            </p:stCondLst>
                            <p:childTnLst>
                              <p:par>
                                <p:cTn id="93" presetID="2" presetClass="entr" presetSubtype="4" fill="hold" nodeType="clickEffect">
                                  <p:stCondLst>
                                    <p:cond delay="0"/>
                                  </p:stCondLst>
                                  <p:childTnLst>
                                    <p:set>
                                      <p:cBhvr>
                                        <p:cTn id="94" dur="1" fill="hold">
                                          <p:stCondLst>
                                            <p:cond delay="0"/>
                                          </p:stCondLst>
                                        </p:cTn>
                                        <p:tgtEl>
                                          <p:spTgt spid="10"/>
                                        </p:tgtEl>
                                        <p:attrNameLst>
                                          <p:attrName>style.visibility</p:attrName>
                                        </p:attrNameLst>
                                      </p:cBhvr>
                                      <p:to>
                                        <p:strVal val="visible"/>
                                      </p:to>
                                    </p:set>
                                    <p:anim calcmode="lin" valueType="num">
                                      <p:cBhvr additive="base">
                                        <p:cTn id="95" dur="500" fill="hold"/>
                                        <p:tgtEl>
                                          <p:spTgt spid="10"/>
                                        </p:tgtEl>
                                        <p:attrNameLst>
                                          <p:attrName>ppt_x</p:attrName>
                                        </p:attrNameLst>
                                      </p:cBhvr>
                                      <p:tavLst>
                                        <p:tav tm="0">
                                          <p:val>
                                            <p:strVal val="#ppt_x"/>
                                          </p:val>
                                        </p:tav>
                                        <p:tav tm="100000">
                                          <p:val>
                                            <p:strVal val="#ppt_x"/>
                                          </p:val>
                                        </p:tav>
                                      </p:tavLst>
                                    </p:anim>
                                    <p:anim calcmode="lin" valueType="num">
                                      <p:cBhvr additive="base">
                                        <p:cTn id="96" dur="500" fill="hold"/>
                                        <p:tgtEl>
                                          <p:spTgt spid="10"/>
                                        </p:tgtEl>
                                        <p:attrNameLst>
                                          <p:attrName>ppt_y</p:attrName>
                                        </p:attrNameLst>
                                      </p:cBhvr>
                                      <p:tavLst>
                                        <p:tav tm="0">
                                          <p:val>
                                            <p:strVal val="1+#ppt_h/2"/>
                                          </p:val>
                                        </p:tav>
                                        <p:tav tm="100000">
                                          <p:val>
                                            <p:strVal val="#ppt_y"/>
                                          </p:val>
                                        </p:tav>
                                      </p:tavLst>
                                    </p:anim>
                                  </p:childTnLst>
                                </p:cTn>
                              </p:par>
                            </p:childTnLst>
                          </p:cTn>
                        </p:par>
                        <p:par>
                          <p:cTn id="97" fill="hold">
                            <p:stCondLst>
                              <p:cond delay="500"/>
                            </p:stCondLst>
                            <p:childTnLst>
                              <p:par>
                                <p:cTn id="98" presetID="2" presetClass="entr" presetSubtype="4" fill="hold" grpId="0" nodeType="afterEffect">
                                  <p:stCondLst>
                                    <p:cond delay="0"/>
                                  </p:stCondLst>
                                  <p:childTnLst>
                                    <p:set>
                                      <p:cBhvr>
                                        <p:cTn id="99" dur="1" fill="hold">
                                          <p:stCondLst>
                                            <p:cond delay="0"/>
                                          </p:stCondLst>
                                        </p:cTn>
                                        <p:tgtEl>
                                          <p:spTgt spid="14"/>
                                        </p:tgtEl>
                                        <p:attrNameLst>
                                          <p:attrName>style.visibility</p:attrName>
                                        </p:attrNameLst>
                                      </p:cBhvr>
                                      <p:to>
                                        <p:strVal val="visible"/>
                                      </p:to>
                                    </p:set>
                                    <p:anim calcmode="lin" valueType="num">
                                      <p:cBhvr additive="base">
                                        <p:cTn id="100" dur="500" fill="hold"/>
                                        <p:tgtEl>
                                          <p:spTgt spid="14"/>
                                        </p:tgtEl>
                                        <p:attrNameLst>
                                          <p:attrName>ppt_x</p:attrName>
                                        </p:attrNameLst>
                                      </p:cBhvr>
                                      <p:tavLst>
                                        <p:tav tm="0">
                                          <p:val>
                                            <p:strVal val="#ppt_x"/>
                                          </p:val>
                                        </p:tav>
                                        <p:tav tm="100000">
                                          <p:val>
                                            <p:strVal val="#ppt_x"/>
                                          </p:val>
                                        </p:tav>
                                      </p:tavLst>
                                    </p:anim>
                                    <p:anim calcmode="lin" valueType="num">
                                      <p:cBhvr additive="base">
                                        <p:cTn id="101" dur="500" fill="hold"/>
                                        <p:tgtEl>
                                          <p:spTgt spid="14"/>
                                        </p:tgtEl>
                                        <p:attrNameLst>
                                          <p:attrName>ppt_y</p:attrName>
                                        </p:attrNameLst>
                                      </p:cBhvr>
                                      <p:tavLst>
                                        <p:tav tm="0">
                                          <p:val>
                                            <p:strVal val="1+#ppt_h/2"/>
                                          </p:val>
                                        </p:tav>
                                        <p:tav tm="100000">
                                          <p:val>
                                            <p:strVal val="#ppt_y"/>
                                          </p:val>
                                        </p:tav>
                                      </p:tavLst>
                                    </p:anim>
                                  </p:childTnLst>
                                </p:cTn>
                              </p:par>
                              <p:par>
                                <p:cTn id="102" presetID="2" presetClass="entr" presetSubtype="4" fill="hold" grpId="0" nodeType="withEffect">
                                  <p:stCondLst>
                                    <p:cond delay="0"/>
                                  </p:stCondLst>
                                  <p:childTnLst>
                                    <p:set>
                                      <p:cBhvr>
                                        <p:cTn id="103" dur="1" fill="hold">
                                          <p:stCondLst>
                                            <p:cond delay="0"/>
                                          </p:stCondLst>
                                        </p:cTn>
                                        <p:tgtEl>
                                          <p:spTgt spid="42"/>
                                        </p:tgtEl>
                                        <p:attrNameLst>
                                          <p:attrName>style.visibility</p:attrName>
                                        </p:attrNameLst>
                                      </p:cBhvr>
                                      <p:to>
                                        <p:strVal val="visible"/>
                                      </p:to>
                                    </p:set>
                                    <p:anim calcmode="lin" valueType="num">
                                      <p:cBhvr additive="base">
                                        <p:cTn id="104" dur="500" fill="hold"/>
                                        <p:tgtEl>
                                          <p:spTgt spid="42"/>
                                        </p:tgtEl>
                                        <p:attrNameLst>
                                          <p:attrName>ppt_x</p:attrName>
                                        </p:attrNameLst>
                                      </p:cBhvr>
                                      <p:tavLst>
                                        <p:tav tm="0">
                                          <p:val>
                                            <p:strVal val="#ppt_x"/>
                                          </p:val>
                                        </p:tav>
                                        <p:tav tm="100000">
                                          <p:val>
                                            <p:strVal val="#ppt_x"/>
                                          </p:val>
                                        </p:tav>
                                      </p:tavLst>
                                    </p:anim>
                                    <p:anim calcmode="lin" valueType="num">
                                      <p:cBhvr additive="base">
                                        <p:cTn id="105" dur="500" fill="hold"/>
                                        <p:tgtEl>
                                          <p:spTgt spid="42"/>
                                        </p:tgtEl>
                                        <p:attrNameLst>
                                          <p:attrName>ppt_y</p:attrName>
                                        </p:attrNameLst>
                                      </p:cBhvr>
                                      <p:tavLst>
                                        <p:tav tm="0">
                                          <p:val>
                                            <p:strVal val="1+#ppt_h/2"/>
                                          </p:val>
                                        </p:tav>
                                        <p:tav tm="100000">
                                          <p:val>
                                            <p:strVal val="#ppt_y"/>
                                          </p:val>
                                        </p:tav>
                                      </p:tavLst>
                                    </p:anim>
                                  </p:childTnLst>
                                </p:cTn>
                              </p:par>
                              <p:par>
                                <p:cTn id="106" presetID="2" presetClass="entr" presetSubtype="4" fill="hold" grpId="0" nodeType="withEffect">
                                  <p:stCondLst>
                                    <p:cond delay="0"/>
                                  </p:stCondLst>
                                  <p:childTnLst>
                                    <p:set>
                                      <p:cBhvr>
                                        <p:cTn id="107" dur="1" fill="hold">
                                          <p:stCondLst>
                                            <p:cond delay="0"/>
                                          </p:stCondLst>
                                        </p:cTn>
                                        <p:tgtEl>
                                          <p:spTgt spid="43"/>
                                        </p:tgtEl>
                                        <p:attrNameLst>
                                          <p:attrName>style.visibility</p:attrName>
                                        </p:attrNameLst>
                                      </p:cBhvr>
                                      <p:to>
                                        <p:strVal val="visible"/>
                                      </p:to>
                                    </p:set>
                                    <p:anim calcmode="lin" valueType="num">
                                      <p:cBhvr additive="base">
                                        <p:cTn id="108" dur="500" fill="hold"/>
                                        <p:tgtEl>
                                          <p:spTgt spid="43"/>
                                        </p:tgtEl>
                                        <p:attrNameLst>
                                          <p:attrName>ppt_x</p:attrName>
                                        </p:attrNameLst>
                                      </p:cBhvr>
                                      <p:tavLst>
                                        <p:tav tm="0">
                                          <p:val>
                                            <p:strVal val="#ppt_x"/>
                                          </p:val>
                                        </p:tav>
                                        <p:tav tm="100000">
                                          <p:val>
                                            <p:strVal val="#ppt_x"/>
                                          </p:val>
                                        </p:tav>
                                      </p:tavLst>
                                    </p:anim>
                                    <p:anim calcmode="lin" valueType="num">
                                      <p:cBhvr additive="base">
                                        <p:cTn id="109" dur="500" fill="hold"/>
                                        <p:tgtEl>
                                          <p:spTgt spid="43"/>
                                        </p:tgtEl>
                                        <p:attrNameLst>
                                          <p:attrName>ppt_y</p:attrName>
                                        </p:attrNameLst>
                                      </p:cBhvr>
                                      <p:tavLst>
                                        <p:tav tm="0">
                                          <p:val>
                                            <p:strVal val="1+#ppt_h/2"/>
                                          </p:val>
                                        </p:tav>
                                        <p:tav tm="100000">
                                          <p:val>
                                            <p:strVal val="#ppt_y"/>
                                          </p:val>
                                        </p:tav>
                                      </p:tavLst>
                                    </p:anim>
                                  </p:childTnLst>
                                </p:cTn>
                              </p:par>
                              <p:par>
                                <p:cTn id="110" presetID="2" presetClass="entr" presetSubtype="4" fill="hold" grpId="0" nodeType="withEffect">
                                  <p:stCondLst>
                                    <p:cond delay="0"/>
                                  </p:stCondLst>
                                  <p:childTnLst>
                                    <p:set>
                                      <p:cBhvr>
                                        <p:cTn id="111" dur="1" fill="hold">
                                          <p:stCondLst>
                                            <p:cond delay="0"/>
                                          </p:stCondLst>
                                        </p:cTn>
                                        <p:tgtEl>
                                          <p:spTgt spid="44"/>
                                        </p:tgtEl>
                                        <p:attrNameLst>
                                          <p:attrName>style.visibility</p:attrName>
                                        </p:attrNameLst>
                                      </p:cBhvr>
                                      <p:to>
                                        <p:strVal val="visible"/>
                                      </p:to>
                                    </p:set>
                                    <p:anim calcmode="lin" valueType="num">
                                      <p:cBhvr additive="base">
                                        <p:cTn id="112" dur="500" fill="hold"/>
                                        <p:tgtEl>
                                          <p:spTgt spid="44"/>
                                        </p:tgtEl>
                                        <p:attrNameLst>
                                          <p:attrName>ppt_x</p:attrName>
                                        </p:attrNameLst>
                                      </p:cBhvr>
                                      <p:tavLst>
                                        <p:tav tm="0">
                                          <p:val>
                                            <p:strVal val="#ppt_x"/>
                                          </p:val>
                                        </p:tav>
                                        <p:tav tm="100000">
                                          <p:val>
                                            <p:strVal val="#ppt_x"/>
                                          </p:val>
                                        </p:tav>
                                      </p:tavLst>
                                    </p:anim>
                                    <p:anim calcmode="lin" valueType="num">
                                      <p:cBhvr additive="base">
                                        <p:cTn id="113" dur="500" fill="hold"/>
                                        <p:tgtEl>
                                          <p:spTgt spid="44"/>
                                        </p:tgtEl>
                                        <p:attrNameLst>
                                          <p:attrName>ppt_y</p:attrName>
                                        </p:attrNameLst>
                                      </p:cBhvr>
                                      <p:tavLst>
                                        <p:tav tm="0">
                                          <p:val>
                                            <p:strVal val="1+#ppt_h/2"/>
                                          </p:val>
                                        </p:tav>
                                        <p:tav tm="100000">
                                          <p:val>
                                            <p:strVal val="#ppt_y"/>
                                          </p:val>
                                        </p:tav>
                                      </p:tavLst>
                                    </p:anim>
                                  </p:childTnLst>
                                </p:cTn>
                              </p:par>
                              <p:par>
                                <p:cTn id="114" presetID="2" presetClass="entr" presetSubtype="4" fill="hold" grpId="0" nodeType="withEffect">
                                  <p:stCondLst>
                                    <p:cond delay="0"/>
                                  </p:stCondLst>
                                  <p:childTnLst>
                                    <p:set>
                                      <p:cBhvr>
                                        <p:cTn id="115" dur="1" fill="hold">
                                          <p:stCondLst>
                                            <p:cond delay="0"/>
                                          </p:stCondLst>
                                        </p:cTn>
                                        <p:tgtEl>
                                          <p:spTgt spid="45"/>
                                        </p:tgtEl>
                                        <p:attrNameLst>
                                          <p:attrName>style.visibility</p:attrName>
                                        </p:attrNameLst>
                                      </p:cBhvr>
                                      <p:to>
                                        <p:strVal val="visible"/>
                                      </p:to>
                                    </p:set>
                                    <p:anim calcmode="lin" valueType="num">
                                      <p:cBhvr additive="base">
                                        <p:cTn id="116" dur="500" fill="hold"/>
                                        <p:tgtEl>
                                          <p:spTgt spid="45"/>
                                        </p:tgtEl>
                                        <p:attrNameLst>
                                          <p:attrName>ppt_x</p:attrName>
                                        </p:attrNameLst>
                                      </p:cBhvr>
                                      <p:tavLst>
                                        <p:tav tm="0">
                                          <p:val>
                                            <p:strVal val="#ppt_x"/>
                                          </p:val>
                                        </p:tav>
                                        <p:tav tm="100000">
                                          <p:val>
                                            <p:strVal val="#ppt_x"/>
                                          </p:val>
                                        </p:tav>
                                      </p:tavLst>
                                    </p:anim>
                                    <p:anim calcmode="lin" valueType="num">
                                      <p:cBhvr additive="base">
                                        <p:cTn id="117" dur="500" fill="hold"/>
                                        <p:tgtEl>
                                          <p:spTgt spid="45"/>
                                        </p:tgtEl>
                                        <p:attrNameLst>
                                          <p:attrName>ppt_y</p:attrName>
                                        </p:attrNameLst>
                                      </p:cBhvr>
                                      <p:tavLst>
                                        <p:tav tm="0">
                                          <p:val>
                                            <p:strVal val="1+#ppt_h/2"/>
                                          </p:val>
                                        </p:tav>
                                        <p:tav tm="100000">
                                          <p:val>
                                            <p:strVal val="#ppt_y"/>
                                          </p:val>
                                        </p:tav>
                                      </p:tavLst>
                                    </p:anim>
                                  </p:childTnLst>
                                </p:cTn>
                              </p:par>
                              <p:par>
                                <p:cTn id="118" presetID="2" presetClass="entr" presetSubtype="4" fill="hold" grpId="0" nodeType="withEffect">
                                  <p:stCondLst>
                                    <p:cond delay="0"/>
                                  </p:stCondLst>
                                  <p:childTnLst>
                                    <p:set>
                                      <p:cBhvr>
                                        <p:cTn id="119" dur="1" fill="hold">
                                          <p:stCondLst>
                                            <p:cond delay="0"/>
                                          </p:stCondLst>
                                        </p:cTn>
                                        <p:tgtEl>
                                          <p:spTgt spid="66"/>
                                        </p:tgtEl>
                                        <p:attrNameLst>
                                          <p:attrName>style.visibility</p:attrName>
                                        </p:attrNameLst>
                                      </p:cBhvr>
                                      <p:to>
                                        <p:strVal val="visible"/>
                                      </p:to>
                                    </p:set>
                                    <p:anim calcmode="lin" valueType="num">
                                      <p:cBhvr additive="base">
                                        <p:cTn id="120" dur="500" fill="hold"/>
                                        <p:tgtEl>
                                          <p:spTgt spid="66"/>
                                        </p:tgtEl>
                                        <p:attrNameLst>
                                          <p:attrName>ppt_x</p:attrName>
                                        </p:attrNameLst>
                                      </p:cBhvr>
                                      <p:tavLst>
                                        <p:tav tm="0">
                                          <p:val>
                                            <p:strVal val="#ppt_x"/>
                                          </p:val>
                                        </p:tav>
                                        <p:tav tm="100000">
                                          <p:val>
                                            <p:strVal val="#ppt_x"/>
                                          </p:val>
                                        </p:tav>
                                      </p:tavLst>
                                    </p:anim>
                                    <p:anim calcmode="lin" valueType="num">
                                      <p:cBhvr additive="base">
                                        <p:cTn id="121" dur="500" fill="hold"/>
                                        <p:tgtEl>
                                          <p:spTgt spid="66"/>
                                        </p:tgtEl>
                                        <p:attrNameLst>
                                          <p:attrName>ppt_y</p:attrName>
                                        </p:attrNameLst>
                                      </p:cBhvr>
                                      <p:tavLst>
                                        <p:tav tm="0">
                                          <p:val>
                                            <p:strVal val="1+#ppt_h/2"/>
                                          </p:val>
                                        </p:tav>
                                        <p:tav tm="100000">
                                          <p:val>
                                            <p:strVal val="#ppt_y"/>
                                          </p:val>
                                        </p:tav>
                                      </p:tavLst>
                                    </p:anim>
                                  </p:childTnLst>
                                </p:cTn>
                              </p:par>
                              <p:par>
                                <p:cTn id="122" presetID="2" presetClass="entr" presetSubtype="4" fill="hold" grpId="0" nodeType="withEffect">
                                  <p:stCondLst>
                                    <p:cond delay="0"/>
                                  </p:stCondLst>
                                  <p:childTnLst>
                                    <p:set>
                                      <p:cBhvr>
                                        <p:cTn id="123" dur="1" fill="hold">
                                          <p:stCondLst>
                                            <p:cond delay="0"/>
                                          </p:stCondLst>
                                        </p:cTn>
                                        <p:tgtEl>
                                          <p:spTgt spid="67"/>
                                        </p:tgtEl>
                                        <p:attrNameLst>
                                          <p:attrName>style.visibility</p:attrName>
                                        </p:attrNameLst>
                                      </p:cBhvr>
                                      <p:to>
                                        <p:strVal val="visible"/>
                                      </p:to>
                                    </p:set>
                                    <p:anim calcmode="lin" valueType="num">
                                      <p:cBhvr additive="base">
                                        <p:cTn id="124" dur="500" fill="hold"/>
                                        <p:tgtEl>
                                          <p:spTgt spid="67"/>
                                        </p:tgtEl>
                                        <p:attrNameLst>
                                          <p:attrName>ppt_x</p:attrName>
                                        </p:attrNameLst>
                                      </p:cBhvr>
                                      <p:tavLst>
                                        <p:tav tm="0">
                                          <p:val>
                                            <p:strVal val="#ppt_x"/>
                                          </p:val>
                                        </p:tav>
                                        <p:tav tm="100000">
                                          <p:val>
                                            <p:strVal val="#ppt_x"/>
                                          </p:val>
                                        </p:tav>
                                      </p:tavLst>
                                    </p:anim>
                                    <p:anim calcmode="lin" valueType="num">
                                      <p:cBhvr additive="base">
                                        <p:cTn id="125" dur="500" fill="hold"/>
                                        <p:tgtEl>
                                          <p:spTgt spid="67"/>
                                        </p:tgtEl>
                                        <p:attrNameLst>
                                          <p:attrName>ppt_y</p:attrName>
                                        </p:attrNameLst>
                                      </p:cBhvr>
                                      <p:tavLst>
                                        <p:tav tm="0">
                                          <p:val>
                                            <p:strVal val="1+#ppt_h/2"/>
                                          </p:val>
                                        </p:tav>
                                        <p:tav tm="100000">
                                          <p:val>
                                            <p:strVal val="#ppt_y"/>
                                          </p:val>
                                        </p:tav>
                                      </p:tavLst>
                                    </p:anim>
                                  </p:childTnLst>
                                </p:cTn>
                              </p:par>
                            </p:childTnLst>
                          </p:cTn>
                        </p:par>
                      </p:childTnLst>
                    </p:cTn>
                  </p:par>
                  <p:par>
                    <p:cTn id="126" fill="hold">
                      <p:stCondLst>
                        <p:cond delay="indefinite"/>
                      </p:stCondLst>
                      <p:childTnLst>
                        <p:par>
                          <p:cTn id="127" fill="hold">
                            <p:stCondLst>
                              <p:cond delay="0"/>
                            </p:stCondLst>
                            <p:childTnLst>
                              <p:par>
                                <p:cTn id="128" presetID="42" presetClass="entr" presetSubtype="0" fill="hold" nodeType="clickEffect">
                                  <p:stCondLst>
                                    <p:cond delay="0"/>
                                  </p:stCondLst>
                                  <p:childTnLst>
                                    <p:set>
                                      <p:cBhvr>
                                        <p:cTn id="129" dur="1" fill="hold">
                                          <p:stCondLst>
                                            <p:cond delay="0"/>
                                          </p:stCondLst>
                                        </p:cTn>
                                        <p:tgtEl>
                                          <p:spTgt spid="49"/>
                                        </p:tgtEl>
                                        <p:attrNameLst>
                                          <p:attrName>style.visibility</p:attrName>
                                        </p:attrNameLst>
                                      </p:cBhvr>
                                      <p:to>
                                        <p:strVal val="visible"/>
                                      </p:to>
                                    </p:set>
                                    <p:animEffect transition="in" filter="fade">
                                      <p:cBhvr>
                                        <p:cTn id="130" dur="1000"/>
                                        <p:tgtEl>
                                          <p:spTgt spid="49"/>
                                        </p:tgtEl>
                                      </p:cBhvr>
                                    </p:animEffect>
                                    <p:anim calcmode="lin" valueType="num">
                                      <p:cBhvr>
                                        <p:cTn id="131" dur="1000" fill="hold"/>
                                        <p:tgtEl>
                                          <p:spTgt spid="49"/>
                                        </p:tgtEl>
                                        <p:attrNameLst>
                                          <p:attrName>ppt_x</p:attrName>
                                        </p:attrNameLst>
                                      </p:cBhvr>
                                      <p:tavLst>
                                        <p:tav tm="0">
                                          <p:val>
                                            <p:strVal val="#ppt_x"/>
                                          </p:val>
                                        </p:tav>
                                        <p:tav tm="100000">
                                          <p:val>
                                            <p:strVal val="#ppt_x"/>
                                          </p:val>
                                        </p:tav>
                                      </p:tavLst>
                                    </p:anim>
                                    <p:anim calcmode="lin" valueType="num">
                                      <p:cBhvr>
                                        <p:cTn id="132" dur="1000" fill="hold"/>
                                        <p:tgtEl>
                                          <p:spTgt spid="49"/>
                                        </p:tgtEl>
                                        <p:attrNameLst>
                                          <p:attrName>ppt_y</p:attrName>
                                        </p:attrNameLst>
                                      </p:cBhvr>
                                      <p:tavLst>
                                        <p:tav tm="0">
                                          <p:val>
                                            <p:strVal val="#ppt_y+.1"/>
                                          </p:val>
                                        </p:tav>
                                        <p:tav tm="100000">
                                          <p:val>
                                            <p:strVal val="#ppt_y"/>
                                          </p:val>
                                        </p:tav>
                                      </p:tavLst>
                                    </p:anim>
                                  </p:childTnLst>
                                </p:cTn>
                              </p:par>
                            </p:childTnLst>
                          </p:cTn>
                        </p:par>
                        <p:par>
                          <p:cTn id="133" fill="hold">
                            <p:stCondLst>
                              <p:cond delay="1000"/>
                            </p:stCondLst>
                            <p:childTnLst>
                              <p:par>
                                <p:cTn id="134" presetID="9" presetClass="entr" presetSubtype="0" fill="hold" nodeType="afterEffect">
                                  <p:stCondLst>
                                    <p:cond delay="0"/>
                                  </p:stCondLst>
                                  <p:childTnLst>
                                    <p:set>
                                      <p:cBhvr>
                                        <p:cTn id="135" dur="1" fill="hold">
                                          <p:stCondLst>
                                            <p:cond delay="0"/>
                                          </p:stCondLst>
                                        </p:cTn>
                                        <p:tgtEl>
                                          <p:spTgt spid="23"/>
                                        </p:tgtEl>
                                        <p:attrNameLst>
                                          <p:attrName>style.visibility</p:attrName>
                                        </p:attrNameLst>
                                      </p:cBhvr>
                                      <p:to>
                                        <p:strVal val="visible"/>
                                      </p:to>
                                    </p:set>
                                    <p:animEffect transition="in" filter="dissolve">
                                      <p:cBhvr>
                                        <p:cTn id="136" dur="500"/>
                                        <p:tgtEl>
                                          <p:spTgt spid="23"/>
                                        </p:tgtEl>
                                      </p:cBhvr>
                                    </p:animEffect>
                                  </p:childTnLst>
                                </p:cTn>
                              </p:par>
                              <p:par>
                                <p:cTn id="137" presetID="9" presetClass="entr" presetSubtype="0" fill="hold" nodeType="withEffect">
                                  <p:stCondLst>
                                    <p:cond delay="0"/>
                                  </p:stCondLst>
                                  <p:childTnLst>
                                    <p:set>
                                      <p:cBhvr>
                                        <p:cTn id="138" dur="1" fill="hold">
                                          <p:stCondLst>
                                            <p:cond delay="0"/>
                                          </p:stCondLst>
                                        </p:cTn>
                                        <p:tgtEl>
                                          <p:spTgt spid="24"/>
                                        </p:tgtEl>
                                        <p:attrNameLst>
                                          <p:attrName>style.visibility</p:attrName>
                                        </p:attrNameLst>
                                      </p:cBhvr>
                                      <p:to>
                                        <p:strVal val="visible"/>
                                      </p:to>
                                    </p:set>
                                    <p:animEffect transition="in" filter="dissolve">
                                      <p:cBhvr>
                                        <p:cTn id="139" dur="500"/>
                                        <p:tgtEl>
                                          <p:spTgt spid="24"/>
                                        </p:tgtEl>
                                      </p:cBhvr>
                                    </p:animEffect>
                                  </p:childTnLst>
                                </p:cTn>
                              </p:par>
                            </p:childTnLst>
                          </p:cTn>
                        </p:par>
                      </p:childTnLst>
                    </p:cTn>
                  </p:par>
                  <p:par>
                    <p:cTn id="140" fill="hold">
                      <p:stCondLst>
                        <p:cond delay="indefinite"/>
                      </p:stCondLst>
                      <p:childTnLst>
                        <p:par>
                          <p:cTn id="141" fill="hold">
                            <p:stCondLst>
                              <p:cond delay="0"/>
                            </p:stCondLst>
                            <p:childTnLst>
                              <p:par>
                                <p:cTn id="142" presetID="10" presetClass="entr" presetSubtype="0" fill="hold" nodeType="clickEffect">
                                  <p:stCondLst>
                                    <p:cond delay="0"/>
                                  </p:stCondLst>
                                  <p:childTnLst>
                                    <p:set>
                                      <p:cBhvr>
                                        <p:cTn id="143" dur="1" fill="hold">
                                          <p:stCondLst>
                                            <p:cond delay="0"/>
                                          </p:stCondLst>
                                        </p:cTn>
                                        <p:tgtEl>
                                          <p:spTgt spid="61"/>
                                        </p:tgtEl>
                                        <p:attrNameLst>
                                          <p:attrName>style.visibility</p:attrName>
                                        </p:attrNameLst>
                                      </p:cBhvr>
                                      <p:to>
                                        <p:strVal val="visible"/>
                                      </p:to>
                                    </p:set>
                                    <p:animEffect transition="in" filter="fade">
                                      <p:cBhvr>
                                        <p:cTn id="144" dur="500"/>
                                        <p:tgtEl>
                                          <p:spTgt spid="61"/>
                                        </p:tgtEl>
                                      </p:cBhvr>
                                    </p:animEffect>
                                  </p:childTnLst>
                                </p:cTn>
                              </p:par>
                            </p:childTnLst>
                          </p:cTn>
                        </p:par>
                        <p:par>
                          <p:cTn id="145" fill="hold">
                            <p:stCondLst>
                              <p:cond delay="500"/>
                            </p:stCondLst>
                            <p:childTnLst>
                              <p:par>
                                <p:cTn id="146" presetID="10" presetClass="entr" presetSubtype="0" fill="hold" nodeType="afterEffect">
                                  <p:stCondLst>
                                    <p:cond delay="0"/>
                                  </p:stCondLst>
                                  <p:childTnLst>
                                    <p:set>
                                      <p:cBhvr>
                                        <p:cTn id="147" dur="1" fill="hold">
                                          <p:stCondLst>
                                            <p:cond delay="0"/>
                                          </p:stCondLst>
                                        </p:cTn>
                                        <p:tgtEl>
                                          <p:spTgt spid="59"/>
                                        </p:tgtEl>
                                        <p:attrNameLst>
                                          <p:attrName>style.visibility</p:attrName>
                                        </p:attrNameLst>
                                      </p:cBhvr>
                                      <p:to>
                                        <p:strVal val="visible"/>
                                      </p:to>
                                    </p:set>
                                    <p:animEffect transition="in" filter="fade">
                                      <p:cBhvr>
                                        <p:cTn id="148" dur="500"/>
                                        <p:tgtEl>
                                          <p:spTgt spid="59"/>
                                        </p:tgtEl>
                                      </p:cBhvr>
                                    </p:animEffect>
                                  </p:childTnLst>
                                </p:cTn>
                              </p:par>
                            </p:childTnLst>
                          </p:cTn>
                        </p:par>
                        <p:par>
                          <p:cTn id="149" fill="hold">
                            <p:stCondLst>
                              <p:cond delay="1000"/>
                            </p:stCondLst>
                            <p:childTnLst>
                              <p:par>
                                <p:cTn id="150" presetID="10" presetClass="entr" presetSubtype="0" fill="hold" nodeType="afterEffect">
                                  <p:stCondLst>
                                    <p:cond delay="0"/>
                                  </p:stCondLst>
                                  <p:childTnLst>
                                    <p:set>
                                      <p:cBhvr>
                                        <p:cTn id="151" dur="1" fill="hold">
                                          <p:stCondLst>
                                            <p:cond delay="0"/>
                                          </p:stCondLst>
                                        </p:cTn>
                                        <p:tgtEl>
                                          <p:spTgt spid="62"/>
                                        </p:tgtEl>
                                        <p:attrNameLst>
                                          <p:attrName>style.visibility</p:attrName>
                                        </p:attrNameLst>
                                      </p:cBhvr>
                                      <p:to>
                                        <p:strVal val="visible"/>
                                      </p:to>
                                    </p:set>
                                    <p:animEffect transition="in" filter="fade">
                                      <p:cBhvr>
                                        <p:cTn id="152" dur="500"/>
                                        <p:tgtEl>
                                          <p:spTgt spid="62"/>
                                        </p:tgtEl>
                                      </p:cBhvr>
                                    </p:animEffect>
                                  </p:childTnLst>
                                </p:cTn>
                              </p:par>
                            </p:childTnLst>
                          </p:cTn>
                        </p:par>
                        <p:par>
                          <p:cTn id="153" fill="hold">
                            <p:stCondLst>
                              <p:cond delay="1500"/>
                            </p:stCondLst>
                            <p:childTnLst>
                              <p:par>
                                <p:cTn id="154" presetID="10" presetClass="entr" presetSubtype="0" fill="hold" nodeType="afterEffect">
                                  <p:stCondLst>
                                    <p:cond delay="0"/>
                                  </p:stCondLst>
                                  <p:childTnLst>
                                    <p:set>
                                      <p:cBhvr>
                                        <p:cTn id="155" dur="1" fill="hold">
                                          <p:stCondLst>
                                            <p:cond delay="0"/>
                                          </p:stCondLst>
                                        </p:cTn>
                                        <p:tgtEl>
                                          <p:spTgt spid="56"/>
                                        </p:tgtEl>
                                        <p:attrNameLst>
                                          <p:attrName>style.visibility</p:attrName>
                                        </p:attrNameLst>
                                      </p:cBhvr>
                                      <p:to>
                                        <p:strVal val="visible"/>
                                      </p:to>
                                    </p:set>
                                    <p:animEffect transition="in" filter="fade">
                                      <p:cBhvr>
                                        <p:cTn id="156" dur="500"/>
                                        <p:tgtEl>
                                          <p:spTgt spid="56"/>
                                        </p:tgtEl>
                                      </p:cBhvr>
                                    </p:animEffect>
                                  </p:childTnLst>
                                </p:cTn>
                              </p:par>
                            </p:childTnLst>
                          </p:cTn>
                        </p:par>
                        <p:par>
                          <p:cTn id="157" fill="hold">
                            <p:stCondLst>
                              <p:cond delay="2000"/>
                            </p:stCondLst>
                            <p:childTnLst>
                              <p:par>
                                <p:cTn id="158" presetID="10" presetClass="entr" presetSubtype="0" fill="hold" nodeType="afterEffect">
                                  <p:stCondLst>
                                    <p:cond delay="0"/>
                                  </p:stCondLst>
                                  <p:childTnLst>
                                    <p:set>
                                      <p:cBhvr>
                                        <p:cTn id="159" dur="1" fill="hold">
                                          <p:stCondLst>
                                            <p:cond delay="0"/>
                                          </p:stCondLst>
                                        </p:cTn>
                                        <p:tgtEl>
                                          <p:spTgt spid="27"/>
                                        </p:tgtEl>
                                        <p:attrNameLst>
                                          <p:attrName>style.visibility</p:attrName>
                                        </p:attrNameLst>
                                      </p:cBhvr>
                                      <p:to>
                                        <p:strVal val="visible"/>
                                      </p:to>
                                    </p:set>
                                    <p:animEffect transition="in" filter="fade">
                                      <p:cBhvr>
                                        <p:cTn id="160" dur="500"/>
                                        <p:tgtEl>
                                          <p:spTgt spid="27"/>
                                        </p:tgtEl>
                                      </p:cBhvr>
                                    </p:animEffect>
                                  </p:childTnLst>
                                </p:cTn>
                              </p:par>
                            </p:childTnLst>
                          </p:cTn>
                        </p:par>
                      </p:childTnLst>
                    </p:cTn>
                  </p:par>
                  <p:par>
                    <p:cTn id="161" fill="hold">
                      <p:stCondLst>
                        <p:cond delay="indefinite"/>
                      </p:stCondLst>
                      <p:childTnLst>
                        <p:par>
                          <p:cTn id="162" fill="hold">
                            <p:stCondLst>
                              <p:cond delay="0"/>
                            </p:stCondLst>
                            <p:childTnLst>
                              <p:par>
                                <p:cTn id="163" presetID="45" presetClass="entr" presetSubtype="0" fill="hold" nodeType="clickEffect">
                                  <p:stCondLst>
                                    <p:cond delay="0"/>
                                  </p:stCondLst>
                                  <p:childTnLst>
                                    <p:set>
                                      <p:cBhvr>
                                        <p:cTn id="164" dur="1" fill="hold">
                                          <p:stCondLst>
                                            <p:cond delay="0"/>
                                          </p:stCondLst>
                                        </p:cTn>
                                        <p:tgtEl>
                                          <p:spTgt spid="2"/>
                                        </p:tgtEl>
                                        <p:attrNameLst>
                                          <p:attrName>style.visibility</p:attrName>
                                        </p:attrNameLst>
                                      </p:cBhvr>
                                      <p:to>
                                        <p:strVal val="visible"/>
                                      </p:to>
                                    </p:set>
                                    <p:animEffect transition="in" filter="fade">
                                      <p:cBhvr>
                                        <p:cTn id="165" dur="2000"/>
                                        <p:tgtEl>
                                          <p:spTgt spid="2"/>
                                        </p:tgtEl>
                                      </p:cBhvr>
                                    </p:animEffect>
                                    <p:anim calcmode="lin" valueType="num">
                                      <p:cBhvr>
                                        <p:cTn id="166" dur="2000" fill="hold"/>
                                        <p:tgtEl>
                                          <p:spTgt spid="2"/>
                                        </p:tgtEl>
                                        <p:attrNameLst>
                                          <p:attrName>ppt_w</p:attrName>
                                        </p:attrNameLst>
                                      </p:cBhvr>
                                      <p:tavLst>
                                        <p:tav tm="0" fmla="#ppt_w*sin(2.5*pi*$)">
                                          <p:val>
                                            <p:fltVal val="0"/>
                                          </p:val>
                                        </p:tav>
                                        <p:tav tm="100000">
                                          <p:val>
                                            <p:fltVal val="1"/>
                                          </p:val>
                                        </p:tav>
                                      </p:tavLst>
                                    </p:anim>
                                    <p:anim calcmode="lin" valueType="num">
                                      <p:cBhvr>
                                        <p:cTn id="167" dur="2000" fill="hold"/>
                                        <p:tgtEl>
                                          <p:spTgt spid="2"/>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14" grpId="0" animBg="1"/>
      <p:bldP spid="38" grpId="0" animBg="1"/>
      <p:bldP spid="39" grpId="0" animBg="1"/>
      <p:bldP spid="40" grpId="0" animBg="1"/>
      <p:bldP spid="42" grpId="0" animBg="1"/>
      <p:bldP spid="43" grpId="0" animBg="1"/>
      <p:bldP spid="44" grpId="0" animBg="1"/>
      <p:bldP spid="45" grpId="0" animBg="1"/>
      <p:bldP spid="46" grpId="0" animBg="1"/>
      <p:bldP spid="47" grpId="0" animBg="1"/>
      <p:bldP spid="48" grpId="0" animBg="1"/>
      <p:bldP spid="16" grpId="0" animBg="1"/>
      <p:bldP spid="15" grpId="0" animBg="1"/>
      <p:bldP spid="30" grpId="0" animBg="1"/>
      <p:bldP spid="31" grpId="0" animBg="1"/>
      <p:bldP spid="32" grpId="0" animBg="1"/>
      <p:bldP spid="33" grpId="0" animBg="1"/>
      <p:bldP spid="13" grpId="0" animBg="1"/>
      <p:bldP spid="66" grpId="0" animBg="1"/>
      <p:bldP spid="67" grpId="0" animBg="1"/>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5" descr="Scanned Photo-28"/>
          <p:cNvPicPr>
            <a:picLocks noChangeAspect="1" noChangeArrowheads="1"/>
          </p:cNvPicPr>
          <p:nvPr/>
        </p:nvPicPr>
        <p:blipFill>
          <a:blip r:embed="rId2" cstate="email"/>
          <a:srcRect/>
          <a:stretch>
            <a:fillRect/>
          </a:stretch>
        </p:blipFill>
        <p:spPr bwMode="auto">
          <a:xfrm>
            <a:off x="1630164" y="2027224"/>
            <a:ext cx="5942232" cy="4330734"/>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12" name="Rectangle 11"/>
          <p:cNvSpPr/>
          <p:nvPr/>
        </p:nvSpPr>
        <p:spPr>
          <a:xfrm>
            <a:off x="1042850" y="1214422"/>
            <a:ext cx="6886736" cy="461665"/>
          </a:xfrm>
          <a:prstGeom prst="rect">
            <a:avLst/>
          </a:prstGeom>
          <a:noFill/>
          <a:ln cap="rnd">
            <a:noFill/>
          </a:ln>
          <a:effectLst>
            <a:innerShdw blurRad="127000" dist="88900" dir="9600000">
              <a:prstClr val="black">
                <a:alpha val="50000"/>
              </a:prstClr>
            </a:innerShdw>
          </a:effectLst>
        </p:spPr>
        <p:txBody>
          <a:bodyPr wrap="square">
            <a:spAutoFit/>
          </a:bodyPr>
          <a:lstStyle/>
          <a:p>
            <a:pPr algn="ctr">
              <a:defRPr/>
            </a:pPr>
            <a:r>
              <a:rPr lang="en-US" sz="2000" b="1" kern="0" cap="all" dirty="0">
                <a:solidFill>
                  <a:schemeClr val="accent6">
                    <a:lumMod val="75000"/>
                  </a:schemeClr>
                </a:solidFill>
              </a:rPr>
              <a:t>RAPID PROTOTYPING </a:t>
            </a:r>
            <a:r>
              <a:rPr lang="en-US" sz="2000" b="1" kern="0" cap="all" dirty="0" smtClean="0">
                <a:solidFill>
                  <a:schemeClr val="accent6">
                    <a:lumMod val="75000"/>
                  </a:schemeClr>
                </a:solidFill>
              </a:rPr>
              <a:t>LAB</a:t>
            </a:r>
            <a:r>
              <a:rPr lang="ar-EG" sz="2400" b="1" kern="0" cap="all" dirty="0" smtClean="0">
                <a:solidFill>
                  <a:schemeClr val="accent6">
                    <a:lumMod val="75000"/>
                  </a:schemeClr>
                </a:solidFill>
              </a:rPr>
              <a:t>معمل الإنتاج السريع للعينات </a:t>
            </a:r>
            <a:endParaRPr lang="ar-EG" sz="2000" b="1" kern="0" cap="all" dirty="0">
              <a:solidFill>
                <a:schemeClr val="accent6">
                  <a:lumMod val="75000"/>
                </a:schemeClr>
              </a:solidFill>
            </a:endParaRPr>
          </a:p>
        </p:txBody>
      </p:sp>
    </p:spTree>
  </p:cSld>
  <p:clrMapOvr>
    <a:masterClrMapping/>
  </p:clrMapOv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15"/>
          <p:cNvSpPr>
            <a:spLocks noChangeArrowheads="1"/>
          </p:cNvSpPr>
          <p:nvPr/>
        </p:nvSpPr>
        <p:spPr bwMode="auto">
          <a:xfrm>
            <a:off x="4500562" y="1087923"/>
            <a:ext cx="4429156" cy="769441"/>
          </a:xfrm>
          <a:prstGeom prst="rect">
            <a:avLst/>
          </a:prstGeom>
          <a:noFill/>
          <a:ln w="9525">
            <a:noFill/>
            <a:miter lim="800000"/>
            <a:headEnd/>
            <a:tailEnd/>
          </a:ln>
        </p:spPr>
        <p:txBody>
          <a:bodyPr wrap="square">
            <a:spAutoFit/>
          </a:bodyPr>
          <a:lstStyle/>
          <a:p>
            <a:pPr algn="r" rtl="1">
              <a:defRPr/>
            </a:pPr>
            <a:r>
              <a:rPr lang="ar-EG" sz="4400" b="1" dirty="0" smtClean="0">
                <a:solidFill>
                  <a:schemeClr val="accent6">
                    <a:lumMod val="75000"/>
                  </a:schemeClr>
                </a:solidFill>
                <a:cs typeface="Arabic Transparent" pitchFamily="2" charset="-78"/>
              </a:rPr>
              <a:t>معمل الماكينات الرقمية </a:t>
            </a:r>
            <a:endParaRPr lang="en-US" sz="4400" b="1" dirty="0">
              <a:solidFill>
                <a:schemeClr val="accent6">
                  <a:lumMod val="75000"/>
                </a:schemeClr>
              </a:solidFill>
              <a:cs typeface="Arabic Transparent" pitchFamily="2" charset="-78"/>
            </a:endParaRPr>
          </a:p>
        </p:txBody>
      </p:sp>
      <p:pic>
        <p:nvPicPr>
          <p:cNvPr id="3" name="Picture 2" descr="Slide58"/>
          <p:cNvPicPr/>
          <p:nvPr/>
        </p:nvPicPr>
        <p:blipFill>
          <a:blip r:embed="rId3" cstate="print"/>
          <a:srcRect t="9633"/>
          <a:stretch>
            <a:fillRect/>
          </a:stretch>
        </p:blipFill>
        <p:spPr bwMode="auto">
          <a:xfrm>
            <a:off x="1543048" y="1928802"/>
            <a:ext cx="6029348" cy="3984962"/>
          </a:xfrm>
          <a:prstGeom prst="rect">
            <a:avLst/>
          </a:prstGeom>
          <a:noFill/>
          <a:ln w="9525">
            <a:noFill/>
            <a:miter lim="800000"/>
            <a:headEnd/>
            <a:tailEnd/>
          </a:ln>
        </p:spPr>
      </p:pic>
    </p:spTree>
  </p:cSld>
  <p:clrMapOvr>
    <a:masterClrMapping/>
  </p:clrMapOv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auto">
          <a:xfrm>
            <a:off x="6443663" y="5310188"/>
            <a:ext cx="2665412" cy="422275"/>
          </a:xfrm>
          <a:prstGeom prst="rect">
            <a:avLst/>
          </a:prstGeom>
          <a:noFill/>
          <a:ln>
            <a:miter lim="800000"/>
            <a:headEnd/>
            <a:tailEnd/>
          </a:ln>
        </p:spPr>
        <p:txBody>
          <a:bodyPr/>
          <a:lstStyle/>
          <a:p>
            <a:pPr algn="ctr">
              <a:defRPr/>
            </a:pPr>
            <a:r>
              <a:rPr lang="ar-EG" sz="2000" u="sng" kern="0" dirty="0">
                <a:solidFill>
                  <a:schemeClr val="tx2"/>
                </a:solidFill>
                <a:latin typeface="+mj-lt"/>
                <a:ea typeface="+mj-ea"/>
                <a:cs typeface="+mj-cs"/>
              </a:rPr>
              <a:t/>
            </a:r>
            <a:br>
              <a:rPr lang="ar-EG" sz="2000" u="sng" kern="0" dirty="0">
                <a:solidFill>
                  <a:schemeClr val="tx2"/>
                </a:solidFill>
                <a:latin typeface="+mj-lt"/>
                <a:ea typeface="+mj-ea"/>
                <a:cs typeface="+mj-cs"/>
              </a:rPr>
            </a:br>
            <a:endParaRPr lang="en-US" sz="2000" u="sng" kern="0" dirty="0">
              <a:solidFill>
                <a:schemeClr val="tx2"/>
              </a:solidFill>
              <a:latin typeface="+mj-lt"/>
              <a:ea typeface="+mj-ea"/>
              <a:cs typeface="+mj-cs"/>
            </a:endParaRPr>
          </a:p>
        </p:txBody>
      </p:sp>
      <p:pic>
        <p:nvPicPr>
          <p:cNvPr id="39939" name="Picture 11" descr="FILAMENT4"/>
          <p:cNvPicPr>
            <a:picLocks noChangeAspect="1" noChangeArrowheads="1"/>
          </p:cNvPicPr>
          <p:nvPr/>
        </p:nvPicPr>
        <p:blipFill>
          <a:blip r:embed="rId2" cstate="print"/>
          <a:srcRect/>
          <a:stretch>
            <a:fillRect/>
          </a:stretch>
        </p:blipFill>
        <p:spPr bwMode="auto">
          <a:xfrm>
            <a:off x="250825" y="2133600"/>
            <a:ext cx="8424863" cy="4725988"/>
          </a:xfrm>
          <a:prstGeom prst="rect">
            <a:avLst/>
          </a:prstGeom>
          <a:noFill/>
          <a:ln w="9525">
            <a:noFill/>
            <a:miter lim="800000"/>
            <a:headEnd/>
            <a:tailEnd/>
          </a:ln>
        </p:spPr>
      </p:pic>
      <p:sp>
        <p:nvSpPr>
          <p:cNvPr id="11" name="Rectangle 10"/>
          <p:cNvSpPr/>
          <p:nvPr/>
        </p:nvSpPr>
        <p:spPr>
          <a:xfrm>
            <a:off x="2857488" y="1500174"/>
            <a:ext cx="3248744" cy="461665"/>
          </a:xfrm>
          <a:prstGeom prst="rect">
            <a:avLst/>
          </a:prstGeom>
          <a:noFill/>
          <a:ln cap="rnd" cmpd="sng">
            <a:noFill/>
          </a:ln>
          <a:effectLst>
            <a:glow rad="228600">
              <a:schemeClr val="accent2">
                <a:satMod val="175000"/>
                <a:alpha val="40000"/>
              </a:schemeClr>
            </a:glow>
            <a:innerShdw blurRad="63500" dist="50800" dir="16200000">
              <a:prstClr val="black">
                <a:alpha val="50000"/>
              </a:prstClr>
            </a:innerShdw>
            <a:softEdge rad="317500"/>
          </a:effectLst>
          <a:scene3d>
            <a:camera prst="orthographicFront"/>
            <a:lightRig rig="threePt" dir="t"/>
          </a:scene3d>
          <a:sp3d extrusionH="76200">
            <a:bevelT prst="relaxedInset"/>
            <a:bevelB w="101600" prst="riblet"/>
            <a:extrusionClr>
              <a:schemeClr val="accent2"/>
            </a:extrusionClr>
          </a:sp3d>
        </p:spPr>
        <p:txBody>
          <a:bodyPr wrap="square">
            <a:spAutoFit/>
          </a:bodyPr>
          <a:lstStyle/>
          <a:p>
            <a:pPr algn="ctr" rtl="1" eaLnBrk="0" hangingPunct="0">
              <a:defRPr/>
            </a:pPr>
            <a:r>
              <a:rPr lang="en-US" sz="2400" b="1" dirty="0" smtClean="0">
                <a:solidFill>
                  <a:schemeClr val="accent2">
                    <a:lumMod val="75000"/>
                  </a:schemeClr>
                </a:solidFill>
                <a:latin typeface="Tahoma" pitchFamily="34" charset="0"/>
                <a:cs typeface="Arial" pitchFamily="34" charset="0"/>
              </a:rPr>
              <a:t>Filament Winder</a:t>
            </a:r>
            <a:endParaRPr lang="en-US" sz="2400" b="1" dirty="0">
              <a:solidFill>
                <a:schemeClr val="accent2">
                  <a:lumMod val="75000"/>
                </a:schemeClr>
              </a:solidFill>
              <a:latin typeface="Tahoma" pitchFamily="34" charset="0"/>
              <a:cs typeface="Arial" pitchFamily="34" charset="0"/>
            </a:endParaRPr>
          </a:p>
        </p:txBody>
      </p:sp>
      <p:sp>
        <p:nvSpPr>
          <p:cNvPr id="6" name="TextBox 3"/>
          <p:cNvSpPr txBox="1">
            <a:spLocks noChangeArrowheads="1"/>
          </p:cNvSpPr>
          <p:nvPr/>
        </p:nvSpPr>
        <p:spPr bwMode="auto">
          <a:xfrm>
            <a:off x="3357554" y="1000108"/>
            <a:ext cx="2090475" cy="523220"/>
          </a:xfrm>
          <a:prstGeom prst="rect">
            <a:avLst/>
          </a:prstGeom>
          <a:noFill/>
          <a:ln cap="rnd" cmpd="sng">
            <a:noFill/>
          </a:ln>
          <a:effectLst>
            <a:glow rad="228600">
              <a:schemeClr val="accent2">
                <a:satMod val="175000"/>
                <a:alpha val="40000"/>
              </a:schemeClr>
            </a:glow>
            <a:innerShdw blurRad="63500" dist="50800" dir="16200000">
              <a:prstClr val="black">
                <a:alpha val="50000"/>
              </a:prstClr>
            </a:innerShdw>
            <a:softEdge rad="317500"/>
          </a:effectLst>
          <a:scene3d>
            <a:camera prst="orthographicFront"/>
            <a:lightRig rig="threePt" dir="t"/>
          </a:scene3d>
          <a:sp3d extrusionH="76200">
            <a:bevelT prst="relaxedInset"/>
            <a:bevelB w="101600" prst="riblet"/>
            <a:extrusionClr>
              <a:schemeClr val="accent2"/>
            </a:extrusionClr>
          </a:sp3d>
        </p:spPr>
        <p:txBody>
          <a:bodyPr wrap="square">
            <a:spAutoFit/>
          </a:bodyPr>
          <a:lstStyle>
            <a:lvl1pPr eaLnBrk="0" hangingPunct="0">
              <a:defRPr sz="2400">
                <a:solidFill>
                  <a:schemeClr val="tx1"/>
                </a:solidFill>
                <a:latin typeface="Tahoma" pitchFamily="34" charset="0"/>
                <a:cs typeface="Arial" pitchFamily="34" charset="0"/>
              </a:defRPr>
            </a:lvl1pPr>
            <a:lvl2pPr marL="742950" indent="-285750" eaLnBrk="0" hangingPunct="0">
              <a:defRPr sz="2400">
                <a:solidFill>
                  <a:schemeClr val="tx1"/>
                </a:solidFill>
                <a:latin typeface="Tahoma" pitchFamily="34" charset="0"/>
                <a:cs typeface="Arial" pitchFamily="34" charset="0"/>
              </a:defRPr>
            </a:lvl2pPr>
            <a:lvl3pPr marL="1143000" indent="-228600" eaLnBrk="0" hangingPunct="0">
              <a:defRPr sz="2400">
                <a:solidFill>
                  <a:schemeClr val="tx1"/>
                </a:solidFill>
                <a:latin typeface="Tahoma" pitchFamily="34" charset="0"/>
                <a:cs typeface="Arial" pitchFamily="34" charset="0"/>
              </a:defRPr>
            </a:lvl3pPr>
            <a:lvl4pPr marL="1600200" indent="-228600" eaLnBrk="0" hangingPunct="0">
              <a:defRPr sz="2400">
                <a:solidFill>
                  <a:schemeClr val="tx1"/>
                </a:solidFill>
                <a:latin typeface="Tahoma" pitchFamily="34" charset="0"/>
                <a:cs typeface="Arial" pitchFamily="34" charset="0"/>
              </a:defRPr>
            </a:lvl4pPr>
            <a:lvl5pPr marL="2057400" indent="-228600" eaLnBrk="0" hangingPunct="0">
              <a:defRPr sz="2400">
                <a:solidFill>
                  <a:schemeClr val="tx1"/>
                </a:solidFill>
                <a:latin typeface="Tahoma" pitchFamily="34" charset="0"/>
                <a:cs typeface="Arial" pitchFamily="34" charset="0"/>
              </a:defRPr>
            </a:lvl5pPr>
            <a:lvl6pPr marL="2514600" indent="-228600" eaLnBrk="0" fontAlgn="base" hangingPunct="0">
              <a:spcBef>
                <a:spcPct val="0"/>
              </a:spcBef>
              <a:spcAft>
                <a:spcPct val="0"/>
              </a:spcAft>
              <a:defRPr sz="2400">
                <a:solidFill>
                  <a:schemeClr val="tx1"/>
                </a:solidFill>
                <a:latin typeface="Tahoma" pitchFamily="34" charset="0"/>
                <a:cs typeface="Arial" pitchFamily="34" charset="0"/>
              </a:defRPr>
            </a:lvl6pPr>
            <a:lvl7pPr marL="2971800" indent="-228600" eaLnBrk="0" fontAlgn="base" hangingPunct="0">
              <a:spcBef>
                <a:spcPct val="0"/>
              </a:spcBef>
              <a:spcAft>
                <a:spcPct val="0"/>
              </a:spcAft>
              <a:defRPr sz="2400">
                <a:solidFill>
                  <a:schemeClr val="tx1"/>
                </a:solidFill>
                <a:latin typeface="Tahoma" pitchFamily="34" charset="0"/>
                <a:cs typeface="Arial" pitchFamily="34" charset="0"/>
              </a:defRPr>
            </a:lvl7pPr>
            <a:lvl8pPr marL="3429000" indent="-228600" eaLnBrk="0" fontAlgn="base" hangingPunct="0">
              <a:spcBef>
                <a:spcPct val="0"/>
              </a:spcBef>
              <a:spcAft>
                <a:spcPct val="0"/>
              </a:spcAft>
              <a:defRPr sz="2400">
                <a:solidFill>
                  <a:schemeClr val="tx1"/>
                </a:solidFill>
                <a:latin typeface="Tahoma" pitchFamily="34" charset="0"/>
                <a:cs typeface="Arial" pitchFamily="34" charset="0"/>
              </a:defRPr>
            </a:lvl8pPr>
            <a:lvl9pPr marL="3886200" indent="-228600" eaLnBrk="0" fontAlgn="base" hangingPunct="0">
              <a:spcBef>
                <a:spcPct val="0"/>
              </a:spcBef>
              <a:spcAft>
                <a:spcPct val="0"/>
              </a:spcAft>
              <a:defRPr sz="2400">
                <a:solidFill>
                  <a:schemeClr val="tx1"/>
                </a:solidFill>
                <a:latin typeface="Tahoma" pitchFamily="34" charset="0"/>
                <a:cs typeface="Arial" pitchFamily="34" charset="0"/>
              </a:defRPr>
            </a:lvl9pPr>
          </a:lstStyle>
          <a:p>
            <a:pPr algn="just" rtl="1">
              <a:defRPr/>
            </a:pPr>
            <a:r>
              <a:rPr lang="ar-EG" sz="2800" b="1" dirty="0" smtClean="0">
                <a:solidFill>
                  <a:schemeClr val="accent2">
                    <a:lumMod val="75000"/>
                  </a:schemeClr>
                </a:solidFill>
              </a:rPr>
              <a:t>معمل رقم (10)</a:t>
            </a:r>
            <a:endParaRPr lang="ar-EG" sz="2800" b="1" dirty="0">
              <a:solidFill>
                <a:schemeClr val="accent2">
                  <a:lumMod val="75000"/>
                </a:schemeClr>
              </a:solidFill>
            </a:endParaRPr>
          </a:p>
        </p:txBody>
      </p:sp>
    </p:spTree>
  </p:cSld>
  <p:clrMapOvr>
    <a:masterClrMapping/>
  </p:clrMapOvr>
  <p:transition spd="med"/>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ounded Rectangle 6"/>
          <p:cNvSpPr/>
          <p:nvPr/>
        </p:nvSpPr>
        <p:spPr>
          <a:xfrm>
            <a:off x="3059832" y="404664"/>
            <a:ext cx="2663825" cy="863600"/>
          </a:xfrm>
          <a:prstGeom prst="roundRect">
            <a:avLst/>
          </a:prstGeom>
          <a:solidFill>
            <a:srgbClr val="92D05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3200" b="1" dirty="0" smtClean="0">
                <a:solidFill>
                  <a:schemeClr val="tx1"/>
                </a:solidFill>
              </a:rPr>
              <a:t>TICO</a:t>
            </a:r>
            <a:endParaRPr lang="en-US" sz="3200" b="1" dirty="0">
              <a:solidFill>
                <a:schemeClr val="tx1"/>
              </a:solidFill>
            </a:endParaRPr>
          </a:p>
        </p:txBody>
      </p:sp>
      <p:sp>
        <p:nvSpPr>
          <p:cNvPr id="8" name="Rounded Rectangle 7"/>
          <p:cNvSpPr/>
          <p:nvPr/>
        </p:nvSpPr>
        <p:spPr>
          <a:xfrm>
            <a:off x="827584" y="2204864"/>
            <a:ext cx="1584176" cy="864096"/>
          </a:xfrm>
          <a:prstGeom prst="roundRect">
            <a:avLst/>
          </a:prstGeom>
          <a:solidFill>
            <a:schemeClr val="bg2">
              <a:lumMod val="25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r>
              <a:rPr lang="en-US" sz="2800" b="1" dirty="0" smtClean="0">
                <a:solidFill>
                  <a:schemeClr val="bg1"/>
                </a:solidFill>
              </a:rPr>
              <a:t>GICO</a:t>
            </a:r>
            <a:endParaRPr lang="en-US" sz="2800" b="1" dirty="0">
              <a:solidFill>
                <a:schemeClr val="bg1"/>
              </a:solidFill>
            </a:endParaRPr>
          </a:p>
        </p:txBody>
      </p:sp>
      <p:sp>
        <p:nvSpPr>
          <p:cNvPr id="9" name="Rounded Rectangle 8"/>
          <p:cNvSpPr/>
          <p:nvPr/>
        </p:nvSpPr>
        <p:spPr>
          <a:xfrm>
            <a:off x="3635375" y="2205360"/>
            <a:ext cx="1584325" cy="863600"/>
          </a:xfrm>
          <a:prstGeom prst="roundRect">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fontAlgn="auto">
              <a:spcBef>
                <a:spcPts val="0"/>
              </a:spcBef>
              <a:spcAft>
                <a:spcPts val="0"/>
              </a:spcAft>
              <a:defRPr/>
            </a:pPr>
            <a:r>
              <a:rPr lang="en-US" sz="2800" b="1" dirty="0" smtClean="0">
                <a:solidFill>
                  <a:schemeClr val="tx1"/>
                </a:solidFill>
              </a:rPr>
              <a:t>TISC</a:t>
            </a:r>
            <a:endParaRPr lang="en-US" sz="2800" b="1" dirty="0">
              <a:solidFill>
                <a:schemeClr val="tx1"/>
              </a:solidFill>
            </a:endParaRPr>
          </a:p>
        </p:txBody>
      </p:sp>
      <p:sp>
        <p:nvSpPr>
          <p:cNvPr id="10" name="Rounded Rectangle 9"/>
          <p:cNvSpPr/>
          <p:nvPr/>
        </p:nvSpPr>
        <p:spPr>
          <a:xfrm>
            <a:off x="6804025" y="2204914"/>
            <a:ext cx="1584325" cy="863600"/>
          </a:xfrm>
          <a:prstGeom prst="round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rtl="1" fontAlgn="auto">
              <a:spcBef>
                <a:spcPts val="0"/>
              </a:spcBef>
              <a:spcAft>
                <a:spcPts val="0"/>
              </a:spcAft>
              <a:defRPr/>
            </a:pPr>
            <a:r>
              <a:rPr lang="en-US" sz="2800" b="1" dirty="0" smtClean="0">
                <a:solidFill>
                  <a:schemeClr val="tx1"/>
                </a:solidFill>
              </a:rPr>
              <a:t>TTO</a:t>
            </a:r>
            <a:endParaRPr lang="en-US" sz="2800" b="1" dirty="0">
              <a:solidFill>
                <a:schemeClr val="tx1"/>
              </a:solidFill>
            </a:endParaRPr>
          </a:p>
        </p:txBody>
      </p:sp>
      <p:sp>
        <p:nvSpPr>
          <p:cNvPr id="19" name="Rectangle 18"/>
          <p:cNvSpPr/>
          <p:nvPr/>
        </p:nvSpPr>
        <p:spPr>
          <a:xfrm>
            <a:off x="250825" y="3500438"/>
            <a:ext cx="2736850" cy="3168650"/>
          </a:xfrm>
          <a:prstGeom prst="rect">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50000"/>
              </a:lnSpc>
              <a:spcBef>
                <a:spcPts val="0"/>
              </a:spcBef>
              <a:spcAft>
                <a:spcPts val="0"/>
              </a:spcAft>
              <a:buFont typeface="Wingdings" pitchFamily="2" charset="2"/>
              <a:buNone/>
              <a:defRPr/>
            </a:pPr>
            <a:r>
              <a:rPr lang="en-US" b="1" dirty="0" smtClean="0">
                <a:solidFill>
                  <a:schemeClr val="tx1"/>
                </a:solidFill>
              </a:rPr>
              <a:t>- Funding Opportunities.</a:t>
            </a:r>
          </a:p>
          <a:p>
            <a:pPr fontAlgn="auto">
              <a:lnSpc>
                <a:spcPct val="150000"/>
              </a:lnSpc>
              <a:spcBef>
                <a:spcPts val="0"/>
              </a:spcBef>
              <a:spcAft>
                <a:spcPts val="0"/>
              </a:spcAft>
              <a:buFontTx/>
              <a:buChar char="-"/>
              <a:defRPr/>
            </a:pPr>
            <a:r>
              <a:rPr lang="en-US" b="1" dirty="0" smtClean="0">
                <a:solidFill>
                  <a:schemeClr val="tx1"/>
                </a:solidFill>
              </a:rPr>
              <a:t>Grant Writing.</a:t>
            </a:r>
          </a:p>
          <a:p>
            <a:pPr fontAlgn="auto">
              <a:lnSpc>
                <a:spcPct val="150000"/>
              </a:lnSpc>
              <a:spcBef>
                <a:spcPts val="0"/>
              </a:spcBef>
              <a:spcAft>
                <a:spcPts val="0"/>
              </a:spcAft>
              <a:buFontTx/>
              <a:buChar char="-"/>
              <a:defRPr/>
            </a:pPr>
            <a:r>
              <a:rPr lang="en-US" b="1" dirty="0" smtClean="0">
                <a:solidFill>
                  <a:schemeClr val="tx1"/>
                </a:solidFill>
              </a:rPr>
              <a:t>- Data-bases and Networking.</a:t>
            </a:r>
          </a:p>
          <a:p>
            <a:pPr fontAlgn="auto">
              <a:lnSpc>
                <a:spcPct val="150000"/>
              </a:lnSpc>
              <a:spcBef>
                <a:spcPts val="0"/>
              </a:spcBef>
              <a:spcAft>
                <a:spcPts val="0"/>
              </a:spcAft>
              <a:buFontTx/>
              <a:buChar char="-"/>
              <a:defRPr/>
            </a:pPr>
            <a:r>
              <a:rPr lang="en-US" b="1" dirty="0" smtClean="0">
                <a:solidFill>
                  <a:schemeClr val="tx1"/>
                </a:solidFill>
              </a:rPr>
              <a:t>- IRB and ACUC approvals</a:t>
            </a:r>
          </a:p>
        </p:txBody>
      </p:sp>
      <p:sp>
        <p:nvSpPr>
          <p:cNvPr id="20" name="Rectangle 19"/>
          <p:cNvSpPr/>
          <p:nvPr/>
        </p:nvSpPr>
        <p:spPr>
          <a:xfrm>
            <a:off x="3203575" y="3573463"/>
            <a:ext cx="2881313" cy="3095625"/>
          </a:xfrm>
          <a:prstGeom prst="rect">
            <a:avLst/>
          </a:prstGeom>
          <a:solidFill>
            <a:srgbClr val="F7D09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fontAlgn="auto">
              <a:lnSpc>
                <a:spcPct val="150000"/>
              </a:lnSpc>
              <a:spcBef>
                <a:spcPts val="0"/>
              </a:spcBef>
              <a:spcAft>
                <a:spcPts val="0"/>
              </a:spcAft>
              <a:buFont typeface="Wingdings" pitchFamily="2" charset="2"/>
              <a:buNone/>
              <a:defRPr/>
            </a:pPr>
            <a:r>
              <a:rPr lang="en-US" b="1" dirty="0" smtClean="0">
                <a:solidFill>
                  <a:schemeClr val="tx1"/>
                </a:solidFill>
              </a:rPr>
              <a:t>- Patent drafting and application.</a:t>
            </a:r>
          </a:p>
          <a:p>
            <a:pPr fontAlgn="auto">
              <a:lnSpc>
                <a:spcPct val="150000"/>
              </a:lnSpc>
              <a:spcBef>
                <a:spcPts val="0"/>
              </a:spcBef>
              <a:spcAft>
                <a:spcPts val="0"/>
              </a:spcAft>
              <a:buFont typeface="Wingdings" pitchFamily="2" charset="2"/>
              <a:buNone/>
              <a:defRPr/>
            </a:pPr>
            <a:r>
              <a:rPr lang="en-US" b="1" dirty="0" smtClean="0">
                <a:solidFill>
                  <a:schemeClr val="tx1"/>
                </a:solidFill>
              </a:rPr>
              <a:t>- WIPO Academy training curricula.</a:t>
            </a:r>
          </a:p>
          <a:p>
            <a:pPr fontAlgn="auto">
              <a:lnSpc>
                <a:spcPct val="150000"/>
              </a:lnSpc>
              <a:spcBef>
                <a:spcPts val="0"/>
              </a:spcBef>
              <a:spcAft>
                <a:spcPts val="0"/>
              </a:spcAft>
              <a:buFont typeface="Wingdings" pitchFamily="2" charset="2"/>
              <a:buNone/>
              <a:defRPr/>
            </a:pPr>
            <a:r>
              <a:rPr lang="en-US" b="1" dirty="0" smtClean="0">
                <a:solidFill>
                  <a:schemeClr val="tx1"/>
                </a:solidFill>
              </a:rPr>
              <a:t>- Advice on IPR policy and Patent portfolio.</a:t>
            </a:r>
          </a:p>
          <a:p>
            <a:pPr fontAlgn="auto">
              <a:lnSpc>
                <a:spcPct val="150000"/>
              </a:lnSpc>
              <a:spcBef>
                <a:spcPts val="0"/>
              </a:spcBef>
              <a:spcAft>
                <a:spcPts val="0"/>
              </a:spcAft>
              <a:buFont typeface="Wingdings" pitchFamily="2" charset="2"/>
              <a:buNone/>
              <a:defRPr/>
            </a:pPr>
            <a:r>
              <a:rPr lang="en-US" b="1" dirty="0" smtClean="0">
                <a:solidFill>
                  <a:schemeClr val="tx1"/>
                </a:solidFill>
              </a:rPr>
              <a:t>- IPR awareness campaigns.</a:t>
            </a:r>
            <a:endParaRPr lang="en-US" b="1" dirty="0">
              <a:solidFill>
                <a:schemeClr val="tx1"/>
              </a:solidFill>
            </a:endParaRPr>
          </a:p>
        </p:txBody>
      </p:sp>
      <p:sp>
        <p:nvSpPr>
          <p:cNvPr id="23" name="TextBox 22"/>
          <p:cNvSpPr txBox="1"/>
          <p:nvPr/>
        </p:nvSpPr>
        <p:spPr>
          <a:xfrm>
            <a:off x="6215074" y="3643314"/>
            <a:ext cx="2928925" cy="2723823"/>
          </a:xfrm>
          <a:prstGeom prst="rect">
            <a:avLst/>
          </a:prstGeom>
          <a:solidFill>
            <a:schemeClr val="accent2">
              <a:lumMod val="20000"/>
              <a:lumOff val="80000"/>
            </a:schemeClr>
          </a:solidFill>
          <a:ln>
            <a:noFill/>
          </a:ln>
        </p:spPr>
        <p:txBody>
          <a:bodyPr wrap="square">
            <a:spAutoFit/>
          </a:bodyPr>
          <a:lstStyle/>
          <a:p>
            <a:pPr fontAlgn="auto">
              <a:lnSpc>
                <a:spcPct val="150000"/>
              </a:lnSpc>
              <a:spcBef>
                <a:spcPts val="0"/>
              </a:spcBef>
              <a:spcAft>
                <a:spcPts val="0"/>
              </a:spcAft>
              <a:defRPr/>
            </a:pPr>
            <a:r>
              <a:rPr lang="en-US" b="1" dirty="0" smtClean="0">
                <a:latin typeface="+mn-lt"/>
                <a:cs typeface="+mn-cs"/>
              </a:rPr>
              <a:t>- Industry Liaison.</a:t>
            </a:r>
          </a:p>
          <a:p>
            <a:pPr fontAlgn="auto">
              <a:lnSpc>
                <a:spcPct val="150000"/>
              </a:lnSpc>
              <a:spcBef>
                <a:spcPts val="0"/>
              </a:spcBef>
              <a:spcAft>
                <a:spcPts val="0"/>
              </a:spcAft>
              <a:defRPr/>
            </a:pPr>
            <a:r>
              <a:rPr lang="en-US" b="1" dirty="0" smtClean="0">
                <a:latin typeface="+mn-lt"/>
                <a:cs typeface="+mn-cs"/>
              </a:rPr>
              <a:t>- Technology Management and Incubation.</a:t>
            </a:r>
          </a:p>
          <a:p>
            <a:pPr fontAlgn="auto">
              <a:lnSpc>
                <a:spcPct val="150000"/>
              </a:lnSpc>
              <a:spcBef>
                <a:spcPts val="0"/>
              </a:spcBef>
              <a:spcAft>
                <a:spcPts val="0"/>
              </a:spcAft>
              <a:defRPr/>
            </a:pPr>
            <a:r>
              <a:rPr lang="en-US" b="1" dirty="0" smtClean="0">
                <a:latin typeface="+mn-lt"/>
                <a:cs typeface="+mn-cs"/>
              </a:rPr>
              <a:t>- Patent Commercialization.</a:t>
            </a:r>
          </a:p>
          <a:p>
            <a:pPr fontAlgn="auto">
              <a:lnSpc>
                <a:spcPct val="150000"/>
              </a:lnSpc>
              <a:spcBef>
                <a:spcPts val="0"/>
              </a:spcBef>
              <a:spcAft>
                <a:spcPts val="0"/>
              </a:spcAft>
              <a:defRPr/>
            </a:pPr>
            <a:r>
              <a:rPr lang="en-US" b="1" dirty="0" smtClean="0">
                <a:latin typeface="+mn-lt"/>
                <a:cs typeface="+mn-cs"/>
              </a:rPr>
              <a:t>- Licensing and Startups.</a:t>
            </a:r>
          </a:p>
          <a:p>
            <a:pPr fontAlgn="auto">
              <a:spcBef>
                <a:spcPts val="0"/>
              </a:spcBef>
              <a:spcAft>
                <a:spcPts val="0"/>
              </a:spcAft>
              <a:buFontTx/>
              <a:buChar char="-"/>
              <a:defRPr/>
            </a:pPr>
            <a:endParaRPr lang="en-US" dirty="0" smtClean="0">
              <a:latin typeface="Times New Roman" pitchFamily="18" charset="0"/>
              <a:cs typeface="Times New Roman" pitchFamily="18" charset="0"/>
            </a:endParaRPr>
          </a:p>
          <a:p>
            <a:pPr fontAlgn="auto">
              <a:spcBef>
                <a:spcPts val="0"/>
              </a:spcBef>
              <a:spcAft>
                <a:spcPts val="0"/>
              </a:spcAft>
              <a:buFontTx/>
              <a:buChar char="-"/>
              <a:defRPr/>
            </a:pPr>
            <a:endParaRPr lang="en-US" dirty="0">
              <a:latin typeface="+mn-lt"/>
              <a:cs typeface="+mn-cs"/>
            </a:endParaRPr>
          </a:p>
        </p:txBody>
      </p:sp>
      <p:cxnSp>
        <p:nvCxnSpPr>
          <p:cNvPr id="26" name="Straight Arrow Connector 25"/>
          <p:cNvCxnSpPr/>
          <p:nvPr/>
        </p:nvCxnSpPr>
        <p:spPr>
          <a:xfrm>
            <a:off x="4355976" y="1268760"/>
            <a:ext cx="0" cy="504056"/>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a:off x="1547664" y="1772816"/>
            <a:ext cx="6048672"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1547664" y="1772816"/>
            <a:ext cx="0" cy="43204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a:off x="4355976" y="1772816"/>
            <a:ext cx="0" cy="43204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a:off x="7596336" y="1772816"/>
            <a:ext cx="0" cy="432048"/>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b="1" dirty="0" smtClean="0">
                <a:effectLst>
                  <a:outerShdw blurRad="38100" dist="38100" dir="2700000" algn="tl">
                    <a:srgbClr val="000000">
                      <a:alpha val="43137"/>
                    </a:srgbClr>
                  </a:outerShdw>
                </a:effectLst>
                <a:latin typeface="+mn-lt"/>
              </a:rPr>
              <a:t>The EGNC Building</a:t>
            </a:r>
            <a:endParaRPr lang="en-US" b="1" dirty="0">
              <a:effectLst>
                <a:outerShdw blurRad="38100" dist="38100" dir="2700000" algn="tl">
                  <a:srgbClr val="000000">
                    <a:alpha val="43137"/>
                  </a:srgbClr>
                </a:outerShdw>
              </a:effectLst>
              <a:latin typeface="+mn-lt"/>
            </a:endParaRPr>
          </a:p>
        </p:txBody>
      </p:sp>
      <p:pic>
        <p:nvPicPr>
          <p:cNvPr id="5" name="Picture 8"/>
          <p:cNvPicPr>
            <a:picLocks noGrp="1" noChangeAspect="1" noChangeArrowheads="1"/>
          </p:cNvPicPr>
          <p:nvPr>
            <p:ph idx="1"/>
          </p:nvPr>
        </p:nvPicPr>
        <p:blipFill>
          <a:blip r:embed="rId2" cstate="print"/>
          <a:stretch>
            <a:fillRect/>
          </a:stretch>
        </p:blipFill>
        <p:spPr bwMode="auto">
          <a:xfrm>
            <a:off x="261135" y="550863"/>
            <a:ext cx="8605856" cy="5740400"/>
          </a:xfrm>
          <a:prstGeom prst="rect">
            <a:avLst/>
          </a:prstGeom>
          <a:noFill/>
          <a:ln w="12700" algn="ctr">
            <a:noFill/>
            <a:miter lim="800000"/>
            <a:headEnd/>
            <a:tailEnd/>
          </a:ln>
          <a:effectLst/>
        </p:spPr>
      </p:pic>
      <p:sp>
        <p:nvSpPr>
          <p:cNvPr id="6" name="Rectangle 6"/>
          <p:cNvSpPr txBox="1">
            <a:spLocks noChangeArrowheads="1"/>
          </p:cNvSpPr>
          <p:nvPr/>
        </p:nvSpPr>
        <p:spPr bwMode="auto">
          <a:xfrm>
            <a:off x="261135" y="4267200"/>
            <a:ext cx="8605856" cy="1981160"/>
          </a:xfrm>
          <a:prstGeom prst="rect">
            <a:avLst/>
          </a:prstGeom>
          <a:solidFill>
            <a:schemeClr val="bg1"/>
          </a:solidFill>
          <a:ln w="6350">
            <a:noFill/>
            <a:miter lim="800000"/>
            <a:headEnd/>
            <a:tailEnd/>
          </a:ln>
          <a:effectLst/>
        </p:spPr>
        <p:txBody>
          <a:bodyPr vert="horz" wrap="square" lIns="91440" tIns="45720" rIns="91440" bIns="45720" numCol="1" anchor="t" anchorCtr="0" compatLnSpc="1">
            <a:prstTxWarp prst="textNoShape">
              <a:avLst/>
            </a:prstTxWarp>
          </a:bodyPr>
          <a:lstStyle/>
          <a:p>
            <a:pPr marL="342900" indent="-342900">
              <a:spcBef>
                <a:spcPct val="20000"/>
              </a:spcBef>
              <a:buSzPct val="80000"/>
              <a:buFont typeface="Wingdings" pitchFamily="2" charset="2"/>
              <a:buChar char="¨"/>
              <a:defRPr/>
            </a:pPr>
            <a:r>
              <a:rPr lang="en-US" sz="1600" kern="0" dirty="0" smtClean="0">
                <a:solidFill>
                  <a:srgbClr val="000000"/>
                </a:solidFill>
                <a:latin typeface="Arial"/>
                <a:cs typeface="Arial"/>
              </a:rPr>
              <a:t>Building 4 in the Cairo University Extension in Sheikh </a:t>
            </a:r>
            <a:r>
              <a:rPr lang="en-US" sz="1600" kern="0" dirty="0" err="1" smtClean="0">
                <a:solidFill>
                  <a:srgbClr val="000000"/>
                </a:solidFill>
                <a:latin typeface="Arial"/>
                <a:cs typeface="Arial"/>
              </a:rPr>
              <a:t>Zayed</a:t>
            </a:r>
            <a:r>
              <a:rPr lang="en-US" sz="1600" kern="0" dirty="0" smtClean="0">
                <a:solidFill>
                  <a:srgbClr val="000000"/>
                </a:solidFill>
                <a:latin typeface="Arial"/>
                <a:cs typeface="Arial"/>
              </a:rPr>
              <a:t> City (adjacent to Hyper 1)</a:t>
            </a:r>
          </a:p>
          <a:p>
            <a:pPr marL="342900" indent="-342900">
              <a:spcBef>
                <a:spcPct val="20000"/>
              </a:spcBef>
              <a:buSzPct val="80000"/>
              <a:buFont typeface="Wingdings" pitchFamily="2" charset="2"/>
              <a:buChar char="¨"/>
              <a:defRPr/>
            </a:pPr>
            <a:r>
              <a:rPr lang="en-US" sz="1600" kern="0" dirty="0" smtClean="0">
                <a:solidFill>
                  <a:srgbClr val="000000"/>
                </a:solidFill>
                <a:latin typeface="Arial"/>
                <a:cs typeface="Arial"/>
              </a:rPr>
              <a:t>Floor space = 16,000 m</a:t>
            </a:r>
            <a:r>
              <a:rPr lang="en-US" sz="1600" kern="0" baseline="30000" dirty="0" smtClean="0">
                <a:solidFill>
                  <a:srgbClr val="000000"/>
                </a:solidFill>
                <a:latin typeface="Arial"/>
                <a:cs typeface="Arial"/>
              </a:rPr>
              <a:t>2</a:t>
            </a:r>
            <a:r>
              <a:rPr lang="en-US" sz="1600" kern="0" dirty="0" smtClean="0">
                <a:solidFill>
                  <a:srgbClr val="000000"/>
                </a:solidFill>
                <a:latin typeface="Arial"/>
                <a:cs typeface="Arial"/>
              </a:rPr>
              <a:t> </a:t>
            </a:r>
          </a:p>
          <a:p>
            <a:pPr marL="342900" indent="-342900">
              <a:spcBef>
                <a:spcPct val="20000"/>
              </a:spcBef>
              <a:buSzPct val="80000"/>
              <a:buFont typeface="Wingdings" pitchFamily="2" charset="2"/>
              <a:buChar char="¨"/>
              <a:defRPr/>
            </a:pPr>
            <a:r>
              <a:rPr lang="en-US" sz="1600" kern="0" dirty="0" smtClean="0">
                <a:solidFill>
                  <a:srgbClr val="000000"/>
                </a:solidFill>
                <a:latin typeface="Arial"/>
                <a:cs typeface="Arial"/>
              </a:rPr>
              <a:t>Originally designed for classrooms and offices. Only basic construction complete.</a:t>
            </a:r>
          </a:p>
          <a:p>
            <a:pPr marL="342900" indent="-342900" fontAlgn="auto">
              <a:spcBef>
                <a:spcPct val="20000"/>
              </a:spcBef>
              <a:spcAft>
                <a:spcPts val="0"/>
              </a:spcAft>
              <a:buSzPct val="80000"/>
              <a:buFont typeface="Wingdings" pitchFamily="2" charset="2"/>
              <a:buChar char="¨"/>
              <a:defRPr/>
            </a:pPr>
            <a:r>
              <a:rPr lang="en-US" sz="1600" kern="0" dirty="0" smtClean="0">
                <a:solidFill>
                  <a:srgbClr val="000000"/>
                </a:solidFill>
                <a:latin typeface="Arial"/>
                <a:cs typeface="Arial"/>
              </a:rPr>
              <a:t>Complete redesign needed to accommodate the functional and safety requirements of: Specialized Labs, Clean Room (600-2,000 m</a:t>
            </a:r>
            <a:r>
              <a:rPr lang="en-US" sz="1600" kern="0" baseline="30000" dirty="0" smtClean="0">
                <a:solidFill>
                  <a:srgbClr val="000000"/>
                </a:solidFill>
                <a:latin typeface="Arial"/>
                <a:cs typeface="Arial"/>
              </a:rPr>
              <a:t>2</a:t>
            </a:r>
            <a:r>
              <a:rPr lang="en-US" sz="1600" kern="0" dirty="0" smtClean="0">
                <a:solidFill>
                  <a:srgbClr val="000000"/>
                </a:solidFill>
                <a:latin typeface="Arial"/>
                <a:cs typeface="Arial"/>
              </a:rPr>
              <a:t>), and Noise-Sensitive Labs</a:t>
            </a:r>
          </a:p>
          <a:p>
            <a:pPr marL="342900" indent="-342900" fontAlgn="auto">
              <a:spcBef>
                <a:spcPct val="20000"/>
              </a:spcBef>
              <a:spcAft>
                <a:spcPts val="0"/>
              </a:spcAft>
              <a:buSzPct val="80000"/>
              <a:buFont typeface="Wingdings" pitchFamily="2" charset="2"/>
              <a:buChar char="¨"/>
              <a:defRPr/>
            </a:pPr>
            <a:r>
              <a:rPr lang="en-US" sz="1600" kern="0" dirty="0" smtClean="0">
                <a:solidFill>
                  <a:srgbClr val="000000"/>
                </a:solidFill>
                <a:latin typeface="Arial"/>
                <a:cs typeface="Arial"/>
              </a:rPr>
              <a:t>Hired a specialized design firm (CH2M Hill) to develop concept, schematic, and detailed designs. Now ready to issue turn-key construction tenders.</a:t>
            </a:r>
          </a:p>
        </p:txBody>
      </p:sp>
      <p:sp>
        <p:nvSpPr>
          <p:cNvPr id="7" name="TextBox 6"/>
          <p:cNvSpPr txBox="1"/>
          <p:nvPr/>
        </p:nvSpPr>
        <p:spPr>
          <a:xfrm>
            <a:off x="6470676" y="1274733"/>
            <a:ext cx="1074333" cy="461665"/>
          </a:xfrm>
          <a:prstGeom prst="rect">
            <a:avLst/>
          </a:prstGeom>
          <a:noFill/>
        </p:spPr>
        <p:txBody>
          <a:bodyPr wrap="none" rtlCol="0">
            <a:spAutoFit/>
          </a:bodyPr>
          <a:lstStyle/>
          <a:p>
            <a:pPr fontAlgn="auto">
              <a:spcBef>
                <a:spcPts val="0"/>
              </a:spcBef>
              <a:spcAft>
                <a:spcPts val="0"/>
              </a:spcAft>
            </a:pPr>
            <a:r>
              <a:rPr lang="en-US" sz="2400" b="1" dirty="0" smtClean="0">
                <a:solidFill>
                  <a:srgbClr val="FFFF66"/>
                </a:solidFill>
                <a:latin typeface="Arial"/>
                <a:cs typeface="Arial"/>
              </a:rPr>
              <a:t>EGNC</a:t>
            </a:r>
            <a:endParaRPr lang="en-US" sz="2400" b="1" dirty="0">
              <a:solidFill>
                <a:srgbClr val="FFFF66"/>
              </a:solidFill>
              <a:latin typeface="Arial"/>
              <a:cs typeface="Arial"/>
            </a:endParaRPr>
          </a:p>
        </p:txBody>
      </p:sp>
      <p:cxnSp>
        <p:nvCxnSpPr>
          <p:cNvPr id="12" name="Straight Arrow Connector 11"/>
          <p:cNvCxnSpPr/>
          <p:nvPr/>
        </p:nvCxnSpPr>
        <p:spPr>
          <a:xfrm rot="5400000">
            <a:off x="6872317" y="1822426"/>
            <a:ext cx="290519" cy="1588"/>
          </a:xfrm>
          <a:prstGeom prst="straightConnector1">
            <a:avLst/>
          </a:prstGeom>
          <a:ln w="38100">
            <a:solidFill>
              <a:srgbClr val="FFFF00"/>
            </a:solidFill>
            <a:tailEnd type="arrow"/>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36492" y="800064"/>
            <a:ext cx="992579" cy="369332"/>
          </a:xfrm>
          <a:prstGeom prst="rect">
            <a:avLst/>
          </a:prstGeom>
          <a:noFill/>
        </p:spPr>
        <p:txBody>
          <a:bodyPr wrap="none" rtlCol="0">
            <a:spAutoFit/>
          </a:bodyPr>
          <a:lstStyle/>
          <a:p>
            <a:pPr fontAlgn="auto">
              <a:spcBef>
                <a:spcPts val="0"/>
              </a:spcBef>
              <a:spcAft>
                <a:spcPts val="0"/>
              </a:spcAft>
            </a:pPr>
            <a:r>
              <a:rPr lang="en-US" dirty="0" smtClean="0">
                <a:solidFill>
                  <a:srgbClr val="FFFF66"/>
                </a:solidFill>
                <a:latin typeface="Arial"/>
                <a:cs typeface="Arial"/>
              </a:rPr>
              <a:t>Hyper 1</a:t>
            </a:r>
            <a:endParaRPr lang="en-US" dirty="0">
              <a:solidFill>
                <a:srgbClr val="FFFF66"/>
              </a:solidFill>
              <a:latin typeface="Arial"/>
              <a:cs typeface="Arial"/>
            </a:endParaRPr>
          </a:p>
        </p:txBody>
      </p:sp>
    </p:spTree>
  </p:cSld>
  <p:clrMapOvr>
    <a:masterClrMapping/>
  </p:clrMapOv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ChangeArrowheads="1"/>
          </p:cNvSpPr>
          <p:nvPr>
            <p:ph type="title"/>
          </p:nvPr>
        </p:nvSpPr>
        <p:spPr/>
        <p:txBody>
          <a:bodyPr/>
          <a:lstStyle/>
          <a:p>
            <a:pPr eaLnBrk="1" hangingPunct="1"/>
            <a:r>
              <a:rPr lang="en-US" b="1" dirty="0" smtClean="0">
                <a:solidFill>
                  <a:srgbClr val="0070C0"/>
                </a:solidFill>
                <a:effectLst>
                  <a:outerShdw blurRad="38100" dist="38100" dir="2700000" algn="tl">
                    <a:srgbClr val="000000">
                      <a:alpha val="43137"/>
                    </a:srgbClr>
                  </a:outerShdw>
                </a:effectLst>
              </a:rPr>
              <a:t> </a:t>
            </a:r>
            <a:r>
              <a:rPr lang="en-US" b="1" dirty="0" smtClean="0">
                <a:solidFill>
                  <a:schemeClr val="accent2">
                    <a:lumMod val="75000"/>
                  </a:schemeClr>
                </a:solidFill>
                <a:effectLst>
                  <a:outerShdw blurRad="38100" dist="38100" dir="2700000" algn="tl">
                    <a:srgbClr val="000000">
                      <a:alpha val="43137"/>
                    </a:srgbClr>
                  </a:outerShdw>
                </a:effectLst>
                <a:latin typeface="+mn-lt"/>
              </a:rPr>
              <a:t>Research</a:t>
            </a:r>
          </a:p>
        </p:txBody>
      </p:sp>
      <p:sp>
        <p:nvSpPr>
          <p:cNvPr id="13315" name="Rectangle 3"/>
          <p:cNvSpPr>
            <a:spLocks noGrp="1" noChangeArrowheads="1"/>
          </p:cNvSpPr>
          <p:nvPr>
            <p:ph sz="half" idx="1"/>
          </p:nvPr>
        </p:nvSpPr>
        <p:spPr>
          <a:xfrm>
            <a:off x="811161" y="617499"/>
            <a:ext cx="7572375" cy="5696027"/>
          </a:xfrm>
        </p:spPr>
        <p:txBody>
          <a:bodyPr anchor="ctr" anchorCtr="1"/>
          <a:lstStyle/>
          <a:p>
            <a:pPr marL="514350" indent="-457200" eaLnBrk="1" hangingPunct="1">
              <a:buSzPct val="100000"/>
              <a:buFont typeface="Wingdings" pitchFamily="2" charset="2"/>
              <a:buChar char="q"/>
            </a:pPr>
            <a:r>
              <a:rPr lang="en-US" sz="2000" dirty="0" smtClean="0">
                <a:solidFill>
                  <a:srgbClr val="0000FF"/>
                </a:solidFill>
              </a:rPr>
              <a:t>Project Areas</a:t>
            </a:r>
          </a:p>
          <a:p>
            <a:pPr marL="914400" lvl="1" indent="-457200" eaLnBrk="1" hangingPunct="1">
              <a:buSzPct val="100000"/>
              <a:buFont typeface="Microsoft Sans Serif" pitchFamily="34" charset="0"/>
              <a:buAutoNum type="arabicPeriod"/>
            </a:pPr>
            <a:r>
              <a:rPr lang="en-US" sz="2000" dirty="0" smtClean="0">
                <a:solidFill>
                  <a:srgbClr val="0000FF"/>
                </a:solidFill>
              </a:rPr>
              <a:t>Thin Film </a:t>
            </a:r>
            <a:r>
              <a:rPr lang="en-US" sz="2000" dirty="0" err="1" smtClean="0">
                <a:solidFill>
                  <a:srgbClr val="0000FF"/>
                </a:solidFill>
              </a:rPr>
              <a:t>PhotoVoltaic</a:t>
            </a:r>
            <a:r>
              <a:rPr lang="en-US" sz="2000" dirty="0" smtClean="0">
                <a:solidFill>
                  <a:srgbClr val="0000FF"/>
                </a:solidFill>
              </a:rPr>
              <a:t> Cells</a:t>
            </a:r>
          </a:p>
          <a:p>
            <a:pPr marL="914400" lvl="1" indent="-457200" eaLnBrk="1" hangingPunct="1">
              <a:buSzPct val="100000"/>
              <a:buFont typeface="Microsoft Sans Serif" pitchFamily="34" charset="0"/>
              <a:buAutoNum type="arabicPeriod"/>
            </a:pPr>
            <a:r>
              <a:rPr lang="en-US" sz="2000" dirty="0" smtClean="0">
                <a:solidFill>
                  <a:srgbClr val="0000FF"/>
                </a:solidFill>
              </a:rPr>
              <a:t>Transparent Electrode (</a:t>
            </a:r>
            <a:r>
              <a:rPr lang="en-US" sz="2000" dirty="0" err="1" smtClean="0">
                <a:solidFill>
                  <a:srgbClr val="0000FF"/>
                </a:solidFill>
              </a:rPr>
              <a:t>Graphene</a:t>
            </a:r>
            <a:r>
              <a:rPr lang="en-US" sz="2000" dirty="0" smtClean="0">
                <a:solidFill>
                  <a:srgbClr val="0000FF"/>
                </a:solidFill>
              </a:rPr>
              <a:t>, CNT, </a:t>
            </a:r>
            <a:r>
              <a:rPr lang="en-US" sz="2000" dirty="0" err="1" smtClean="0">
                <a:solidFill>
                  <a:srgbClr val="0000FF"/>
                </a:solidFill>
              </a:rPr>
              <a:t>Multicrystalline</a:t>
            </a:r>
            <a:r>
              <a:rPr lang="en-US" sz="2000" dirty="0" smtClean="0">
                <a:solidFill>
                  <a:srgbClr val="0000FF"/>
                </a:solidFill>
              </a:rPr>
              <a:t>)</a:t>
            </a:r>
          </a:p>
          <a:p>
            <a:pPr marL="914400" lvl="1" indent="-457200" eaLnBrk="1" hangingPunct="1">
              <a:buSzPct val="100000"/>
              <a:buFont typeface="Microsoft Sans Serif" pitchFamily="34" charset="0"/>
              <a:buAutoNum type="arabicPeriod"/>
            </a:pPr>
            <a:r>
              <a:rPr lang="en-US" sz="2000" dirty="0" smtClean="0">
                <a:solidFill>
                  <a:srgbClr val="0000FF"/>
                </a:solidFill>
              </a:rPr>
              <a:t>Desalination using energy harvested in CPV systems</a:t>
            </a:r>
          </a:p>
          <a:p>
            <a:pPr marL="914400" lvl="1" indent="-457200" eaLnBrk="1" hangingPunct="1">
              <a:buSzPct val="100000"/>
              <a:buFont typeface="Microsoft Sans Serif" pitchFamily="34" charset="0"/>
              <a:buAutoNum type="arabicPeriod"/>
            </a:pPr>
            <a:r>
              <a:rPr lang="en-US" sz="2000" dirty="0" smtClean="0">
                <a:solidFill>
                  <a:srgbClr val="0000FF"/>
                </a:solidFill>
              </a:rPr>
              <a:t>Modeling &amp; Simulation</a:t>
            </a:r>
          </a:p>
          <a:p>
            <a:pPr marL="914400" lvl="1" indent="-457200" eaLnBrk="1" hangingPunct="1">
              <a:buSzPct val="100000"/>
              <a:buFont typeface="Microsoft Sans Serif" pitchFamily="34" charset="0"/>
              <a:buAutoNum type="arabicPeriod"/>
            </a:pPr>
            <a:r>
              <a:rPr lang="en-US" sz="2000" dirty="0" smtClean="0">
                <a:solidFill>
                  <a:srgbClr val="0000FF"/>
                </a:solidFill>
              </a:rPr>
              <a:t>Biotechnology (biosensors)</a:t>
            </a:r>
          </a:p>
          <a:p>
            <a:pPr marL="514350" indent="-457200" eaLnBrk="1" hangingPunct="1">
              <a:buSzPct val="100000"/>
              <a:buFont typeface="Wingdings" pitchFamily="2" charset="2"/>
              <a:buChar char="q"/>
            </a:pPr>
            <a:r>
              <a:rPr lang="en-US" sz="2000" dirty="0" smtClean="0">
                <a:solidFill>
                  <a:srgbClr val="FF0000"/>
                </a:solidFill>
              </a:rPr>
              <a:t>46 Inventions:</a:t>
            </a:r>
          </a:p>
          <a:p>
            <a:pPr marL="914400" lvl="1" indent="-457200" eaLnBrk="1" hangingPunct="1">
              <a:buSzPct val="100000"/>
              <a:buFont typeface="Wingdings" pitchFamily="2" charset="2"/>
              <a:buChar char="q"/>
            </a:pPr>
            <a:r>
              <a:rPr lang="en-US" sz="2000" dirty="0" smtClean="0">
                <a:solidFill>
                  <a:srgbClr val="FF0000"/>
                </a:solidFill>
              </a:rPr>
              <a:t>US Patent Applications filed = 22</a:t>
            </a:r>
          </a:p>
          <a:p>
            <a:pPr marL="914400" lvl="1" indent="-457200" eaLnBrk="1" hangingPunct="1">
              <a:buSzPct val="100000"/>
              <a:buFont typeface="Wingdings" pitchFamily="2" charset="2"/>
              <a:buChar char="q"/>
            </a:pPr>
            <a:r>
              <a:rPr lang="en-US" sz="2000" dirty="0" smtClean="0">
                <a:solidFill>
                  <a:srgbClr val="FF0000"/>
                </a:solidFill>
              </a:rPr>
              <a:t>US Patent Applications being filed = 8</a:t>
            </a:r>
          </a:p>
          <a:p>
            <a:pPr marL="914400" lvl="1" indent="-457200" eaLnBrk="1" hangingPunct="1">
              <a:buSzPct val="100000"/>
              <a:buFont typeface="Wingdings" pitchFamily="2" charset="2"/>
              <a:buChar char="q"/>
            </a:pPr>
            <a:r>
              <a:rPr lang="en-US" sz="2000" dirty="0" smtClean="0">
                <a:solidFill>
                  <a:srgbClr val="FF0000"/>
                </a:solidFill>
              </a:rPr>
              <a:t>Inventions being processed = 16</a:t>
            </a:r>
          </a:p>
          <a:p>
            <a:pPr marL="514350" indent="-457200" eaLnBrk="1" hangingPunct="1">
              <a:buSzPct val="100000"/>
              <a:buFont typeface="Wingdings" pitchFamily="2" charset="2"/>
              <a:buChar char="q"/>
            </a:pPr>
            <a:r>
              <a:rPr lang="en-US" sz="2000" dirty="0" smtClean="0"/>
              <a:t>51 Research Papers:</a:t>
            </a:r>
          </a:p>
          <a:p>
            <a:pPr marL="914400" lvl="1" indent="-457200" eaLnBrk="1" hangingPunct="1">
              <a:buSzPct val="100000"/>
              <a:buFont typeface="Wingdings" pitchFamily="2" charset="2"/>
              <a:buChar char="q"/>
            </a:pPr>
            <a:r>
              <a:rPr lang="en-US" sz="2000" dirty="0" smtClean="0"/>
              <a:t>Refereed publications = 13</a:t>
            </a:r>
          </a:p>
          <a:p>
            <a:pPr marL="914400" lvl="1" indent="-457200" eaLnBrk="1" hangingPunct="1">
              <a:buSzPct val="100000"/>
              <a:buFont typeface="Wingdings" pitchFamily="2" charset="2"/>
              <a:buChar char="q"/>
            </a:pPr>
            <a:r>
              <a:rPr lang="en-US" sz="2000" dirty="0" smtClean="0"/>
              <a:t>Conference/Symposium presentations = 18</a:t>
            </a:r>
          </a:p>
          <a:p>
            <a:pPr marL="914400" lvl="1" indent="-457200" eaLnBrk="1" hangingPunct="1">
              <a:buSzPct val="100000"/>
              <a:buFont typeface="Wingdings" pitchFamily="2" charset="2"/>
              <a:buChar char="q"/>
            </a:pPr>
            <a:r>
              <a:rPr lang="en-US" sz="2000" dirty="0" smtClean="0"/>
              <a:t>Submitted = 13</a:t>
            </a:r>
          </a:p>
          <a:p>
            <a:pPr marL="914400" lvl="1" indent="-457200" eaLnBrk="1" hangingPunct="1">
              <a:buSzPct val="100000"/>
              <a:buFont typeface="Wingdings" pitchFamily="2" charset="2"/>
              <a:buChar char="q"/>
            </a:pPr>
            <a:r>
              <a:rPr lang="en-US" sz="2000" dirty="0" smtClean="0"/>
              <a:t>In preparation = 7</a:t>
            </a:r>
          </a:p>
        </p:txBody>
      </p:sp>
    </p:spTree>
  </p:cSld>
  <p:clrMapOvr>
    <a:masterClrMapping/>
  </p:clrMapOvr>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23528" y="1124744"/>
            <a:ext cx="8568952" cy="5256584"/>
          </a:xfrm>
        </p:spPr>
        <p:txBody>
          <a:bodyPr>
            <a:normAutofit fontScale="92500"/>
          </a:bodyPr>
          <a:lstStyle/>
          <a:p>
            <a:pPr marL="274320" indent="-274320" algn="just" rtl="0" eaLnBrk="1" fontAlgn="auto" hangingPunct="1">
              <a:lnSpc>
                <a:spcPct val="150000"/>
              </a:lnSpc>
              <a:spcBef>
                <a:spcPts val="580"/>
              </a:spcBef>
              <a:spcAft>
                <a:spcPts val="0"/>
              </a:spcAft>
              <a:buFont typeface="Wingdings 2"/>
              <a:buChar char=""/>
              <a:defRPr/>
            </a:pPr>
            <a:r>
              <a:rPr lang="en-US" sz="2800" dirty="0" smtClean="0">
                <a:latin typeface="Arial" pitchFamily="34" charset="0"/>
                <a:cs typeface="Arial" pitchFamily="34" charset="0"/>
              </a:rPr>
              <a:t>Industrial Prototype Designs are carried out by ASRT established two </a:t>
            </a:r>
            <a:r>
              <a:rPr lang="en-US" sz="2800" b="1" dirty="0" smtClean="0">
                <a:latin typeface="Arial" pitchFamily="34" charset="0"/>
                <a:cs typeface="Arial" pitchFamily="34" charset="0"/>
              </a:rPr>
              <a:t>Industrial fabrication </a:t>
            </a:r>
            <a:r>
              <a:rPr lang="en-US" sz="2800" dirty="0" smtClean="0">
                <a:latin typeface="Arial" pitchFamily="34" charset="0"/>
                <a:cs typeface="Arial" pitchFamily="34" charset="0"/>
              </a:rPr>
              <a:t>Center in collaboration with the Ministry Of Industry. </a:t>
            </a:r>
          </a:p>
          <a:p>
            <a:pPr marL="274320" indent="-274320" algn="just" rtl="0" eaLnBrk="1" fontAlgn="auto" hangingPunct="1">
              <a:lnSpc>
                <a:spcPct val="150000"/>
              </a:lnSpc>
              <a:spcBef>
                <a:spcPts val="580"/>
              </a:spcBef>
              <a:spcAft>
                <a:spcPts val="0"/>
              </a:spcAft>
              <a:buFont typeface="Wingdings 2"/>
              <a:buChar char=""/>
              <a:defRPr/>
            </a:pPr>
            <a:r>
              <a:rPr lang="en-US" sz="2800" b="1" dirty="0" smtClean="0">
                <a:solidFill>
                  <a:srgbClr val="FF0000"/>
                </a:solidFill>
                <a:latin typeface="Arial" pitchFamily="34" charset="0"/>
                <a:cs typeface="Arial" pitchFamily="34" charset="0"/>
              </a:rPr>
              <a:t>IRA</a:t>
            </a:r>
            <a:r>
              <a:rPr lang="en-US" sz="2800" dirty="0" smtClean="0">
                <a:latin typeface="Arial" pitchFamily="34" charset="0"/>
                <a:cs typeface="Arial" pitchFamily="34" charset="0"/>
              </a:rPr>
              <a:t> provide funding to researchers to develop demand-driven industrial protocols to be implemented by enterprises for new product fabrication.  </a:t>
            </a:r>
          </a:p>
          <a:p>
            <a:pPr marL="274320" indent="-274320" algn="just" rtl="0" eaLnBrk="1" fontAlgn="auto" hangingPunct="1">
              <a:lnSpc>
                <a:spcPct val="150000"/>
              </a:lnSpc>
              <a:spcBef>
                <a:spcPts val="580"/>
              </a:spcBef>
              <a:spcAft>
                <a:spcPts val="0"/>
              </a:spcAft>
              <a:buFont typeface="Wingdings 2"/>
              <a:buChar char=""/>
              <a:defRPr/>
            </a:pPr>
            <a:r>
              <a:rPr lang="en-US" sz="2800" b="1" dirty="0" smtClean="0">
                <a:solidFill>
                  <a:srgbClr val="FF0000"/>
                </a:solidFill>
                <a:latin typeface="Arial" pitchFamily="34" charset="0"/>
                <a:cs typeface="Arial" pitchFamily="34" charset="0"/>
              </a:rPr>
              <a:t>IRA</a:t>
            </a:r>
            <a:r>
              <a:rPr lang="en-US" sz="2800" dirty="0" smtClean="0">
                <a:latin typeface="Arial" pitchFamily="34" charset="0"/>
                <a:cs typeface="Arial" pitchFamily="34" charset="0"/>
              </a:rPr>
              <a:t> initiative is sector tailored according to its needs and potential expansion for market and job creation. </a:t>
            </a:r>
          </a:p>
          <a:p>
            <a:pPr marL="274320" indent="-274320" eaLnBrk="1" fontAlgn="auto" hangingPunct="1">
              <a:spcBef>
                <a:spcPts val="580"/>
              </a:spcBef>
              <a:spcAft>
                <a:spcPts val="0"/>
              </a:spcAft>
              <a:buFont typeface="Wingdings 2"/>
              <a:buChar char=""/>
              <a:defRPr/>
            </a:pPr>
            <a:endParaRPr lang="ar-EG" dirty="0"/>
          </a:p>
        </p:txBody>
      </p:sp>
      <p:sp>
        <p:nvSpPr>
          <p:cNvPr id="4" name="Title 3"/>
          <p:cNvSpPr>
            <a:spLocks noGrp="1"/>
          </p:cNvSpPr>
          <p:nvPr>
            <p:ph type="title"/>
          </p:nvPr>
        </p:nvSpPr>
        <p:spPr>
          <a:xfrm>
            <a:off x="251520" y="-171400"/>
            <a:ext cx="8640960" cy="1143000"/>
          </a:xfrm>
        </p:spPr>
        <p:txBody>
          <a:bodyPr/>
          <a:lstStyle/>
          <a:p>
            <a:pPr algn="ctr" rtl="0"/>
            <a:r>
              <a:rPr lang="en-US" b="1" dirty="0" smtClean="0">
                <a:solidFill>
                  <a:schemeClr val="accent1"/>
                </a:solidFill>
                <a:latin typeface="Times New Roman" pitchFamily="18" charset="0"/>
                <a:cs typeface="Times New Roman" pitchFamily="18" charset="0"/>
              </a:rPr>
              <a:t>Industry Research Alliance </a:t>
            </a:r>
            <a:r>
              <a:rPr lang="en-US" b="1" dirty="0" smtClean="0">
                <a:solidFill>
                  <a:schemeClr val="tx1"/>
                </a:solidFill>
                <a:latin typeface="Times New Roman" pitchFamily="18" charset="0"/>
                <a:cs typeface="Times New Roman" pitchFamily="18" charset="0"/>
              </a:rPr>
              <a:t>(IRA)</a:t>
            </a:r>
            <a:endParaRPr lang="en-US" dirty="0"/>
          </a:p>
        </p:txBody>
      </p:sp>
    </p:spTree>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2">
            <a:schemeClr val="accent1">
              <a:shade val="50000"/>
            </a:schemeClr>
          </a:lnRef>
          <a:fillRef idx="1">
            <a:schemeClr val="accent1"/>
          </a:fillRef>
          <a:effectRef idx="0">
            <a:schemeClr val="accent1"/>
          </a:effectRef>
          <a:fontRef idx="minor">
            <a:schemeClr val="lt1"/>
          </a:fontRef>
        </p:style>
        <p:txBody>
          <a:bodyPr anchor="t">
            <a:normAutofit/>
          </a:bodyPr>
          <a:lstStyle/>
          <a:p>
            <a:pPr eaLnBrk="1" fontAlgn="auto" hangingPunct="1">
              <a:spcAft>
                <a:spcPts val="0"/>
              </a:spcAft>
              <a:defRPr/>
            </a:pPr>
            <a:r>
              <a:rPr lang="en-US" dirty="0" smtClean="0"/>
              <a:t>Thank You</a:t>
            </a:r>
            <a:endParaRPr lang="ar-EG" dirty="0"/>
          </a:p>
        </p:txBody>
      </p:sp>
      <p:sp>
        <p:nvSpPr>
          <p:cNvPr id="31747" name="Content Placeholder 2"/>
          <p:cNvSpPr>
            <a:spLocks noGrp="1"/>
          </p:cNvSpPr>
          <p:nvPr>
            <p:ph sz="quarter" idx="1"/>
          </p:nvPr>
        </p:nvSpPr>
        <p:spPr/>
        <p:txBody>
          <a:bodyPr/>
          <a:lstStyle/>
          <a:p>
            <a:pPr algn="l" rtl="0" eaLnBrk="1" hangingPunct="1">
              <a:lnSpc>
                <a:spcPct val="150000"/>
              </a:lnSpc>
            </a:pPr>
            <a:r>
              <a:rPr lang="en-US" dirty="0" smtClean="0">
                <a:latin typeface="Arial" pitchFamily="34" charset="0"/>
                <a:cs typeface="Arial" pitchFamily="34" charset="0"/>
              </a:rPr>
              <a:t>The Academy Of Scientific Research And Technology (ASRT), Egypt</a:t>
            </a:r>
          </a:p>
          <a:p>
            <a:pPr algn="l" rtl="0" eaLnBrk="1" hangingPunct="1">
              <a:lnSpc>
                <a:spcPct val="150000"/>
              </a:lnSpc>
            </a:pPr>
            <a:r>
              <a:rPr lang="en-US" dirty="0" smtClean="0">
                <a:latin typeface="Arial" pitchFamily="34" charset="0"/>
                <a:cs typeface="Arial" pitchFamily="34" charset="0"/>
              </a:rPr>
              <a:t>101 </a:t>
            </a:r>
            <a:r>
              <a:rPr lang="en-US" dirty="0" err="1" smtClean="0">
                <a:latin typeface="Arial" pitchFamily="34" charset="0"/>
                <a:cs typeface="Arial" pitchFamily="34" charset="0"/>
              </a:rPr>
              <a:t>Kasr</a:t>
            </a:r>
            <a:r>
              <a:rPr lang="en-US" dirty="0" smtClean="0">
                <a:latin typeface="Arial" pitchFamily="34" charset="0"/>
                <a:cs typeface="Arial" pitchFamily="34" charset="0"/>
              </a:rPr>
              <a:t> Al-</a:t>
            </a:r>
            <a:r>
              <a:rPr lang="en-US" dirty="0" err="1" smtClean="0">
                <a:latin typeface="Arial" pitchFamily="34" charset="0"/>
                <a:cs typeface="Arial" pitchFamily="34" charset="0"/>
              </a:rPr>
              <a:t>Ainy</a:t>
            </a:r>
            <a:r>
              <a:rPr lang="en-US" dirty="0" smtClean="0">
                <a:latin typeface="Arial" pitchFamily="34" charset="0"/>
                <a:cs typeface="Arial" pitchFamily="34" charset="0"/>
              </a:rPr>
              <a:t> Street</a:t>
            </a:r>
          </a:p>
          <a:p>
            <a:pPr algn="l" rtl="0" eaLnBrk="1" hangingPunct="1">
              <a:lnSpc>
                <a:spcPct val="150000"/>
              </a:lnSpc>
            </a:pPr>
            <a:r>
              <a:rPr lang="en-US" dirty="0" smtClean="0">
                <a:latin typeface="Arial" pitchFamily="34" charset="0"/>
                <a:cs typeface="Arial" pitchFamily="34" charset="0"/>
              </a:rPr>
              <a:t>Email:maged123@link.net</a:t>
            </a:r>
          </a:p>
          <a:p>
            <a:pPr algn="l" rtl="0" eaLnBrk="1" hangingPunct="1">
              <a:lnSpc>
                <a:spcPct val="150000"/>
              </a:lnSpc>
            </a:pPr>
            <a:r>
              <a:rPr lang="en-US" dirty="0" smtClean="0">
                <a:latin typeface="Arial" pitchFamily="34" charset="0"/>
                <a:cs typeface="Arial" pitchFamily="34" charset="0"/>
              </a:rPr>
              <a:t>Fax:+2-02-279-212-80</a:t>
            </a:r>
          </a:p>
          <a:p>
            <a:pPr algn="l" rtl="0" eaLnBrk="1" hangingPunct="1"/>
            <a:endParaRPr lang="ar-EG" dirty="0" smtClean="0"/>
          </a:p>
        </p:txBody>
      </p:sp>
    </p:spTree>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showMasterSp="0">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p:rand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2"/>
          <p:cNvSpPr>
            <a:spLocks noGrp="1"/>
          </p:cNvSpPr>
          <p:nvPr>
            <p:ph type="sldNum" sz="quarter" idx="10"/>
          </p:nvPr>
        </p:nvSpPr>
        <p:spPr/>
        <p:txBody>
          <a:bodyPr/>
          <a:lstStyle/>
          <a:p>
            <a:fld id="{09E9A7D1-B2B8-4F71-B029-062614106A6F}" type="slidenum">
              <a:rPr lang="en-US"/>
              <a:pPr/>
              <a:t>6</a:t>
            </a:fld>
            <a:endParaRPr lang="en-US"/>
          </a:p>
        </p:txBody>
      </p:sp>
      <p:graphicFrame>
        <p:nvGraphicFramePr>
          <p:cNvPr id="727042"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4275"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27049" name="Rectangle 9"/>
          <p:cNvSpPr>
            <a:spLocks noGrp="1" noChangeArrowheads="1"/>
          </p:cNvSpPr>
          <p:nvPr>
            <p:ph type="title"/>
            <p:custDataLst>
              <p:tags r:id="rId3"/>
            </p:custDataLst>
          </p:nvPr>
        </p:nvSpPr>
        <p:spPr>
          <a:xfrm>
            <a:off x="121498" y="355292"/>
            <a:ext cx="8794113" cy="376834"/>
          </a:xfrm>
          <a:noFill/>
          <a:ln/>
        </p:spPr>
        <p:txBody>
          <a:bodyPr/>
          <a:lstStyle/>
          <a:p>
            <a:pPr algn="ctr"/>
            <a:r>
              <a:rPr lang="en-GB" sz="2400" dirty="0">
                <a:solidFill>
                  <a:srgbClr val="800000"/>
                </a:solidFill>
              </a:rPr>
              <a:t>Strategic business plan adopted</a:t>
            </a:r>
            <a:endParaRPr lang="en-US" sz="2400" dirty="0">
              <a:solidFill>
                <a:srgbClr val="800000"/>
              </a:solidFill>
            </a:endParaRPr>
          </a:p>
        </p:txBody>
      </p:sp>
      <p:pic>
        <p:nvPicPr>
          <p:cNvPr id="727053" name="Picture 13"/>
          <p:cNvPicPr>
            <a:picLocks noChangeAspect="1" noChangeArrowheads="1"/>
          </p:cNvPicPr>
          <p:nvPr/>
        </p:nvPicPr>
        <p:blipFill>
          <a:blip r:embed="rId7" cstate="print"/>
          <a:srcRect/>
          <a:stretch>
            <a:fillRect/>
          </a:stretch>
        </p:blipFill>
        <p:spPr bwMode="auto">
          <a:xfrm>
            <a:off x="2666267" y="1057694"/>
            <a:ext cx="3711055" cy="5244734"/>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5" name="Slide Number Placeholder 2"/>
          <p:cNvSpPr>
            <a:spLocks noGrp="1"/>
          </p:cNvSpPr>
          <p:nvPr>
            <p:ph type="sldNum" sz="quarter" idx="10"/>
          </p:nvPr>
        </p:nvSpPr>
        <p:spPr/>
        <p:txBody>
          <a:bodyPr/>
          <a:lstStyle/>
          <a:p>
            <a:fld id="{238BCF43-C69F-4F89-BA73-B55C0723FEA4}" type="slidenum">
              <a:rPr lang="en-US"/>
              <a:pPr/>
              <a:t>7</a:t>
            </a:fld>
            <a:endParaRPr lang="en-US"/>
          </a:p>
        </p:txBody>
      </p:sp>
      <p:graphicFrame>
        <p:nvGraphicFramePr>
          <p:cNvPr id="636930"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5299" name="think-cell Slide" r:id="rId264" imgW="0" imgH="0" progId="">
                  <p:embed/>
                </p:oleObj>
              </mc:Choice>
              <mc:Fallback>
                <p:oleObj name="think-cell Slide" r:id="rId264"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36931" name="AutoShape 3"/>
          <p:cNvSpPr>
            <a:spLocks noChangeArrowheads="1"/>
          </p:cNvSpPr>
          <p:nvPr>
            <p:custDataLst>
              <p:tags r:id="rId3"/>
            </p:custDataLst>
          </p:nvPr>
        </p:nvSpPr>
        <p:spPr bwMode="auto">
          <a:xfrm>
            <a:off x="6740164" y="1904828"/>
            <a:ext cx="2136569" cy="3284843"/>
          </a:xfrm>
          <a:prstGeom prst="roundRect">
            <a:avLst>
              <a:gd name="adj" fmla="val 1139"/>
            </a:avLst>
          </a:prstGeom>
          <a:solidFill>
            <a:schemeClr val="bg1"/>
          </a:solidFill>
          <a:ln w="19050">
            <a:solidFill>
              <a:schemeClr val="hlink"/>
            </a:solid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6932" name="Freeform 4"/>
          <p:cNvSpPr>
            <a:spLocks/>
          </p:cNvSpPr>
          <p:nvPr>
            <p:custDataLst>
              <p:tags r:id="rId4"/>
            </p:custDataLst>
          </p:nvPr>
        </p:nvSpPr>
        <p:spPr bwMode="gray">
          <a:xfrm>
            <a:off x="4320123" y="1496645"/>
            <a:ext cx="772663" cy="686772"/>
          </a:xfrm>
          <a:custGeom>
            <a:avLst/>
            <a:gdLst/>
            <a:ahLst/>
            <a:cxnLst>
              <a:cxn ang="0">
                <a:pos x="10" y="70"/>
              </a:cxn>
              <a:cxn ang="0">
                <a:pos x="17" y="99"/>
              </a:cxn>
              <a:cxn ang="0">
                <a:pos x="2" y="130"/>
              </a:cxn>
              <a:cxn ang="0">
                <a:pos x="10" y="170"/>
              </a:cxn>
              <a:cxn ang="0">
                <a:pos x="660" y="755"/>
              </a:cxn>
              <a:cxn ang="0">
                <a:pos x="683" y="765"/>
              </a:cxn>
              <a:cxn ang="0">
                <a:pos x="710" y="763"/>
              </a:cxn>
              <a:cxn ang="0">
                <a:pos x="721" y="734"/>
              </a:cxn>
              <a:cxn ang="0">
                <a:pos x="750" y="729"/>
              </a:cxn>
              <a:cxn ang="0">
                <a:pos x="771" y="719"/>
              </a:cxn>
              <a:cxn ang="0">
                <a:pos x="784" y="694"/>
              </a:cxn>
              <a:cxn ang="0">
                <a:pos x="820" y="664"/>
              </a:cxn>
              <a:cxn ang="0">
                <a:pos x="838" y="645"/>
              </a:cxn>
              <a:cxn ang="0">
                <a:pos x="822" y="610"/>
              </a:cxn>
              <a:cxn ang="0">
                <a:pos x="832" y="591"/>
              </a:cxn>
              <a:cxn ang="0">
                <a:pos x="826" y="570"/>
              </a:cxn>
              <a:cxn ang="0">
                <a:pos x="790" y="521"/>
              </a:cxn>
              <a:cxn ang="0">
                <a:pos x="754" y="467"/>
              </a:cxn>
              <a:cxn ang="0">
                <a:pos x="731" y="437"/>
              </a:cxn>
              <a:cxn ang="0">
                <a:pos x="704" y="406"/>
              </a:cxn>
              <a:cxn ang="0">
                <a:pos x="691" y="370"/>
              </a:cxn>
              <a:cxn ang="0">
                <a:pos x="670" y="332"/>
              </a:cxn>
              <a:cxn ang="0">
                <a:pos x="649" y="309"/>
              </a:cxn>
              <a:cxn ang="0">
                <a:pos x="639" y="282"/>
              </a:cxn>
              <a:cxn ang="0">
                <a:pos x="613" y="259"/>
              </a:cxn>
              <a:cxn ang="0">
                <a:pos x="588" y="221"/>
              </a:cxn>
              <a:cxn ang="0">
                <a:pos x="569" y="174"/>
              </a:cxn>
              <a:cxn ang="0">
                <a:pos x="555" y="160"/>
              </a:cxn>
              <a:cxn ang="0">
                <a:pos x="552" y="139"/>
              </a:cxn>
              <a:cxn ang="0">
                <a:pos x="550" y="132"/>
              </a:cxn>
              <a:cxn ang="0">
                <a:pos x="586" y="164"/>
              </a:cxn>
              <a:cxn ang="0">
                <a:pos x="614" y="214"/>
              </a:cxn>
              <a:cxn ang="0">
                <a:pos x="645" y="250"/>
              </a:cxn>
              <a:cxn ang="0">
                <a:pos x="679" y="284"/>
              </a:cxn>
              <a:cxn ang="0">
                <a:pos x="698" y="278"/>
              </a:cxn>
              <a:cxn ang="0">
                <a:pos x="716" y="250"/>
              </a:cxn>
              <a:cxn ang="0">
                <a:pos x="716" y="206"/>
              </a:cxn>
              <a:cxn ang="0">
                <a:pos x="717" y="177"/>
              </a:cxn>
              <a:cxn ang="0">
                <a:pos x="721" y="156"/>
              </a:cxn>
              <a:cxn ang="0">
                <a:pos x="708" y="135"/>
              </a:cxn>
              <a:cxn ang="0">
                <a:pos x="695" y="111"/>
              </a:cxn>
              <a:cxn ang="0">
                <a:pos x="676" y="70"/>
              </a:cxn>
              <a:cxn ang="0">
                <a:pos x="656" y="30"/>
              </a:cxn>
              <a:cxn ang="0">
                <a:pos x="630" y="29"/>
              </a:cxn>
              <a:cxn ang="0">
                <a:pos x="593" y="36"/>
              </a:cxn>
              <a:cxn ang="0">
                <a:pos x="555" y="42"/>
              </a:cxn>
              <a:cxn ang="0">
                <a:pos x="517" y="32"/>
              </a:cxn>
              <a:cxn ang="0">
                <a:pos x="477" y="9"/>
              </a:cxn>
              <a:cxn ang="0">
                <a:pos x="441" y="0"/>
              </a:cxn>
              <a:cxn ang="0">
                <a:pos x="389" y="19"/>
              </a:cxn>
              <a:cxn ang="0">
                <a:pos x="346" y="51"/>
              </a:cxn>
              <a:cxn ang="0">
                <a:pos x="290" y="61"/>
              </a:cxn>
              <a:cxn ang="0">
                <a:pos x="204" y="42"/>
              </a:cxn>
              <a:cxn ang="0">
                <a:pos x="124" y="19"/>
              </a:cxn>
              <a:cxn ang="0">
                <a:pos x="69" y="15"/>
              </a:cxn>
              <a:cxn ang="0">
                <a:pos x="46" y="23"/>
              </a:cxn>
              <a:cxn ang="0">
                <a:pos x="8" y="30"/>
              </a:cxn>
            </a:cxnLst>
            <a:rect l="0" t="0" r="r" b="b"/>
            <a:pathLst>
              <a:path w="843" h="771">
                <a:moveTo>
                  <a:pt x="0" y="49"/>
                </a:moveTo>
                <a:lnTo>
                  <a:pt x="0" y="49"/>
                </a:lnTo>
                <a:lnTo>
                  <a:pt x="2" y="55"/>
                </a:lnTo>
                <a:lnTo>
                  <a:pt x="4" y="61"/>
                </a:lnTo>
                <a:lnTo>
                  <a:pt x="6" y="67"/>
                </a:lnTo>
                <a:lnTo>
                  <a:pt x="10" y="70"/>
                </a:lnTo>
                <a:lnTo>
                  <a:pt x="14" y="74"/>
                </a:lnTo>
                <a:lnTo>
                  <a:pt x="16" y="80"/>
                </a:lnTo>
                <a:lnTo>
                  <a:pt x="17" y="86"/>
                </a:lnTo>
                <a:lnTo>
                  <a:pt x="19" y="91"/>
                </a:lnTo>
                <a:lnTo>
                  <a:pt x="19" y="91"/>
                </a:lnTo>
                <a:lnTo>
                  <a:pt x="17" y="99"/>
                </a:lnTo>
                <a:lnTo>
                  <a:pt x="16" y="105"/>
                </a:lnTo>
                <a:lnTo>
                  <a:pt x="14" y="111"/>
                </a:lnTo>
                <a:lnTo>
                  <a:pt x="10" y="114"/>
                </a:lnTo>
                <a:lnTo>
                  <a:pt x="6" y="118"/>
                </a:lnTo>
                <a:lnTo>
                  <a:pt x="4" y="124"/>
                </a:lnTo>
                <a:lnTo>
                  <a:pt x="2" y="130"/>
                </a:lnTo>
                <a:lnTo>
                  <a:pt x="0" y="135"/>
                </a:lnTo>
                <a:lnTo>
                  <a:pt x="0" y="135"/>
                </a:lnTo>
                <a:lnTo>
                  <a:pt x="2" y="145"/>
                </a:lnTo>
                <a:lnTo>
                  <a:pt x="4" y="153"/>
                </a:lnTo>
                <a:lnTo>
                  <a:pt x="6" y="162"/>
                </a:lnTo>
                <a:lnTo>
                  <a:pt x="10" y="170"/>
                </a:lnTo>
                <a:lnTo>
                  <a:pt x="14" y="177"/>
                </a:lnTo>
                <a:lnTo>
                  <a:pt x="16" y="183"/>
                </a:lnTo>
                <a:lnTo>
                  <a:pt x="17" y="189"/>
                </a:lnTo>
                <a:lnTo>
                  <a:pt x="19" y="194"/>
                </a:lnTo>
                <a:lnTo>
                  <a:pt x="48" y="771"/>
                </a:lnTo>
                <a:lnTo>
                  <a:pt x="660" y="755"/>
                </a:lnTo>
                <a:lnTo>
                  <a:pt x="660" y="755"/>
                </a:lnTo>
                <a:lnTo>
                  <a:pt x="668" y="757"/>
                </a:lnTo>
                <a:lnTo>
                  <a:pt x="672" y="759"/>
                </a:lnTo>
                <a:lnTo>
                  <a:pt x="677" y="761"/>
                </a:lnTo>
                <a:lnTo>
                  <a:pt x="679" y="763"/>
                </a:lnTo>
                <a:lnTo>
                  <a:pt x="683" y="765"/>
                </a:lnTo>
                <a:lnTo>
                  <a:pt x="687" y="767"/>
                </a:lnTo>
                <a:lnTo>
                  <a:pt x="693" y="767"/>
                </a:lnTo>
                <a:lnTo>
                  <a:pt x="698" y="769"/>
                </a:lnTo>
                <a:lnTo>
                  <a:pt x="698" y="769"/>
                </a:lnTo>
                <a:lnTo>
                  <a:pt x="704" y="767"/>
                </a:lnTo>
                <a:lnTo>
                  <a:pt x="710" y="763"/>
                </a:lnTo>
                <a:lnTo>
                  <a:pt x="714" y="759"/>
                </a:lnTo>
                <a:lnTo>
                  <a:pt x="714" y="753"/>
                </a:lnTo>
                <a:lnTo>
                  <a:pt x="716" y="748"/>
                </a:lnTo>
                <a:lnTo>
                  <a:pt x="717" y="744"/>
                </a:lnTo>
                <a:lnTo>
                  <a:pt x="719" y="738"/>
                </a:lnTo>
                <a:lnTo>
                  <a:pt x="721" y="734"/>
                </a:lnTo>
                <a:lnTo>
                  <a:pt x="721" y="734"/>
                </a:lnTo>
                <a:lnTo>
                  <a:pt x="727" y="732"/>
                </a:lnTo>
                <a:lnTo>
                  <a:pt x="733" y="731"/>
                </a:lnTo>
                <a:lnTo>
                  <a:pt x="738" y="731"/>
                </a:lnTo>
                <a:lnTo>
                  <a:pt x="744" y="729"/>
                </a:lnTo>
                <a:lnTo>
                  <a:pt x="750" y="729"/>
                </a:lnTo>
                <a:lnTo>
                  <a:pt x="754" y="729"/>
                </a:lnTo>
                <a:lnTo>
                  <a:pt x="759" y="729"/>
                </a:lnTo>
                <a:lnTo>
                  <a:pt x="763" y="727"/>
                </a:lnTo>
                <a:lnTo>
                  <a:pt x="763" y="727"/>
                </a:lnTo>
                <a:lnTo>
                  <a:pt x="767" y="723"/>
                </a:lnTo>
                <a:lnTo>
                  <a:pt x="771" y="719"/>
                </a:lnTo>
                <a:lnTo>
                  <a:pt x="773" y="717"/>
                </a:lnTo>
                <a:lnTo>
                  <a:pt x="777" y="711"/>
                </a:lnTo>
                <a:lnTo>
                  <a:pt x="777" y="708"/>
                </a:lnTo>
                <a:lnTo>
                  <a:pt x="779" y="704"/>
                </a:lnTo>
                <a:lnTo>
                  <a:pt x="780" y="698"/>
                </a:lnTo>
                <a:lnTo>
                  <a:pt x="784" y="694"/>
                </a:lnTo>
                <a:lnTo>
                  <a:pt x="784" y="694"/>
                </a:lnTo>
                <a:lnTo>
                  <a:pt x="790" y="687"/>
                </a:lnTo>
                <a:lnTo>
                  <a:pt x="796" y="679"/>
                </a:lnTo>
                <a:lnTo>
                  <a:pt x="803" y="673"/>
                </a:lnTo>
                <a:lnTo>
                  <a:pt x="811" y="670"/>
                </a:lnTo>
                <a:lnTo>
                  <a:pt x="820" y="664"/>
                </a:lnTo>
                <a:lnTo>
                  <a:pt x="828" y="660"/>
                </a:lnTo>
                <a:lnTo>
                  <a:pt x="836" y="654"/>
                </a:lnTo>
                <a:lnTo>
                  <a:pt x="843" y="650"/>
                </a:lnTo>
                <a:lnTo>
                  <a:pt x="843" y="650"/>
                </a:lnTo>
                <a:lnTo>
                  <a:pt x="841" y="649"/>
                </a:lnTo>
                <a:lnTo>
                  <a:pt x="838" y="645"/>
                </a:lnTo>
                <a:lnTo>
                  <a:pt x="834" y="639"/>
                </a:lnTo>
                <a:lnTo>
                  <a:pt x="830" y="633"/>
                </a:lnTo>
                <a:lnTo>
                  <a:pt x="826" y="628"/>
                </a:lnTo>
                <a:lnTo>
                  <a:pt x="824" y="622"/>
                </a:lnTo>
                <a:lnTo>
                  <a:pt x="822" y="616"/>
                </a:lnTo>
                <a:lnTo>
                  <a:pt x="822" y="610"/>
                </a:lnTo>
                <a:lnTo>
                  <a:pt x="822" y="610"/>
                </a:lnTo>
                <a:lnTo>
                  <a:pt x="822" y="605"/>
                </a:lnTo>
                <a:lnTo>
                  <a:pt x="824" y="601"/>
                </a:lnTo>
                <a:lnTo>
                  <a:pt x="826" y="597"/>
                </a:lnTo>
                <a:lnTo>
                  <a:pt x="828" y="595"/>
                </a:lnTo>
                <a:lnTo>
                  <a:pt x="832" y="591"/>
                </a:lnTo>
                <a:lnTo>
                  <a:pt x="834" y="589"/>
                </a:lnTo>
                <a:lnTo>
                  <a:pt x="838" y="587"/>
                </a:lnTo>
                <a:lnTo>
                  <a:pt x="840" y="586"/>
                </a:lnTo>
                <a:lnTo>
                  <a:pt x="840" y="586"/>
                </a:lnTo>
                <a:lnTo>
                  <a:pt x="832" y="578"/>
                </a:lnTo>
                <a:lnTo>
                  <a:pt x="826" y="570"/>
                </a:lnTo>
                <a:lnTo>
                  <a:pt x="820" y="563"/>
                </a:lnTo>
                <a:lnTo>
                  <a:pt x="813" y="555"/>
                </a:lnTo>
                <a:lnTo>
                  <a:pt x="807" y="546"/>
                </a:lnTo>
                <a:lnTo>
                  <a:pt x="801" y="538"/>
                </a:lnTo>
                <a:lnTo>
                  <a:pt x="796" y="530"/>
                </a:lnTo>
                <a:lnTo>
                  <a:pt x="790" y="521"/>
                </a:lnTo>
                <a:lnTo>
                  <a:pt x="784" y="511"/>
                </a:lnTo>
                <a:lnTo>
                  <a:pt x="779" y="504"/>
                </a:lnTo>
                <a:lnTo>
                  <a:pt x="773" y="494"/>
                </a:lnTo>
                <a:lnTo>
                  <a:pt x="767" y="486"/>
                </a:lnTo>
                <a:lnTo>
                  <a:pt x="761" y="477"/>
                </a:lnTo>
                <a:lnTo>
                  <a:pt x="754" y="467"/>
                </a:lnTo>
                <a:lnTo>
                  <a:pt x="748" y="460"/>
                </a:lnTo>
                <a:lnTo>
                  <a:pt x="742" y="452"/>
                </a:lnTo>
                <a:lnTo>
                  <a:pt x="742" y="452"/>
                </a:lnTo>
                <a:lnTo>
                  <a:pt x="738" y="446"/>
                </a:lnTo>
                <a:lnTo>
                  <a:pt x="735" y="441"/>
                </a:lnTo>
                <a:lnTo>
                  <a:pt x="731" y="437"/>
                </a:lnTo>
                <a:lnTo>
                  <a:pt x="727" y="431"/>
                </a:lnTo>
                <a:lnTo>
                  <a:pt x="721" y="425"/>
                </a:lnTo>
                <a:lnTo>
                  <a:pt x="717" y="422"/>
                </a:lnTo>
                <a:lnTo>
                  <a:pt x="714" y="416"/>
                </a:lnTo>
                <a:lnTo>
                  <a:pt x="708" y="410"/>
                </a:lnTo>
                <a:lnTo>
                  <a:pt x="704" y="406"/>
                </a:lnTo>
                <a:lnTo>
                  <a:pt x="702" y="401"/>
                </a:lnTo>
                <a:lnTo>
                  <a:pt x="698" y="395"/>
                </a:lnTo>
                <a:lnTo>
                  <a:pt x="695" y="389"/>
                </a:lnTo>
                <a:lnTo>
                  <a:pt x="693" y="381"/>
                </a:lnTo>
                <a:lnTo>
                  <a:pt x="691" y="376"/>
                </a:lnTo>
                <a:lnTo>
                  <a:pt x="691" y="370"/>
                </a:lnTo>
                <a:lnTo>
                  <a:pt x="689" y="362"/>
                </a:lnTo>
                <a:lnTo>
                  <a:pt x="689" y="362"/>
                </a:lnTo>
                <a:lnTo>
                  <a:pt x="689" y="357"/>
                </a:lnTo>
                <a:lnTo>
                  <a:pt x="683" y="349"/>
                </a:lnTo>
                <a:lnTo>
                  <a:pt x="677" y="341"/>
                </a:lnTo>
                <a:lnTo>
                  <a:pt x="670" y="332"/>
                </a:lnTo>
                <a:lnTo>
                  <a:pt x="664" y="324"/>
                </a:lnTo>
                <a:lnTo>
                  <a:pt x="658" y="317"/>
                </a:lnTo>
                <a:lnTo>
                  <a:pt x="653" y="311"/>
                </a:lnTo>
                <a:lnTo>
                  <a:pt x="651" y="309"/>
                </a:lnTo>
                <a:lnTo>
                  <a:pt x="651" y="309"/>
                </a:lnTo>
                <a:lnTo>
                  <a:pt x="649" y="309"/>
                </a:lnTo>
                <a:lnTo>
                  <a:pt x="645" y="305"/>
                </a:lnTo>
                <a:lnTo>
                  <a:pt x="643" y="301"/>
                </a:lnTo>
                <a:lnTo>
                  <a:pt x="643" y="296"/>
                </a:lnTo>
                <a:lnTo>
                  <a:pt x="641" y="292"/>
                </a:lnTo>
                <a:lnTo>
                  <a:pt x="639" y="286"/>
                </a:lnTo>
                <a:lnTo>
                  <a:pt x="639" y="282"/>
                </a:lnTo>
                <a:lnTo>
                  <a:pt x="637" y="280"/>
                </a:lnTo>
                <a:lnTo>
                  <a:pt x="637" y="280"/>
                </a:lnTo>
                <a:lnTo>
                  <a:pt x="630" y="275"/>
                </a:lnTo>
                <a:lnTo>
                  <a:pt x="624" y="269"/>
                </a:lnTo>
                <a:lnTo>
                  <a:pt x="618" y="263"/>
                </a:lnTo>
                <a:lnTo>
                  <a:pt x="613" y="259"/>
                </a:lnTo>
                <a:lnTo>
                  <a:pt x="607" y="254"/>
                </a:lnTo>
                <a:lnTo>
                  <a:pt x="603" y="246"/>
                </a:lnTo>
                <a:lnTo>
                  <a:pt x="599" y="240"/>
                </a:lnTo>
                <a:lnTo>
                  <a:pt x="595" y="235"/>
                </a:lnTo>
                <a:lnTo>
                  <a:pt x="592" y="229"/>
                </a:lnTo>
                <a:lnTo>
                  <a:pt x="588" y="221"/>
                </a:lnTo>
                <a:lnTo>
                  <a:pt x="584" y="214"/>
                </a:lnTo>
                <a:lnTo>
                  <a:pt x="582" y="206"/>
                </a:lnTo>
                <a:lnTo>
                  <a:pt x="578" y="198"/>
                </a:lnTo>
                <a:lnTo>
                  <a:pt x="574" y="191"/>
                </a:lnTo>
                <a:lnTo>
                  <a:pt x="571" y="183"/>
                </a:lnTo>
                <a:lnTo>
                  <a:pt x="569" y="174"/>
                </a:lnTo>
                <a:lnTo>
                  <a:pt x="569" y="174"/>
                </a:lnTo>
                <a:lnTo>
                  <a:pt x="567" y="170"/>
                </a:lnTo>
                <a:lnTo>
                  <a:pt x="563" y="168"/>
                </a:lnTo>
                <a:lnTo>
                  <a:pt x="561" y="166"/>
                </a:lnTo>
                <a:lnTo>
                  <a:pt x="557" y="162"/>
                </a:lnTo>
                <a:lnTo>
                  <a:pt x="555" y="160"/>
                </a:lnTo>
                <a:lnTo>
                  <a:pt x="553" y="156"/>
                </a:lnTo>
                <a:lnTo>
                  <a:pt x="552" y="153"/>
                </a:lnTo>
                <a:lnTo>
                  <a:pt x="550" y="147"/>
                </a:lnTo>
                <a:lnTo>
                  <a:pt x="550" y="147"/>
                </a:lnTo>
                <a:lnTo>
                  <a:pt x="550" y="141"/>
                </a:lnTo>
                <a:lnTo>
                  <a:pt x="552" y="139"/>
                </a:lnTo>
                <a:lnTo>
                  <a:pt x="552" y="137"/>
                </a:lnTo>
                <a:lnTo>
                  <a:pt x="552" y="137"/>
                </a:lnTo>
                <a:lnTo>
                  <a:pt x="553" y="137"/>
                </a:lnTo>
                <a:lnTo>
                  <a:pt x="553" y="137"/>
                </a:lnTo>
                <a:lnTo>
                  <a:pt x="552" y="135"/>
                </a:lnTo>
                <a:lnTo>
                  <a:pt x="550" y="132"/>
                </a:lnTo>
                <a:lnTo>
                  <a:pt x="550" y="132"/>
                </a:lnTo>
                <a:lnTo>
                  <a:pt x="559" y="137"/>
                </a:lnTo>
                <a:lnTo>
                  <a:pt x="567" y="143"/>
                </a:lnTo>
                <a:lnTo>
                  <a:pt x="574" y="151"/>
                </a:lnTo>
                <a:lnTo>
                  <a:pt x="580" y="156"/>
                </a:lnTo>
                <a:lnTo>
                  <a:pt x="586" y="164"/>
                </a:lnTo>
                <a:lnTo>
                  <a:pt x="592" y="172"/>
                </a:lnTo>
                <a:lnTo>
                  <a:pt x="597" y="179"/>
                </a:lnTo>
                <a:lnTo>
                  <a:pt x="601" y="189"/>
                </a:lnTo>
                <a:lnTo>
                  <a:pt x="605" y="196"/>
                </a:lnTo>
                <a:lnTo>
                  <a:pt x="611" y="206"/>
                </a:lnTo>
                <a:lnTo>
                  <a:pt x="614" y="214"/>
                </a:lnTo>
                <a:lnTo>
                  <a:pt x="620" y="221"/>
                </a:lnTo>
                <a:lnTo>
                  <a:pt x="624" y="229"/>
                </a:lnTo>
                <a:lnTo>
                  <a:pt x="632" y="236"/>
                </a:lnTo>
                <a:lnTo>
                  <a:pt x="637" y="244"/>
                </a:lnTo>
                <a:lnTo>
                  <a:pt x="645" y="250"/>
                </a:lnTo>
                <a:lnTo>
                  <a:pt x="645" y="250"/>
                </a:lnTo>
                <a:lnTo>
                  <a:pt x="649" y="256"/>
                </a:lnTo>
                <a:lnTo>
                  <a:pt x="655" y="261"/>
                </a:lnTo>
                <a:lnTo>
                  <a:pt x="660" y="267"/>
                </a:lnTo>
                <a:lnTo>
                  <a:pt x="666" y="275"/>
                </a:lnTo>
                <a:lnTo>
                  <a:pt x="674" y="280"/>
                </a:lnTo>
                <a:lnTo>
                  <a:pt x="679" y="284"/>
                </a:lnTo>
                <a:lnTo>
                  <a:pt x="685" y="288"/>
                </a:lnTo>
                <a:lnTo>
                  <a:pt x="689" y="290"/>
                </a:lnTo>
                <a:lnTo>
                  <a:pt x="689" y="290"/>
                </a:lnTo>
                <a:lnTo>
                  <a:pt x="693" y="288"/>
                </a:lnTo>
                <a:lnTo>
                  <a:pt x="695" y="284"/>
                </a:lnTo>
                <a:lnTo>
                  <a:pt x="698" y="278"/>
                </a:lnTo>
                <a:lnTo>
                  <a:pt x="704" y="273"/>
                </a:lnTo>
                <a:lnTo>
                  <a:pt x="708" y="265"/>
                </a:lnTo>
                <a:lnTo>
                  <a:pt x="712" y="259"/>
                </a:lnTo>
                <a:lnTo>
                  <a:pt x="716" y="254"/>
                </a:lnTo>
                <a:lnTo>
                  <a:pt x="716" y="250"/>
                </a:lnTo>
                <a:lnTo>
                  <a:pt x="716" y="250"/>
                </a:lnTo>
                <a:lnTo>
                  <a:pt x="716" y="242"/>
                </a:lnTo>
                <a:lnTo>
                  <a:pt x="716" y="235"/>
                </a:lnTo>
                <a:lnTo>
                  <a:pt x="716" y="227"/>
                </a:lnTo>
                <a:lnTo>
                  <a:pt x="716" y="219"/>
                </a:lnTo>
                <a:lnTo>
                  <a:pt x="716" y="212"/>
                </a:lnTo>
                <a:lnTo>
                  <a:pt x="716" y="206"/>
                </a:lnTo>
                <a:lnTo>
                  <a:pt x="717" y="196"/>
                </a:lnTo>
                <a:lnTo>
                  <a:pt x="717" y="189"/>
                </a:lnTo>
                <a:lnTo>
                  <a:pt x="717" y="189"/>
                </a:lnTo>
                <a:lnTo>
                  <a:pt x="717" y="185"/>
                </a:lnTo>
                <a:lnTo>
                  <a:pt x="717" y="181"/>
                </a:lnTo>
                <a:lnTo>
                  <a:pt x="717" y="177"/>
                </a:lnTo>
                <a:lnTo>
                  <a:pt x="719" y="174"/>
                </a:lnTo>
                <a:lnTo>
                  <a:pt x="719" y="168"/>
                </a:lnTo>
                <a:lnTo>
                  <a:pt x="721" y="164"/>
                </a:lnTo>
                <a:lnTo>
                  <a:pt x="721" y="160"/>
                </a:lnTo>
                <a:lnTo>
                  <a:pt x="721" y="156"/>
                </a:lnTo>
                <a:lnTo>
                  <a:pt x="721" y="156"/>
                </a:lnTo>
                <a:lnTo>
                  <a:pt x="721" y="153"/>
                </a:lnTo>
                <a:lnTo>
                  <a:pt x="719" y="149"/>
                </a:lnTo>
                <a:lnTo>
                  <a:pt x="716" y="145"/>
                </a:lnTo>
                <a:lnTo>
                  <a:pt x="714" y="141"/>
                </a:lnTo>
                <a:lnTo>
                  <a:pt x="710" y="137"/>
                </a:lnTo>
                <a:lnTo>
                  <a:pt x="708" y="135"/>
                </a:lnTo>
                <a:lnTo>
                  <a:pt x="704" y="132"/>
                </a:lnTo>
                <a:lnTo>
                  <a:pt x="704" y="130"/>
                </a:lnTo>
                <a:lnTo>
                  <a:pt x="704" y="130"/>
                </a:lnTo>
                <a:lnTo>
                  <a:pt x="700" y="124"/>
                </a:lnTo>
                <a:lnTo>
                  <a:pt x="698" y="116"/>
                </a:lnTo>
                <a:lnTo>
                  <a:pt x="695" y="111"/>
                </a:lnTo>
                <a:lnTo>
                  <a:pt x="693" y="103"/>
                </a:lnTo>
                <a:lnTo>
                  <a:pt x="689" y="97"/>
                </a:lnTo>
                <a:lnTo>
                  <a:pt x="685" y="91"/>
                </a:lnTo>
                <a:lnTo>
                  <a:pt x="683" y="84"/>
                </a:lnTo>
                <a:lnTo>
                  <a:pt x="679" y="78"/>
                </a:lnTo>
                <a:lnTo>
                  <a:pt x="676" y="70"/>
                </a:lnTo>
                <a:lnTo>
                  <a:pt x="672" y="65"/>
                </a:lnTo>
                <a:lnTo>
                  <a:pt x="670" y="57"/>
                </a:lnTo>
                <a:lnTo>
                  <a:pt x="666" y="51"/>
                </a:lnTo>
                <a:lnTo>
                  <a:pt x="662" y="44"/>
                </a:lnTo>
                <a:lnTo>
                  <a:pt x="660" y="38"/>
                </a:lnTo>
                <a:lnTo>
                  <a:pt x="656" y="30"/>
                </a:lnTo>
                <a:lnTo>
                  <a:pt x="655" y="23"/>
                </a:lnTo>
                <a:lnTo>
                  <a:pt x="655" y="23"/>
                </a:lnTo>
                <a:lnTo>
                  <a:pt x="649" y="25"/>
                </a:lnTo>
                <a:lnTo>
                  <a:pt x="641" y="25"/>
                </a:lnTo>
                <a:lnTo>
                  <a:pt x="635" y="27"/>
                </a:lnTo>
                <a:lnTo>
                  <a:pt x="630" y="29"/>
                </a:lnTo>
                <a:lnTo>
                  <a:pt x="624" y="29"/>
                </a:lnTo>
                <a:lnTo>
                  <a:pt x="618" y="30"/>
                </a:lnTo>
                <a:lnTo>
                  <a:pt x="613" y="32"/>
                </a:lnTo>
                <a:lnTo>
                  <a:pt x="607" y="34"/>
                </a:lnTo>
                <a:lnTo>
                  <a:pt x="599" y="34"/>
                </a:lnTo>
                <a:lnTo>
                  <a:pt x="593" y="36"/>
                </a:lnTo>
                <a:lnTo>
                  <a:pt x="588" y="38"/>
                </a:lnTo>
                <a:lnTo>
                  <a:pt x="582" y="40"/>
                </a:lnTo>
                <a:lnTo>
                  <a:pt x="576" y="40"/>
                </a:lnTo>
                <a:lnTo>
                  <a:pt x="569" y="42"/>
                </a:lnTo>
                <a:lnTo>
                  <a:pt x="563" y="42"/>
                </a:lnTo>
                <a:lnTo>
                  <a:pt x="555" y="42"/>
                </a:lnTo>
                <a:lnTo>
                  <a:pt x="555" y="42"/>
                </a:lnTo>
                <a:lnTo>
                  <a:pt x="548" y="42"/>
                </a:lnTo>
                <a:lnTo>
                  <a:pt x="540" y="40"/>
                </a:lnTo>
                <a:lnTo>
                  <a:pt x="532" y="38"/>
                </a:lnTo>
                <a:lnTo>
                  <a:pt x="525" y="34"/>
                </a:lnTo>
                <a:lnTo>
                  <a:pt x="517" y="32"/>
                </a:lnTo>
                <a:lnTo>
                  <a:pt x="510" y="29"/>
                </a:lnTo>
                <a:lnTo>
                  <a:pt x="504" y="25"/>
                </a:lnTo>
                <a:lnTo>
                  <a:pt x="496" y="21"/>
                </a:lnTo>
                <a:lnTo>
                  <a:pt x="490" y="17"/>
                </a:lnTo>
                <a:lnTo>
                  <a:pt x="485" y="13"/>
                </a:lnTo>
                <a:lnTo>
                  <a:pt x="477" y="9"/>
                </a:lnTo>
                <a:lnTo>
                  <a:pt x="471" y="8"/>
                </a:lnTo>
                <a:lnTo>
                  <a:pt x="464" y="4"/>
                </a:lnTo>
                <a:lnTo>
                  <a:pt x="456" y="2"/>
                </a:lnTo>
                <a:lnTo>
                  <a:pt x="450" y="0"/>
                </a:lnTo>
                <a:lnTo>
                  <a:pt x="441" y="0"/>
                </a:lnTo>
                <a:lnTo>
                  <a:pt x="441" y="0"/>
                </a:lnTo>
                <a:lnTo>
                  <a:pt x="431" y="0"/>
                </a:lnTo>
                <a:lnTo>
                  <a:pt x="422" y="2"/>
                </a:lnTo>
                <a:lnTo>
                  <a:pt x="412" y="6"/>
                </a:lnTo>
                <a:lnTo>
                  <a:pt x="405" y="9"/>
                </a:lnTo>
                <a:lnTo>
                  <a:pt x="397" y="15"/>
                </a:lnTo>
                <a:lnTo>
                  <a:pt x="389" y="19"/>
                </a:lnTo>
                <a:lnTo>
                  <a:pt x="382" y="25"/>
                </a:lnTo>
                <a:lnTo>
                  <a:pt x="376" y="30"/>
                </a:lnTo>
                <a:lnTo>
                  <a:pt x="368" y="36"/>
                </a:lnTo>
                <a:lnTo>
                  <a:pt x="361" y="42"/>
                </a:lnTo>
                <a:lnTo>
                  <a:pt x="353" y="48"/>
                </a:lnTo>
                <a:lnTo>
                  <a:pt x="346" y="51"/>
                </a:lnTo>
                <a:lnTo>
                  <a:pt x="336" y="55"/>
                </a:lnTo>
                <a:lnTo>
                  <a:pt x="328" y="59"/>
                </a:lnTo>
                <a:lnTo>
                  <a:pt x="319" y="61"/>
                </a:lnTo>
                <a:lnTo>
                  <a:pt x="307" y="61"/>
                </a:lnTo>
                <a:lnTo>
                  <a:pt x="307" y="61"/>
                </a:lnTo>
                <a:lnTo>
                  <a:pt x="290" y="61"/>
                </a:lnTo>
                <a:lnTo>
                  <a:pt x="275" y="59"/>
                </a:lnTo>
                <a:lnTo>
                  <a:pt x="260" y="57"/>
                </a:lnTo>
                <a:lnTo>
                  <a:pt x="244" y="53"/>
                </a:lnTo>
                <a:lnTo>
                  <a:pt x="231" y="51"/>
                </a:lnTo>
                <a:lnTo>
                  <a:pt x="218" y="48"/>
                </a:lnTo>
                <a:lnTo>
                  <a:pt x="204" y="42"/>
                </a:lnTo>
                <a:lnTo>
                  <a:pt x="191" y="38"/>
                </a:lnTo>
                <a:lnTo>
                  <a:pt x="178" y="34"/>
                </a:lnTo>
                <a:lnTo>
                  <a:pt x="166" y="29"/>
                </a:lnTo>
                <a:lnTo>
                  <a:pt x="153" y="25"/>
                </a:lnTo>
                <a:lnTo>
                  <a:pt x="139" y="21"/>
                </a:lnTo>
                <a:lnTo>
                  <a:pt x="124" y="19"/>
                </a:lnTo>
                <a:lnTo>
                  <a:pt x="111" y="17"/>
                </a:lnTo>
                <a:lnTo>
                  <a:pt x="94" y="15"/>
                </a:lnTo>
                <a:lnTo>
                  <a:pt x="78" y="13"/>
                </a:lnTo>
                <a:lnTo>
                  <a:pt x="78" y="13"/>
                </a:lnTo>
                <a:lnTo>
                  <a:pt x="73" y="15"/>
                </a:lnTo>
                <a:lnTo>
                  <a:pt x="69" y="15"/>
                </a:lnTo>
                <a:lnTo>
                  <a:pt x="65" y="17"/>
                </a:lnTo>
                <a:lnTo>
                  <a:pt x="61" y="19"/>
                </a:lnTo>
                <a:lnTo>
                  <a:pt x="57" y="21"/>
                </a:lnTo>
                <a:lnTo>
                  <a:pt x="54" y="23"/>
                </a:lnTo>
                <a:lnTo>
                  <a:pt x="50" y="23"/>
                </a:lnTo>
                <a:lnTo>
                  <a:pt x="46" y="23"/>
                </a:lnTo>
                <a:lnTo>
                  <a:pt x="46" y="23"/>
                </a:lnTo>
                <a:lnTo>
                  <a:pt x="35" y="23"/>
                </a:lnTo>
                <a:lnTo>
                  <a:pt x="27" y="25"/>
                </a:lnTo>
                <a:lnTo>
                  <a:pt x="17" y="25"/>
                </a:lnTo>
                <a:lnTo>
                  <a:pt x="12" y="27"/>
                </a:lnTo>
                <a:lnTo>
                  <a:pt x="8" y="30"/>
                </a:lnTo>
                <a:lnTo>
                  <a:pt x="4" y="34"/>
                </a:lnTo>
                <a:lnTo>
                  <a:pt x="2" y="42"/>
                </a:lnTo>
                <a:lnTo>
                  <a:pt x="0" y="49"/>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33" name="Freeform 5"/>
          <p:cNvSpPr>
            <a:spLocks/>
          </p:cNvSpPr>
          <p:nvPr>
            <p:custDataLst>
              <p:tags r:id="rId5"/>
            </p:custDataLst>
          </p:nvPr>
        </p:nvSpPr>
        <p:spPr bwMode="gray">
          <a:xfrm>
            <a:off x="5588457" y="2803781"/>
            <a:ext cx="118249" cy="127959"/>
          </a:xfrm>
          <a:custGeom>
            <a:avLst/>
            <a:gdLst/>
            <a:ahLst/>
            <a:cxnLst>
              <a:cxn ang="0">
                <a:pos x="103" y="130"/>
              </a:cxn>
              <a:cxn ang="0">
                <a:pos x="101" y="126"/>
              </a:cxn>
              <a:cxn ang="0">
                <a:pos x="97" y="122"/>
              </a:cxn>
              <a:cxn ang="0">
                <a:pos x="94" y="120"/>
              </a:cxn>
              <a:cxn ang="0">
                <a:pos x="88" y="118"/>
              </a:cxn>
              <a:cxn ang="0">
                <a:pos x="82" y="120"/>
              </a:cxn>
              <a:cxn ang="0">
                <a:pos x="69" y="126"/>
              </a:cxn>
              <a:cxn ang="0">
                <a:pos x="52" y="133"/>
              </a:cxn>
              <a:cxn ang="0">
                <a:pos x="35" y="139"/>
              </a:cxn>
              <a:cxn ang="0">
                <a:pos x="0" y="143"/>
              </a:cxn>
              <a:cxn ang="0">
                <a:pos x="2" y="137"/>
              </a:cxn>
              <a:cxn ang="0">
                <a:pos x="4" y="122"/>
              </a:cxn>
              <a:cxn ang="0">
                <a:pos x="2" y="107"/>
              </a:cxn>
              <a:cxn ang="0">
                <a:pos x="0" y="90"/>
              </a:cxn>
              <a:cxn ang="0">
                <a:pos x="0" y="82"/>
              </a:cxn>
              <a:cxn ang="0">
                <a:pos x="2" y="69"/>
              </a:cxn>
              <a:cxn ang="0">
                <a:pos x="10" y="55"/>
              </a:cxn>
              <a:cxn ang="0">
                <a:pos x="19" y="44"/>
              </a:cxn>
              <a:cxn ang="0">
                <a:pos x="33" y="32"/>
              </a:cxn>
              <a:cxn ang="0">
                <a:pos x="46" y="21"/>
              </a:cxn>
              <a:cxn ang="0">
                <a:pos x="61" y="13"/>
              </a:cxn>
              <a:cxn ang="0">
                <a:pos x="75" y="6"/>
              </a:cxn>
              <a:cxn ang="0">
                <a:pos x="86" y="0"/>
              </a:cxn>
              <a:cxn ang="0">
                <a:pos x="94" y="0"/>
              </a:cxn>
              <a:cxn ang="0">
                <a:pos x="107" y="9"/>
              </a:cxn>
              <a:cxn ang="0">
                <a:pos x="118" y="21"/>
              </a:cxn>
              <a:cxn ang="0">
                <a:pos x="126" y="34"/>
              </a:cxn>
              <a:cxn ang="0">
                <a:pos x="128" y="42"/>
              </a:cxn>
              <a:cxn ang="0">
                <a:pos x="120" y="53"/>
              </a:cxn>
              <a:cxn ang="0">
                <a:pos x="103" y="67"/>
              </a:cxn>
              <a:cxn ang="0">
                <a:pos x="84" y="82"/>
              </a:cxn>
              <a:cxn ang="0">
                <a:pos x="71" y="92"/>
              </a:cxn>
              <a:cxn ang="0">
                <a:pos x="77" y="92"/>
              </a:cxn>
              <a:cxn ang="0">
                <a:pos x="90" y="93"/>
              </a:cxn>
              <a:cxn ang="0">
                <a:pos x="103" y="95"/>
              </a:cxn>
              <a:cxn ang="0">
                <a:pos x="115" y="97"/>
              </a:cxn>
              <a:cxn ang="0">
                <a:pos x="118" y="97"/>
              </a:cxn>
              <a:cxn ang="0">
                <a:pos x="117" y="107"/>
              </a:cxn>
              <a:cxn ang="0">
                <a:pos x="113" y="113"/>
              </a:cxn>
              <a:cxn ang="0">
                <a:pos x="107" y="118"/>
              </a:cxn>
              <a:cxn ang="0">
                <a:pos x="101" y="122"/>
              </a:cxn>
              <a:cxn ang="0">
                <a:pos x="103" y="130"/>
              </a:cxn>
            </a:cxnLst>
            <a:rect l="0" t="0" r="r" b="b"/>
            <a:pathLst>
              <a:path w="128" h="143">
                <a:moveTo>
                  <a:pt x="103" y="130"/>
                </a:moveTo>
                <a:lnTo>
                  <a:pt x="103" y="130"/>
                </a:lnTo>
                <a:lnTo>
                  <a:pt x="103" y="128"/>
                </a:lnTo>
                <a:lnTo>
                  <a:pt x="101" y="126"/>
                </a:lnTo>
                <a:lnTo>
                  <a:pt x="99" y="124"/>
                </a:lnTo>
                <a:lnTo>
                  <a:pt x="97" y="122"/>
                </a:lnTo>
                <a:lnTo>
                  <a:pt x="96" y="122"/>
                </a:lnTo>
                <a:lnTo>
                  <a:pt x="94" y="120"/>
                </a:lnTo>
                <a:lnTo>
                  <a:pt x="90" y="118"/>
                </a:lnTo>
                <a:lnTo>
                  <a:pt x="88" y="118"/>
                </a:lnTo>
                <a:lnTo>
                  <a:pt x="88" y="118"/>
                </a:lnTo>
                <a:lnTo>
                  <a:pt x="82" y="120"/>
                </a:lnTo>
                <a:lnTo>
                  <a:pt x="77" y="122"/>
                </a:lnTo>
                <a:lnTo>
                  <a:pt x="69" y="126"/>
                </a:lnTo>
                <a:lnTo>
                  <a:pt x="61" y="128"/>
                </a:lnTo>
                <a:lnTo>
                  <a:pt x="52" y="133"/>
                </a:lnTo>
                <a:lnTo>
                  <a:pt x="42" y="137"/>
                </a:lnTo>
                <a:lnTo>
                  <a:pt x="35" y="139"/>
                </a:lnTo>
                <a:lnTo>
                  <a:pt x="27" y="143"/>
                </a:lnTo>
                <a:lnTo>
                  <a:pt x="0" y="143"/>
                </a:lnTo>
                <a:lnTo>
                  <a:pt x="0" y="143"/>
                </a:lnTo>
                <a:lnTo>
                  <a:pt x="2" y="137"/>
                </a:lnTo>
                <a:lnTo>
                  <a:pt x="4" y="130"/>
                </a:lnTo>
                <a:lnTo>
                  <a:pt x="4" y="122"/>
                </a:lnTo>
                <a:lnTo>
                  <a:pt x="4" y="114"/>
                </a:lnTo>
                <a:lnTo>
                  <a:pt x="2" y="107"/>
                </a:lnTo>
                <a:lnTo>
                  <a:pt x="2" y="97"/>
                </a:lnTo>
                <a:lnTo>
                  <a:pt x="0" y="90"/>
                </a:lnTo>
                <a:lnTo>
                  <a:pt x="0" y="82"/>
                </a:lnTo>
                <a:lnTo>
                  <a:pt x="0" y="82"/>
                </a:lnTo>
                <a:lnTo>
                  <a:pt x="0" y="74"/>
                </a:lnTo>
                <a:lnTo>
                  <a:pt x="2" y="69"/>
                </a:lnTo>
                <a:lnTo>
                  <a:pt x="6" y="63"/>
                </a:lnTo>
                <a:lnTo>
                  <a:pt x="10" y="55"/>
                </a:lnTo>
                <a:lnTo>
                  <a:pt x="14" y="50"/>
                </a:lnTo>
                <a:lnTo>
                  <a:pt x="19" y="44"/>
                </a:lnTo>
                <a:lnTo>
                  <a:pt x="25" y="38"/>
                </a:lnTo>
                <a:lnTo>
                  <a:pt x="33" y="32"/>
                </a:lnTo>
                <a:lnTo>
                  <a:pt x="38" y="27"/>
                </a:lnTo>
                <a:lnTo>
                  <a:pt x="46" y="21"/>
                </a:lnTo>
                <a:lnTo>
                  <a:pt x="54" y="17"/>
                </a:lnTo>
                <a:lnTo>
                  <a:pt x="61" y="13"/>
                </a:lnTo>
                <a:lnTo>
                  <a:pt x="67" y="8"/>
                </a:lnTo>
                <a:lnTo>
                  <a:pt x="75" y="6"/>
                </a:lnTo>
                <a:lnTo>
                  <a:pt x="80" y="2"/>
                </a:lnTo>
                <a:lnTo>
                  <a:pt x="86" y="0"/>
                </a:lnTo>
                <a:lnTo>
                  <a:pt x="86" y="0"/>
                </a:lnTo>
                <a:lnTo>
                  <a:pt x="94" y="0"/>
                </a:lnTo>
                <a:lnTo>
                  <a:pt x="101" y="4"/>
                </a:lnTo>
                <a:lnTo>
                  <a:pt x="107" y="9"/>
                </a:lnTo>
                <a:lnTo>
                  <a:pt x="115" y="13"/>
                </a:lnTo>
                <a:lnTo>
                  <a:pt x="118" y="21"/>
                </a:lnTo>
                <a:lnTo>
                  <a:pt x="124" y="27"/>
                </a:lnTo>
                <a:lnTo>
                  <a:pt x="126" y="34"/>
                </a:lnTo>
                <a:lnTo>
                  <a:pt x="128" y="42"/>
                </a:lnTo>
                <a:lnTo>
                  <a:pt x="128" y="42"/>
                </a:lnTo>
                <a:lnTo>
                  <a:pt x="126" y="48"/>
                </a:lnTo>
                <a:lnTo>
                  <a:pt x="120" y="53"/>
                </a:lnTo>
                <a:lnTo>
                  <a:pt x="113" y="59"/>
                </a:lnTo>
                <a:lnTo>
                  <a:pt x="103" y="67"/>
                </a:lnTo>
                <a:lnTo>
                  <a:pt x="94" y="74"/>
                </a:lnTo>
                <a:lnTo>
                  <a:pt x="84" y="82"/>
                </a:lnTo>
                <a:lnTo>
                  <a:pt x="77" y="88"/>
                </a:lnTo>
                <a:lnTo>
                  <a:pt x="71" y="92"/>
                </a:lnTo>
                <a:lnTo>
                  <a:pt x="71" y="92"/>
                </a:lnTo>
                <a:lnTo>
                  <a:pt x="77" y="92"/>
                </a:lnTo>
                <a:lnTo>
                  <a:pt x="84" y="93"/>
                </a:lnTo>
                <a:lnTo>
                  <a:pt x="90" y="93"/>
                </a:lnTo>
                <a:lnTo>
                  <a:pt x="97" y="95"/>
                </a:lnTo>
                <a:lnTo>
                  <a:pt x="103" y="95"/>
                </a:lnTo>
                <a:lnTo>
                  <a:pt x="109" y="97"/>
                </a:lnTo>
                <a:lnTo>
                  <a:pt x="115" y="97"/>
                </a:lnTo>
                <a:lnTo>
                  <a:pt x="118" y="97"/>
                </a:lnTo>
                <a:lnTo>
                  <a:pt x="118" y="97"/>
                </a:lnTo>
                <a:lnTo>
                  <a:pt x="117" y="103"/>
                </a:lnTo>
                <a:lnTo>
                  <a:pt x="117" y="107"/>
                </a:lnTo>
                <a:lnTo>
                  <a:pt x="115" y="111"/>
                </a:lnTo>
                <a:lnTo>
                  <a:pt x="113" y="113"/>
                </a:lnTo>
                <a:lnTo>
                  <a:pt x="111" y="116"/>
                </a:lnTo>
                <a:lnTo>
                  <a:pt x="107" y="118"/>
                </a:lnTo>
                <a:lnTo>
                  <a:pt x="105" y="120"/>
                </a:lnTo>
                <a:lnTo>
                  <a:pt x="101" y="122"/>
                </a:lnTo>
                <a:lnTo>
                  <a:pt x="103" y="122"/>
                </a:lnTo>
                <a:lnTo>
                  <a:pt x="103" y="13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34" name="Freeform 6"/>
          <p:cNvSpPr>
            <a:spLocks/>
          </p:cNvSpPr>
          <p:nvPr>
            <p:custDataLst>
              <p:tags r:id="rId6"/>
            </p:custDataLst>
          </p:nvPr>
        </p:nvSpPr>
        <p:spPr bwMode="gray">
          <a:xfrm>
            <a:off x="5564158" y="2818356"/>
            <a:ext cx="688432" cy="1031778"/>
          </a:xfrm>
          <a:custGeom>
            <a:avLst/>
            <a:gdLst/>
            <a:ahLst/>
            <a:cxnLst>
              <a:cxn ang="0">
                <a:pos x="54" y="723"/>
              </a:cxn>
              <a:cxn ang="0">
                <a:pos x="29" y="763"/>
              </a:cxn>
              <a:cxn ang="0">
                <a:pos x="0" y="788"/>
              </a:cxn>
              <a:cxn ang="0">
                <a:pos x="60" y="1147"/>
              </a:cxn>
              <a:cxn ang="0">
                <a:pos x="81" y="1122"/>
              </a:cxn>
              <a:cxn ang="0">
                <a:pos x="104" y="1080"/>
              </a:cxn>
              <a:cxn ang="0">
                <a:pos x="138" y="1048"/>
              </a:cxn>
              <a:cxn ang="0">
                <a:pos x="168" y="1013"/>
              </a:cxn>
              <a:cxn ang="0">
                <a:pos x="218" y="962"/>
              </a:cxn>
              <a:cxn ang="0">
                <a:pos x="271" y="914"/>
              </a:cxn>
              <a:cxn ang="0">
                <a:pos x="329" y="866"/>
              </a:cxn>
              <a:cxn ang="0">
                <a:pos x="384" y="819"/>
              </a:cxn>
              <a:cxn ang="0">
                <a:pos x="434" y="767"/>
              </a:cxn>
              <a:cxn ang="0">
                <a:pos x="472" y="727"/>
              </a:cxn>
              <a:cxn ang="0">
                <a:pos x="508" y="685"/>
              </a:cxn>
              <a:cxn ang="0">
                <a:pos x="550" y="622"/>
              </a:cxn>
              <a:cxn ang="0">
                <a:pos x="590" y="555"/>
              </a:cxn>
              <a:cxn ang="0">
                <a:pos x="607" y="508"/>
              </a:cxn>
              <a:cxn ang="0">
                <a:pos x="619" y="468"/>
              </a:cxn>
              <a:cxn ang="0">
                <a:pos x="632" y="429"/>
              </a:cxn>
              <a:cxn ang="0">
                <a:pos x="651" y="389"/>
              </a:cxn>
              <a:cxn ang="0">
                <a:pos x="680" y="334"/>
              </a:cxn>
              <a:cxn ang="0">
                <a:pos x="704" y="283"/>
              </a:cxn>
              <a:cxn ang="0">
                <a:pos x="718" y="250"/>
              </a:cxn>
              <a:cxn ang="0">
                <a:pos x="729" y="218"/>
              </a:cxn>
              <a:cxn ang="0">
                <a:pos x="731" y="174"/>
              </a:cxn>
              <a:cxn ang="0">
                <a:pos x="737" y="138"/>
              </a:cxn>
              <a:cxn ang="0">
                <a:pos x="750" y="122"/>
              </a:cxn>
              <a:cxn ang="0">
                <a:pos x="744" y="88"/>
              </a:cxn>
              <a:cxn ang="0">
                <a:pos x="741" y="54"/>
              </a:cxn>
              <a:cxn ang="0">
                <a:pos x="743" y="31"/>
              </a:cxn>
              <a:cxn ang="0">
                <a:pos x="750" y="0"/>
              </a:cxn>
              <a:cxn ang="0">
                <a:pos x="737" y="0"/>
              </a:cxn>
              <a:cxn ang="0">
                <a:pos x="710" y="4"/>
              </a:cxn>
              <a:cxn ang="0">
                <a:pos x="687" y="25"/>
              </a:cxn>
              <a:cxn ang="0">
                <a:pos x="664" y="46"/>
              </a:cxn>
              <a:cxn ang="0">
                <a:pos x="611" y="59"/>
              </a:cxn>
              <a:cxn ang="0">
                <a:pos x="540" y="67"/>
              </a:cxn>
              <a:cxn ang="0">
                <a:pos x="464" y="84"/>
              </a:cxn>
              <a:cxn ang="0">
                <a:pos x="441" y="98"/>
              </a:cxn>
              <a:cxn ang="0">
                <a:pos x="414" y="118"/>
              </a:cxn>
              <a:cxn ang="0">
                <a:pos x="386" y="128"/>
              </a:cxn>
              <a:cxn ang="0">
                <a:pos x="355" y="120"/>
              </a:cxn>
              <a:cxn ang="0">
                <a:pos x="325" y="122"/>
              </a:cxn>
              <a:cxn ang="0">
                <a:pos x="294" y="145"/>
              </a:cxn>
              <a:cxn ang="0">
                <a:pos x="254" y="162"/>
              </a:cxn>
              <a:cxn ang="0">
                <a:pos x="212" y="153"/>
              </a:cxn>
              <a:cxn ang="0">
                <a:pos x="176" y="118"/>
              </a:cxn>
              <a:cxn ang="0">
                <a:pos x="145" y="82"/>
              </a:cxn>
              <a:cxn ang="0">
                <a:pos x="138" y="101"/>
              </a:cxn>
              <a:cxn ang="0">
                <a:pos x="119" y="117"/>
              </a:cxn>
              <a:cxn ang="0">
                <a:pos x="98" y="155"/>
              </a:cxn>
              <a:cxn ang="0">
                <a:pos x="117" y="174"/>
              </a:cxn>
              <a:cxn ang="0">
                <a:pos x="136" y="199"/>
              </a:cxn>
              <a:cxn ang="0">
                <a:pos x="165" y="241"/>
              </a:cxn>
              <a:cxn ang="0">
                <a:pos x="201" y="273"/>
              </a:cxn>
              <a:cxn ang="0">
                <a:pos x="304" y="611"/>
              </a:cxn>
              <a:cxn ang="0">
                <a:pos x="184" y="635"/>
              </a:cxn>
              <a:cxn ang="0">
                <a:pos x="130" y="670"/>
              </a:cxn>
              <a:cxn ang="0">
                <a:pos x="69" y="693"/>
              </a:cxn>
            </a:cxnLst>
            <a:rect l="0" t="0" r="r" b="b"/>
            <a:pathLst>
              <a:path w="750" h="1160">
                <a:moveTo>
                  <a:pt x="60" y="695"/>
                </a:moveTo>
                <a:lnTo>
                  <a:pt x="60" y="695"/>
                </a:lnTo>
                <a:lnTo>
                  <a:pt x="60" y="702"/>
                </a:lnTo>
                <a:lnTo>
                  <a:pt x="58" y="708"/>
                </a:lnTo>
                <a:lnTo>
                  <a:pt x="58" y="716"/>
                </a:lnTo>
                <a:lnTo>
                  <a:pt x="54" y="723"/>
                </a:lnTo>
                <a:lnTo>
                  <a:pt x="52" y="729"/>
                </a:lnTo>
                <a:lnTo>
                  <a:pt x="48" y="737"/>
                </a:lnTo>
                <a:lnTo>
                  <a:pt x="44" y="744"/>
                </a:lnTo>
                <a:lnTo>
                  <a:pt x="39" y="750"/>
                </a:lnTo>
                <a:lnTo>
                  <a:pt x="35" y="758"/>
                </a:lnTo>
                <a:lnTo>
                  <a:pt x="29" y="763"/>
                </a:lnTo>
                <a:lnTo>
                  <a:pt x="25" y="769"/>
                </a:lnTo>
                <a:lnTo>
                  <a:pt x="20" y="773"/>
                </a:lnTo>
                <a:lnTo>
                  <a:pt x="16" y="779"/>
                </a:lnTo>
                <a:lnTo>
                  <a:pt x="10" y="782"/>
                </a:lnTo>
                <a:lnTo>
                  <a:pt x="6" y="786"/>
                </a:lnTo>
                <a:lnTo>
                  <a:pt x="0" y="788"/>
                </a:lnTo>
                <a:lnTo>
                  <a:pt x="0" y="1090"/>
                </a:lnTo>
                <a:lnTo>
                  <a:pt x="50" y="1160"/>
                </a:lnTo>
                <a:lnTo>
                  <a:pt x="50" y="1160"/>
                </a:lnTo>
                <a:lnTo>
                  <a:pt x="54" y="1156"/>
                </a:lnTo>
                <a:lnTo>
                  <a:pt x="58" y="1151"/>
                </a:lnTo>
                <a:lnTo>
                  <a:pt x="60" y="1147"/>
                </a:lnTo>
                <a:lnTo>
                  <a:pt x="63" y="1143"/>
                </a:lnTo>
                <a:lnTo>
                  <a:pt x="67" y="1137"/>
                </a:lnTo>
                <a:lnTo>
                  <a:pt x="73" y="1133"/>
                </a:lnTo>
                <a:lnTo>
                  <a:pt x="77" y="1128"/>
                </a:lnTo>
                <a:lnTo>
                  <a:pt x="81" y="1122"/>
                </a:lnTo>
                <a:lnTo>
                  <a:pt x="81" y="1122"/>
                </a:lnTo>
                <a:lnTo>
                  <a:pt x="83" y="1114"/>
                </a:lnTo>
                <a:lnTo>
                  <a:pt x="86" y="1107"/>
                </a:lnTo>
                <a:lnTo>
                  <a:pt x="90" y="1099"/>
                </a:lnTo>
                <a:lnTo>
                  <a:pt x="94" y="1091"/>
                </a:lnTo>
                <a:lnTo>
                  <a:pt x="100" y="1086"/>
                </a:lnTo>
                <a:lnTo>
                  <a:pt x="104" y="1080"/>
                </a:lnTo>
                <a:lnTo>
                  <a:pt x="109" y="1074"/>
                </a:lnTo>
                <a:lnTo>
                  <a:pt x="115" y="1069"/>
                </a:lnTo>
                <a:lnTo>
                  <a:pt x="119" y="1063"/>
                </a:lnTo>
                <a:lnTo>
                  <a:pt x="126" y="1059"/>
                </a:lnTo>
                <a:lnTo>
                  <a:pt x="132" y="1053"/>
                </a:lnTo>
                <a:lnTo>
                  <a:pt x="138" y="1048"/>
                </a:lnTo>
                <a:lnTo>
                  <a:pt x="144" y="1042"/>
                </a:lnTo>
                <a:lnTo>
                  <a:pt x="149" y="1036"/>
                </a:lnTo>
                <a:lnTo>
                  <a:pt x="155" y="1030"/>
                </a:lnTo>
                <a:lnTo>
                  <a:pt x="161" y="1023"/>
                </a:lnTo>
                <a:lnTo>
                  <a:pt x="161" y="1023"/>
                </a:lnTo>
                <a:lnTo>
                  <a:pt x="168" y="1013"/>
                </a:lnTo>
                <a:lnTo>
                  <a:pt x="176" y="1004"/>
                </a:lnTo>
                <a:lnTo>
                  <a:pt x="184" y="996"/>
                </a:lnTo>
                <a:lnTo>
                  <a:pt x="191" y="987"/>
                </a:lnTo>
                <a:lnTo>
                  <a:pt x="201" y="979"/>
                </a:lnTo>
                <a:lnTo>
                  <a:pt x="208" y="969"/>
                </a:lnTo>
                <a:lnTo>
                  <a:pt x="218" y="962"/>
                </a:lnTo>
                <a:lnTo>
                  <a:pt x="226" y="954"/>
                </a:lnTo>
                <a:lnTo>
                  <a:pt x="235" y="945"/>
                </a:lnTo>
                <a:lnTo>
                  <a:pt x="245" y="937"/>
                </a:lnTo>
                <a:lnTo>
                  <a:pt x="254" y="929"/>
                </a:lnTo>
                <a:lnTo>
                  <a:pt x="262" y="922"/>
                </a:lnTo>
                <a:lnTo>
                  <a:pt x="271" y="914"/>
                </a:lnTo>
                <a:lnTo>
                  <a:pt x="281" y="906"/>
                </a:lnTo>
                <a:lnTo>
                  <a:pt x="290" y="899"/>
                </a:lnTo>
                <a:lnTo>
                  <a:pt x="300" y="891"/>
                </a:lnTo>
                <a:lnTo>
                  <a:pt x="310" y="883"/>
                </a:lnTo>
                <a:lnTo>
                  <a:pt x="319" y="876"/>
                </a:lnTo>
                <a:lnTo>
                  <a:pt x="329" y="866"/>
                </a:lnTo>
                <a:lnTo>
                  <a:pt x="338" y="859"/>
                </a:lnTo>
                <a:lnTo>
                  <a:pt x="346" y="851"/>
                </a:lnTo>
                <a:lnTo>
                  <a:pt x="355" y="843"/>
                </a:lnTo>
                <a:lnTo>
                  <a:pt x="365" y="836"/>
                </a:lnTo>
                <a:lnTo>
                  <a:pt x="374" y="826"/>
                </a:lnTo>
                <a:lnTo>
                  <a:pt x="384" y="819"/>
                </a:lnTo>
                <a:lnTo>
                  <a:pt x="392" y="811"/>
                </a:lnTo>
                <a:lnTo>
                  <a:pt x="401" y="801"/>
                </a:lnTo>
                <a:lnTo>
                  <a:pt x="409" y="794"/>
                </a:lnTo>
                <a:lnTo>
                  <a:pt x="416" y="784"/>
                </a:lnTo>
                <a:lnTo>
                  <a:pt x="426" y="775"/>
                </a:lnTo>
                <a:lnTo>
                  <a:pt x="434" y="767"/>
                </a:lnTo>
                <a:lnTo>
                  <a:pt x="441" y="758"/>
                </a:lnTo>
                <a:lnTo>
                  <a:pt x="441" y="758"/>
                </a:lnTo>
                <a:lnTo>
                  <a:pt x="449" y="748"/>
                </a:lnTo>
                <a:lnTo>
                  <a:pt x="456" y="740"/>
                </a:lnTo>
                <a:lnTo>
                  <a:pt x="464" y="735"/>
                </a:lnTo>
                <a:lnTo>
                  <a:pt x="472" y="727"/>
                </a:lnTo>
                <a:lnTo>
                  <a:pt x="481" y="719"/>
                </a:lnTo>
                <a:lnTo>
                  <a:pt x="489" y="712"/>
                </a:lnTo>
                <a:lnTo>
                  <a:pt x="496" y="704"/>
                </a:lnTo>
                <a:lnTo>
                  <a:pt x="502" y="695"/>
                </a:lnTo>
                <a:lnTo>
                  <a:pt x="502" y="695"/>
                </a:lnTo>
                <a:lnTo>
                  <a:pt x="508" y="685"/>
                </a:lnTo>
                <a:lnTo>
                  <a:pt x="514" y="676"/>
                </a:lnTo>
                <a:lnTo>
                  <a:pt x="521" y="664"/>
                </a:lnTo>
                <a:lnTo>
                  <a:pt x="529" y="655"/>
                </a:lnTo>
                <a:lnTo>
                  <a:pt x="535" y="643"/>
                </a:lnTo>
                <a:lnTo>
                  <a:pt x="542" y="634"/>
                </a:lnTo>
                <a:lnTo>
                  <a:pt x="550" y="622"/>
                </a:lnTo>
                <a:lnTo>
                  <a:pt x="557" y="611"/>
                </a:lnTo>
                <a:lnTo>
                  <a:pt x="565" y="599"/>
                </a:lnTo>
                <a:lnTo>
                  <a:pt x="571" y="588"/>
                </a:lnTo>
                <a:lnTo>
                  <a:pt x="578" y="576"/>
                </a:lnTo>
                <a:lnTo>
                  <a:pt x="584" y="567"/>
                </a:lnTo>
                <a:lnTo>
                  <a:pt x="590" y="555"/>
                </a:lnTo>
                <a:lnTo>
                  <a:pt x="596" y="544"/>
                </a:lnTo>
                <a:lnTo>
                  <a:pt x="599" y="534"/>
                </a:lnTo>
                <a:lnTo>
                  <a:pt x="603" y="523"/>
                </a:lnTo>
                <a:lnTo>
                  <a:pt x="603" y="523"/>
                </a:lnTo>
                <a:lnTo>
                  <a:pt x="605" y="515"/>
                </a:lnTo>
                <a:lnTo>
                  <a:pt x="607" y="508"/>
                </a:lnTo>
                <a:lnTo>
                  <a:pt x="611" y="500"/>
                </a:lnTo>
                <a:lnTo>
                  <a:pt x="613" y="492"/>
                </a:lnTo>
                <a:lnTo>
                  <a:pt x="613" y="487"/>
                </a:lnTo>
                <a:lnTo>
                  <a:pt x="615" y="481"/>
                </a:lnTo>
                <a:lnTo>
                  <a:pt x="617" y="473"/>
                </a:lnTo>
                <a:lnTo>
                  <a:pt x="619" y="468"/>
                </a:lnTo>
                <a:lnTo>
                  <a:pt x="620" y="462"/>
                </a:lnTo>
                <a:lnTo>
                  <a:pt x="622" y="456"/>
                </a:lnTo>
                <a:lnTo>
                  <a:pt x="624" y="449"/>
                </a:lnTo>
                <a:lnTo>
                  <a:pt x="626" y="443"/>
                </a:lnTo>
                <a:lnTo>
                  <a:pt x="630" y="435"/>
                </a:lnTo>
                <a:lnTo>
                  <a:pt x="632" y="429"/>
                </a:lnTo>
                <a:lnTo>
                  <a:pt x="636" y="422"/>
                </a:lnTo>
                <a:lnTo>
                  <a:pt x="640" y="414"/>
                </a:lnTo>
                <a:lnTo>
                  <a:pt x="640" y="414"/>
                </a:lnTo>
                <a:lnTo>
                  <a:pt x="643" y="407"/>
                </a:lnTo>
                <a:lnTo>
                  <a:pt x="647" y="399"/>
                </a:lnTo>
                <a:lnTo>
                  <a:pt x="651" y="389"/>
                </a:lnTo>
                <a:lnTo>
                  <a:pt x="655" y="382"/>
                </a:lnTo>
                <a:lnTo>
                  <a:pt x="661" y="372"/>
                </a:lnTo>
                <a:lnTo>
                  <a:pt x="664" y="363"/>
                </a:lnTo>
                <a:lnTo>
                  <a:pt x="670" y="353"/>
                </a:lnTo>
                <a:lnTo>
                  <a:pt x="674" y="344"/>
                </a:lnTo>
                <a:lnTo>
                  <a:pt x="680" y="334"/>
                </a:lnTo>
                <a:lnTo>
                  <a:pt x="683" y="325"/>
                </a:lnTo>
                <a:lnTo>
                  <a:pt x="687" y="315"/>
                </a:lnTo>
                <a:lnTo>
                  <a:pt x="693" y="305"/>
                </a:lnTo>
                <a:lnTo>
                  <a:pt x="697" y="298"/>
                </a:lnTo>
                <a:lnTo>
                  <a:pt x="701" y="290"/>
                </a:lnTo>
                <a:lnTo>
                  <a:pt x="704" y="283"/>
                </a:lnTo>
                <a:lnTo>
                  <a:pt x="706" y="275"/>
                </a:lnTo>
                <a:lnTo>
                  <a:pt x="706" y="275"/>
                </a:lnTo>
                <a:lnTo>
                  <a:pt x="708" y="269"/>
                </a:lnTo>
                <a:lnTo>
                  <a:pt x="712" y="262"/>
                </a:lnTo>
                <a:lnTo>
                  <a:pt x="714" y="256"/>
                </a:lnTo>
                <a:lnTo>
                  <a:pt x="718" y="250"/>
                </a:lnTo>
                <a:lnTo>
                  <a:pt x="720" y="244"/>
                </a:lnTo>
                <a:lnTo>
                  <a:pt x="723" y="239"/>
                </a:lnTo>
                <a:lnTo>
                  <a:pt x="725" y="231"/>
                </a:lnTo>
                <a:lnTo>
                  <a:pt x="727" y="225"/>
                </a:lnTo>
                <a:lnTo>
                  <a:pt x="727" y="225"/>
                </a:lnTo>
                <a:lnTo>
                  <a:pt x="729" y="218"/>
                </a:lnTo>
                <a:lnTo>
                  <a:pt x="731" y="210"/>
                </a:lnTo>
                <a:lnTo>
                  <a:pt x="731" y="202"/>
                </a:lnTo>
                <a:lnTo>
                  <a:pt x="731" y="195"/>
                </a:lnTo>
                <a:lnTo>
                  <a:pt x="731" y="187"/>
                </a:lnTo>
                <a:lnTo>
                  <a:pt x="731" y="180"/>
                </a:lnTo>
                <a:lnTo>
                  <a:pt x="731" y="174"/>
                </a:lnTo>
                <a:lnTo>
                  <a:pt x="731" y="166"/>
                </a:lnTo>
                <a:lnTo>
                  <a:pt x="731" y="160"/>
                </a:lnTo>
                <a:lnTo>
                  <a:pt x="731" y="155"/>
                </a:lnTo>
                <a:lnTo>
                  <a:pt x="733" y="149"/>
                </a:lnTo>
                <a:lnTo>
                  <a:pt x="735" y="143"/>
                </a:lnTo>
                <a:lnTo>
                  <a:pt x="737" y="138"/>
                </a:lnTo>
                <a:lnTo>
                  <a:pt x="741" y="134"/>
                </a:lnTo>
                <a:lnTo>
                  <a:pt x="744" y="128"/>
                </a:lnTo>
                <a:lnTo>
                  <a:pt x="750" y="124"/>
                </a:lnTo>
                <a:lnTo>
                  <a:pt x="750" y="124"/>
                </a:lnTo>
                <a:lnTo>
                  <a:pt x="750" y="124"/>
                </a:lnTo>
                <a:lnTo>
                  <a:pt x="750" y="122"/>
                </a:lnTo>
                <a:lnTo>
                  <a:pt x="750" y="118"/>
                </a:lnTo>
                <a:lnTo>
                  <a:pt x="750" y="113"/>
                </a:lnTo>
                <a:lnTo>
                  <a:pt x="748" y="109"/>
                </a:lnTo>
                <a:lnTo>
                  <a:pt x="746" y="101"/>
                </a:lnTo>
                <a:lnTo>
                  <a:pt x="746" y="96"/>
                </a:lnTo>
                <a:lnTo>
                  <a:pt x="744" y="88"/>
                </a:lnTo>
                <a:lnTo>
                  <a:pt x="744" y="82"/>
                </a:lnTo>
                <a:lnTo>
                  <a:pt x="743" y="75"/>
                </a:lnTo>
                <a:lnTo>
                  <a:pt x="743" y="69"/>
                </a:lnTo>
                <a:lnTo>
                  <a:pt x="741" y="63"/>
                </a:lnTo>
                <a:lnTo>
                  <a:pt x="741" y="57"/>
                </a:lnTo>
                <a:lnTo>
                  <a:pt x="741" y="54"/>
                </a:lnTo>
                <a:lnTo>
                  <a:pt x="739" y="50"/>
                </a:lnTo>
                <a:lnTo>
                  <a:pt x="739" y="48"/>
                </a:lnTo>
                <a:lnTo>
                  <a:pt x="739" y="48"/>
                </a:lnTo>
                <a:lnTo>
                  <a:pt x="741" y="42"/>
                </a:lnTo>
                <a:lnTo>
                  <a:pt x="741" y="35"/>
                </a:lnTo>
                <a:lnTo>
                  <a:pt x="743" y="31"/>
                </a:lnTo>
                <a:lnTo>
                  <a:pt x="744" y="25"/>
                </a:lnTo>
                <a:lnTo>
                  <a:pt x="746" y="21"/>
                </a:lnTo>
                <a:lnTo>
                  <a:pt x="748" y="15"/>
                </a:lnTo>
                <a:lnTo>
                  <a:pt x="750" y="10"/>
                </a:lnTo>
                <a:lnTo>
                  <a:pt x="750" y="0"/>
                </a:lnTo>
                <a:lnTo>
                  <a:pt x="750" y="0"/>
                </a:lnTo>
                <a:lnTo>
                  <a:pt x="748" y="2"/>
                </a:lnTo>
                <a:lnTo>
                  <a:pt x="746" y="2"/>
                </a:lnTo>
                <a:lnTo>
                  <a:pt x="744" y="2"/>
                </a:lnTo>
                <a:lnTo>
                  <a:pt x="743" y="2"/>
                </a:lnTo>
                <a:lnTo>
                  <a:pt x="741" y="2"/>
                </a:lnTo>
                <a:lnTo>
                  <a:pt x="737" y="0"/>
                </a:lnTo>
                <a:lnTo>
                  <a:pt x="733" y="0"/>
                </a:lnTo>
                <a:lnTo>
                  <a:pt x="727" y="0"/>
                </a:lnTo>
                <a:lnTo>
                  <a:pt x="727" y="0"/>
                </a:lnTo>
                <a:lnTo>
                  <a:pt x="722" y="0"/>
                </a:lnTo>
                <a:lnTo>
                  <a:pt x="716" y="2"/>
                </a:lnTo>
                <a:lnTo>
                  <a:pt x="710" y="4"/>
                </a:lnTo>
                <a:lnTo>
                  <a:pt x="706" y="8"/>
                </a:lnTo>
                <a:lnTo>
                  <a:pt x="702" y="10"/>
                </a:lnTo>
                <a:lnTo>
                  <a:pt x="699" y="14"/>
                </a:lnTo>
                <a:lnTo>
                  <a:pt x="695" y="17"/>
                </a:lnTo>
                <a:lnTo>
                  <a:pt x="691" y="21"/>
                </a:lnTo>
                <a:lnTo>
                  <a:pt x="687" y="25"/>
                </a:lnTo>
                <a:lnTo>
                  <a:pt x="683" y="29"/>
                </a:lnTo>
                <a:lnTo>
                  <a:pt x="681" y="33"/>
                </a:lnTo>
                <a:lnTo>
                  <a:pt x="678" y="36"/>
                </a:lnTo>
                <a:lnTo>
                  <a:pt x="674" y="40"/>
                </a:lnTo>
                <a:lnTo>
                  <a:pt x="668" y="44"/>
                </a:lnTo>
                <a:lnTo>
                  <a:pt x="664" y="46"/>
                </a:lnTo>
                <a:lnTo>
                  <a:pt x="659" y="48"/>
                </a:lnTo>
                <a:lnTo>
                  <a:pt x="659" y="48"/>
                </a:lnTo>
                <a:lnTo>
                  <a:pt x="647" y="52"/>
                </a:lnTo>
                <a:lnTo>
                  <a:pt x="634" y="56"/>
                </a:lnTo>
                <a:lnTo>
                  <a:pt x="622" y="57"/>
                </a:lnTo>
                <a:lnTo>
                  <a:pt x="611" y="59"/>
                </a:lnTo>
                <a:lnTo>
                  <a:pt x="599" y="61"/>
                </a:lnTo>
                <a:lnTo>
                  <a:pt x="588" y="63"/>
                </a:lnTo>
                <a:lnTo>
                  <a:pt x="577" y="63"/>
                </a:lnTo>
                <a:lnTo>
                  <a:pt x="563" y="65"/>
                </a:lnTo>
                <a:lnTo>
                  <a:pt x="552" y="67"/>
                </a:lnTo>
                <a:lnTo>
                  <a:pt x="540" y="67"/>
                </a:lnTo>
                <a:lnTo>
                  <a:pt x="529" y="69"/>
                </a:lnTo>
                <a:lnTo>
                  <a:pt x="516" y="71"/>
                </a:lnTo>
                <a:lnTo>
                  <a:pt x="504" y="73"/>
                </a:lnTo>
                <a:lnTo>
                  <a:pt x="491" y="77"/>
                </a:lnTo>
                <a:lnTo>
                  <a:pt x="477" y="78"/>
                </a:lnTo>
                <a:lnTo>
                  <a:pt x="464" y="84"/>
                </a:lnTo>
                <a:lnTo>
                  <a:pt x="464" y="84"/>
                </a:lnTo>
                <a:lnTo>
                  <a:pt x="458" y="86"/>
                </a:lnTo>
                <a:lnTo>
                  <a:pt x="454" y="88"/>
                </a:lnTo>
                <a:lnTo>
                  <a:pt x="449" y="92"/>
                </a:lnTo>
                <a:lnTo>
                  <a:pt x="445" y="94"/>
                </a:lnTo>
                <a:lnTo>
                  <a:pt x="441" y="98"/>
                </a:lnTo>
                <a:lnTo>
                  <a:pt x="437" y="101"/>
                </a:lnTo>
                <a:lnTo>
                  <a:pt x="434" y="105"/>
                </a:lnTo>
                <a:lnTo>
                  <a:pt x="428" y="109"/>
                </a:lnTo>
                <a:lnTo>
                  <a:pt x="424" y="113"/>
                </a:lnTo>
                <a:lnTo>
                  <a:pt x="420" y="117"/>
                </a:lnTo>
                <a:lnTo>
                  <a:pt x="414" y="118"/>
                </a:lnTo>
                <a:lnTo>
                  <a:pt x="411" y="122"/>
                </a:lnTo>
                <a:lnTo>
                  <a:pt x="405" y="124"/>
                </a:lnTo>
                <a:lnTo>
                  <a:pt x="399" y="126"/>
                </a:lnTo>
                <a:lnTo>
                  <a:pt x="392" y="126"/>
                </a:lnTo>
                <a:lnTo>
                  <a:pt x="386" y="128"/>
                </a:lnTo>
                <a:lnTo>
                  <a:pt x="386" y="128"/>
                </a:lnTo>
                <a:lnTo>
                  <a:pt x="380" y="126"/>
                </a:lnTo>
                <a:lnTo>
                  <a:pt x="374" y="126"/>
                </a:lnTo>
                <a:lnTo>
                  <a:pt x="371" y="124"/>
                </a:lnTo>
                <a:lnTo>
                  <a:pt x="365" y="122"/>
                </a:lnTo>
                <a:lnTo>
                  <a:pt x="361" y="122"/>
                </a:lnTo>
                <a:lnTo>
                  <a:pt x="355" y="120"/>
                </a:lnTo>
                <a:lnTo>
                  <a:pt x="351" y="118"/>
                </a:lnTo>
                <a:lnTo>
                  <a:pt x="346" y="118"/>
                </a:lnTo>
                <a:lnTo>
                  <a:pt x="346" y="118"/>
                </a:lnTo>
                <a:lnTo>
                  <a:pt x="338" y="118"/>
                </a:lnTo>
                <a:lnTo>
                  <a:pt x="332" y="120"/>
                </a:lnTo>
                <a:lnTo>
                  <a:pt x="325" y="122"/>
                </a:lnTo>
                <a:lnTo>
                  <a:pt x="319" y="126"/>
                </a:lnTo>
                <a:lnTo>
                  <a:pt x="315" y="130"/>
                </a:lnTo>
                <a:lnTo>
                  <a:pt x="310" y="134"/>
                </a:lnTo>
                <a:lnTo>
                  <a:pt x="304" y="138"/>
                </a:lnTo>
                <a:lnTo>
                  <a:pt x="300" y="141"/>
                </a:lnTo>
                <a:lnTo>
                  <a:pt x="294" y="145"/>
                </a:lnTo>
                <a:lnTo>
                  <a:pt x="289" y="149"/>
                </a:lnTo>
                <a:lnTo>
                  <a:pt x="283" y="153"/>
                </a:lnTo>
                <a:lnTo>
                  <a:pt x="277" y="157"/>
                </a:lnTo>
                <a:lnTo>
                  <a:pt x="269" y="159"/>
                </a:lnTo>
                <a:lnTo>
                  <a:pt x="262" y="160"/>
                </a:lnTo>
                <a:lnTo>
                  <a:pt x="254" y="162"/>
                </a:lnTo>
                <a:lnTo>
                  <a:pt x="245" y="162"/>
                </a:lnTo>
                <a:lnTo>
                  <a:pt x="245" y="162"/>
                </a:lnTo>
                <a:lnTo>
                  <a:pt x="237" y="162"/>
                </a:lnTo>
                <a:lnTo>
                  <a:pt x="227" y="160"/>
                </a:lnTo>
                <a:lnTo>
                  <a:pt x="220" y="157"/>
                </a:lnTo>
                <a:lnTo>
                  <a:pt x="212" y="153"/>
                </a:lnTo>
                <a:lnTo>
                  <a:pt x="207" y="149"/>
                </a:lnTo>
                <a:lnTo>
                  <a:pt x="199" y="143"/>
                </a:lnTo>
                <a:lnTo>
                  <a:pt x="193" y="138"/>
                </a:lnTo>
                <a:lnTo>
                  <a:pt x="187" y="132"/>
                </a:lnTo>
                <a:lnTo>
                  <a:pt x="180" y="126"/>
                </a:lnTo>
                <a:lnTo>
                  <a:pt x="176" y="118"/>
                </a:lnTo>
                <a:lnTo>
                  <a:pt x="168" y="111"/>
                </a:lnTo>
                <a:lnTo>
                  <a:pt x="165" y="105"/>
                </a:lnTo>
                <a:lnTo>
                  <a:pt x="159" y="99"/>
                </a:lnTo>
                <a:lnTo>
                  <a:pt x="155" y="94"/>
                </a:lnTo>
                <a:lnTo>
                  <a:pt x="149" y="88"/>
                </a:lnTo>
                <a:lnTo>
                  <a:pt x="145" y="82"/>
                </a:lnTo>
                <a:lnTo>
                  <a:pt x="145" y="82"/>
                </a:lnTo>
                <a:lnTo>
                  <a:pt x="144" y="88"/>
                </a:lnTo>
                <a:lnTo>
                  <a:pt x="144" y="92"/>
                </a:lnTo>
                <a:lnTo>
                  <a:pt x="142" y="96"/>
                </a:lnTo>
                <a:lnTo>
                  <a:pt x="140" y="98"/>
                </a:lnTo>
                <a:lnTo>
                  <a:pt x="138" y="101"/>
                </a:lnTo>
                <a:lnTo>
                  <a:pt x="134" y="103"/>
                </a:lnTo>
                <a:lnTo>
                  <a:pt x="132" y="105"/>
                </a:lnTo>
                <a:lnTo>
                  <a:pt x="128" y="107"/>
                </a:lnTo>
                <a:lnTo>
                  <a:pt x="128" y="107"/>
                </a:lnTo>
                <a:lnTo>
                  <a:pt x="123" y="111"/>
                </a:lnTo>
                <a:lnTo>
                  <a:pt x="119" y="117"/>
                </a:lnTo>
                <a:lnTo>
                  <a:pt x="113" y="122"/>
                </a:lnTo>
                <a:lnTo>
                  <a:pt x="109" y="130"/>
                </a:lnTo>
                <a:lnTo>
                  <a:pt x="105" y="138"/>
                </a:lnTo>
                <a:lnTo>
                  <a:pt x="102" y="143"/>
                </a:lnTo>
                <a:lnTo>
                  <a:pt x="98" y="149"/>
                </a:lnTo>
                <a:lnTo>
                  <a:pt x="98" y="155"/>
                </a:lnTo>
                <a:lnTo>
                  <a:pt x="98" y="155"/>
                </a:lnTo>
                <a:lnTo>
                  <a:pt x="100" y="157"/>
                </a:lnTo>
                <a:lnTo>
                  <a:pt x="102" y="159"/>
                </a:lnTo>
                <a:lnTo>
                  <a:pt x="105" y="162"/>
                </a:lnTo>
                <a:lnTo>
                  <a:pt x="111" y="168"/>
                </a:lnTo>
                <a:lnTo>
                  <a:pt x="117" y="174"/>
                </a:lnTo>
                <a:lnTo>
                  <a:pt x="121" y="178"/>
                </a:lnTo>
                <a:lnTo>
                  <a:pt x="123" y="181"/>
                </a:lnTo>
                <a:lnTo>
                  <a:pt x="124" y="183"/>
                </a:lnTo>
                <a:lnTo>
                  <a:pt x="124" y="183"/>
                </a:lnTo>
                <a:lnTo>
                  <a:pt x="130" y="191"/>
                </a:lnTo>
                <a:lnTo>
                  <a:pt x="136" y="199"/>
                </a:lnTo>
                <a:lnTo>
                  <a:pt x="140" y="206"/>
                </a:lnTo>
                <a:lnTo>
                  <a:pt x="145" y="214"/>
                </a:lnTo>
                <a:lnTo>
                  <a:pt x="149" y="222"/>
                </a:lnTo>
                <a:lnTo>
                  <a:pt x="155" y="227"/>
                </a:lnTo>
                <a:lnTo>
                  <a:pt x="159" y="235"/>
                </a:lnTo>
                <a:lnTo>
                  <a:pt x="165" y="241"/>
                </a:lnTo>
                <a:lnTo>
                  <a:pt x="168" y="246"/>
                </a:lnTo>
                <a:lnTo>
                  <a:pt x="174" y="254"/>
                </a:lnTo>
                <a:lnTo>
                  <a:pt x="180" y="260"/>
                </a:lnTo>
                <a:lnTo>
                  <a:pt x="187" y="263"/>
                </a:lnTo>
                <a:lnTo>
                  <a:pt x="193" y="269"/>
                </a:lnTo>
                <a:lnTo>
                  <a:pt x="201" y="273"/>
                </a:lnTo>
                <a:lnTo>
                  <a:pt x="208" y="277"/>
                </a:lnTo>
                <a:lnTo>
                  <a:pt x="216" y="281"/>
                </a:lnTo>
                <a:lnTo>
                  <a:pt x="435" y="349"/>
                </a:lnTo>
                <a:lnTo>
                  <a:pt x="521" y="349"/>
                </a:lnTo>
                <a:lnTo>
                  <a:pt x="521" y="346"/>
                </a:lnTo>
                <a:lnTo>
                  <a:pt x="304" y="611"/>
                </a:lnTo>
                <a:lnTo>
                  <a:pt x="210" y="611"/>
                </a:lnTo>
                <a:lnTo>
                  <a:pt x="210" y="611"/>
                </a:lnTo>
                <a:lnTo>
                  <a:pt x="205" y="618"/>
                </a:lnTo>
                <a:lnTo>
                  <a:pt x="197" y="624"/>
                </a:lnTo>
                <a:lnTo>
                  <a:pt x="191" y="630"/>
                </a:lnTo>
                <a:lnTo>
                  <a:pt x="184" y="635"/>
                </a:lnTo>
                <a:lnTo>
                  <a:pt x="176" y="643"/>
                </a:lnTo>
                <a:lnTo>
                  <a:pt x="166" y="649"/>
                </a:lnTo>
                <a:lnTo>
                  <a:pt x="159" y="655"/>
                </a:lnTo>
                <a:lnTo>
                  <a:pt x="149" y="660"/>
                </a:lnTo>
                <a:lnTo>
                  <a:pt x="140" y="664"/>
                </a:lnTo>
                <a:lnTo>
                  <a:pt x="130" y="670"/>
                </a:lnTo>
                <a:lnTo>
                  <a:pt x="121" y="676"/>
                </a:lnTo>
                <a:lnTo>
                  <a:pt x="111" y="679"/>
                </a:lnTo>
                <a:lnTo>
                  <a:pt x="102" y="683"/>
                </a:lnTo>
                <a:lnTo>
                  <a:pt x="90" y="687"/>
                </a:lnTo>
                <a:lnTo>
                  <a:pt x="81" y="691"/>
                </a:lnTo>
                <a:lnTo>
                  <a:pt x="69" y="693"/>
                </a:lnTo>
                <a:lnTo>
                  <a:pt x="60" y="695"/>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35" name="Freeform 7"/>
          <p:cNvSpPr>
            <a:spLocks/>
          </p:cNvSpPr>
          <p:nvPr>
            <p:custDataLst>
              <p:tags r:id="rId7"/>
            </p:custDataLst>
          </p:nvPr>
        </p:nvSpPr>
        <p:spPr bwMode="gray">
          <a:xfrm>
            <a:off x="5060390" y="3386888"/>
            <a:ext cx="557225" cy="686772"/>
          </a:xfrm>
          <a:custGeom>
            <a:avLst/>
            <a:gdLst/>
            <a:ahLst/>
            <a:cxnLst>
              <a:cxn ang="0">
                <a:pos x="4" y="471"/>
              </a:cxn>
              <a:cxn ang="0">
                <a:pos x="10" y="447"/>
              </a:cxn>
              <a:cxn ang="0">
                <a:pos x="21" y="431"/>
              </a:cxn>
              <a:cxn ang="0">
                <a:pos x="42" y="428"/>
              </a:cxn>
              <a:cxn ang="0">
                <a:pos x="63" y="416"/>
              </a:cxn>
              <a:cxn ang="0">
                <a:pos x="46" y="410"/>
              </a:cxn>
              <a:cxn ang="0">
                <a:pos x="13" y="410"/>
              </a:cxn>
              <a:cxn ang="0">
                <a:pos x="2" y="401"/>
              </a:cxn>
              <a:cxn ang="0">
                <a:pos x="4" y="387"/>
              </a:cxn>
              <a:cxn ang="0">
                <a:pos x="10" y="368"/>
              </a:cxn>
              <a:cxn ang="0">
                <a:pos x="33" y="334"/>
              </a:cxn>
              <a:cxn ang="0">
                <a:pos x="57" y="304"/>
              </a:cxn>
              <a:cxn ang="0">
                <a:pos x="78" y="269"/>
              </a:cxn>
              <a:cxn ang="0">
                <a:pos x="84" y="237"/>
              </a:cxn>
              <a:cxn ang="0">
                <a:pos x="75" y="181"/>
              </a:cxn>
              <a:cxn ang="0">
                <a:pos x="54" y="132"/>
              </a:cxn>
              <a:cxn ang="0">
                <a:pos x="27" y="88"/>
              </a:cxn>
              <a:cxn ang="0">
                <a:pos x="4" y="44"/>
              </a:cxn>
              <a:cxn ang="0">
                <a:pos x="15" y="33"/>
              </a:cxn>
              <a:cxn ang="0">
                <a:pos x="25" y="19"/>
              </a:cxn>
              <a:cxn ang="0">
                <a:pos x="139" y="0"/>
              </a:cxn>
              <a:cxn ang="0">
                <a:pos x="141" y="8"/>
              </a:cxn>
              <a:cxn ang="0">
                <a:pos x="145" y="17"/>
              </a:cxn>
              <a:cxn ang="0">
                <a:pos x="170" y="27"/>
              </a:cxn>
              <a:cxn ang="0">
                <a:pos x="212" y="42"/>
              </a:cxn>
              <a:cxn ang="0">
                <a:pos x="250" y="56"/>
              </a:cxn>
              <a:cxn ang="0">
                <a:pos x="288" y="77"/>
              </a:cxn>
              <a:cxn ang="0">
                <a:pos x="366" y="92"/>
              </a:cxn>
              <a:cxn ang="0">
                <a:pos x="391" y="101"/>
              </a:cxn>
              <a:cxn ang="0">
                <a:pos x="422" y="107"/>
              </a:cxn>
              <a:cxn ang="0">
                <a:pos x="441" y="99"/>
              </a:cxn>
              <a:cxn ang="0">
                <a:pos x="464" y="78"/>
              </a:cxn>
              <a:cxn ang="0">
                <a:pos x="487" y="52"/>
              </a:cxn>
              <a:cxn ang="0">
                <a:pos x="513" y="36"/>
              </a:cxn>
              <a:cxn ang="0">
                <a:pos x="536" y="40"/>
              </a:cxn>
              <a:cxn ang="0">
                <a:pos x="553" y="56"/>
              </a:cxn>
              <a:cxn ang="0">
                <a:pos x="572" y="59"/>
              </a:cxn>
              <a:cxn ang="0">
                <a:pos x="593" y="57"/>
              </a:cxn>
              <a:cxn ang="0">
                <a:pos x="609" y="54"/>
              </a:cxn>
              <a:cxn ang="0">
                <a:pos x="603" y="82"/>
              </a:cxn>
              <a:cxn ang="0">
                <a:pos x="588" y="109"/>
              </a:cxn>
              <a:cxn ang="0">
                <a:pos x="569" y="132"/>
              </a:cxn>
              <a:cxn ang="0">
                <a:pos x="549" y="147"/>
              </a:cxn>
              <a:cxn ang="0">
                <a:pos x="597" y="523"/>
              </a:cxn>
              <a:cxn ang="0">
                <a:pos x="586" y="540"/>
              </a:cxn>
              <a:cxn ang="0">
                <a:pos x="567" y="561"/>
              </a:cxn>
              <a:cxn ang="0">
                <a:pos x="548" y="580"/>
              </a:cxn>
              <a:cxn ang="0">
                <a:pos x="538" y="588"/>
              </a:cxn>
              <a:cxn ang="0">
                <a:pos x="509" y="605"/>
              </a:cxn>
              <a:cxn ang="0">
                <a:pos x="490" y="637"/>
              </a:cxn>
              <a:cxn ang="0">
                <a:pos x="485" y="664"/>
              </a:cxn>
              <a:cxn ang="0">
                <a:pos x="466" y="702"/>
              </a:cxn>
              <a:cxn ang="0">
                <a:pos x="441" y="739"/>
              </a:cxn>
              <a:cxn ang="0">
                <a:pos x="416" y="767"/>
              </a:cxn>
              <a:cxn ang="0">
                <a:pos x="288" y="672"/>
              </a:cxn>
              <a:cxn ang="0">
                <a:pos x="292" y="655"/>
              </a:cxn>
              <a:cxn ang="0">
                <a:pos x="6" y="479"/>
              </a:cxn>
            </a:cxnLst>
            <a:rect l="0" t="0" r="r" b="b"/>
            <a:pathLst>
              <a:path w="609" h="771">
                <a:moveTo>
                  <a:pt x="6" y="479"/>
                </a:moveTo>
                <a:lnTo>
                  <a:pt x="0" y="475"/>
                </a:lnTo>
                <a:lnTo>
                  <a:pt x="0" y="475"/>
                </a:lnTo>
                <a:lnTo>
                  <a:pt x="4" y="471"/>
                </a:lnTo>
                <a:lnTo>
                  <a:pt x="6" y="468"/>
                </a:lnTo>
                <a:lnTo>
                  <a:pt x="8" y="460"/>
                </a:lnTo>
                <a:lnTo>
                  <a:pt x="8" y="454"/>
                </a:lnTo>
                <a:lnTo>
                  <a:pt x="10" y="447"/>
                </a:lnTo>
                <a:lnTo>
                  <a:pt x="12" y="441"/>
                </a:lnTo>
                <a:lnTo>
                  <a:pt x="15" y="435"/>
                </a:lnTo>
                <a:lnTo>
                  <a:pt x="21" y="431"/>
                </a:lnTo>
                <a:lnTo>
                  <a:pt x="21" y="431"/>
                </a:lnTo>
                <a:lnTo>
                  <a:pt x="27" y="429"/>
                </a:lnTo>
                <a:lnTo>
                  <a:pt x="33" y="428"/>
                </a:lnTo>
                <a:lnTo>
                  <a:pt x="38" y="428"/>
                </a:lnTo>
                <a:lnTo>
                  <a:pt x="42" y="428"/>
                </a:lnTo>
                <a:lnTo>
                  <a:pt x="48" y="426"/>
                </a:lnTo>
                <a:lnTo>
                  <a:pt x="54" y="426"/>
                </a:lnTo>
                <a:lnTo>
                  <a:pt x="57" y="422"/>
                </a:lnTo>
                <a:lnTo>
                  <a:pt x="63" y="416"/>
                </a:lnTo>
                <a:lnTo>
                  <a:pt x="63" y="416"/>
                </a:lnTo>
                <a:lnTo>
                  <a:pt x="57" y="412"/>
                </a:lnTo>
                <a:lnTo>
                  <a:pt x="52" y="410"/>
                </a:lnTo>
                <a:lnTo>
                  <a:pt x="46" y="410"/>
                </a:lnTo>
                <a:lnTo>
                  <a:pt x="38" y="412"/>
                </a:lnTo>
                <a:lnTo>
                  <a:pt x="31" y="412"/>
                </a:lnTo>
                <a:lnTo>
                  <a:pt x="23" y="412"/>
                </a:lnTo>
                <a:lnTo>
                  <a:pt x="13" y="410"/>
                </a:lnTo>
                <a:lnTo>
                  <a:pt x="2" y="408"/>
                </a:lnTo>
                <a:lnTo>
                  <a:pt x="2" y="408"/>
                </a:lnTo>
                <a:lnTo>
                  <a:pt x="2" y="405"/>
                </a:lnTo>
                <a:lnTo>
                  <a:pt x="2" y="401"/>
                </a:lnTo>
                <a:lnTo>
                  <a:pt x="4" y="397"/>
                </a:lnTo>
                <a:lnTo>
                  <a:pt x="4" y="393"/>
                </a:lnTo>
                <a:lnTo>
                  <a:pt x="4" y="391"/>
                </a:lnTo>
                <a:lnTo>
                  <a:pt x="4" y="387"/>
                </a:lnTo>
                <a:lnTo>
                  <a:pt x="6" y="382"/>
                </a:lnTo>
                <a:lnTo>
                  <a:pt x="6" y="378"/>
                </a:lnTo>
                <a:lnTo>
                  <a:pt x="6" y="378"/>
                </a:lnTo>
                <a:lnTo>
                  <a:pt x="10" y="368"/>
                </a:lnTo>
                <a:lnTo>
                  <a:pt x="15" y="359"/>
                </a:lnTo>
                <a:lnTo>
                  <a:pt x="21" y="349"/>
                </a:lnTo>
                <a:lnTo>
                  <a:pt x="27" y="342"/>
                </a:lnTo>
                <a:lnTo>
                  <a:pt x="33" y="334"/>
                </a:lnTo>
                <a:lnTo>
                  <a:pt x="38" y="326"/>
                </a:lnTo>
                <a:lnTo>
                  <a:pt x="46" y="319"/>
                </a:lnTo>
                <a:lnTo>
                  <a:pt x="52" y="311"/>
                </a:lnTo>
                <a:lnTo>
                  <a:pt x="57" y="304"/>
                </a:lnTo>
                <a:lnTo>
                  <a:pt x="63" y="296"/>
                </a:lnTo>
                <a:lnTo>
                  <a:pt x="69" y="286"/>
                </a:lnTo>
                <a:lnTo>
                  <a:pt x="75" y="279"/>
                </a:lnTo>
                <a:lnTo>
                  <a:pt x="78" y="269"/>
                </a:lnTo>
                <a:lnTo>
                  <a:pt x="80" y="260"/>
                </a:lnTo>
                <a:lnTo>
                  <a:pt x="82" y="248"/>
                </a:lnTo>
                <a:lnTo>
                  <a:pt x="84" y="237"/>
                </a:lnTo>
                <a:lnTo>
                  <a:pt x="84" y="237"/>
                </a:lnTo>
                <a:lnTo>
                  <a:pt x="82" y="222"/>
                </a:lnTo>
                <a:lnTo>
                  <a:pt x="80" y="208"/>
                </a:lnTo>
                <a:lnTo>
                  <a:pt x="78" y="195"/>
                </a:lnTo>
                <a:lnTo>
                  <a:pt x="75" y="181"/>
                </a:lnTo>
                <a:lnTo>
                  <a:pt x="71" y="170"/>
                </a:lnTo>
                <a:lnTo>
                  <a:pt x="65" y="157"/>
                </a:lnTo>
                <a:lnTo>
                  <a:pt x="59" y="145"/>
                </a:lnTo>
                <a:lnTo>
                  <a:pt x="54" y="132"/>
                </a:lnTo>
                <a:lnTo>
                  <a:pt x="46" y="120"/>
                </a:lnTo>
                <a:lnTo>
                  <a:pt x="40" y="109"/>
                </a:lnTo>
                <a:lnTo>
                  <a:pt x="33" y="98"/>
                </a:lnTo>
                <a:lnTo>
                  <a:pt x="27" y="88"/>
                </a:lnTo>
                <a:lnTo>
                  <a:pt x="19" y="77"/>
                </a:lnTo>
                <a:lnTo>
                  <a:pt x="13" y="65"/>
                </a:lnTo>
                <a:lnTo>
                  <a:pt x="10" y="56"/>
                </a:lnTo>
                <a:lnTo>
                  <a:pt x="4" y="44"/>
                </a:lnTo>
                <a:lnTo>
                  <a:pt x="4" y="44"/>
                </a:lnTo>
                <a:lnTo>
                  <a:pt x="8" y="40"/>
                </a:lnTo>
                <a:lnTo>
                  <a:pt x="12" y="36"/>
                </a:lnTo>
                <a:lnTo>
                  <a:pt x="15" y="33"/>
                </a:lnTo>
                <a:lnTo>
                  <a:pt x="17" y="29"/>
                </a:lnTo>
                <a:lnTo>
                  <a:pt x="21" y="27"/>
                </a:lnTo>
                <a:lnTo>
                  <a:pt x="23" y="23"/>
                </a:lnTo>
                <a:lnTo>
                  <a:pt x="25" y="19"/>
                </a:lnTo>
                <a:lnTo>
                  <a:pt x="27" y="17"/>
                </a:lnTo>
                <a:lnTo>
                  <a:pt x="145" y="17"/>
                </a:lnTo>
                <a:lnTo>
                  <a:pt x="139" y="0"/>
                </a:lnTo>
                <a:lnTo>
                  <a:pt x="139" y="0"/>
                </a:lnTo>
                <a:lnTo>
                  <a:pt x="139" y="0"/>
                </a:lnTo>
                <a:lnTo>
                  <a:pt x="139" y="2"/>
                </a:lnTo>
                <a:lnTo>
                  <a:pt x="139" y="4"/>
                </a:lnTo>
                <a:lnTo>
                  <a:pt x="141" y="8"/>
                </a:lnTo>
                <a:lnTo>
                  <a:pt x="141" y="10"/>
                </a:lnTo>
                <a:lnTo>
                  <a:pt x="143" y="12"/>
                </a:lnTo>
                <a:lnTo>
                  <a:pt x="143" y="14"/>
                </a:lnTo>
                <a:lnTo>
                  <a:pt x="145" y="17"/>
                </a:lnTo>
                <a:lnTo>
                  <a:pt x="145" y="17"/>
                </a:lnTo>
                <a:lnTo>
                  <a:pt x="145" y="17"/>
                </a:lnTo>
                <a:lnTo>
                  <a:pt x="158" y="23"/>
                </a:lnTo>
                <a:lnTo>
                  <a:pt x="170" y="27"/>
                </a:lnTo>
                <a:lnTo>
                  <a:pt x="181" y="31"/>
                </a:lnTo>
                <a:lnTo>
                  <a:pt x="193" y="35"/>
                </a:lnTo>
                <a:lnTo>
                  <a:pt x="202" y="38"/>
                </a:lnTo>
                <a:lnTo>
                  <a:pt x="212" y="42"/>
                </a:lnTo>
                <a:lnTo>
                  <a:pt x="221" y="44"/>
                </a:lnTo>
                <a:lnTo>
                  <a:pt x="231" y="48"/>
                </a:lnTo>
                <a:lnTo>
                  <a:pt x="240" y="52"/>
                </a:lnTo>
                <a:lnTo>
                  <a:pt x="250" y="56"/>
                </a:lnTo>
                <a:lnTo>
                  <a:pt x="260" y="59"/>
                </a:lnTo>
                <a:lnTo>
                  <a:pt x="269" y="65"/>
                </a:lnTo>
                <a:lnTo>
                  <a:pt x="279" y="71"/>
                </a:lnTo>
                <a:lnTo>
                  <a:pt x="288" y="77"/>
                </a:lnTo>
                <a:lnTo>
                  <a:pt x="298" y="84"/>
                </a:lnTo>
                <a:lnTo>
                  <a:pt x="307" y="92"/>
                </a:lnTo>
                <a:lnTo>
                  <a:pt x="366" y="92"/>
                </a:lnTo>
                <a:lnTo>
                  <a:pt x="366" y="92"/>
                </a:lnTo>
                <a:lnTo>
                  <a:pt x="372" y="96"/>
                </a:lnTo>
                <a:lnTo>
                  <a:pt x="378" y="98"/>
                </a:lnTo>
                <a:lnTo>
                  <a:pt x="384" y="99"/>
                </a:lnTo>
                <a:lnTo>
                  <a:pt x="391" y="101"/>
                </a:lnTo>
                <a:lnTo>
                  <a:pt x="399" y="103"/>
                </a:lnTo>
                <a:lnTo>
                  <a:pt x="408" y="105"/>
                </a:lnTo>
                <a:lnTo>
                  <a:pt x="414" y="105"/>
                </a:lnTo>
                <a:lnTo>
                  <a:pt x="422" y="107"/>
                </a:lnTo>
                <a:lnTo>
                  <a:pt x="422" y="107"/>
                </a:lnTo>
                <a:lnTo>
                  <a:pt x="429" y="105"/>
                </a:lnTo>
                <a:lnTo>
                  <a:pt x="435" y="103"/>
                </a:lnTo>
                <a:lnTo>
                  <a:pt x="441" y="99"/>
                </a:lnTo>
                <a:lnTo>
                  <a:pt x="448" y="96"/>
                </a:lnTo>
                <a:lnTo>
                  <a:pt x="452" y="90"/>
                </a:lnTo>
                <a:lnTo>
                  <a:pt x="458" y="84"/>
                </a:lnTo>
                <a:lnTo>
                  <a:pt x="464" y="78"/>
                </a:lnTo>
                <a:lnTo>
                  <a:pt x="469" y="71"/>
                </a:lnTo>
                <a:lnTo>
                  <a:pt x="475" y="65"/>
                </a:lnTo>
                <a:lnTo>
                  <a:pt x="481" y="57"/>
                </a:lnTo>
                <a:lnTo>
                  <a:pt x="487" y="52"/>
                </a:lnTo>
                <a:lnTo>
                  <a:pt x="492" y="48"/>
                </a:lnTo>
                <a:lnTo>
                  <a:pt x="500" y="42"/>
                </a:lnTo>
                <a:lnTo>
                  <a:pt x="508" y="38"/>
                </a:lnTo>
                <a:lnTo>
                  <a:pt x="513" y="36"/>
                </a:lnTo>
                <a:lnTo>
                  <a:pt x="523" y="36"/>
                </a:lnTo>
                <a:lnTo>
                  <a:pt x="523" y="36"/>
                </a:lnTo>
                <a:lnTo>
                  <a:pt x="530" y="36"/>
                </a:lnTo>
                <a:lnTo>
                  <a:pt x="536" y="40"/>
                </a:lnTo>
                <a:lnTo>
                  <a:pt x="540" y="44"/>
                </a:lnTo>
                <a:lnTo>
                  <a:pt x="544" y="48"/>
                </a:lnTo>
                <a:lnTo>
                  <a:pt x="548" y="52"/>
                </a:lnTo>
                <a:lnTo>
                  <a:pt x="553" y="56"/>
                </a:lnTo>
                <a:lnTo>
                  <a:pt x="559" y="57"/>
                </a:lnTo>
                <a:lnTo>
                  <a:pt x="569" y="59"/>
                </a:lnTo>
                <a:lnTo>
                  <a:pt x="569" y="59"/>
                </a:lnTo>
                <a:lnTo>
                  <a:pt x="572" y="59"/>
                </a:lnTo>
                <a:lnTo>
                  <a:pt x="578" y="59"/>
                </a:lnTo>
                <a:lnTo>
                  <a:pt x="584" y="57"/>
                </a:lnTo>
                <a:lnTo>
                  <a:pt x="590" y="57"/>
                </a:lnTo>
                <a:lnTo>
                  <a:pt x="593" y="57"/>
                </a:lnTo>
                <a:lnTo>
                  <a:pt x="599" y="57"/>
                </a:lnTo>
                <a:lnTo>
                  <a:pt x="605" y="56"/>
                </a:lnTo>
                <a:lnTo>
                  <a:pt x="609" y="54"/>
                </a:lnTo>
                <a:lnTo>
                  <a:pt x="609" y="54"/>
                </a:lnTo>
                <a:lnTo>
                  <a:pt x="609" y="61"/>
                </a:lnTo>
                <a:lnTo>
                  <a:pt x="607" y="67"/>
                </a:lnTo>
                <a:lnTo>
                  <a:pt x="607" y="75"/>
                </a:lnTo>
                <a:lnTo>
                  <a:pt x="603" y="82"/>
                </a:lnTo>
                <a:lnTo>
                  <a:pt x="601" y="88"/>
                </a:lnTo>
                <a:lnTo>
                  <a:pt x="597" y="96"/>
                </a:lnTo>
                <a:lnTo>
                  <a:pt x="593" y="103"/>
                </a:lnTo>
                <a:lnTo>
                  <a:pt x="588" y="109"/>
                </a:lnTo>
                <a:lnTo>
                  <a:pt x="584" y="117"/>
                </a:lnTo>
                <a:lnTo>
                  <a:pt x="578" y="122"/>
                </a:lnTo>
                <a:lnTo>
                  <a:pt x="574" y="128"/>
                </a:lnTo>
                <a:lnTo>
                  <a:pt x="569" y="132"/>
                </a:lnTo>
                <a:lnTo>
                  <a:pt x="565" y="138"/>
                </a:lnTo>
                <a:lnTo>
                  <a:pt x="559" y="141"/>
                </a:lnTo>
                <a:lnTo>
                  <a:pt x="555" y="145"/>
                </a:lnTo>
                <a:lnTo>
                  <a:pt x="549" y="147"/>
                </a:lnTo>
                <a:lnTo>
                  <a:pt x="549" y="449"/>
                </a:lnTo>
                <a:lnTo>
                  <a:pt x="599" y="519"/>
                </a:lnTo>
                <a:lnTo>
                  <a:pt x="599" y="519"/>
                </a:lnTo>
                <a:lnTo>
                  <a:pt x="597" y="523"/>
                </a:lnTo>
                <a:lnTo>
                  <a:pt x="595" y="527"/>
                </a:lnTo>
                <a:lnTo>
                  <a:pt x="593" y="531"/>
                </a:lnTo>
                <a:lnTo>
                  <a:pt x="590" y="534"/>
                </a:lnTo>
                <a:lnTo>
                  <a:pt x="586" y="540"/>
                </a:lnTo>
                <a:lnTo>
                  <a:pt x="582" y="546"/>
                </a:lnTo>
                <a:lnTo>
                  <a:pt x="576" y="550"/>
                </a:lnTo>
                <a:lnTo>
                  <a:pt x="572" y="555"/>
                </a:lnTo>
                <a:lnTo>
                  <a:pt x="567" y="561"/>
                </a:lnTo>
                <a:lnTo>
                  <a:pt x="563" y="565"/>
                </a:lnTo>
                <a:lnTo>
                  <a:pt x="557" y="571"/>
                </a:lnTo>
                <a:lnTo>
                  <a:pt x="553" y="574"/>
                </a:lnTo>
                <a:lnTo>
                  <a:pt x="548" y="580"/>
                </a:lnTo>
                <a:lnTo>
                  <a:pt x="544" y="584"/>
                </a:lnTo>
                <a:lnTo>
                  <a:pt x="542" y="586"/>
                </a:lnTo>
                <a:lnTo>
                  <a:pt x="538" y="588"/>
                </a:lnTo>
                <a:lnTo>
                  <a:pt x="538" y="588"/>
                </a:lnTo>
                <a:lnTo>
                  <a:pt x="532" y="594"/>
                </a:lnTo>
                <a:lnTo>
                  <a:pt x="525" y="597"/>
                </a:lnTo>
                <a:lnTo>
                  <a:pt x="517" y="601"/>
                </a:lnTo>
                <a:lnTo>
                  <a:pt x="509" y="605"/>
                </a:lnTo>
                <a:lnTo>
                  <a:pt x="504" y="613"/>
                </a:lnTo>
                <a:lnTo>
                  <a:pt x="498" y="618"/>
                </a:lnTo>
                <a:lnTo>
                  <a:pt x="494" y="628"/>
                </a:lnTo>
                <a:lnTo>
                  <a:pt x="490" y="637"/>
                </a:lnTo>
                <a:lnTo>
                  <a:pt x="490" y="637"/>
                </a:lnTo>
                <a:lnTo>
                  <a:pt x="488" y="647"/>
                </a:lnTo>
                <a:lnTo>
                  <a:pt x="487" y="655"/>
                </a:lnTo>
                <a:lnTo>
                  <a:pt x="485" y="664"/>
                </a:lnTo>
                <a:lnTo>
                  <a:pt x="481" y="674"/>
                </a:lnTo>
                <a:lnTo>
                  <a:pt x="475" y="683"/>
                </a:lnTo>
                <a:lnTo>
                  <a:pt x="471" y="693"/>
                </a:lnTo>
                <a:lnTo>
                  <a:pt x="466" y="702"/>
                </a:lnTo>
                <a:lnTo>
                  <a:pt x="460" y="712"/>
                </a:lnTo>
                <a:lnTo>
                  <a:pt x="454" y="721"/>
                </a:lnTo>
                <a:lnTo>
                  <a:pt x="448" y="729"/>
                </a:lnTo>
                <a:lnTo>
                  <a:pt x="441" y="739"/>
                </a:lnTo>
                <a:lnTo>
                  <a:pt x="435" y="746"/>
                </a:lnTo>
                <a:lnTo>
                  <a:pt x="429" y="754"/>
                </a:lnTo>
                <a:lnTo>
                  <a:pt x="422" y="759"/>
                </a:lnTo>
                <a:lnTo>
                  <a:pt x="416" y="767"/>
                </a:lnTo>
                <a:lnTo>
                  <a:pt x="410" y="771"/>
                </a:lnTo>
                <a:lnTo>
                  <a:pt x="286" y="677"/>
                </a:lnTo>
                <a:lnTo>
                  <a:pt x="286" y="677"/>
                </a:lnTo>
                <a:lnTo>
                  <a:pt x="288" y="672"/>
                </a:lnTo>
                <a:lnTo>
                  <a:pt x="290" y="668"/>
                </a:lnTo>
                <a:lnTo>
                  <a:pt x="290" y="664"/>
                </a:lnTo>
                <a:lnTo>
                  <a:pt x="292" y="658"/>
                </a:lnTo>
                <a:lnTo>
                  <a:pt x="292" y="655"/>
                </a:lnTo>
                <a:lnTo>
                  <a:pt x="294" y="651"/>
                </a:lnTo>
                <a:lnTo>
                  <a:pt x="296" y="647"/>
                </a:lnTo>
                <a:lnTo>
                  <a:pt x="296" y="641"/>
                </a:lnTo>
                <a:lnTo>
                  <a:pt x="6" y="479"/>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36" name="Freeform 8"/>
          <p:cNvSpPr>
            <a:spLocks/>
          </p:cNvSpPr>
          <p:nvPr>
            <p:custDataLst>
              <p:tags r:id="rId8"/>
            </p:custDataLst>
          </p:nvPr>
        </p:nvSpPr>
        <p:spPr bwMode="gray">
          <a:xfrm>
            <a:off x="4684579" y="3827459"/>
            <a:ext cx="150646" cy="121480"/>
          </a:xfrm>
          <a:custGeom>
            <a:avLst/>
            <a:gdLst/>
            <a:ahLst/>
            <a:cxnLst>
              <a:cxn ang="0">
                <a:pos x="124" y="100"/>
              </a:cxn>
              <a:cxn ang="0">
                <a:pos x="126" y="100"/>
              </a:cxn>
              <a:cxn ang="0">
                <a:pos x="132" y="100"/>
              </a:cxn>
              <a:cxn ang="0">
                <a:pos x="137" y="100"/>
              </a:cxn>
              <a:cxn ang="0">
                <a:pos x="145" y="100"/>
              </a:cxn>
              <a:cxn ang="0">
                <a:pos x="151" y="100"/>
              </a:cxn>
              <a:cxn ang="0">
                <a:pos x="156" y="96"/>
              </a:cxn>
              <a:cxn ang="0">
                <a:pos x="162" y="88"/>
              </a:cxn>
              <a:cxn ang="0">
                <a:pos x="164" y="77"/>
              </a:cxn>
              <a:cxn ang="0">
                <a:pos x="164" y="71"/>
              </a:cxn>
              <a:cxn ang="0">
                <a:pos x="162" y="65"/>
              </a:cxn>
              <a:cxn ang="0">
                <a:pos x="158" y="61"/>
              </a:cxn>
              <a:cxn ang="0">
                <a:pos x="155" y="56"/>
              </a:cxn>
              <a:cxn ang="0">
                <a:pos x="153" y="48"/>
              </a:cxn>
              <a:cxn ang="0">
                <a:pos x="153" y="40"/>
              </a:cxn>
              <a:cxn ang="0">
                <a:pos x="147" y="27"/>
              </a:cxn>
              <a:cxn ang="0">
                <a:pos x="139" y="17"/>
              </a:cxn>
              <a:cxn ang="0">
                <a:pos x="132" y="6"/>
              </a:cxn>
              <a:cxn ang="0">
                <a:pos x="128" y="0"/>
              </a:cxn>
              <a:cxn ang="0">
                <a:pos x="116" y="6"/>
              </a:cxn>
              <a:cxn ang="0">
                <a:pos x="109" y="14"/>
              </a:cxn>
              <a:cxn ang="0">
                <a:pos x="99" y="19"/>
              </a:cxn>
              <a:cxn ang="0">
                <a:pos x="86" y="23"/>
              </a:cxn>
              <a:cxn ang="0">
                <a:pos x="84" y="23"/>
              </a:cxn>
              <a:cxn ang="0">
                <a:pos x="78" y="17"/>
              </a:cxn>
              <a:cxn ang="0">
                <a:pos x="74" y="17"/>
              </a:cxn>
              <a:cxn ang="0">
                <a:pos x="57" y="21"/>
              </a:cxn>
              <a:cxn ang="0">
                <a:pos x="42" y="33"/>
              </a:cxn>
              <a:cxn ang="0">
                <a:pos x="29" y="46"/>
              </a:cxn>
              <a:cxn ang="0">
                <a:pos x="25" y="61"/>
              </a:cxn>
              <a:cxn ang="0">
                <a:pos x="25" y="65"/>
              </a:cxn>
              <a:cxn ang="0">
                <a:pos x="27" y="71"/>
              </a:cxn>
              <a:cxn ang="0">
                <a:pos x="27" y="77"/>
              </a:cxn>
              <a:cxn ang="0">
                <a:pos x="25" y="82"/>
              </a:cxn>
              <a:cxn ang="0">
                <a:pos x="23" y="84"/>
              </a:cxn>
              <a:cxn ang="0">
                <a:pos x="15" y="88"/>
              </a:cxn>
              <a:cxn ang="0">
                <a:pos x="8" y="92"/>
              </a:cxn>
              <a:cxn ang="0">
                <a:pos x="4" y="100"/>
              </a:cxn>
              <a:cxn ang="0">
                <a:pos x="0" y="111"/>
              </a:cxn>
              <a:cxn ang="0">
                <a:pos x="2" y="115"/>
              </a:cxn>
              <a:cxn ang="0">
                <a:pos x="4" y="121"/>
              </a:cxn>
              <a:cxn ang="0">
                <a:pos x="6" y="124"/>
              </a:cxn>
              <a:cxn ang="0">
                <a:pos x="10" y="130"/>
              </a:cxn>
              <a:cxn ang="0">
                <a:pos x="11" y="132"/>
              </a:cxn>
              <a:cxn ang="0">
                <a:pos x="11" y="130"/>
              </a:cxn>
              <a:cxn ang="0">
                <a:pos x="13" y="126"/>
              </a:cxn>
              <a:cxn ang="0">
                <a:pos x="17" y="122"/>
              </a:cxn>
              <a:cxn ang="0">
                <a:pos x="23" y="121"/>
              </a:cxn>
              <a:cxn ang="0">
                <a:pos x="25" y="121"/>
              </a:cxn>
              <a:cxn ang="0">
                <a:pos x="34" y="122"/>
              </a:cxn>
              <a:cxn ang="0">
                <a:pos x="40" y="128"/>
              </a:cxn>
              <a:cxn ang="0">
                <a:pos x="48" y="134"/>
              </a:cxn>
              <a:cxn ang="0">
                <a:pos x="57" y="136"/>
              </a:cxn>
              <a:cxn ang="0">
                <a:pos x="69" y="136"/>
              </a:cxn>
              <a:cxn ang="0">
                <a:pos x="84" y="124"/>
              </a:cxn>
              <a:cxn ang="0">
                <a:pos x="93" y="109"/>
              </a:cxn>
              <a:cxn ang="0">
                <a:pos x="107" y="98"/>
              </a:cxn>
              <a:cxn ang="0">
                <a:pos x="118" y="96"/>
              </a:cxn>
              <a:cxn ang="0">
                <a:pos x="124" y="98"/>
              </a:cxn>
              <a:cxn ang="0">
                <a:pos x="128" y="100"/>
              </a:cxn>
            </a:cxnLst>
            <a:rect l="0" t="0" r="r" b="b"/>
            <a:pathLst>
              <a:path w="164" h="136">
                <a:moveTo>
                  <a:pt x="124" y="100"/>
                </a:moveTo>
                <a:lnTo>
                  <a:pt x="124" y="100"/>
                </a:lnTo>
                <a:lnTo>
                  <a:pt x="126" y="100"/>
                </a:lnTo>
                <a:lnTo>
                  <a:pt x="126" y="100"/>
                </a:lnTo>
                <a:lnTo>
                  <a:pt x="128" y="100"/>
                </a:lnTo>
                <a:lnTo>
                  <a:pt x="132" y="100"/>
                </a:lnTo>
                <a:lnTo>
                  <a:pt x="134" y="100"/>
                </a:lnTo>
                <a:lnTo>
                  <a:pt x="137" y="100"/>
                </a:lnTo>
                <a:lnTo>
                  <a:pt x="141" y="100"/>
                </a:lnTo>
                <a:lnTo>
                  <a:pt x="145" y="100"/>
                </a:lnTo>
                <a:lnTo>
                  <a:pt x="145" y="100"/>
                </a:lnTo>
                <a:lnTo>
                  <a:pt x="151" y="100"/>
                </a:lnTo>
                <a:lnTo>
                  <a:pt x="155" y="98"/>
                </a:lnTo>
                <a:lnTo>
                  <a:pt x="156" y="96"/>
                </a:lnTo>
                <a:lnTo>
                  <a:pt x="160" y="92"/>
                </a:lnTo>
                <a:lnTo>
                  <a:pt x="162" y="88"/>
                </a:lnTo>
                <a:lnTo>
                  <a:pt x="162" y="84"/>
                </a:lnTo>
                <a:lnTo>
                  <a:pt x="164" y="77"/>
                </a:lnTo>
                <a:lnTo>
                  <a:pt x="164" y="71"/>
                </a:lnTo>
                <a:lnTo>
                  <a:pt x="164" y="71"/>
                </a:lnTo>
                <a:lnTo>
                  <a:pt x="164" y="69"/>
                </a:lnTo>
                <a:lnTo>
                  <a:pt x="162" y="65"/>
                </a:lnTo>
                <a:lnTo>
                  <a:pt x="160" y="63"/>
                </a:lnTo>
                <a:lnTo>
                  <a:pt x="158" y="61"/>
                </a:lnTo>
                <a:lnTo>
                  <a:pt x="156" y="59"/>
                </a:lnTo>
                <a:lnTo>
                  <a:pt x="155" y="56"/>
                </a:lnTo>
                <a:lnTo>
                  <a:pt x="155" y="52"/>
                </a:lnTo>
                <a:lnTo>
                  <a:pt x="153" y="48"/>
                </a:lnTo>
                <a:lnTo>
                  <a:pt x="153" y="48"/>
                </a:lnTo>
                <a:lnTo>
                  <a:pt x="153" y="40"/>
                </a:lnTo>
                <a:lnTo>
                  <a:pt x="151" y="33"/>
                </a:lnTo>
                <a:lnTo>
                  <a:pt x="147" y="27"/>
                </a:lnTo>
                <a:lnTo>
                  <a:pt x="143" y="21"/>
                </a:lnTo>
                <a:lnTo>
                  <a:pt x="139" y="17"/>
                </a:lnTo>
                <a:lnTo>
                  <a:pt x="135" y="12"/>
                </a:lnTo>
                <a:lnTo>
                  <a:pt x="132" y="6"/>
                </a:lnTo>
                <a:lnTo>
                  <a:pt x="128" y="0"/>
                </a:lnTo>
                <a:lnTo>
                  <a:pt x="128" y="0"/>
                </a:lnTo>
                <a:lnTo>
                  <a:pt x="122" y="2"/>
                </a:lnTo>
                <a:lnTo>
                  <a:pt x="116" y="6"/>
                </a:lnTo>
                <a:lnTo>
                  <a:pt x="113" y="8"/>
                </a:lnTo>
                <a:lnTo>
                  <a:pt x="109" y="14"/>
                </a:lnTo>
                <a:lnTo>
                  <a:pt x="103" y="17"/>
                </a:lnTo>
                <a:lnTo>
                  <a:pt x="99" y="19"/>
                </a:lnTo>
                <a:lnTo>
                  <a:pt x="93" y="23"/>
                </a:lnTo>
                <a:lnTo>
                  <a:pt x="86" y="23"/>
                </a:lnTo>
                <a:lnTo>
                  <a:pt x="86" y="23"/>
                </a:lnTo>
                <a:lnTo>
                  <a:pt x="84" y="23"/>
                </a:lnTo>
                <a:lnTo>
                  <a:pt x="82" y="21"/>
                </a:lnTo>
                <a:lnTo>
                  <a:pt x="78" y="17"/>
                </a:lnTo>
                <a:lnTo>
                  <a:pt x="74" y="17"/>
                </a:lnTo>
                <a:lnTo>
                  <a:pt x="74" y="17"/>
                </a:lnTo>
                <a:lnTo>
                  <a:pt x="67" y="19"/>
                </a:lnTo>
                <a:lnTo>
                  <a:pt x="57" y="21"/>
                </a:lnTo>
                <a:lnTo>
                  <a:pt x="50" y="27"/>
                </a:lnTo>
                <a:lnTo>
                  <a:pt x="42" y="33"/>
                </a:lnTo>
                <a:lnTo>
                  <a:pt x="34" y="38"/>
                </a:lnTo>
                <a:lnTo>
                  <a:pt x="29" y="46"/>
                </a:lnTo>
                <a:lnTo>
                  <a:pt x="25" y="54"/>
                </a:lnTo>
                <a:lnTo>
                  <a:pt x="25" y="61"/>
                </a:lnTo>
                <a:lnTo>
                  <a:pt x="25" y="61"/>
                </a:lnTo>
                <a:lnTo>
                  <a:pt x="25" y="65"/>
                </a:lnTo>
                <a:lnTo>
                  <a:pt x="25" y="67"/>
                </a:lnTo>
                <a:lnTo>
                  <a:pt x="27" y="71"/>
                </a:lnTo>
                <a:lnTo>
                  <a:pt x="27" y="75"/>
                </a:lnTo>
                <a:lnTo>
                  <a:pt x="27" y="77"/>
                </a:lnTo>
                <a:lnTo>
                  <a:pt x="27" y="80"/>
                </a:lnTo>
                <a:lnTo>
                  <a:pt x="25" y="82"/>
                </a:lnTo>
                <a:lnTo>
                  <a:pt x="23" y="84"/>
                </a:lnTo>
                <a:lnTo>
                  <a:pt x="23" y="84"/>
                </a:lnTo>
                <a:lnTo>
                  <a:pt x="19" y="86"/>
                </a:lnTo>
                <a:lnTo>
                  <a:pt x="15" y="88"/>
                </a:lnTo>
                <a:lnTo>
                  <a:pt x="11" y="90"/>
                </a:lnTo>
                <a:lnTo>
                  <a:pt x="8" y="92"/>
                </a:lnTo>
                <a:lnTo>
                  <a:pt x="6" y="96"/>
                </a:lnTo>
                <a:lnTo>
                  <a:pt x="4" y="100"/>
                </a:lnTo>
                <a:lnTo>
                  <a:pt x="2" y="105"/>
                </a:lnTo>
                <a:lnTo>
                  <a:pt x="0" y="111"/>
                </a:lnTo>
                <a:lnTo>
                  <a:pt x="0" y="111"/>
                </a:lnTo>
                <a:lnTo>
                  <a:pt x="2" y="115"/>
                </a:lnTo>
                <a:lnTo>
                  <a:pt x="2" y="117"/>
                </a:lnTo>
                <a:lnTo>
                  <a:pt x="4" y="121"/>
                </a:lnTo>
                <a:lnTo>
                  <a:pt x="4" y="122"/>
                </a:lnTo>
                <a:lnTo>
                  <a:pt x="6" y="124"/>
                </a:lnTo>
                <a:lnTo>
                  <a:pt x="8" y="128"/>
                </a:lnTo>
                <a:lnTo>
                  <a:pt x="10" y="130"/>
                </a:lnTo>
                <a:lnTo>
                  <a:pt x="11" y="132"/>
                </a:lnTo>
                <a:lnTo>
                  <a:pt x="11" y="132"/>
                </a:lnTo>
                <a:lnTo>
                  <a:pt x="11" y="132"/>
                </a:lnTo>
                <a:lnTo>
                  <a:pt x="11" y="130"/>
                </a:lnTo>
                <a:lnTo>
                  <a:pt x="13" y="128"/>
                </a:lnTo>
                <a:lnTo>
                  <a:pt x="13" y="126"/>
                </a:lnTo>
                <a:lnTo>
                  <a:pt x="15" y="124"/>
                </a:lnTo>
                <a:lnTo>
                  <a:pt x="17" y="122"/>
                </a:lnTo>
                <a:lnTo>
                  <a:pt x="19" y="121"/>
                </a:lnTo>
                <a:lnTo>
                  <a:pt x="23" y="121"/>
                </a:lnTo>
                <a:lnTo>
                  <a:pt x="25" y="121"/>
                </a:lnTo>
                <a:lnTo>
                  <a:pt x="25" y="121"/>
                </a:lnTo>
                <a:lnTo>
                  <a:pt x="29" y="121"/>
                </a:lnTo>
                <a:lnTo>
                  <a:pt x="34" y="122"/>
                </a:lnTo>
                <a:lnTo>
                  <a:pt x="38" y="126"/>
                </a:lnTo>
                <a:lnTo>
                  <a:pt x="40" y="128"/>
                </a:lnTo>
                <a:lnTo>
                  <a:pt x="44" y="132"/>
                </a:lnTo>
                <a:lnTo>
                  <a:pt x="48" y="134"/>
                </a:lnTo>
                <a:lnTo>
                  <a:pt x="53" y="136"/>
                </a:lnTo>
                <a:lnTo>
                  <a:pt x="57" y="136"/>
                </a:lnTo>
                <a:lnTo>
                  <a:pt x="57" y="136"/>
                </a:lnTo>
                <a:lnTo>
                  <a:pt x="69" y="136"/>
                </a:lnTo>
                <a:lnTo>
                  <a:pt x="78" y="130"/>
                </a:lnTo>
                <a:lnTo>
                  <a:pt x="84" y="124"/>
                </a:lnTo>
                <a:lnTo>
                  <a:pt x="88" y="117"/>
                </a:lnTo>
                <a:lnTo>
                  <a:pt x="93" y="109"/>
                </a:lnTo>
                <a:lnTo>
                  <a:pt x="99" y="103"/>
                </a:lnTo>
                <a:lnTo>
                  <a:pt x="107" y="98"/>
                </a:lnTo>
                <a:lnTo>
                  <a:pt x="118" y="96"/>
                </a:lnTo>
                <a:lnTo>
                  <a:pt x="118" y="96"/>
                </a:lnTo>
                <a:lnTo>
                  <a:pt x="122" y="96"/>
                </a:lnTo>
                <a:lnTo>
                  <a:pt x="124" y="98"/>
                </a:lnTo>
                <a:lnTo>
                  <a:pt x="126" y="98"/>
                </a:lnTo>
                <a:lnTo>
                  <a:pt x="128" y="100"/>
                </a:lnTo>
                <a:lnTo>
                  <a:pt x="124" y="10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37" name="Freeform 9"/>
          <p:cNvSpPr>
            <a:spLocks/>
          </p:cNvSpPr>
          <p:nvPr>
            <p:custDataLst>
              <p:tags r:id="rId9"/>
            </p:custDataLst>
          </p:nvPr>
        </p:nvSpPr>
        <p:spPr bwMode="gray">
          <a:xfrm>
            <a:off x="4741282" y="3809648"/>
            <a:ext cx="758085" cy="754801"/>
          </a:xfrm>
          <a:custGeom>
            <a:avLst/>
            <a:gdLst/>
            <a:ahLst/>
            <a:cxnLst>
              <a:cxn ang="0">
                <a:pos x="641" y="178"/>
              </a:cxn>
              <a:cxn ang="0">
                <a:pos x="341" y="14"/>
              </a:cxn>
              <a:cxn ang="0">
                <a:pos x="320" y="52"/>
              </a:cxn>
              <a:cxn ang="0">
                <a:pos x="294" y="82"/>
              </a:cxn>
              <a:cxn ang="0">
                <a:pos x="319" y="113"/>
              </a:cxn>
              <a:cxn ang="0">
                <a:pos x="292" y="126"/>
              </a:cxn>
              <a:cxn ang="0">
                <a:pos x="277" y="119"/>
              </a:cxn>
              <a:cxn ang="0">
                <a:pos x="256" y="130"/>
              </a:cxn>
              <a:cxn ang="0">
                <a:pos x="217" y="113"/>
              </a:cxn>
              <a:cxn ang="0">
                <a:pos x="185" y="134"/>
              </a:cxn>
              <a:cxn ang="0">
                <a:pos x="179" y="126"/>
              </a:cxn>
              <a:cxn ang="0">
                <a:pos x="179" y="107"/>
              </a:cxn>
              <a:cxn ang="0">
                <a:pos x="168" y="86"/>
              </a:cxn>
              <a:cxn ang="0">
                <a:pos x="183" y="38"/>
              </a:cxn>
              <a:cxn ang="0">
                <a:pos x="181" y="10"/>
              </a:cxn>
              <a:cxn ang="0">
                <a:pos x="65" y="21"/>
              </a:cxn>
              <a:cxn ang="0">
                <a:pos x="90" y="69"/>
              </a:cxn>
              <a:cxn ang="0">
                <a:pos x="101" y="92"/>
              </a:cxn>
              <a:cxn ang="0">
                <a:pos x="82" y="121"/>
              </a:cxn>
              <a:cxn ang="0">
                <a:pos x="61" y="121"/>
              </a:cxn>
              <a:cxn ang="0">
                <a:pos x="84" y="168"/>
              </a:cxn>
              <a:cxn ang="0">
                <a:pos x="93" y="174"/>
              </a:cxn>
              <a:cxn ang="0">
                <a:pos x="69" y="214"/>
              </a:cxn>
              <a:cxn ang="0">
                <a:pos x="30" y="275"/>
              </a:cxn>
              <a:cxn ang="0">
                <a:pos x="0" y="286"/>
              </a:cxn>
              <a:cxn ang="0">
                <a:pos x="11" y="332"/>
              </a:cxn>
              <a:cxn ang="0">
                <a:pos x="27" y="388"/>
              </a:cxn>
              <a:cxn ang="0">
                <a:pos x="11" y="424"/>
              </a:cxn>
              <a:cxn ang="0">
                <a:pos x="48" y="454"/>
              </a:cxn>
              <a:cxn ang="0">
                <a:pos x="76" y="517"/>
              </a:cxn>
              <a:cxn ang="0">
                <a:pos x="103" y="582"/>
              </a:cxn>
              <a:cxn ang="0">
                <a:pos x="126" y="624"/>
              </a:cxn>
              <a:cxn ang="0">
                <a:pos x="141" y="622"/>
              </a:cxn>
              <a:cxn ang="0">
                <a:pos x="162" y="639"/>
              </a:cxn>
              <a:cxn ang="0">
                <a:pos x="219" y="660"/>
              </a:cxn>
              <a:cxn ang="0">
                <a:pos x="278" y="689"/>
              </a:cxn>
              <a:cxn ang="0">
                <a:pos x="334" y="691"/>
              </a:cxn>
              <a:cxn ang="0">
                <a:pos x="370" y="725"/>
              </a:cxn>
              <a:cxn ang="0">
                <a:pos x="385" y="805"/>
              </a:cxn>
              <a:cxn ang="0">
                <a:pos x="391" y="836"/>
              </a:cxn>
              <a:cxn ang="0">
                <a:pos x="420" y="842"/>
              </a:cxn>
              <a:cxn ang="0">
                <a:pos x="462" y="828"/>
              </a:cxn>
              <a:cxn ang="0">
                <a:pos x="494" y="836"/>
              </a:cxn>
              <a:cxn ang="0">
                <a:pos x="540" y="847"/>
              </a:cxn>
              <a:cxn ang="0">
                <a:pos x="595" y="842"/>
              </a:cxn>
              <a:cxn ang="0">
                <a:pos x="641" y="819"/>
              </a:cxn>
              <a:cxn ang="0">
                <a:pos x="675" y="817"/>
              </a:cxn>
              <a:cxn ang="0">
                <a:pos x="742" y="803"/>
              </a:cxn>
              <a:cxn ang="0">
                <a:pos x="822" y="750"/>
              </a:cxn>
              <a:cxn ang="0">
                <a:pos x="795" y="721"/>
              </a:cxn>
              <a:cxn ang="0">
                <a:pos x="782" y="670"/>
              </a:cxn>
              <a:cxn ang="0">
                <a:pos x="761" y="605"/>
              </a:cxn>
              <a:cxn ang="0">
                <a:pos x="771" y="565"/>
              </a:cxn>
              <a:cxn ang="0">
                <a:pos x="761" y="531"/>
              </a:cxn>
              <a:cxn ang="0">
                <a:pos x="782" y="493"/>
              </a:cxn>
              <a:cxn ang="0">
                <a:pos x="782" y="479"/>
              </a:cxn>
              <a:cxn ang="0">
                <a:pos x="750" y="451"/>
              </a:cxn>
              <a:cxn ang="0">
                <a:pos x="727" y="410"/>
              </a:cxn>
              <a:cxn ang="0">
                <a:pos x="746" y="348"/>
              </a:cxn>
            </a:cxnLst>
            <a:rect l="0" t="0" r="r" b="b"/>
            <a:pathLst>
              <a:path w="826" h="849">
                <a:moveTo>
                  <a:pt x="757" y="298"/>
                </a:moveTo>
                <a:lnTo>
                  <a:pt x="633" y="204"/>
                </a:lnTo>
                <a:lnTo>
                  <a:pt x="633" y="204"/>
                </a:lnTo>
                <a:lnTo>
                  <a:pt x="635" y="199"/>
                </a:lnTo>
                <a:lnTo>
                  <a:pt x="637" y="195"/>
                </a:lnTo>
                <a:lnTo>
                  <a:pt x="637" y="191"/>
                </a:lnTo>
                <a:lnTo>
                  <a:pt x="639" y="185"/>
                </a:lnTo>
                <a:lnTo>
                  <a:pt x="639" y="182"/>
                </a:lnTo>
                <a:lnTo>
                  <a:pt x="641" y="178"/>
                </a:lnTo>
                <a:lnTo>
                  <a:pt x="643" y="174"/>
                </a:lnTo>
                <a:lnTo>
                  <a:pt x="643" y="168"/>
                </a:lnTo>
                <a:lnTo>
                  <a:pt x="353" y="6"/>
                </a:lnTo>
                <a:lnTo>
                  <a:pt x="353" y="6"/>
                </a:lnTo>
                <a:lnTo>
                  <a:pt x="349" y="0"/>
                </a:lnTo>
                <a:lnTo>
                  <a:pt x="349" y="0"/>
                </a:lnTo>
                <a:lnTo>
                  <a:pt x="347" y="4"/>
                </a:lnTo>
                <a:lnTo>
                  <a:pt x="343" y="10"/>
                </a:lnTo>
                <a:lnTo>
                  <a:pt x="341" y="14"/>
                </a:lnTo>
                <a:lnTo>
                  <a:pt x="338" y="18"/>
                </a:lnTo>
                <a:lnTo>
                  <a:pt x="336" y="23"/>
                </a:lnTo>
                <a:lnTo>
                  <a:pt x="334" y="27"/>
                </a:lnTo>
                <a:lnTo>
                  <a:pt x="332" y="31"/>
                </a:lnTo>
                <a:lnTo>
                  <a:pt x="328" y="35"/>
                </a:lnTo>
                <a:lnTo>
                  <a:pt x="326" y="38"/>
                </a:lnTo>
                <a:lnTo>
                  <a:pt x="324" y="42"/>
                </a:lnTo>
                <a:lnTo>
                  <a:pt x="322" y="48"/>
                </a:lnTo>
                <a:lnTo>
                  <a:pt x="320" y="52"/>
                </a:lnTo>
                <a:lnTo>
                  <a:pt x="319" y="56"/>
                </a:lnTo>
                <a:lnTo>
                  <a:pt x="317" y="59"/>
                </a:lnTo>
                <a:lnTo>
                  <a:pt x="315" y="63"/>
                </a:lnTo>
                <a:lnTo>
                  <a:pt x="313" y="67"/>
                </a:lnTo>
                <a:lnTo>
                  <a:pt x="313" y="67"/>
                </a:lnTo>
                <a:lnTo>
                  <a:pt x="309" y="73"/>
                </a:lnTo>
                <a:lnTo>
                  <a:pt x="305" y="77"/>
                </a:lnTo>
                <a:lnTo>
                  <a:pt x="299" y="79"/>
                </a:lnTo>
                <a:lnTo>
                  <a:pt x="294" y="82"/>
                </a:lnTo>
                <a:lnTo>
                  <a:pt x="290" y="84"/>
                </a:lnTo>
                <a:lnTo>
                  <a:pt x="286" y="86"/>
                </a:lnTo>
                <a:lnTo>
                  <a:pt x="282" y="92"/>
                </a:lnTo>
                <a:lnTo>
                  <a:pt x="278" y="96"/>
                </a:lnTo>
                <a:lnTo>
                  <a:pt x="326" y="96"/>
                </a:lnTo>
                <a:lnTo>
                  <a:pt x="326" y="96"/>
                </a:lnTo>
                <a:lnTo>
                  <a:pt x="324" y="101"/>
                </a:lnTo>
                <a:lnTo>
                  <a:pt x="322" y="107"/>
                </a:lnTo>
                <a:lnTo>
                  <a:pt x="319" y="113"/>
                </a:lnTo>
                <a:lnTo>
                  <a:pt x="315" y="117"/>
                </a:lnTo>
                <a:lnTo>
                  <a:pt x="311" y="121"/>
                </a:lnTo>
                <a:lnTo>
                  <a:pt x="307" y="124"/>
                </a:lnTo>
                <a:lnTo>
                  <a:pt x="303" y="128"/>
                </a:lnTo>
                <a:lnTo>
                  <a:pt x="301" y="132"/>
                </a:lnTo>
                <a:lnTo>
                  <a:pt x="301" y="132"/>
                </a:lnTo>
                <a:lnTo>
                  <a:pt x="298" y="130"/>
                </a:lnTo>
                <a:lnTo>
                  <a:pt x="294" y="128"/>
                </a:lnTo>
                <a:lnTo>
                  <a:pt x="292" y="126"/>
                </a:lnTo>
                <a:lnTo>
                  <a:pt x="292" y="124"/>
                </a:lnTo>
                <a:lnTo>
                  <a:pt x="292" y="124"/>
                </a:lnTo>
                <a:lnTo>
                  <a:pt x="288" y="122"/>
                </a:lnTo>
                <a:lnTo>
                  <a:pt x="286" y="122"/>
                </a:lnTo>
                <a:lnTo>
                  <a:pt x="284" y="122"/>
                </a:lnTo>
                <a:lnTo>
                  <a:pt x="282" y="121"/>
                </a:lnTo>
                <a:lnTo>
                  <a:pt x="280" y="121"/>
                </a:lnTo>
                <a:lnTo>
                  <a:pt x="278" y="119"/>
                </a:lnTo>
                <a:lnTo>
                  <a:pt x="277" y="119"/>
                </a:lnTo>
                <a:lnTo>
                  <a:pt x="273" y="117"/>
                </a:lnTo>
                <a:lnTo>
                  <a:pt x="273" y="117"/>
                </a:lnTo>
                <a:lnTo>
                  <a:pt x="269" y="119"/>
                </a:lnTo>
                <a:lnTo>
                  <a:pt x="265" y="121"/>
                </a:lnTo>
                <a:lnTo>
                  <a:pt x="263" y="121"/>
                </a:lnTo>
                <a:lnTo>
                  <a:pt x="261" y="122"/>
                </a:lnTo>
                <a:lnTo>
                  <a:pt x="259" y="126"/>
                </a:lnTo>
                <a:lnTo>
                  <a:pt x="257" y="128"/>
                </a:lnTo>
                <a:lnTo>
                  <a:pt x="256" y="130"/>
                </a:lnTo>
                <a:lnTo>
                  <a:pt x="254" y="130"/>
                </a:lnTo>
                <a:lnTo>
                  <a:pt x="254" y="130"/>
                </a:lnTo>
                <a:lnTo>
                  <a:pt x="250" y="128"/>
                </a:lnTo>
                <a:lnTo>
                  <a:pt x="244" y="126"/>
                </a:lnTo>
                <a:lnTo>
                  <a:pt x="240" y="124"/>
                </a:lnTo>
                <a:lnTo>
                  <a:pt x="235" y="121"/>
                </a:lnTo>
                <a:lnTo>
                  <a:pt x="229" y="117"/>
                </a:lnTo>
                <a:lnTo>
                  <a:pt x="223" y="115"/>
                </a:lnTo>
                <a:lnTo>
                  <a:pt x="217" y="113"/>
                </a:lnTo>
                <a:lnTo>
                  <a:pt x="214" y="111"/>
                </a:lnTo>
                <a:lnTo>
                  <a:pt x="214" y="111"/>
                </a:lnTo>
                <a:lnTo>
                  <a:pt x="208" y="113"/>
                </a:lnTo>
                <a:lnTo>
                  <a:pt x="204" y="115"/>
                </a:lnTo>
                <a:lnTo>
                  <a:pt x="198" y="117"/>
                </a:lnTo>
                <a:lnTo>
                  <a:pt x="195" y="121"/>
                </a:lnTo>
                <a:lnTo>
                  <a:pt x="193" y="126"/>
                </a:lnTo>
                <a:lnTo>
                  <a:pt x="189" y="130"/>
                </a:lnTo>
                <a:lnTo>
                  <a:pt x="185" y="134"/>
                </a:lnTo>
                <a:lnTo>
                  <a:pt x="183" y="138"/>
                </a:lnTo>
                <a:lnTo>
                  <a:pt x="183" y="138"/>
                </a:lnTo>
                <a:lnTo>
                  <a:pt x="181" y="138"/>
                </a:lnTo>
                <a:lnTo>
                  <a:pt x="179" y="136"/>
                </a:lnTo>
                <a:lnTo>
                  <a:pt x="177" y="134"/>
                </a:lnTo>
                <a:lnTo>
                  <a:pt x="177" y="132"/>
                </a:lnTo>
                <a:lnTo>
                  <a:pt x="177" y="132"/>
                </a:lnTo>
                <a:lnTo>
                  <a:pt x="177" y="130"/>
                </a:lnTo>
                <a:lnTo>
                  <a:pt x="179" y="126"/>
                </a:lnTo>
                <a:lnTo>
                  <a:pt x="179" y="124"/>
                </a:lnTo>
                <a:lnTo>
                  <a:pt x="181" y="122"/>
                </a:lnTo>
                <a:lnTo>
                  <a:pt x="181" y="121"/>
                </a:lnTo>
                <a:lnTo>
                  <a:pt x="183" y="117"/>
                </a:lnTo>
                <a:lnTo>
                  <a:pt x="183" y="115"/>
                </a:lnTo>
                <a:lnTo>
                  <a:pt x="183" y="111"/>
                </a:lnTo>
                <a:lnTo>
                  <a:pt x="183" y="111"/>
                </a:lnTo>
                <a:lnTo>
                  <a:pt x="183" y="107"/>
                </a:lnTo>
                <a:lnTo>
                  <a:pt x="179" y="107"/>
                </a:lnTo>
                <a:lnTo>
                  <a:pt x="175" y="105"/>
                </a:lnTo>
                <a:lnTo>
                  <a:pt x="172" y="105"/>
                </a:lnTo>
                <a:lnTo>
                  <a:pt x="172" y="105"/>
                </a:lnTo>
                <a:lnTo>
                  <a:pt x="172" y="103"/>
                </a:lnTo>
                <a:lnTo>
                  <a:pt x="170" y="101"/>
                </a:lnTo>
                <a:lnTo>
                  <a:pt x="170" y="98"/>
                </a:lnTo>
                <a:lnTo>
                  <a:pt x="170" y="94"/>
                </a:lnTo>
                <a:lnTo>
                  <a:pt x="168" y="88"/>
                </a:lnTo>
                <a:lnTo>
                  <a:pt x="168" y="86"/>
                </a:lnTo>
                <a:lnTo>
                  <a:pt x="168" y="82"/>
                </a:lnTo>
                <a:lnTo>
                  <a:pt x="168" y="80"/>
                </a:lnTo>
                <a:lnTo>
                  <a:pt x="168" y="80"/>
                </a:lnTo>
                <a:lnTo>
                  <a:pt x="170" y="71"/>
                </a:lnTo>
                <a:lnTo>
                  <a:pt x="170" y="63"/>
                </a:lnTo>
                <a:lnTo>
                  <a:pt x="174" y="58"/>
                </a:lnTo>
                <a:lnTo>
                  <a:pt x="177" y="52"/>
                </a:lnTo>
                <a:lnTo>
                  <a:pt x="179" y="46"/>
                </a:lnTo>
                <a:lnTo>
                  <a:pt x="183" y="38"/>
                </a:lnTo>
                <a:lnTo>
                  <a:pt x="183" y="31"/>
                </a:lnTo>
                <a:lnTo>
                  <a:pt x="185" y="23"/>
                </a:lnTo>
                <a:lnTo>
                  <a:pt x="185" y="23"/>
                </a:lnTo>
                <a:lnTo>
                  <a:pt x="185" y="19"/>
                </a:lnTo>
                <a:lnTo>
                  <a:pt x="185" y="18"/>
                </a:lnTo>
                <a:lnTo>
                  <a:pt x="183" y="14"/>
                </a:lnTo>
                <a:lnTo>
                  <a:pt x="183" y="12"/>
                </a:lnTo>
                <a:lnTo>
                  <a:pt x="181" y="12"/>
                </a:lnTo>
                <a:lnTo>
                  <a:pt x="181" y="10"/>
                </a:lnTo>
                <a:lnTo>
                  <a:pt x="179" y="8"/>
                </a:lnTo>
                <a:lnTo>
                  <a:pt x="179" y="6"/>
                </a:lnTo>
                <a:lnTo>
                  <a:pt x="74" y="8"/>
                </a:lnTo>
                <a:lnTo>
                  <a:pt x="74" y="8"/>
                </a:lnTo>
                <a:lnTo>
                  <a:pt x="71" y="12"/>
                </a:lnTo>
                <a:lnTo>
                  <a:pt x="69" y="14"/>
                </a:lnTo>
                <a:lnTo>
                  <a:pt x="67" y="16"/>
                </a:lnTo>
                <a:lnTo>
                  <a:pt x="67" y="19"/>
                </a:lnTo>
                <a:lnTo>
                  <a:pt x="65" y="21"/>
                </a:lnTo>
                <a:lnTo>
                  <a:pt x="65" y="21"/>
                </a:lnTo>
                <a:lnTo>
                  <a:pt x="69" y="27"/>
                </a:lnTo>
                <a:lnTo>
                  <a:pt x="72" y="33"/>
                </a:lnTo>
                <a:lnTo>
                  <a:pt x="76" y="38"/>
                </a:lnTo>
                <a:lnTo>
                  <a:pt x="80" y="42"/>
                </a:lnTo>
                <a:lnTo>
                  <a:pt x="84" y="48"/>
                </a:lnTo>
                <a:lnTo>
                  <a:pt x="88" y="54"/>
                </a:lnTo>
                <a:lnTo>
                  <a:pt x="90" y="61"/>
                </a:lnTo>
                <a:lnTo>
                  <a:pt x="90" y="69"/>
                </a:lnTo>
                <a:lnTo>
                  <a:pt x="90" y="69"/>
                </a:lnTo>
                <a:lnTo>
                  <a:pt x="92" y="73"/>
                </a:lnTo>
                <a:lnTo>
                  <a:pt x="92" y="77"/>
                </a:lnTo>
                <a:lnTo>
                  <a:pt x="93" y="80"/>
                </a:lnTo>
                <a:lnTo>
                  <a:pt x="95" y="82"/>
                </a:lnTo>
                <a:lnTo>
                  <a:pt x="97" y="84"/>
                </a:lnTo>
                <a:lnTo>
                  <a:pt x="99" y="86"/>
                </a:lnTo>
                <a:lnTo>
                  <a:pt x="101" y="90"/>
                </a:lnTo>
                <a:lnTo>
                  <a:pt x="101" y="92"/>
                </a:lnTo>
                <a:lnTo>
                  <a:pt x="101" y="92"/>
                </a:lnTo>
                <a:lnTo>
                  <a:pt x="101" y="98"/>
                </a:lnTo>
                <a:lnTo>
                  <a:pt x="99" y="105"/>
                </a:lnTo>
                <a:lnTo>
                  <a:pt x="99" y="109"/>
                </a:lnTo>
                <a:lnTo>
                  <a:pt x="97" y="113"/>
                </a:lnTo>
                <a:lnTo>
                  <a:pt x="93" y="117"/>
                </a:lnTo>
                <a:lnTo>
                  <a:pt x="92" y="119"/>
                </a:lnTo>
                <a:lnTo>
                  <a:pt x="88" y="121"/>
                </a:lnTo>
                <a:lnTo>
                  <a:pt x="82" y="121"/>
                </a:lnTo>
                <a:lnTo>
                  <a:pt x="82" y="121"/>
                </a:lnTo>
                <a:lnTo>
                  <a:pt x="78" y="121"/>
                </a:lnTo>
                <a:lnTo>
                  <a:pt x="74" y="121"/>
                </a:lnTo>
                <a:lnTo>
                  <a:pt x="71" y="121"/>
                </a:lnTo>
                <a:lnTo>
                  <a:pt x="69" y="121"/>
                </a:lnTo>
                <a:lnTo>
                  <a:pt x="65" y="121"/>
                </a:lnTo>
                <a:lnTo>
                  <a:pt x="63" y="121"/>
                </a:lnTo>
                <a:lnTo>
                  <a:pt x="63" y="121"/>
                </a:lnTo>
                <a:lnTo>
                  <a:pt x="61" y="121"/>
                </a:lnTo>
                <a:lnTo>
                  <a:pt x="65" y="121"/>
                </a:lnTo>
                <a:lnTo>
                  <a:pt x="65" y="121"/>
                </a:lnTo>
                <a:lnTo>
                  <a:pt x="71" y="124"/>
                </a:lnTo>
                <a:lnTo>
                  <a:pt x="72" y="132"/>
                </a:lnTo>
                <a:lnTo>
                  <a:pt x="72" y="140"/>
                </a:lnTo>
                <a:lnTo>
                  <a:pt x="72" y="149"/>
                </a:lnTo>
                <a:lnTo>
                  <a:pt x="74" y="157"/>
                </a:lnTo>
                <a:lnTo>
                  <a:pt x="78" y="164"/>
                </a:lnTo>
                <a:lnTo>
                  <a:pt x="84" y="168"/>
                </a:lnTo>
                <a:lnTo>
                  <a:pt x="95" y="170"/>
                </a:lnTo>
                <a:lnTo>
                  <a:pt x="95" y="170"/>
                </a:lnTo>
                <a:lnTo>
                  <a:pt x="95" y="170"/>
                </a:lnTo>
                <a:lnTo>
                  <a:pt x="95" y="172"/>
                </a:lnTo>
                <a:lnTo>
                  <a:pt x="95" y="174"/>
                </a:lnTo>
                <a:lnTo>
                  <a:pt x="95" y="176"/>
                </a:lnTo>
                <a:lnTo>
                  <a:pt x="92" y="170"/>
                </a:lnTo>
                <a:lnTo>
                  <a:pt x="92" y="170"/>
                </a:lnTo>
                <a:lnTo>
                  <a:pt x="93" y="174"/>
                </a:lnTo>
                <a:lnTo>
                  <a:pt x="93" y="176"/>
                </a:lnTo>
                <a:lnTo>
                  <a:pt x="95" y="178"/>
                </a:lnTo>
                <a:lnTo>
                  <a:pt x="95" y="180"/>
                </a:lnTo>
                <a:lnTo>
                  <a:pt x="95" y="180"/>
                </a:lnTo>
                <a:lnTo>
                  <a:pt x="95" y="187"/>
                </a:lnTo>
                <a:lnTo>
                  <a:pt x="90" y="195"/>
                </a:lnTo>
                <a:lnTo>
                  <a:pt x="84" y="201"/>
                </a:lnTo>
                <a:lnTo>
                  <a:pt x="76" y="208"/>
                </a:lnTo>
                <a:lnTo>
                  <a:pt x="69" y="214"/>
                </a:lnTo>
                <a:lnTo>
                  <a:pt x="61" y="222"/>
                </a:lnTo>
                <a:lnTo>
                  <a:pt x="55" y="229"/>
                </a:lnTo>
                <a:lnTo>
                  <a:pt x="51" y="235"/>
                </a:lnTo>
                <a:lnTo>
                  <a:pt x="51" y="235"/>
                </a:lnTo>
                <a:lnTo>
                  <a:pt x="50" y="243"/>
                </a:lnTo>
                <a:lnTo>
                  <a:pt x="46" y="250"/>
                </a:lnTo>
                <a:lnTo>
                  <a:pt x="42" y="258"/>
                </a:lnTo>
                <a:lnTo>
                  <a:pt x="36" y="267"/>
                </a:lnTo>
                <a:lnTo>
                  <a:pt x="30" y="275"/>
                </a:lnTo>
                <a:lnTo>
                  <a:pt x="25" y="281"/>
                </a:lnTo>
                <a:lnTo>
                  <a:pt x="17" y="285"/>
                </a:lnTo>
                <a:lnTo>
                  <a:pt x="9" y="286"/>
                </a:lnTo>
                <a:lnTo>
                  <a:pt x="9" y="286"/>
                </a:lnTo>
                <a:lnTo>
                  <a:pt x="6" y="286"/>
                </a:lnTo>
                <a:lnTo>
                  <a:pt x="4" y="286"/>
                </a:lnTo>
                <a:lnTo>
                  <a:pt x="2" y="286"/>
                </a:lnTo>
                <a:lnTo>
                  <a:pt x="0" y="286"/>
                </a:lnTo>
                <a:lnTo>
                  <a:pt x="0" y="286"/>
                </a:lnTo>
                <a:lnTo>
                  <a:pt x="2" y="292"/>
                </a:lnTo>
                <a:lnTo>
                  <a:pt x="4" y="298"/>
                </a:lnTo>
                <a:lnTo>
                  <a:pt x="6" y="304"/>
                </a:lnTo>
                <a:lnTo>
                  <a:pt x="6" y="311"/>
                </a:lnTo>
                <a:lnTo>
                  <a:pt x="8" y="317"/>
                </a:lnTo>
                <a:lnTo>
                  <a:pt x="9" y="323"/>
                </a:lnTo>
                <a:lnTo>
                  <a:pt x="11" y="328"/>
                </a:lnTo>
                <a:lnTo>
                  <a:pt x="11" y="332"/>
                </a:lnTo>
                <a:lnTo>
                  <a:pt x="11" y="332"/>
                </a:lnTo>
                <a:lnTo>
                  <a:pt x="15" y="344"/>
                </a:lnTo>
                <a:lnTo>
                  <a:pt x="15" y="353"/>
                </a:lnTo>
                <a:lnTo>
                  <a:pt x="15" y="361"/>
                </a:lnTo>
                <a:lnTo>
                  <a:pt x="13" y="367"/>
                </a:lnTo>
                <a:lnTo>
                  <a:pt x="15" y="372"/>
                </a:lnTo>
                <a:lnTo>
                  <a:pt x="15" y="378"/>
                </a:lnTo>
                <a:lnTo>
                  <a:pt x="19" y="382"/>
                </a:lnTo>
                <a:lnTo>
                  <a:pt x="27" y="388"/>
                </a:lnTo>
                <a:lnTo>
                  <a:pt x="27" y="388"/>
                </a:lnTo>
                <a:lnTo>
                  <a:pt x="25" y="393"/>
                </a:lnTo>
                <a:lnTo>
                  <a:pt x="23" y="399"/>
                </a:lnTo>
                <a:lnTo>
                  <a:pt x="21" y="403"/>
                </a:lnTo>
                <a:lnTo>
                  <a:pt x="17" y="407"/>
                </a:lnTo>
                <a:lnTo>
                  <a:pt x="15" y="410"/>
                </a:lnTo>
                <a:lnTo>
                  <a:pt x="13" y="414"/>
                </a:lnTo>
                <a:lnTo>
                  <a:pt x="11" y="418"/>
                </a:lnTo>
                <a:lnTo>
                  <a:pt x="11" y="424"/>
                </a:lnTo>
                <a:lnTo>
                  <a:pt x="11" y="424"/>
                </a:lnTo>
                <a:lnTo>
                  <a:pt x="11" y="430"/>
                </a:lnTo>
                <a:lnTo>
                  <a:pt x="15" y="435"/>
                </a:lnTo>
                <a:lnTo>
                  <a:pt x="21" y="439"/>
                </a:lnTo>
                <a:lnTo>
                  <a:pt x="27" y="443"/>
                </a:lnTo>
                <a:lnTo>
                  <a:pt x="32" y="447"/>
                </a:lnTo>
                <a:lnTo>
                  <a:pt x="40" y="449"/>
                </a:lnTo>
                <a:lnTo>
                  <a:pt x="44" y="452"/>
                </a:lnTo>
                <a:lnTo>
                  <a:pt x="48" y="454"/>
                </a:lnTo>
                <a:lnTo>
                  <a:pt x="48" y="454"/>
                </a:lnTo>
                <a:lnTo>
                  <a:pt x="55" y="462"/>
                </a:lnTo>
                <a:lnTo>
                  <a:pt x="59" y="470"/>
                </a:lnTo>
                <a:lnTo>
                  <a:pt x="63" y="477"/>
                </a:lnTo>
                <a:lnTo>
                  <a:pt x="67" y="485"/>
                </a:lnTo>
                <a:lnTo>
                  <a:pt x="69" y="493"/>
                </a:lnTo>
                <a:lnTo>
                  <a:pt x="71" y="500"/>
                </a:lnTo>
                <a:lnTo>
                  <a:pt x="74" y="508"/>
                </a:lnTo>
                <a:lnTo>
                  <a:pt x="76" y="517"/>
                </a:lnTo>
                <a:lnTo>
                  <a:pt x="76" y="517"/>
                </a:lnTo>
                <a:lnTo>
                  <a:pt x="82" y="525"/>
                </a:lnTo>
                <a:lnTo>
                  <a:pt x="84" y="535"/>
                </a:lnTo>
                <a:lnTo>
                  <a:pt x="88" y="542"/>
                </a:lnTo>
                <a:lnTo>
                  <a:pt x="92" y="550"/>
                </a:lnTo>
                <a:lnTo>
                  <a:pt x="93" y="557"/>
                </a:lnTo>
                <a:lnTo>
                  <a:pt x="95" y="565"/>
                </a:lnTo>
                <a:lnTo>
                  <a:pt x="99" y="575"/>
                </a:lnTo>
                <a:lnTo>
                  <a:pt x="103" y="582"/>
                </a:lnTo>
                <a:lnTo>
                  <a:pt x="103" y="582"/>
                </a:lnTo>
                <a:lnTo>
                  <a:pt x="107" y="588"/>
                </a:lnTo>
                <a:lnTo>
                  <a:pt x="111" y="594"/>
                </a:lnTo>
                <a:lnTo>
                  <a:pt x="114" y="597"/>
                </a:lnTo>
                <a:lnTo>
                  <a:pt x="118" y="603"/>
                </a:lnTo>
                <a:lnTo>
                  <a:pt x="122" y="607"/>
                </a:lnTo>
                <a:lnTo>
                  <a:pt x="124" y="613"/>
                </a:lnTo>
                <a:lnTo>
                  <a:pt x="126" y="617"/>
                </a:lnTo>
                <a:lnTo>
                  <a:pt x="126" y="624"/>
                </a:lnTo>
                <a:lnTo>
                  <a:pt x="126" y="624"/>
                </a:lnTo>
                <a:lnTo>
                  <a:pt x="132" y="622"/>
                </a:lnTo>
                <a:lnTo>
                  <a:pt x="133" y="622"/>
                </a:lnTo>
                <a:lnTo>
                  <a:pt x="135" y="622"/>
                </a:lnTo>
                <a:lnTo>
                  <a:pt x="137" y="622"/>
                </a:lnTo>
                <a:lnTo>
                  <a:pt x="137" y="622"/>
                </a:lnTo>
                <a:lnTo>
                  <a:pt x="139" y="622"/>
                </a:lnTo>
                <a:lnTo>
                  <a:pt x="139" y="622"/>
                </a:lnTo>
                <a:lnTo>
                  <a:pt x="141" y="622"/>
                </a:lnTo>
                <a:lnTo>
                  <a:pt x="141" y="622"/>
                </a:lnTo>
                <a:lnTo>
                  <a:pt x="143" y="622"/>
                </a:lnTo>
                <a:lnTo>
                  <a:pt x="145" y="624"/>
                </a:lnTo>
                <a:lnTo>
                  <a:pt x="147" y="628"/>
                </a:lnTo>
                <a:lnTo>
                  <a:pt x="151" y="630"/>
                </a:lnTo>
                <a:lnTo>
                  <a:pt x="154" y="634"/>
                </a:lnTo>
                <a:lnTo>
                  <a:pt x="158" y="636"/>
                </a:lnTo>
                <a:lnTo>
                  <a:pt x="160" y="638"/>
                </a:lnTo>
                <a:lnTo>
                  <a:pt x="162" y="639"/>
                </a:lnTo>
                <a:lnTo>
                  <a:pt x="162" y="639"/>
                </a:lnTo>
                <a:lnTo>
                  <a:pt x="170" y="643"/>
                </a:lnTo>
                <a:lnTo>
                  <a:pt x="177" y="647"/>
                </a:lnTo>
                <a:lnTo>
                  <a:pt x="185" y="649"/>
                </a:lnTo>
                <a:lnTo>
                  <a:pt x="193" y="651"/>
                </a:lnTo>
                <a:lnTo>
                  <a:pt x="198" y="653"/>
                </a:lnTo>
                <a:lnTo>
                  <a:pt x="204" y="655"/>
                </a:lnTo>
                <a:lnTo>
                  <a:pt x="212" y="659"/>
                </a:lnTo>
                <a:lnTo>
                  <a:pt x="219" y="660"/>
                </a:lnTo>
                <a:lnTo>
                  <a:pt x="219" y="660"/>
                </a:lnTo>
                <a:lnTo>
                  <a:pt x="227" y="664"/>
                </a:lnTo>
                <a:lnTo>
                  <a:pt x="233" y="668"/>
                </a:lnTo>
                <a:lnTo>
                  <a:pt x="240" y="672"/>
                </a:lnTo>
                <a:lnTo>
                  <a:pt x="246" y="676"/>
                </a:lnTo>
                <a:lnTo>
                  <a:pt x="254" y="678"/>
                </a:lnTo>
                <a:lnTo>
                  <a:pt x="259" y="681"/>
                </a:lnTo>
                <a:lnTo>
                  <a:pt x="267" y="685"/>
                </a:lnTo>
                <a:lnTo>
                  <a:pt x="273" y="687"/>
                </a:lnTo>
                <a:lnTo>
                  <a:pt x="278" y="689"/>
                </a:lnTo>
                <a:lnTo>
                  <a:pt x="286" y="691"/>
                </a:lnTo>
                <a:lnTo>
                  <a:pt x="294" y="693"/>
                </a:lnTo>
                <a:lnTo>
                  <a:pt x="301" y="693"/>
                </a:lnTo>
                <a:lnTo>
                  <a:pt x="307" y="693"/>
                </a:lnTo>
                <a:lnTo>
                  <a:pt x="317" y="693"/>
                </a:lnTo>
                <a:lnTo>
                  <a:pt x="324" y="693"/>
                </a:lnTo>
                <a:lnTo>
                  <a:pt x="332" y="691"/>
                </a:lnTo>
                <a:lnTo>
                  <a:pt x="332" y="691"/>
                </a:lnTo>
                <a:lnTo>
                  <a:pt x="334" y="691"/>
                </a:lnTo>
                <a:lnTo>
                  <a:pt x="336" y="691"/>
                </a:lnTo>
                <a:lnTo>
                  <a:pt x="338" y="691"/>
                </a:lnTo>
                <a:lnTo>
                  <a:pt x="338" y="691"/>
                </a:lnTo>
                <a:lnTo>
                  <a:pt x="338" y="691"/>
                </a:lnTo>
                <a:lnTo>
                  <a:pt x="349" y="699"/>
                </a:lnTo>
                <a:lnTo>
                  <a:pt x="357" y="704"/>
                </a:lnTo>
                <a:lnTo>
                  <a:pt x="362" y="712"/>
                </a:lnTo>
                <a:lnTo>
                  <a:pt x="366" y="718"/>
                </a:lnTo>
                <a:lnTo>
                  <a:pt x="370" y="725"/>
                </a:lnTo>
                <a:lnTo>
                  <a:pt x="372" y="733"/>
                </a:lnTo>
                <a:lnTo>
                  <a:pt x="376" y="742"/>
                </a:lnTo>
                <a:lnTo>
                  <a:pt x="381" y="752"/>
                </a:lnTo>
                <a:lnTo>
                  <a:pt x="381" y="790"/>
                </a:lnTo>
                <a:lnTo>
                  <a:pt x="381" y="790"/>
                </a:lnTo>
                <a:lnTo>
                  <a:pt x="383" y="794"/>
                </a:lnTo>
                <a:lnTo>
                  <a:pt x="385" y="798"/>
                </a:lnTo>
                <a:lnTo>
                  <a:pt x="385" y="802"/>
                </a:lnTo>
                <a:lnTo>
                  <a:pt x="385" y="805"/>
                </a:lnTo>
                <a:lnTo>
                  <a:pt x="385" y="809"/>
                </a:lnTo>
                <a:lnTo>
                  <a:pt x="385" y="813"/>
                </a:lnTo>
                <a:lnTo>
                  <a:pt x="385" y="817"/>
                </a:lnTo>
                <a:lnTo>
                  <a:pt x="385" y="821"/>
                </a:lnTo>
                <a:lnTo>
                  <a:pt x="385" y="821"/>
                </a:lnTo>
                <a:lnTo>
                  <a:pt x="385" y="824"/>
                </a:lnTo>
                <a:lnTo>
                  <a:pt x="387" y="828"/>
                </a:lnTo>
                <a:lnTo>
                  <a:pt x="389" y="832"/>
                </a:lnTo>
                <a:lnTo>
                  <a:pt x="391" y="836"/>
                </a:lnTo>
                <a:lnTo>
                  <a:pt x="395" y="838"/>
                </a:lnTo>
                <a:lnTo>
                  <a:pt x="397" y="842"/>
                </a:lnTo>
                <a:lnTo>
                  <a:pt x="399" y="844"/>
                </a:lnTo>
                <a:lnTo>
                  <a:pt x="402" y="847"/>
                </a:lnTo>
                <a:lnTo>
                  <a:pt x="402" y="847"/>
                </a:lnTo>
                <a:lnTo>
                  <a:pt x="406" y="845"/>
                </a:lnTo>
                <a:lnTo>
                  <a:pt x="410" y="844"/>
                </a:lnTo>
                <a:lnTo>
                  <a:pt x="416" y="844"/>
                </a:lnTo>
                <a:lnTo>
                  <a:pt x="420" y="842"/>
                </a:lnTo>
                <a:lnTo>
                  <a:pt x="425" y="840"/>
                </a:lnTo>
                <a:lnTo>
                  <a:pt x="429" y="838"/>
                </a:lnTo>
                <a:lnTo>
                  <a:pt x="435" y="836"/>
                </a:lnTo>
                <a:lnTo>
                  <a:pt x="439" y="834"/>
                </a:lnTo>
                <a:lnTo>
                  <a:pt x="444" y="832"/>
                </a:lnTo>
                <a:lnTo>
                  <a:pt x="448" y="830"/>
                </a:lnTo>
                <a:lnTo>
                  <a:pt x="454" y="830"/>
                </a:lnTo>
                <a:lnTo>
                  <a:pt x="458" y="828"/>
                </a:lnTo>
                <a:lnTo>
                  <a:pt x="462" y="828"/>
                </a:lnTo>
                <a:lnTo>
                  <a:pt x="465" y="826"/>
                </a:lnTo>
                <a:lnTo>
                  <a:pt x="469" y="826"/>
                </a:lnTo>
                <a:lnTo>
                  <a:pt x="471" y="826"/>
                </a:lnTo>
                <a:lnTo>
                  <a:pt x="471" y="826"/>
                </a:lnTo>
                <a:lnTo>
                  <a:pt x="477" y="826"/>
                </a:lnTo>
                <a:lnTo>
                  <a:pt x="481" y="828"/>
                </a:lnTo>
                <a:lnTo>
                  <a:pt x="486" y="830"/>
                </a:lnTo>
                <a:lnTo>
                  <a:pt x="490" y="832"/>
                </a:lnTo>
                <a:lnTo>
                  <a:pt x="494" y="836"/>
                </a:lnTo>
                <a:lnTo>
                  <a:pt x="498" y="838"/>
                </a:lnTo>
                <a:lnTo>
                  <a:pt x="500" y="840"/>
                </a:lnTo>
                <a:lnTo>
                  <a:pt x="504" y="842"/>
                </a:lnTo>
                <a:lnTo>
                  <a:pt x="504" y="842"/>
                </a:lnTo>
                <a:lnTo>
                  <a:pt x="511" y="844"/>
                </a:lnTo>
                <a:lnTo>
                  <a:pt x="519" y="845"/>
                </a:lnTo>
                <a:lnTo>
                  <a:pt x="525" y="845"/>
                </a:lnTo>
                <a:lnTo>
                  <a:pt x="532" y="847"/>
                </a:lnTo>
                <a:lnTo>
                  <a:pt x="540" y="847"/>
                </a:lnTo>
                <a:lnTo>
                  <a:pt x="547" y="849"/>
                </a:lnTo>
                <a:lnTo>
                  <a:pt x="555" y="849"/>
                </a:lnTo>
                <a:lnTo>
                  <a:pt x="563" y="849"/>
                </a:lnTo>
                <a:lnTo>
                  <a:pt x="563" y="849"/>
                </a:lnTo>
                <a:lnTo>
                  <a:pt x="570" y="849"/>
                </a:lnTo>
                <a:lnTo>
                  <a:pt x="576" y="847"/>
                </a:lnTo>
                <a:lnTo>
                  <a:pt x="584" y="845"/>
                </a:lnTo>
                <a:lnTo>
                  <a:pt x="589" y="844"/>
                </a:lnTo>
                <a:lnTo>
                  <a:pt x="595" y="842"/>
                </a:lnTo>
                <a:lnTo>
                  <a:pt x="601" y="840"/>
                </a:lnTo>
                <a:lnTo>
                  <a:pt x="605" y="836"/>
                </a:lnTo>
                <a:lnTo>
                  <a:pt x="610" y="834"/>
                </a:lnTo>
                <a:lnTo>
                  <a:pt x="616" y="830"/>
                </a:lnTo>
                <a:lnTo>
                  <a:pt x="620" y="826"/>
                </a:lnTo>
                <a:lnTo>
                  <a:pt x="626" y="824"/>
                </a:lnTo>
                <a:lnTo>
                  <a:pt x="629" y="823"/>
                </a:lnTo>
                <a:lnTo>
                  <a:pt x="635" y="821"/>
                </a:lnTo>
                <a:lnTo>
                  <a:pt x="641" y="819"/>
                </a:lnTo>
                <a:lnTo>
                  <a:pt x="647" y="817"/>
                </a:lnTo>
                <a:lnTo>
                  <a:pt x="652" y="817"/>
                </a:lnTo>
                <a:lnTo>
                  <a:pt x="652" y="817"/>
                </a:lnTo>
                <a:lnTo>
                  <a:pt x="658" y="817"/>
                </a:lnTo>
                <a:lnTo>
                  <a:pt x="662" y="817"/>
                </a:lnTo>
                <a:lnTo>
                  <a:pt x="666" y="817"/>
                </a:lnTo>
                <a:lnTo>
                  <a:pt x="668" y="817"/>
                </a:lnTo>
                <a:lnTo>
                  <a:pt x="671" y="817"/>
                </a:lnTo>
                <a:lnTo>
                  <a:pt x="675" y="817"/>
                </a:lnTo>
                <a:lnTo>
                  <a:pt x="677" y="817"/>
                </a:lnTo>
                <a:lnTo>
                  <a:pt x="681" y="817"/>
                </a:lnTo>
                <a:lnTo>
                  <a:pt x="681" y="817"/>
                </a:lnTo>
                <a:lnTo>
                  <a:pt x="690" y="817"/>
                </a:lnTo>
                <a:lnTo>
                  <a:pt x="700" y="815"/>
                </a:lnTo>
                <a:lnTo>
                  <a:pt x="710" y="813"/>
                </a:lnTo>
                <a:lnTo>
                  <a:pt x="721" y="811"/>
                </a:lnTo>
                <a:lnTo>
                  <a:pt x="732" y="807"/>
                </a:lnTo>
                <a:lnTo>
                  <a:pt x="742" y="803"/>
                </a:lnTo>
                <a:lnTo>
                  <a:pt x="753" y="800"/>
                </a:lnTo>
                <a:lnTo>
                  <a:pt x="765" y="794"/>
                </a:lnTo>
                <a:lnTo>
                  <a:pt x="774" y="788"/>
                </a:lnTo>
                <a:lnTo>
                  <a:pt x="784" y="783"/>
                </a:lnTo>
                <a:lnTo>
                  <a:pt x="793" y="777"/>
                </a:lnTo>
                <a:lnTo>
                  <a:pt x="803" y="771"/>
                </a:lnTo>
                <a:lnTo>
                  <a:pt x="811" y="763"/>
                </a:lnTo>
                <a:lnTo>
                  <a:pt x="816" y="758"/>
                </a:lnTo>
                <a:lnTo>
                  <a:pt x="822" y="750"/>
                </a:lnTo>
                <a:lnTo>
                  <a:pt x="826" y="744"/>
                </a:lnTo>
                <a:lnTo>
                  <a:pt x="826" y="744"/>
                </a:lnTo>
                <a:lnTo>
                  <a:pt x="820" y="742"/>
                </a:lnTo>
                <a:lnTo>
                  <a:pt x="814" y="742"/>
                </a:lnTo>
                <a:lnTo>
                  <a:pt x="811" y="739"/>
                </a:lnTo>
                <a:lnTo>
                  <a:pt x="805" y="737"/>
                </a:lnTo>
                <a:lnTo>
                  <a:pt x="801" y="733"/>
                </a:lnTo>
                <a:lnTo>
                  <a:pt x="797" y="727"/>
                </a:lnTo>
                <a:lnTo>
                  <a:pt x="795" y="721"/>
                </a:lnTo>
                <a:lnTo>
                  <a:pt x="792" y="718"/>
                </a:lnTo>
                <a:lnTo>
                  <a:pt x="790" y="712"/>
                </a:lnTo>
                <a:lnTo>
                  <a:pt x="788" y="706"/>
                </a:lnTo>
                <a:lnTo>
                  <a:pt x="786" y="699"/>
                </a:lnTo>
                <a:lnTo>
                  <a:pt x="784" y="693"/>
                </a:lnTo>
                <a:lnTo>
                  <a:pt x="784" y="687"/>
                </a:lnTo>
                <a:lnTo>
                  <a:pt x="782" y="681"/>
                </a:lnTo>
                <a:lnTo>
                  <a:pt x="782" y="676"/>
                </a:lnTo>
                <a:lnTo>
                  <a:pt x="782" y="670"/>
                </a:lnTo>
                <a:lnTo>
                  <a:pt x="782" y="670"/>
                </a:lnTo>
                <a:lnTo>
                  <a:pt x="782" y="662"/>
                </a:lnTo>
                <a:lnTo>
                  <a:pt x="780" y="655"/>
                </a:lnTo>
                <a:lnTo>
                  <a:pt x="776" y="647"/>
                </a:lnTo>
                <a:lnTo>
                  <a:pt x="773" y="639"/>
                </a:lnTo>
                <a:lnTo>
                  <a:pt x="767" y="630"/>
                </a:lnTo>
                <a:lnTo>
                  <a:pt x="765" y="622"/>
                </a:lnTo>
                <a:lnTo>
                  <a:pt x="761" y="615"/>
                </a:lnTo>
                <a:lnTo>
                  <a:pt x="761" y="605"/>
                </a:lnTo>
                <a:lnTo>
                  <a:pt x="761" y="605"/>
                </a:lnTo>
                <a:lnTo>
                  <a:pt x="761" y="599"/>
                </a:lnTo>
                <a:lnTo>
                  <a:pt x="763" y="596"/>
                </a:lnTo>
                <a:lnTo>
                  <a:pt x="763" y="590"/>
                </a:lnTo>
                <a:lnTo>
                  <a:pt x="767" y="584"/>
                </a:lnTo>
                <a:lnTo>
                  <a:pt x="767" y="580"/>
                </a:lnTo>
                <a:lnTo>
                  <a:pt x="769" y="575"/>
                </a:lnTo>
                <a:lnTo>
                  <a:pt x="771" y="569"/>
                </a:lnTo>
                <a:lnTo>
                  <a:pt x="771" y="565"/>
                </a:lnTo>
                <a:lnTo>
                  <a:pt x="771" y="565"/>
                </a:lnTo>
                <a:lnTo>
                  <a:pt x="771" y="559"/>
                </a:lnTo>
                <a:lnTo>
                  <a:pt x="769" y="554"/>
                </a:lnTo>
                <a:lnTo>
                  <a:pt x="767" y="550"/>
                </a:lnTo>
                <a:lnTo>
                  <a:pt x="767" y="546"/>
                </a:lnTo>
                <a:lnTo>
                  <a:pt x="763" y="542"/>
                </a:lnTo>
                <a:lnTo>
                  <a:pt x="763" y="540"/>
                </a:lnTo>
                <a:lnTo>
                  <a:pt x="761" y="535"/>
                </a:lnTo>
                <a:lnTo>
                  <a:pt x="761" y="531"/>
                </a:lnTo>
                <a:lnTo>
                  <a:pt x="761" y="531"/>
                </a:lnTo>
                <a:lnTo>
                  <a:pt x="761" y="523"/>
                </a:lnTo>
                <a:lnTo>
                  <a:pt x="765" y="517"/>
                </a:lnTo>
                <a:lnTo>
                  <a:pt x="767" y="514"/>
                </a:lnTo>
                <a:lnTo>
                  <a:pt x="773" y="510"/>
                </a:lnTo>
                <a:lnTo>
                  <a:pt x="776" y="506"/>
                </a:lnTo>
                <a:lnTo>
                  <a:pt x="780" y="502"/>
                </a:lnTo>
                <a:lnTo>
                  <a:pt x="782" y="498"/>
                </a:lnTo>
                <a:lnTo>
                  <a:pt x="782" y="493"/>
                </a:lnTo>
                <a:lnTo>
                  <a:pt x="782" y="493"/>
                </a:lnTo>
                <a:lnTo>
                  <a:pt x="782" y="489"/>
                </a:lnTo>
                <a:lnTo>
                  <a:pt x="782" y="485"/>
                </a:lnTo>
                <a:lnTo>
                  <a:pt x="782" y="485"/>
                </a:lnTo>
                <a:lnTo>
                  <a:pt x="782" y="483"/>
                </a:lnTo>
                <a:lnTo>
                  <a:pt x="780" y="481"/>
                </a:lnTo>
                <a:lnTo>
                  <a:pt x="780" y="481"/>
                </a:lnTo>
                <a:lnTo>
                  <a:pt x="782" y="479"/>
                </a:lnTo>
                <a:lnTo>
                  <a:pt x="782" y="479"/>
                </a:lnTo>
                <a:lnTo>
                  <a:pt x="782" y="479"/>
                </a:lnTo>
                <a:lnTo>
                  <a:pt x="780" y="473"/>
                </a:lnTo>
                <a:lnTo>
                  <a:pt x="776" y="470"/>
                </a:lnTo>
                <a:lnTo>
                  <a:pt x="773" y="466"/>
                </a:lnTo>
                <a:lnTo>
                  <a:pt x="769" y="462"/>
                </a:lnTo>
                <a:lnTo>
                  <a:pt x="763" y="460"/>
                </a:lnTo>
                <a:lnTo>
                  <a:pt x="759" y="456"/>
                </a:lnTo>
                <a:lnTo>
                  <a:pt x="753" y="452"/>
                </a:lnTo>
                <a:lnTo>
                  <a:pt x="750" y="451"/>
                </a:lnTo>
                <a:lnTo>
                  <a:pt x="746" y="447"/>
                </a:lnTo>
                <a:lnTo>
                  <a:pt x="740" y="443"/>
                </a:lnTo>
                <a:lnTo>
                  <a:pt x="736" y="439"/>
                </a:lnTo>
                <a:lnTo>
                  <a:pt x="734" y="435"/>
                </a:lnTo>
                <a:lnTo>
                  <a:pt x="731" y="430"/>
                </a:lnTo>
                <a:lnTo>
                  <a:pt x="729" y="424"/>
                </a:lnTo>
                <a:lnTo>
                  <a:pt x="727" y="416"/>
                </a:lnTo>
                <a:lnTo>
                  <a:pt x="727" y="410"/>
                </a:lnTo>
                <a:lnTo>
                  <a:pt x="727" y="410"/>
                </a:lnTo>
                <a:lnTo>
                  <a:pt x="727" y="401"/>
                </a:lnTo>
                <a:lnTo>
                  <a:pt x="729" y="393"/>
                </a:lnTo>
                <a:lnTo>
                  <a:pt x="731" y="386"/>
                </a:lnTo>
                <a:lnTo>
                  <a:pt x="732" y="380"/>
                </a:lnTo>
                <a:lnTo>
                  <a:pt x="734" y="372"/>
                </a:lnTo>
                <a:lnTo>
                  <a:pt x="736" y="367"/>
                </a:lnTo>
                <a:lnTo>
                  <a:pt x="740" y="361"/>
                </a:lnTo>
                <a:lnTo>
                  <a:pt x="742" y="353"/>
                </a:lnTo>
                <a:lnTo>
                  <a:pt x="746" y="348"/>
                </a:lnTo>
                <a:lnTo>
                  <a:pt x="748" y="342"/>
                </a:lnTo>
                <a:lnTo>
                  <a:pt x="752" y="334"/>
                </a:lnTo>
                <a:lnTo>
                  <a:pt x="753" y="328"/>
                </a:lnTo>
                <a:lnTo>
                  <a:pt x="755" y="321"/>
                </a:lnTo>
                <a:lnTo>
                  <a:pt x="757" y="313"/>
                </a:lnTo>
                <a:lnTo>
                  <a:pt x="757" y="307"/>
                </a:lnTo>
                <a:lnTo>
                  <a:pt x="757" y="298"/>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38" name="Freeform 10"/>
          <p:cNvSpPr>
            <a:spLocks/>
          </p:cNvSpPr>
          <p:nvPr>
            <p:custDataLst>
              <p:tags r:id="rId10"/>
            </p:custDataLst>
          </p:nvPr>
        </p:nvSpPr>
        <p:spPr bwMode="gray">
          <a:xfrm>
            <a:off x="5628954" y="4600076"/>
            <a:ext cx="553985" cy="975086"/>
          </a:xfrm>
          <a:custGeom>
            <a:avLst/>
            <a:gdLst/>
            <a:ahLst/>
            <a:cxnLst>
              <a:cxn ang="0">
                <a:pos x="23" y="758"/>
              </a:cxn>
              <a:cxn ang="0">
                <a:pos x="84" y="693"/>
              </a:cxn>
              <a:cxn ang="0">
                <a:pos x="118" y="605"/>
              </a:cxn>
              <a:cxn ang="0">
                <a:pos x="115" y="563"/>
              </a:cxn>
              <a:cxn ang="0">
                <a:pos x="107" y="514"/>
              </a:cxn>
              <a:cxn ang="0">
                <a:pos x="103" y="470"/>
              </a:cxn>
              <a:cxn ang="0">
                <a:pos x="122" y="422"/>
              </a:cxn>
              <a:cxn ang="0">
                <a:pos x="139" y="388"/>
              </a:cxn>
              <a:cxn ang="0">
                <a:pos x="156" y="355"/>
              </a:cxn>
              <a:cxn ang="0">
                <a:pos x="200" y="330"/>
              </a:cxn>
              <a:cxn ang="0">
                <a:pos x="242" y="317"/>
              </a:cxn>
              <a:cxn ang="0">
                <a:pos x="280" y="306"/>
              </a:cxn>
              <a:cxn ang="0">
                <a:pos x="313" y="285"/>
              </a:cxn>
              <a:cxn ang="0">
                <a:pos x="340" y="260"/>
              </a:cxn>
              <a:cxn ang="0">
                <a:pos x="370" y="241"/>
              </a:cxn>
              <a:cxn ang="0">
                <a:pos x="408" y="212"/>
              </a:cxn>
              <a:cxn ang="0">
                <a:pos x="420" y="187"/>
              </a:cxn>
              <a:cxn ang="0">
                <a:pos x="431" y="164"/>
              </a:cxn>
              <a:cxn ang="0">
                <a:pos x="446" y="143"/>
              </a:cxn>
              <a:cxn ang="0">
                <a:pos x="490" y="115"/>
              </a:cxn>
              <a:cxn ang="0">
                <a:pos x="507" y="77"/>
              </a:cxn>
              <a:cxn ang="0">
                <a:pos x="506" y="42"/>
              </a:cxn>
              <a:cxn ang="0">
                <a:pos x="538" y="8"/>
              </a:cxn>
              <a:cxn ang="0">
                <a:pos x="555" y="21"/>
              </a:cxn>
              <a:cxn ang="0">
                <a:pos x="570" y="69"/>
              </a:cxn>
              <a:cxn ang="0">
                <a:pos x="586" y="122"/>
              </a:cxn>
              <a:cxn ang="0">
                <a:pos x="597" y="178"/>
              </a:cxn>
              <a:cxn ang="0">
                <a:pos x="603" y="233"/>
              </a:cxn>
              <a:cxn ang="0">
                <a:pos x="605" y="281"/>
              </a:cxn>
              <a:cxn ang="0">
                <a:pos x="590" y="317"/>
              </a:cxn>
              <a:cxn ang="0">
                <a:pos x="570" y="306"/>
              </a:cxn>
              <a:cxn ang="0">
                <a:pos x="559" y="290"/>
              </a:cxn>
              <a:cxn ang="0">
                <a:pos x="549" y="317"/>
              </a:cxn>
              <a:cxn ang="0">
                <a:pos x="553" y="349"/>
              </a:cxn>
              <a:cxn ang="0">
                <a:pos x="551" y="380"/>
              </a:cxn>
              <a:cxn ang="0">
                <a:pos x="527" y="414"/>
              </a:cxn>
              <a:cxn ang="0">
                <a:pos x="513" y="447"/>
              </a:cxn>
              <a:cxn ang="0">
                <a:pos x="506" y="485"/>
              </a:cxn>
              <a:cxn ang="0">
                <a:pos x="496" y="527"/>
              </a:cxn>
              <a:cxn ang="0">
                <a:pos x="467" y="594"/>
              </a:cxn>
              <a:cxn ang="0">
                <a:pos x="424" y="674"/>
              </a:cxn>
              <a:cxn ang="0">
                <a:pos x="393" y="741"/>
              </a:cxn>
              <a:cxn ang="0">
                <a:pos x="368" y="798"/>
              </a:cxn>
              <a:cxn ang="0">
                <a:pos x="343" y="847"/>
              </a:cxn>
              <a:cxn ang="0">
                <a:pos x="322" y="895"/>
              </a:cxn>
              <a:cxn ang="0">
                <a:pos x="298" y="969"/>
              </a:cxn>
              <a:cxn ang="0">
                <a:pos x="261" y="1034"/>
              </a:cxn>
              <a:cxn ang="0">
                <a:pos x="223" y="1063"/>
              </a:cxn>
              <a:cxn ang="0">
                <a:pos x="187" y="1067"/>
              </a:cxn>
              <a:cxn ang="0">
                <a:pos x="166" y="1076"/>
              </a:cxn>
              <a:cxn ang="0">
                <a:pos x="141" y="1088"/>
              </a:cxn>
              <a:cxn ang="0">
                <a:pos x="116" y="1093"/>
              </a:cxn>
              <a:cxn ang="0">
                <a:pos x="59" y="1069"/>
              </a:cxn>
              <a:cxn ang="0">
                <a:pos x="17" y="1013"/>
              </a:cxn>
              <a:cxn ang="0">
                <a:pos x="8" y="966"/>
              </a:cxn>
              <a:cxn ang="0">
                <a:pos x="27" y="931"/>
              </a:cxn>
              <a:cxn ang="0">
                <a:pos x="23" y="903"/>
              </a:cxn>
              <a:cxn ang="0">
                <a:pos x="10" y="874"/>
              </a:cxn>
              <a:cxn ang="0">
                <a:pos x="0" y="840"/>
              </a:cxn>
            </a:cxnLst>
            <a:rect l="0" t="0" r="r" b="b"/>
            <a:pathLst>
              <a:path w="605" h="1093">
                <a:moveTo>
                  <a:pt x="0" y="813"/>
                </a:moveTo>
                <a:lnTo>
                  <a:pt x="0" y="813"/>
                </a:lnTo>
                <a:lnTo>
                  <a:pt x="4" y="796"/>
                </a:lnTo>
                <a:lnTo>
                  <a:pt x="8" y="783"/>
                </a:lnTo>
                <a:lnTo>
                  <a:pt x="13" y="769"/>
                </a:lnTo>
                <a:lnTo>
                  <a:pt x="23" y="758"/>
                </a:lnTo>
                <a:lnTo>
                  <a:pt x="31" y="746"/>
                </a:lnTo>
                <a:lnTo>
                  <a:pt x="42" y="735"/>
                </a:lnTo>
                <a:lnTo>
                  <a:pt x="52" y="725"/>
                </a:lnTo>
                <a:lnTo>
                  <a:pt x="63" y="714"/>
                </a:lnTo>
                <a:lnTo>
                  <a:pt x="73" y="704"/>
                </a:lnTo>
                <a:lnTo>
                  <a:pt x="84" y="693"/>
                </a:lnTo>
                <a:lnTo>
                  <a:pt x="94" y="681"/>
                </a:lnTo>
                <a:lnTo>
                  <a:pt x="101" y="668"/>
                </a:lnTo>
                <a:lnTo>
                  <a:pt x="109" y="655"/>
                </a:lnTo>
                <a:lnTo>
                  <a:pt x="115" y="639"/>
                </a:lnTo>
                <a:lnTo>
                  <a:pt x="118" y="624"/>
                </a:lnTo>
                <a:lnTo>
                  <a:pt x="118" y="605"/>
                </a:lnTo>
                <a:lnTo>
                  <a:pt x="118" y="605"/>
                </a:lnTo>
                <a:lnTo>
                  <a:pt x="118" y="597"/>
                </a:lnTo>
                <a:lnTo>
                  <a:pt x="118" y="588"/>
                </a:lnTo>
                <a:lnTo>
                  <a:pt x="118" y="580"/>
                </a:lnTo>
                <a:lnTo>
                  <a:pt x="116" y="571"/>
                </a:lnTo>
                <a:lnTo>
                  <a:pt x="115" y="563"/>
                </a:lnTo>
                <a:lnTo>
                  <a:pt x="115" y="555"/>
                </a:lnTo>
                <a:lnTo>
                  <a:pt x="113" y="546"/>
                </a:lnTo>
                <a:lnTo>
                  <a:pt x="111" y="538"/>
                </a:lnTo>
                <a:lnTo>
                  <a:pt x="111" y="531"/>
                </a:lnTo>
                <a:lnTo>
                  <a:pt x="109" y="521"/>
                </a:lnTo>
                <a:lnTo>
                  <a:pt x="107" y="514"/>
                </a:lnTo>
                <a:lnTo>
                  <a:pt x="107" y="504"/>
                </a:lnTo>
                <a:lnTo>
                  <a:pt x="105" y="496"/>
                </a:lnTo>
                <a:lnTo>
                  <a:pt x="105" y="487"/>
                </a:lnTo>
                <a:lnTo>
                  <a:pt x="103" y="479"/>
                </a:lnTo>
                <a:lnTo>
                  <a:pt x="103" y="470"/>
                </a:lnTo>
                <a:lnTo>
                  <a:pt x="103" y="470"/>
                </a:lnTo>
                <a:lnTo>
                  <a:pt x="105" y="458"/>
                </a:lnTo>
                <a:lnTo>
                  <a:pt x="107" y="451"/>
                </a:lnTo>
                <a:lnTo>
                  <a:pt x="111" y="443"/>
                </a:lnTo>
                <a:lnTo>
                  <a:pt x="115" y="435"/>
                </a:lnTo>
                <a:lnTo>
                  <a:pt x="118" y="428"/>
                </a:lnTo>
                <a:lnTo>
                  <a:pt x="122" y="422"/>
                </a:lnTo>
                <a:lnTo>
                  <a:pt x="128" y="416"/>
                </a:lnTo>
                <a:lnTo>
                  <a:pt x="132" y="411"/>
                </a:lnTo>
                <a:lnTo>
                  <a:pt x="132" y="411"/>
                </a:lnTo>
                <a:lnTo>
                  <a:pt x="134" y="403"/>
                </a:lnTo>
                <a:lnTo>
                  <a:pt x="137" y="395"/>
                </a:lnTo>
                <a:lnTo>
                  <a:pt x="139" y="388"/>
                </a:lnTo>
                <a:lnTo>
                  <a:pt x="141" y="380"/>
                </a:lnTo>
                <a:lnTo>
                  <a:pt x="145" y="372"/>
                </a:lnTo>
                <a:lnTo>
                  <a:pt x="147" y="367"/>
                </a:lnTo>
                <a:lnTo>
                  <a:pt x="151" y="359"/>
                </a:lnTo>
                <a:lnTo>
                  <a:pt x="156" y="355"/>
                </a:lnTo>
                <a:lnTo>
                  <a:pt x="156" y="355"/>
                </a:lnTo>
                <a:lnTo>
                  <a:pt x="164" y="349"/>
                </a:lnTo>
                <a:lnTo>
                  <a:pt x="172" y="344"/>
                </a:lnTo>
                <a:lnTo>
                  <a:pt x="179" y="340"/>
                </a:lnTo>
                <a:lnTo>
                  <a:pt x="185" y="336"/>
                </a:lnTo>
                <a:lnTo>
                  <a:pt x="193" y="334"/>
                </a:lnTo>
                <a:lnTo>
                  <a:pt x="200" y="330"/>
                </a:lnTo>
                <a:lnTo>
                  <a:pt x="206" y="328"/>
                </a:lnTo>
                <a:lnTo>
                  <a:pt x="214" y="327"/>
                </a:lnTo>
                <a:lnTo>
                  <a:pt x="221" y="325"/>
                </a:lnTo>
                <a:lnTo>
                  <a:pt x="227" y="321"/>
                </a:lnTo>
                <a:lnTo>
                  <a:pt x="235" y="319"/>
                </a:lnTo>
                <a:lnTo>
                  <a:pt x="242" y="317"/>
                </a:lnTo>
                <a:lnTo>
                  <a:pt x="250" y="315"/>
                </a:lnTo>
                <a:lnTo>
                  <a:pt x="258" y="313"/>
                </a:lnTo>
                <a:lnTo>
                  <a:pt x="265" y="311"/>
                </a:lnTo>
                <a:lnTo>
                  <a:pt x="273" y="307"/>
                </a:lnTo>
                <a:lnTo>
                  <a:pt x="273" y="307"/>
                </a:lnTo>
                <a:lnTo>
                  <a:pt x="280" y="306"/>
                </a:lnTo>
                <a:lnTo>
                  <a:pt x="286" y="302"/>
                </a:lnTo>
                <a:lnTo>
                  <a:pt x="292" y="298"/>
                </a:lnTo>
                <a:lnTo>
                  <a:pt x="298" y="294"/>
                </a:lnTo>
                <a:lnTo>
                  <a:pt x="303" y="290"/>
                </a:lnTo>
                <a:lnTo>
                  <a:pt x="307" y="288"/>
                </a:lnTo>
                <a:lnTo>
                  <a:pt x="313" y="285"/>
                </a:lnTo>
                <a:lnTo>
                  <a:pt x="317" y="281"/>
                </a:lnTo>
                <a:lnTo>
                  <a:pt x="321" y="277"/>
                </a:lnTo>
                <a:lnTo>
                  <a:pt x="324" y="273"/>
                </a:lnTo>
                <a:lnTo>
                  <a:pt x="330" y="267"/>
                </a:lnTo>
                <a:lnTo>
                  <a:pt x="334" y="266"/>
                </a:lnTo>
                <a:lnTo>
                  <a:pt x="340" y="260"/>
                </a:lnTo>
                <a:lnTo>
                  <a:pt x="343" y="256"/>
                </a:lnTo>
                <a:lnTo>
                  <a:pt x="349" y="252"/>
                </a:lnTo>
                <a:lnTo>
                  <a:pt x="355" y="248"/>
                </a:lnTo>
                <a:lnTo>
                  <a:pt x="355" y="248"/>
                </a:lnTo>
                <a:lnTo>
                  <a:pt x="363" y="245"/>
                </a:lnTo>
                <a:lnTo>
                  <a:pt x="370" y="241"/>
                </a:lnTo>
                <a:lnTo>
                  <a:pt x="378" y="235"/>
                </a:lnTo>
                <a:lnTo>
                  <a:pt x="385" y="231"/>
                </a:lnTo>
                <a:lnTo>
                  <a:pt x="393" y="227"/>
                </a:lnTo>
                <a:lnTo>
                  <a:pt x="399" y="224"/>
                </a:lnTo>
                <a:lnTo>
                  <a:pt x="404" y="218"/>
                </a:lnTo>
                <a:lnTo>
                  <a:pt x="408" y="212"/>
                </a:lnTo>
                <a:lnTo>
                  <a:pt x="408" y="212"/>
                </a:lnTo>
                <a:lnTo>
                  <a:pt x="412" y="206"/>
                </a:lnTo>
                <a:lnTo>
                  <a:pt x="414" y="201"/>
                </a:lnTo>
                <a:lnTo>
                  <a:pt x="416" y="197"/>
                </a:lnTo>
                <a:lnTo>
                  <a:pt x="418" y="191"/>
                </a:lnTo>
                <a:lnTo>
                  <a:pt x="420" y="187"/>
                </a:lnTo>
                <a:lnTo>
                  <a:pt x="422" y="182"/>
                </a:lnTo>
                <a:lnTo>
                  <a:pt x="424" y="178"/>
                </a:lnTo>
                <a:lnTo>
                  <a:pt x="424" y="174"/>
                </a:lnTo>
                <a:lnTo>
                  <a:pt x="425" y="172"/>
                </a:lnTo>
                <a:lnTo>
                  <a:pt x="427" y="168"/>
                </a:lnTo>
                <a:lnTo>
                  <a:pt x="431" y="164"/>
                </a:lnTo>
                <a:lnTo>
                  <a:pt x="433" y="161"/>
                </a:lnTo>
                <a:lnTo>
                  <a:pt x="435" y="157"/>
                </a:lnTo>
                <a:lnTo>
                  <a:pt x="439" y="153"/>
                </a:lnTo>
                <a:lnTo>
                  <a:pt x="443" y="149"/>
                </a:lnTo>
                <a:lnTo>
                  <a:pt x="446" y="143"/>
                </a:lnTo>
                <a:lnTo>
                  <a:pt x="446" y="143"/>
                </a:lnTo>
                <a:lnTo>
                  <a:pt x="454" y="138"/>
                </a:lnTo>
                <a:lnTo>
                  <a:pt x="462" y="132"/>
                </a:lnTo>
                <a:lnTo>
                  <a:pt x="469" y="128"/>
                </a:lnTo>
                <a:lnTo>
                  <a:pt x="477" y="124"/>
                </a:lnTo>
                <a:lnTo>
                  <a:pt x="485" y="119"/>
                </a:lnTo>
                <a:lnTo>
                  <a:pt x="490" y="115"/>
                </a:lnTo>
                <a:lnTo>
                  <a:pt x="498" y="109"/>
                </a:lnTo>
                <a:lnTo>
                  <a:pt x="504" y="101"/>
                </a:lnTo>
                <a:lnTo>
                  <a:pt x="504" y="101"/>
                </a:lnTo>
                <a:lnTo>
                  <a:pt x="506" y="94"/>
                </a:lnTo>
                <a:lnTo>
                  <a:pt x="507" y="86"/>
                </a:lnTo>
                <a:lnTo>
                  <a:pt x="507" y="77"/>
                </a:lnTo>
                <a:lnTo>
                  <a:pt x="507" y="69"/>
                </a:lnTo>
                <a:lnTo>
                  <a:pt x="507" y="61"/>
                </a:lnTo>
                <a:lnTo>
                  <a:pt x="506" y="54"/>
                </a:lnTo>
                <a:lnTo>
                  <a:pt x="506" y="46"/>
                </a:lnTo>
                <a:lnTo>
                  <a:pt x="506" y="42"/>
                </a:lnTo>
                <a:lnTo>
                  <a:pt x="506" y="42"/>
                </a:lnTo>
                <a:lnTo>
                  <a:pt x="507" y="38"/>
                </a:lnTo>
                <a:lnTo>
                  <a:pt x="511" y="33"/>
                </a:lnTo>
                <a:lnTo>
                  <a:pt x="517" y="27"/>
                </a:lnTo>
                <a:lnTo>
                  <a:pt x="525" y="19"/>
                </a:lnTo>
                <a:lnTo>
                  <a:pt x="532" y="14"/>
                </a:lnTo>
                <a:lnTo>
                  <a:pt x="538" y="8"/>
                </a:lnTo>
                <a:lnTo>
                  <a:pt x="544" y="2"/>
                </a:lnTo>
                <a:lnTo>
                  <a:pt x="546" y="0"/>
                </a:lnTo>
                <a:lnTo>
                  <a:pt x="546" y="0"/>
                </a:lnTo>
                <a:lnTo>
                  <a:pt x="549" y="8"/>
                </a:lnTo>
                <a:lnTo>
                  <a:pt x="551" y="14"/>
                </a:lnTo>
                <a:lnTo>
                  <a:pt x="555" y="21"/>
                </a:lnTo>
                <a:lnTo>
                  <a:pt x="557" y="29"/>
                </a:lnTo>
                <a:lnTo>
                  <a:pt x="561" y="37"/>
                </a:lnTo>
                <a:lnTo>
                  <a:pt x="563" y="44"/>
                </a:lnTo>
                <a:lnTo>
                  <a:pt x="567" y="54"/>
                </a:lnTo>
                <a:lnTo>
                  <a:pt x="569" y="61"/>
                </a:lnTo>
                <a:lnTo>
                  <a:pt x="570" y="69"/>
                </a:lnTo>
                <a:lnTo>
                  <a:pt x="574" y="79"/>
                </a:lnTo>
                <a:lnTo>
                  <a:pt x="576" y="86"/>
                </a:lnTo>
                <a:lnTo>
                  <a:pt x="578" y="96"/>
                </a:lnTo>
                <a:lnTo>
                  <a:pt x="582" y="105"/>
                </a:lnTo>
                <a:lnTo>
                  <a:pt x="584" y="113"/>
                </a:lnTo>
                <a:lnTo>
                  <a:pt x="586" y="122"/>
                </a:lnTo>
                <a:lnTo>
                  <a:pt x="588" y="132"/>
                </a:lnTo>
                <a:lnTo>
                  <a:pt x="590" y="140"/>
                </a:lnTo>
                <a:lnTo>
                  <a:pt x="591" y="149"/>
                </a:lnTo>
                <a:lnTo>
                  <a:pt x="593" y="159"/>
                </a:lnTo>
                <a:lnTo>
                  <a:pt x="595" y="168"/>
                </a:lnTo>
                <a:lnTo>
                  <a:pt x="597" y="178"/>
                </a:lnTo>
                <a:lnTo>
                  <a:pt x="599" y="187"/>
                </a:lnTo>
                <a:lnTo>
                  <a:pt x="599" y="197"/>
                </a:lnTo>
                <a:lnTo>
                  <a:pt x="601" y="206"/>
                </a:lnTo>
                <a:lnTo>
                  <a:pt x="601" y="216"/>
                </a:lnTo>
                <a:lnTo>
                  <a:pt x="603" y="225"/>
                </a:lnTo>
                <a:lnTo>
                  <a:pt x="603" y="233"/>
                </a:lnTo>
                <a:lnTo>
                  <a:pt x="605" y="243"/>
                </a:lnTo>
                <a:lnTo>
                  <a:pt x="605" y="252"/>
                </a:lnTo>
                <a:lnTo>
                  <a:pt x="605" y="262"/>
                </a:lnTo>
                <a:lnTo>
                  <a:pt x="605" y="271"/>
                </a:lnTo>
                <a:lnTo>
                  <a:pt x="605" y="281"/>
                </a:lnTo>
                <a:lnTo>
                  <a:pt x="605" y="281"/>
                </a:lnTo>
                <a:lnTo>
                  <a:pt x="605" y="288"/>
                </a:lnTo>
                <a:lnTo>
                  <a:pt x="603" y="294"/>
                </a:lnTo>
                <a:lnTo>
                  <a:pt x="601" y="302"/>
                </a:lnTo>
                <a:lnTo>
                  <a:pt x="597" y="307"/>
                </a:lnTo>
                <a:lnTo>
                  <a:pt x="593" y="313"/>
                </a:lnTo>
                <a:lnTo>
                  <a:pt x="590" y="317"/>
                </a:lnTo>
                <a:lnTo>
                  <a:pt x="584" y="321"/>
                </a:lnTo>
                <a:lnTo>
                  <a:pt x="576" y="321"/>
                </a:lnTo>
                <a:lnTo>
                  <a:pt x="576" y="321"/>
                </a:lnTo>
                <a:lnTo>
                  <a:pt x="574" y="315"/>
                </a:lnTo>
                <a:lnTo>
                  <a:pt x="574" y="309"/>
                </a:lnTo>
                <a:lnTo>
                  <a:pt x="570" y="306"/>
                </a:lnTo>
                <a:lnTo>
                  <a:pt x="569" y="300"/>
                </a:lnTo>
                <a:lnTo>
                  <a:pt x="567" y="298"/>
                </a:lnTo>
                <a:lnTo>
                  <a:pt x="565" y="294"/>
                </a:lnTo>
                <a:lnTo>
                  <a:pt x="561" y="292"/>
                </a:lnTo>
                <a:lnTo>
                  <a:pt x="559" y="290"/>
                </a:lnTo>
                <a:lnTo>
                  <a:pt x="559" y="290"/>
                </a:lnTo>
                <a:lnTo>
                  <a:pt x="555" y="294"/>
                </a:lnTo>
                <a:lnTo>
                  <a:pt x="553" y="298"/>
                </a:lnTo>
                <a:lnTo>
                  <a:pt x="551" y="302"/>
                </a:lnTo>
                <a:lnTo>
                  <a:pt x="551" y="307"/>
                </a:lnTo>
                <a:lnTo>
                  <a:pt x="549" y="311"/>
                </a:lnTo>
                <a:lnTo>
                  <a:pt x="549" y="317"/>
                </a:lnTo>
                <a:lnTo>
                  <a:pt x="549" y="323"/>
                </a:lnTo>
                <a:lnTo>
                  <a:pt x="551" y="327"/>
                </a:lnTo>
                <a:lnTo>
                  <a:pt x="551" y="332"/>
                </a:lnTo>
                <a:lnTo>
                  <a:pt x="551" y="338"/>
                </a:lnTo>
                <a:lnTo>
                  <a:pt x="551" y="344"/>
                </a:lnTo>
                <a:lnTo>
                  <a:pt x="553" y="349"/>
                </a:lnTo>
                <a:lnTo>
                  <a:pt x="553" y="355"/>
                </a:lnTo>
                <a:lnTo>
                  <a:pt x="553" y="361"/>
                </a:lnTo>
                <a:lnTo>
                  <a:pt x="553" y="367"/>
                </a:lnTo>
                <a:lnTo>
                  <a:pt x="553" y="372"/>
                </a:lnTo>
                <a:lnTo>
                  <a:pt x="553" y="372"/>
                </a:lnTo>
                <a:lnTo>
                  <a:pt x="551" y="380"/>
                </a:lnTo>
                <a:lnTo>
                  <a:pt x="548" y="386"/>
                </a:lnTo>
                <a:lnTo>
                  <a:pt x="544" y="391"/>
                </a:lnTo>
                <a:lnTo>
                  <a:pt x="540" y="397"/>
                </a:lnTo>
                <a:lnTo>
                  <a:pt x="534" y="403"/>
                </a:lnTo>
                <a:lnTo>
                  <a:pt x="530" y="409"/>
                </a:lnTo>
                <a:lnTo>
                  <a:pt x="527" y="414"/>
                </a:lnTo>
                <a:lnTo>
                  <a:pt x="523" y="420"/>
                </a:lnTo>
                <a:lnTo>
                  <a:pt x="523" y="420"/>
                </a:lnTo>
                <a:lnTo>
                  <a:pt x="519" y="428"/>
                </a:lnTo>
                <a:lnTo>
                  <a:pt x="517" y="433"/>
                </a:lnTo>
                <a:lnTo>
                  <a:pt x="515" y="439"/>
                </a:lnTo>
                <a:lnTo>
                  <a:pt x="513" y="447"/>
                </a:lnTo>
                <a:lnTo>
                  <a:pt x="511" y="452"/>
                </a:lnTo>
                <a:lnTo>
                  <a:pt x="509" y="460"/>
                </a:lnTo>
                <a:lnTo>
                  <a:pt x="507" y="466"/>
                </a:lnTo>
                <a:lnTo>
                  <a:pt x="507" y="472"/>
                </a:lnTo>
                <a:lnTo>
                  <a:pt x="506" y="479"/>
                </a:lnTo>
                <a:lnTo>
                  <a:pt x="506" y="485"/>
                </a:lnTo>
                <a:lnTo>
                  <a:pt x="504" y="493"/>
                </a:lnTo>
                <a:lnTo>
                  <a:pt x="504" y="498"/>
                </a:lnTo>
                <a:lnTo>
                  <a:pt x="502" y="504"/>
                </a:lnTo>
                <a:lnTo>
                  <a:pt x="500" y="512"/>
                </a:lnTo>
                <a:lnTo>
                  <a:pt x="500" y="519"/>
                </a:lnTo>
                <a:lnTo>
                  <a:pt x="496" y="527"/>
                </a:lnTo>
                <a:lnTo>
                  <a:pt x="496" y="527"/>
                </a:lnTo>
                <a:lnTo>
                  <a:pt x="492" y="540"/>
                </a:lnTo>
                <a:lnTo>
                  <a:pt x="486" y="554"/>
                </a:lnTo>
                <a:lnTo>
                  <a:pt x="481" y="567"/>
                </a:lnTo>
                <a:lnTo>
                  <a:pt x="475" y="580"/>
                </a:lnTo>
                <a:lnTo>
                  <a:pt x="467" y="594"/>
                </a:lnTo>
                <a:lnTo>
                  <a:pt x="462" y="607"/>
                </a:lnTo>
                <a:lnTo>
                  <a:pt x="454" y="620"/>
                </a:lnTo>
                <a:lnTo>
                  <a:pt x="446" y="634"/>
                </a:lnTo>
                <a:lnTo>
                  <a:pt x="439" y="647"/>
                </a:lnTo>
                <a:lnTo>
                  <a:pt x="431" y="660"/>
                </a:lnTo>
                <a:lnTo>
                  <a:pt x="424" y="674"/>
                </a:lnTo>
                <a:lnTo>
                  <a:pt x="416" y="685"/>
                </a:lnTo>
                <a:lnTo>
                  <a:pt x="410" y="699"/>
                </a:lnTo>
                <a:lnTo>
                  <a:pt x="404" y="714"/>
                </a:lnTo>
                <a:lnTo>
                  <a:pt x="399" y="727"/>
                </a:lnTo>
                <a:lnTo>
                  <a:pt x="393" y="741"/>
                </a:lnTo>
                <a:lnTo>
                  <a:pt x="393" y="741"/>
                </a:lnTo>
                <a:lnTo>
                  <a:pt x="389" y="752"/>
                </a:lnTo>
                <a:lnTo>
                  <a:pt x="385" y="762"/>
                </a:lnTo>
                <a:lnTo>
                  <a:pt x="382" y="773"/>
                </a:lnTo>
                <a:lnTo>
                  <a:pt x="378" y="781"/>
                </a:lnTo>
                <a:lnTo>
                  <a:pt x="374" y="790"/>
                </a:lnTo>
                <a:lnTo>
                  <a:pt x="368" y="798"/>
                </a:lnTo>
                <a:lnTo>
                  <a:pt x="364" y="807"/>
                </a:lnTo>
                <a:lnTo>
                  <a:pt x="361" y="815"/>
                </a:lnTo>
                <a:lnTo>
                  <a:pt x="357" y="823"/>
                </a:lnTo>
                <a:lnTo>
                  <a:pt x="353" y="830"/>
                </a:lnTo>
                <a:lnTo>
                  <a:pt x="349" y="838"/>
                </a:lnTo>
                <a:lnTo>
                  <a:pt x="343" y="847"/>
                </a:lnTo>
                <a:lnTo>
                  <a:pt x="340" y="855"/>
                </a:lnTo>
                <a:lnTo>
                  <a:pt x="336" y="865"/>
                </a:lnTo>
                <a:lnTo>
                  <a:pt x="332" y="872"/>
                </a:lnTo>
                <a:lnTo>
                  <a:pt x="328" y="884"/>
                </a:lnTo>
                <a:lnTo>
                  <a:pt x="328" y="884"/>
                </a:lnTo>
                <a:lnTo>
                  <a:pt x="322" y="895"/>
                </a:lnTo>
                <a:lnTo>
                  <a:pt x="319" y="908"/>
                </a:lnTo>
                <a:lnTo>
                  <a:pt x="315" y="922"/>
                </a:lnTo>
                <a:lnTo>
                  <a:pt x="309" y="933"/>
                </a:lnTo>
                <a:lnTo>
                  <a:pt x="305" y="947"/>
                </a:lnTo>
                <a:lnTo>
                  <a:pt x="301" y="958"/>
                </a:lnTo>
                <a:lnTo>
                  <a:pt x="298" y="969"/>
                </a:lnTo>
                <a:lnTo>
                  <a:pt x="292" y="981"/>
                </a:lnTo>
                <a:lnTo>
                  <a:pt x="288" y="992"/>
                </a:lnTo>
                <a:lnTo>
                  <a:pt x="282" y="1004"/>
                </a:lnTo>
                <a:lnTo>
                  <a:pt x="275" y="1013"/>
                </a:lnTo>
                <a:lnTo>
                  <a:pt x="269" y="1025"/>
                </a:lnTo>
                <a:lnTo>
                  <a:pt x="261" y="1034"/>
                </a:lnTo>
                <a:lnTo>
                  <a:pt x="254" y="1044"/>
                </a:lnTo>
                <a:lnTo>
                  <a:pt x="244" y="1052"/>
                </a:lnTo>
                <a:lnTo>
                  <a:pt x="233" y="1059"/>
                </a:lnTo>
                <a:lnTo>
                  <a:pt x="233" y="1059"/>
                </a:lnTo>
                <a:lnTo>
                  <a:pt x="229" y="1063"/>
                </a:lnTo>
                <a:lnTo>
                  <a:pt x="223" y="1063"/>
                </a:lnTo>
                <a:lnTo>
                  <a:pt x="216" y="1065"/>
                </a:lnTo>
                <a:lnTo>
                  <a:pt x="208" y="1065"/>
                </a:lnTo>
                <a:lnTo>
                  <a:pt x="202" y="1065"/>
                </a:lnTo>
                <a:lnTo>
                  <a:pt x="195" y="1065"/>
                </a:lnTo>
                <a:lnTo>
                  <a:pt x="191" y="1065"/>
                </a:lnTo>
                <a:lnTo>
                  <a:pt x="187" y="1067"/>
                </a:lnTo>
                <a:lnTo>
                  <a:pt x="187" y="1067"/>
                </a:lnTo>
                <a:lnTo>
                  <a:pt x="181" y="1069"/>
                </a:lnTo>
                <a:lnTo>
                  <a:pt x="177" y="1069"/>
                </a:lnTo>
                <a:lnTo>
                  <a:pt x="174" y="1071"/>
                </a:lnTo>
                <a:lnTo>
                  <a:pt x="170" y="1072"/>
                </a:lnTo>
                <a:lnTo>
                  <a:pt x="166" y="1076"/>
                </a:lnTo>
                <a:lnTo>
                  <a:pt x="162" y="1078"/>
                </a:lnTo>
                <a:lnTo>
                  <a:pt x="158" y="1080"/>
                </a:lnTo>
                <a:lnTo>
                  <a:pt x="155" y="1082"/>
                </a:lnTo>
                <a:lnTo>
                  <a:pt x="151" y="1084"/>
                </a:lnTo>
                <a:lnTo>
                  <a:pt x="145" y="1086"/>
                </a:lnTo>
                <a:lnTo>
                  <a:pt x="141" y="1088"/>
                </a:lnTo>
                <a:lnTo>
                  <a:pt x="137" y="1090"/>
                </a:lnTo>
                <a:lnTo>
                  <a:pt x="132" y="1092"/>
                </a:lnTo>
                <a:lnTo>
                  <a:pt x="126" y="1092"/>
                </a:lnTo>
                <a:lnTo>
                  <a:pt x="122" y="1093"/>
                </a:lnTo>
                <a:lnTo>
                  <a:pt x="116" y="1093"/>
                </a:lnTo>
                <a:lnTo>
                  <a:pt x="116" y="1093"/>
                </a:lnTo>
                <a:lnTo>
                  <a:pt x="107" y="1092"/>
                </a:lnTo>
                <a:lnTo>
                  <a:pt x="97" y="1090"/>
                </a:lnTo>
                <a:lnTo>
                  <a:pt x="88" y="1086"/>
                </a:lnTo>
                <a:lnTo>
                  <a:pt x="78" y="1082"/>
                </a:lnTo>
                <a:lnTo>
                  <a:pt x="69" y="1074"/>
                </a:lnTo>
                <a:lnTo>
                  <a:pt x="59" y="1069"/>
                </a:lnTo>
                <a:lnTo>
                  <a:pt x="52" y="1061"/>
                </a:lnTo>
                <a:lnTo>
                  <a:pt x="42" y="1052"/>
                </a:lnTo>
                <a:lnTo>
                  <a:pt x="36" y="1042"/>
                </a:lnTo>
                <a:lnTo>
                  <a:pt x="29" y="1032"/>
                </a:lnTo>
                <a:lnTo>
                  <a:pt x="23" y="1023"/>
                </a:lnTo>
                <a:lnTo>
                  <a:pt x="17" y="1013"/>
                </a:lnTo>
                <a:lnTo>
                  <a:pt x="13" y="1002"/>
                </a:lnTo>
                <a:lnTo>
                  <a:pt x="10" y="992"/>
                </a:lnTo>
                <a:lnTo>
                  <a:pt x="8" y="981"/>
                </a:lnTo>
                <a:lnTo>
                  <a:pt x="8" y="971"/>
                </a:lnTo>
                <a:lnTo>
                  <a:pt x="8" y="971"/>
                </a:lnTo>
                <a:lnTo>
                  <a:pt x="8" y="966"/>
                </a:lnTo>
                <a:lnTo>
                  <a:pt x="10" y="958"/>
                </a:lnTo>
                <a:lnTo>
                  <a:pt x="13" y="952"/>
                </a:lnTo>
                <a:lnTo>
                  <a:pt x="17" y="948"/>
                </a:lnTo>
                <a:lnTo>
                  <a:pt x="21" y="943"/>
                </a:lnTo>
                <a:lnTo>
                  <a:pt x="23" y="937"/>
                </a:lnTo>
                <a:lnTo>
                  <a:pt x="27" y="931"/>
                </a:lnTo>
                <a:lnTo>
                  <a:pt x="27" y="924"/>
                </a:lnTo>
                <a:lnTo>
                  <a:pt x="27" y="924"/>
                </a:lnTo>
                <a:lnTo>
                  <a:pt x="27" y="918"/>
                </a:lnTo>
                <a:lnTo>
                  <a:pt x="25" y="912"/>
                </a:lnTo>
                <a:lnTo>
                  <a:pt x="25" y="908"/>
                </a:lnTo>
                <a:lnTo>
                  <a:pt x="23" y="903"/>
                </a:lnTo>
                <a:lnTo>
                  <a:pt x="21" y="899"/>
                </a:lnTo>
                <a:lnTo>
                  <a:pt x="19" y="893"/>
                </a:lnTo>
                <a:lnTo>
                  <a:pt x="15" y="887"/>
                </a:lnTo>
                <a:lnTo>
                  <a:pt x="13" y="884"/>
                </a:lnTo>
                <a:lnTo>
                  <a:pt x="12" y="878"/>
                </a:lnTo>
                <a:lnTo>
                  <a:pt x="10" y="874"/>
                </a:lnTo>
                <a:lnTo>
                  <a:pt x="8" y="868"/>
                </a:lnTo>
                <a:lnTo>
                  <a:pt x="6" y="863"/>
                </a:lnTo>
                <a:lnTo>
                  <a:pt x="4" y="857"/>
                </a:lnTo>
                <a:lnTo>
                  <a:pt x="2" y="851"/>
                </a:lnTo>
                <a:lnTo>
                  <a:pt x="2" y="845"/>
                </a:lnTo>
                <a:lnTo>
                  <a:pt x="0" y="840"/>
                </a:lnTo>
                <a:lnTo>
                  <a:pt x="0" y="813"/>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39" name="Freeform 11"/>
          <p:cNvSpPr>
            <a:spLocks/>
          </p:cNvSpPr>
          <p:nvPr>
            <p:custDataLst>
              <p:tags r:id="rId11"/>
            </p:custDataLst>
          </p:nvPr>
        </p:nvSpPr>
        <p:spPr bwMode="gray">
          <a:xfrm>
            <a:off x="4410833" y="4854385"/>
            <a:ext cx="539406" cy="476205"/>
          </a:xfrm>
          <a:custGeom>
            <a:avLst/>
            <a:gdLst/>
            <a:ahLst/>
            <a:cxnLst>
              <a:cxn ang="0">
                <a:pos x="21" y="179"/>
              </a:cxn>
              <a:cxn ang="0">
                <a:pos x="54" y="186"/>
              </a:cxn>
              <a:cxn ang="0">
                <a:pos x="84" y="196"/>
              </a:cxn>
              <a:cxn ang="0">
                <a:pos x="111" y="196"/>
              </a:cxn>
              <a:cxn ang="0">
                <a:pos x="143" y="179"/>
              </a:cxn>
              <a:cxn ang="0">
                <a:pos x="166" y="146"/>
              </a:cxn>
              <a:cxn ang="0">
                <a:pos x="185" y="118"/>
              </a:cxn>
              <a:cxn ang="0">
                <a:pos x="201" y="103"/>
              </a:cxn>
              <a:cxn ang="0">
                <a:pos x="224" y="93"/>
              </a:cxn>
              <a:cxn ang="0">
                <a:pos x="250" y="83"/>
              </a:cxn>
              <a:cxn ang="0">
                <a:pos x="269" y="74"/>
              </a:cxn>
              <a:cxn ang="0">
                <a:pos x="273" y="49"/>
              </a:cxn>
              <a:cxn ang="0">
                <a:pos x="287" y="30"/>
              </a:cxn>
              <a:cxn ang="0">
                <a:pos x="315" y="9"/>
              </a:cxn>
              <a:cxn ang="0">
                <a:pos x="350" y="0"/>
              </a:cxn>
              <a:cxn ang="0">
                <a:pos x="374" y="0"/>
              </a:cxn>
              <a:cxn ang="0">
                <a:pos x="390" y="1"/>
              </a:cxn>
              <a:cxn ang="0">
                <a:pos x="462" y="38"/>
              </a:cxn>
              <a:cxn ang="0">
                <a:pos x="500" y="68"/>
              </a:cxn>
              <a:cxn ang="0">
                <a:pos x="554" y="89"/>
              </a:cxn>
              <a:cxn ang="0">
                <a:pos x="586" y="131"/>
              </a:cxn>
              <a:cxn ang="0">
                <a:pos x="584" y="173"/>
              </a:cxn>
              <a:cxn ang="0">
                <a:pos x="573" y="217"/>
              </a:cxn>
              <a:cxn ang="0">
                <a:pos x="561" y="257"/>
              </a:cxn>
              <a:cxn ang="0">
                <a:pos x="559" y="289"/>
              </a:cxn>
              <a:cxn ang="0">
                <a:pos x="571" y="322"/>
              </a:cxn>
              <a:cxn ang="0">
                <a:pos x="571" y="345"/>
              </a:cxn>
              <a:cxn ang="0">
                <a:pos x="556" y="368"/>
              </a:cxn>
              <a:cxn ang="0">
                <a:pos x="536" y="391"/>
              </a:cxn>
              <a:cxn ang="0">
                <a:pos x="525" y="408"/>
              </a:cxn>
              <a:cxn ang="0">
                <a:pos x="521" y="436"/>
              </a:cxn>
              <a:cxn ang="0">
                <a:pos x="514" y="454"/>
              </a:cxn>
              <a:cxn ang="0">
                <a:pos x="487" y="482"/>
              </a:cxn>
              <a:cxn ang="0">
                <a:pos x="449" y="517"/>
              </a:cxn>
              <a:cxn ang="0">
                <a:pos x="428" y="534"/>
              </a:cxn>
              <a:cxn ang="0">
                <a:pos x="412" y="534"/>
              </a:cxn>
              <a:cxn ang="0">
                <a:pos x="397" y="534"/>
              </a:cxn>
              <a:cxn ang="0">
                <a:pos x="369" y="534"/>
              </a:cxn>
              <a:cxn ang="0">
                <a:pos x="342" y="524"/>
              </a:cxn>
              <a:cxn ang="0">
                <a:pos x="304" y="518"/>
              </a:cxn>
              <a:cxn ang="0">
                <a:pos x="283" y="509"/>
              </a:cxn>
              <a:cxn ang="0">
                <a:pos x="266" y="494"/>
              </a:cxn>
              <a:cxn ang="0">
                <a:pos x="247" y="478"/>
              </a:cxn>
              <a:cxn ang="0">
                <a:pos x="224" y="471"/>
              </a:cxn>
              <a:cxn ang="0">
                <a:pos x="187" y="454"/>
              </a:cxn>
              <a:cxn ang="0">
                <a:pos x="178" y="434"/>
              </a:cxn>
              <a:cxn ang="0">
                <a:pos x="176" y="406"/>
              </a:cxn>
              <a:cxn ang="0">
                <a:pos x="174" y="383"/>
              </a:cxn>
              <a:cxn ang="0">
                <a:pos x="159" y="372"/>
              </a:cxn>
              <a:cxn ang="0">
                <a:pos x="143" y="352"/>
              </a:cxn>
              <a:cxn ang="0">
                <a:pos x="128" y="337"/>
              </a:cxn>
              <a:cxn ang="0">
                <a:pos x="86" y="320"/>
              </a:cxn>
              <a:cxn ang="0">
                <a:pos x="63" y="305"/>
              </a:cxn>
              <a:cxn ang="0">
                <a:pos x="54" y="282"/>
              </a:cxn>
              <a:cxn ang="0">
                <a:pos x="44" y="255"/>
              </a:cxn>
              <a:cxn ang="0">
                <a:pos x="21" y="227"/>
              </a:cxn>
              <a:cxn ang="0">
                <a:pos x="4" y="198"/>
              </a:cxn>
            </a:cxnLst>
            <a:rect l="0" t="0" r="r" b="b"/>
            <a:pathLst>
              <a:path w="588" h="534">
                <a:moveTo>
                  <a:pt x="0" y="177"/>
                </a:moveTo>
                <a:lnTo>
                  <a:pt x="0" y="177"/>
                </a:lnTo>
                <a:lnTo>
                  <a:pt x="6" y="177"/>
                </a:lnTo>
                <a:lnTo>
                  <a:pt x="14" y="177"/>
                </a:lnTo>
                <a:lnTo>
                  <a:pt x="21" y="179"/>
                </a:lnTo>
                <a:lnTo>
                  <a:pt x="27" y="181"/>
                </a:lnTo>
                <a:lnTo>
                  <a:pt x="35" y="181"/>
                </a:lnTo>
                <a:lnTo>
                  <a:pt x="40" y="183"/>
                </a:lnTo>
                <a:lnTo>
                  <a:pt x="46" y="185"/>
                </a:lnTo>
                <a:lnTo>
                  <a:pt x="54" y="186"/>
                </a:lnTo>
                <a:lnTo>
                  <a:pt x="60" y="188"/>
                </a:lnTo>
                <a:lnTo>
                  <a:pt x="65" y="190"/>
                </a:lnTo>
                <a:lnTo>
                  <a:pt x="71" y="192"/>
                </a:lnTo>
                <a:lnTo>
                  <a:pt x="79" y="194"/>
                </a:lnTo>
                <a:lnTo>
                  <a:pt x="84" y="196"/>
                </a:lnTo>
                <a:lnTo>
                  <a:pt x="90" y="196"/>
                </a:lnTo>
                <a:lnTo>
                  <a:pt x="96" y="198"/>
                </a:lnTo>
                <a:lnTo>
                  <a:pt x="103" y="198"/>
                </a:lnTo>
                <a:lnTo>
                  <a:pt x="103" y="198"/>
                </a:lnTo>
                <a:lnTo>
                  <a:pt x="111" y="196"/>
                </a:lnTo>
                <a:lnTo>
                  <a:pt x="119" y="196"/>
                </a:lnTo>
                <a:lnTo>
                  <a:pt x="124" y="192"/>
                </a:lnTo>
                <a:lnTo>
                  <a:pt x="130" y="188"/>
                </a:lnTo>
                <a:lnTo>
                  <a:pt x="136" y="183"/>
                </a:lnTo>
                <a:lnTo>
                  <a:pt x="143" y="179"/>
                </a:lnTo>
                <a:lnTo>
                  <a:pt x="147" y="173"/>
                </a:lnTo>
                <a:lnTo>
                  <a:pt x="153" y="165"/>
                </a:lnTo>
                <a:lnTo>
                  <a:pt x="159" y="160"/>
                </a:lnTo>
                <a:lnTo>
                  <a:pt x="163" y="152"/>
                </a:lnTo>
                <a:lnTo>
                  <a:pt x="166" y="146"/>
                </a:lnTo>
                <a:lnTo>
                  <a:pt x="170" y="139"/>
                </a:lnTo>
                <a:lnTo>
                  <a:pt x="174" y="133"/>
                </a:lnTo>
                <a:lnTo>
                  <a:pt x="178" y="127"/>
                </a:lnTo>
                <a:lnTo>
                  <a:pt x="182" y="122"/>
                </a:lnTo>
                <a:lnTo>
                  <a:pt x="185" y="118"/>
                </a:lnTo>
                <a:lnTo>
                  <a:pt x="185" y="118"/>
                </a:lnTo>
                <a:lnTo>
                  <a:pt x="189" y="114"/>
                </a:lnTo>
                <a:lnTo>
                  <a:pt x="193" y="110"/>
                </a:lnTo>
                <a:lnTo>
                  <a:pt x="197" y="106"/>
                </a:lnTo>
                <a:lnTo>
                  <a:pt x="201" y="103"/>
                </a:lnTo>
                <a:lnTo>
                  <a:pt x="205" y="101"/>
                </a:lnTo>
                <a:lnTo>
                  <a:pt x="210" y="99"/>
                </a:lnTo>
                <a:lnTo>
                  <a:pt x="214" y="97"/>
                </a:lnTo>
                <a:lnTo>
                  <a:pt x="220" y="93"/>
                </a:lnTo>
                <a:lnTo>
                  <a:pt x="224" y="93"/>
                </a:lnTo>
                <a:lnTo>
                  <a:pt x="229" y="91"/>
                </a:lnTo>
                <a:lnTo>
                  <a:pt x="235" y="89"/>
                </a:lnTo>
                <a:lnTo>
                  <a:pt x="241" y="87"/>
                </a:lnTo>
                <a:lnTo>
                  <a:pt x="245" y="85"/>
                </a:lnTo>
                <a:lnTo>
                  <a:pt x="250" y="83"/>
                </a:lnTo>
                <a:lnTo>
                  <a:pt x="256" y="82"/>
                </a:lnTo>
                <a:lnTo>
                  <a:pt x="262" y="80"/>
                </a:lnTo>
                <a:lnTo>
                  <a:pt x="262" y="80"/>
                </a:lnTo>
                <a:lnTo>
                  <a:pt x="267" y="78"/>
                </a:lnTo>
                <a:lnTo>
                  <a:pt x="269" y="74"/>
                </a:lnTo>
                <a:lnTo>
                  <a:pt x="271" y="68"/>
                </a:lnTo>
                <a:lnTo>
                  <a:pt x="271" y="64"/>
                </a:lnTo>
                <a:lnTo>
                  <a:pt x="271" y="59"/>
                </a:lnTo>
                <a:lnTo>
                  <a:pt x="271" y="55"/>
                </a:lnTo>
                <a:lnTo>
                  <a:pt x="273" y="49"/>
                </a:lnTo>
                <a:lnTo>
                  <a:pt x="273" y="47"/>
                </a:lnTo>
                <a:lnTo>
                  <a:pt x="273" y="47"/>
                </a:lnTo>
                <a:lnTo>
                  <a:pt x="279" y="40"/>
                </a:lnTo>
                <a:lnTo>
                  <a:pt x="283" y="34"/>
                </a:lnTo>
                <a:lnTo>
                  <a:pt x="287" y="30"/>
                </a:lnTo>
                <a:lnTo>
                  <a:pt x="292" y="24"/>
                </a:lnTo>
                <a:lnTo>
                  <a:pt x="298" y="20"/>
                </a:lnTo>
                <a:lnTo>
                  <a:pt x="304" y="17"/>
                </a:lnTo>
                <a:lnTo>
                  <a:pt x="309" y="13"/>
                </a:lnTo>
                <a:lnTo>
                  <a:pt x="315" y="9"/>
                </a:lnTo>
                <a:lnTo>
                  <a:pt x="321" y="7"/>
                </a:lnTo>
                <a:lnTo>
                  <a:pt x="329" y="5"/>
                </a:lnTo>
                <a:lnTo>
                  <a:pt x="336" y="3"/>
                </a:lnTo>
                <a:lnTo>
                  <a:pt x="342" y="1"/>
                </a:lnTo>
                <a:lnTo>
                  <a:pt x="350" y="0"/>
                </a:lnTo>
                <a:lnTo>
                  <a:pt x="357" y="0"/>
                </a:lnTo>
                <a:lnTo>
                  <a:pt x="365" y="0"/>
                </a:lnTo>
                <a:lnTo>
                  <a:pt x="372" y="0"/>
                </a:lnTo>
                <a:lnTo>
                  <a:pt x="372" y="0"/>
                </a:lnTo>
                <a:lnTo>
                  <a:pt x="374" y="0"/>
                </a:lnTo>
                <a:lnTo>
                  <a:pt x="378" y="0"/>
                </a:lnTo>
                <a:lnTo>
                  <a:pt x="382" y="0"/>
                </a:lnTo>
                <a:lnTo>
                  <a:pt x="384" y="0"/>
                </a:lnTo>
                <a:lnTo>
                  <a:pt x="388" y="1"/>
                </a:lnTo>
                <a:lnTo>
                  <a:pt x="390" y="1"/>
                </a:lnTo>
                <a:lnTo>
                  <a:pt x="393" y="0"/>
                </a:lnTo>
                <a:lnTo>
                  <a:pt x="395" y="0"/>
                </a:lnTo>
                <a:lnTo>
                  <a:pt x="395" y="38"/>
                </a:lnTo>
                <a:lnTo>
                  <a:pt x="462" y="38"/>
                </a:lnTo>
                <a:lnTo>
                  <a:pt x="462" y="38"/>
                </a:lnTo>
                <a:lnTo>
                  <a:pt x="468" y="47"/>
                </a:lnTo>
                <a:lnTo>
                  <a:pt x="474" y="53"/>
                </a:lnTo>
                <a:lnTo>
                  <a:pt x="481" y="59"/>
                </a:lnTo>
                <a:lnTo>
                  <a:pt x="491" y="64"/>
                </a:lnTo>
                <a:lnTo>
                  <a:pt x="500" y="68"/>
                </a:lnTo>
                <a:lnTo>
                  <a:pt x="512" y="72"/>
                </a:lnTo>
                <a:lnTo>
                  <a:pt x="521" y="76"/>
                </a:lnTo>
                <a:lnTo>
                  <a:pt x="533" y="80"/>
                </a:lnTo>
                <a:lnTo>
                  <a:pt x="544" y="83"/>
                </a:lnTo>
                <a:lnTo>
                  <a:pt x="554" y="89"/>
                </a:lnTo>
                <a:lnTo>
                  <a:pt x="563" y="95"/>
                </a:lnTo>
                <a:lnTo>
                  <a:pt x="571" y="103"/>
                </a:lnTo>
                <a:lnTo>
                  <a:pt x="578" y="110"/>
                </a:lnTo>
                <a:lnTo>
                  <a:pt x="582" y="120"/>
                </a:lnTo>
                <a:lnTo>
                  <a:pt x="586" y="131"/>
                </a:lnTo>
                <a:lnTo>
                  <a:pt x="588" y="144"/>
                </a:lnTo>
                <a:lnTo>
                  <a:pt x="588" y="144"/>
                </a:lnTo>
                <a:lnTo>
                  <a:pt x="586" y="154"/>
                </a:lnTo>
                <a:lnTo>
                  <a:pt x="586" y="164"/>
                </a:lnTo>
                <a:lnTo>
                  <a:pt x="584" y="173"/>
                </a:lnTo>
                <a:lnTo>
                  <a:pt x="582" y="183"/>
                </a:lnTo>
                <a:lnTo>
                  <a:pt x="580" y="190"/>
                </a:lnTo>
                <a:lnTo>
                  <a:pt x="578" y="200"/>
                </a:lnTo>
                <a:lnTo>
                  <a:pt x="575" y="207"/>
                </a:lnTo>
                <a:lnTo>
                  <a:pt x="573" y="217"/>
                </a:lnTo>
                <a:lnTo>
                  <a:pt x="569" y="225"/>
                </a:lnTo>
                <a:lnTo>
                  <a:pt x="567" y="232"/>
                </a:lnTo>
                <a:lnTo>
                  <a:pt x="565" y="242"/>
                </a:lnTo>
                <a:lnTo>
                  <a:pt x="563" y="249"/>
                </a:lnTo>
                <a:lnTo>
                  <a:pt x="561" y="257"/>
                </a:lnTo>
                <a:lnTo>
                  <a:pt x="559" y="265"/>
                </a:lnTo>
                <a:lnTo>
                  <a:pt x="557" y="272"/>
                </a:lnTo>
                <a:lnTo>
                  <a:pt x="557" y="280"/>
                </a:lnTo>
                <a:lnTo>
                  <a:pt x="557" y="280"/>
                </a:lnTo>
                <a:lnTo>
                  <a:pt x="559" y="289"/>
                </a:lnTo>
                <a:lnTo>
                  <a:pt x="559" y="297"/>
                </a:lnTo>
                <a:lnTo>
                  <a:pt x="563" y="305"/>
                </a:lnTo>
                <a:lnTo>
                  <a:pt x="565" y="310"/>
                </a:lnTo>
                <a:lnTo>
                  <a:pt x="569" y="316"/>
                </a:lnTo>
                <a:lnTo>
                  <a:pt x="571" y="322"/>
                </a:lnTo>
                <a:lnTo>
                  <a:pt x="573" y="330"/>
                </a:lnTo>
                <a:lnTo>
                  <a:pt x="573" y="335"/>
                </a:lnTo>
                <a:lnTo>
                  <a:pt x="573" y="335"/>
                </a:lnTo>
                <a:lnTo>
                  <a:pt x="573" y="339"/>
                </a:lnTo>
                <a:lnTo>
                  <a:pt x="571" y="345"/>
                </a:lnTo>
                <a:lnTo>
                  <a:pt x="569" y="349"/>
                </a:lnTo>
                <a:lnTo>
                  <a:pt x="567" y="354"/>
                </a:lnTo>
                <a:lnTo>
                  <a:pt x="563" y="358"/>
                </a:lnTo>
                <a:lnTo>
                  <a:pt x="559" y="364"/>
                </a:lnTo>
                <a:lnTo>
                  <a:pt x="556" y="368"/>
                </a:lnTo>
                <a:lnTo>
                  <a:pt x="552" y="372"/>
                </a:lnTo>
                <a:lnTo>
                  <a:pt x="548" y="377"/>
                </a:lnTo>
                <a:lnTo>
                  <a:pt x="544" y="381"/>
                </a:lnTo>
                <a:lnTo>
                  <a:pt x="540" y="387"/>
                </a:lnTo>
                <a:lnTo>
                  <a:pt x="536" y="391"/>
                </a:lnTo>
                <a:lnTo>
                  <a:pt x="533" y="394"/>
                </a:lnTo>
                <a:lnTo>
                  <a:pt x="531" y="398"/>
                </a:lnTo>
                <a:lnTo>
                  <a:pt x="527" y="404"/>
                </a:lnTo>
                <a:lnTo>
                  <a:pt x="525" y="408"/>
                </a:lnTo>
                <a:lnTo>
                  <a:pt x="525" y="408"/>
                </a:lnTo>
                <a:lnTo>
                  <a:pt x="525" y="413"/>
                </a:lnTo>
                <a:lnTo>
                  <a:pt x="523" y="419"/>
                </a:lnTo>
                <a:lnTo>
                  <a:pt x="523" y="425"/>
                </a:lnTo>
                <a:lnTo>
                  <a:pt x="523" y="431"/>
                </a:lnTo>
                <a:lnTo>
                  <a:pt x="521" y="436"/>
                </a:lnTo>
                <a:lnTo>
                  <a:pt x="521" y="442"/>
                </a:lnTo>
                <a:lnTo>
                  <a:pt x="519" y="446"/>
                </a:lnTo>
                <a:lnTo>
                  <a:pt x="515" y="452"/>
                </a:lnTo>
                <a:lnTo>
                  <a:pt x="515" y="452"/>
                </a:lnTo>
                <a:lnTo>
                  <a:pt x="514" y="454"/>
                </a:lnTo>
                <a:lnTo>
                  <a:pt x="510" y="457"/>
                </a:lnTo>
                <a:lnTo>
                  <a:pt x="506" y="463"/>
                </a:lnTo>
                <a:lnTo>
                  <a:pt x="500" y="469"/>
                </a:lnTo>
                <a:lnTo>
                  <a:pt x="494" y="475"/>
                </a:lnTo>
                <a:lnTo>
                  <a:pt x="487" y="482"/>
                </a:lnTo>
                <a:lnTo>
                  <a:pt x="479" y="490"/>
                </a:lnTo>
                <a:lnTo>
                  <a:pt x="472" y="497"/>
                </a:lnTo>
                <a:lnTo>
                  <a:pt x="464" y="503"/>
                </a:lnTo>
                <a:lnTo>
                  <a:pt x="456" y="511"/>
                </a:lnTo>
                <a:lnTo>
                  <a:pt x="449" y="517"/>
                </a:lnTo>
                <a:lnTo>
                  <a:pt x="443" y="522"/>
                </a:lnTo>
                <a:lnTo>
                  <a:pt x="437" y="528"/>
                </a:lnTo>
                <a:lnTo>
                  <a:pt x="433" y="532"/>
                </a:lnTo>
                <a:lnTo>
                  <a:pt x="430" y="534"/>
                </a:lnTo>
                <a:lnTo>
                  <a:pt x="428" y="534"/>
                </a:lnTo>
                <a:lnTo>
                  <a:pt x="428" y="534"/>
                </a:lnTo>
                <a:lnTo>
                  <a:pt x="424" y="534"/>
                </a:lnTo>
                <a:lnTo>
                  <a:pt x="420" y="534"/>
                </a:lnTo>
                <a:lnTo>
                  <a:pt x="416" y="534"/>
                </a:lnTo>
                <a:lnTo>
                  <a:pt x="412" y="534"/>
                </a:lnTo>
                <a:lnTo>
                  <a:pt x="411" y="534"/>
                </a:lnTo>
                <a:lnTo>
                  <a:pt x="407" y="534"/>
                </a:lnTo>
                <a:lnTo>
                  <a:pt x="403" y="534"/>
                </a:lnTo>
                <a:lnTo>
                  <a:pt x="401" y="534"/>
                </a:lnTo>
                <a:lnTo>
                  <a:pt x="397" y="534"/>
                </a:lnTo>
                <a:lnTo>
                  <a:pt x="391" y="534"/>
                </a:lnTo>
                <a:lnTo>
                  <a:pt x="388" y="534"/>
                </a:lnTo>
                <a:lnTo>
                  <a:pt x="382" y="534"/>
                </a:lnTo>
                <a:lnTo>
                  <a:pt x="376" y="534"/>
                </a:lnTo>
                <a:lnTo>
                  <a:pt x="369" y="534"/>
                </a:lnTo>
                <a:lnTo>
                  <a:pt x="361" y="534"/>
                </a:lnTo>
                <a:lnTo>
                  <a:pt x="351" y="534"/>
                </a:lnTo>
                <a:lnTo>
                  <a:pt x="351" y="534"/>
                </a:lnTo>
                <a:lnTo>
                  <a:pt x="346" y="528"/>
                </a:lnTo>
                <a:lnTo>
                  <a:pt x="342" y="524"/>
                </a:lnTo>
                <a:lnTo>
                  <a:pt x="334" y="522"/>
                </a:lnTo>
                <a:lnTo>
                  <a:pt x="327" y="520"/>
                </a:lnTo>
                <a:lnTo>
                  <a:pt x="319" y="520"/>
                </a:lnTo>
                <a:lnTo>
                  <a:pt x="311" y="520"/>
                </a:lnTo>
                <a:lnTo>
                  <a:pt x="304" y="518"/>
                </a:lnTo>
                <a:lnTo>
                  <a:pt x="298" y="517"/>
                </a:lnTo>
                <a:lnTo>
                  <a:pt x="298" y="517"/>
                </a:lnTo>
                <a:lnTo>
                  <a:pt x="292" y="515"/>
                </a:lnTo>
                <a:lnTo>
                  <a:pt x="288" y="513"/>
                </a:lnTo>
                <a:lnTo>
                  <a:pt x="283" y="509"/>
                </a:lnTo>
                <a:lnTo>
                  <a:pt x="279" y="507"/>
                </a:lnTo>
                <a:lnTo>
                  <a:pt x="275" y="503"/>
                </a:lnTo>
                <a:lnTo>
                  <a:pt x="273" y="501"/>
                </a:lnTo>
                <a:lnTo>
                  <a:pt x="269" y="497"/>
                </a:lnTo>
                <a:lnTo>
                  <a:pt x="266" y="494"/>
                </a:lnTo>
                <a:lnTo>
                  <a:pt x="262" y="492"/>
                </a:lnTo>
                <a:lnTo>
                  <a:pt x="258" y="488"/>
                </a:lnTo>
                <a:lnTo>
                  <a:pt x="254" y="484"/>
                </a:lnTo>
                <a:lnTo>
                  <a:pt x="250" y="482"/>
                </a:lnTo>
                <a:lnTo>
                  <a:pt x="247" y="478"/>
                </a:lnTo>
                <a:lnTo>
                  <a:pt x="243" y="476"/>
                </a:lnTo>
                <a:lnTo>
                  <a:pt x="237" y="475"/>
                </a:lnTo>
                <a:lnTo>
                  <a:pt x="231" y="473"/>
                </a:lnTo>
                <a:lnTo>
                  <a:pt x="231" y="473"/>
                </a:lnTo>
                <a:lnTo>
                  <a:pt x="224" y="471"/>
                </a:lnTo>
                <a:lnTo>
                  <a:pt x="216" y="467"/>
                </a:lnTo>
                <a:lnTo>
                  <a:pt x="208" y="465"/>
                </a:lnTo>
                <a:lnTo>
                  <a:pt x="201" y="461"/>
                </a:lnTo>
                <a:lnTo>
                  <a:pt x="193" y="457"/>
                </a:lnTo>
                <a:lnTo>
                  <a:pt x="187" y="454"/>
                </a:lnTo>
                <a:lnTo>
                  <a:pt x="184" y="450"/>
                </a:lnTo>
                <a:lnTo>
                  <a:pt x="180" y="446"/>
                </a:lnTo>
                <a:lnTo>
                  <a:pt x="180" y="446"/>
                </a:lnTo>
                <a:lnTo>
                  <a:pt x="178" y="440"/>
                </a:lnTo>
                <a:lnTo>
                  <a:pt x="178" y="434"/>
                </a:lnTo>
                <a:lnTo>
                  <a:pt x="176" y="429"/>
                </a:lnTo>
                <a:lnTo>
                  <a:pt x="176" y="423"/>
                </a:lnTo>
                <a:lnTo>
                  <a:pt x="176" y="417"/>
                </a:lnTo>
                <a:lnTo>
                  <a:pt x="176" y="412"/>
                </a:lnTo>
                <a:lnTo>
                  <a:pt x="176" y="406"/>
                </a:lnTo>
                <a:lnTo>
                  <a:pt x="176" y="402"/>
                </a:lnTo>
                <a:lnTo>
                  <a:pt x="176" y="396"/>
                </a:lnTo>
                <a:lnTo>
                  <a:pt x="176" y="392"/>
                </a:lnTo>
                <a:lnTo>
                  <a:pt x="174" y="387"/>
                </a:lnTo>
                <a:lnTo>
                  <a:pt x="174" y="383"/>
                </a:lnTo>
                <a:lnTo>
                  <a:pt x="172" y="379"/>
                </a:lnTo>
                <a:lnTo>
                  <a:pt x="168" y="377"/>
                </a:lnTo>
                <a:lnTo>
                  <a:pt x="164" y="373"/>
                </a:lnTo>
                <a:lnTo>
                  <a:pt x="159" y="372"/>
                </a:lnTo>
                <a:lnTo>
                  <a:pt x="159" y="372"/>
                </a:lnTo>
                <a:lnTo>
                  <a:pt x="155" y="370"/>
                </a:lnTo>
                <a:lnTo>
                  <a:pt x="151" y="366"/>
                </a:lnTo>
                <a:lnTo>
                  <a:pt x="149" y="362"/>
                </a:lnTo>
                <a:lnTo>
                  <a:pt x="147" y="358"/>
                </a:lnTo>
                <a:lnTo>
                  <a:pt x="143" y="352"/>
                </a:lnTo>
                <a:lnTo>
                  <a:pt x="142" y="349"/>
                </a:lnTo>
                <a:lnTo>
                  <a:pt x="140" y="345"/>
                </a:lnTo>
                <a:lnTo>
                  <a:pt x="136" y="343"/>
                </a:lnTo>
                <a:lnTo>
                  <a:pt x="136" y="343"/>
                </a:lnTo>
                <a:lnTo>
                  <a:pt x="128" y="337"/>
                </a:lnTo>
                <a:lnTo>
                  <a:pt x="121" y="333"/>
                </a:lnTo>
                <a:lnTo>
                  <a:pt x="111" y="330"/>
                </a:lnTo>
                <a:lnTo>
                  <a:pt x="102" y="326"/>
                </a:lnTo>
                <a:lnTo>
                  <a:pt x="94" y="322"/>
                </a:lnTo>
                <a:lnTo>
                  <a:pt x="86" y="320"/>
                </a:lnTo>
                <a:lnTo>
                  <a:pt x="79" y="316"/>
                </a:lnTo>
                <a:lnTo>
                  <a:pt x="71" y="312"/>
                </a:lnTo>
                <a:lnTo>
                  <a:pt x="71" y="312"/>
                </a:lnTo>
                <a:lnTo>
                  <a:pt x="67" y="309"/>
                </a:lnTo>
                <a:lnTo>
                  <a:pt x="63" y="305"/>
                </a:lnTo>
                <a:lnTo>
                  <a:pt x="60" y="301"/>
                </a:lnTo>
                <a:lnTo>
                  <a:pt x="58" y="297"/>
                </a:lnTo>
                <a:lnTo>
                  <a:pt x="58" y="293"/>
                </a:lnTo>
                <a:lnTo>
                  <a:pt x="56" y="288"/>
                </a:lnTo>
                <a:lnTo>
                  <a:pt x="54" y="282"/>
                </a:lnTo>
                <a:lnTo>
                  <a:pt x="54" y="276"/>
                </a:lnTo>
                <a:lnTo>
                  <a:pt x="54" y="276"/>
                </a:lnTo>
                <a:lnTo>
                  <a:pt x="50" y="270"/>
                </a:lnTo>
                <a:lnTo>
                  <a:pt x="48" y="263"/>
                </a:lnTo>
                <a:lnTo>
                  <a:pt x="44" y="255"/>
                </a:lnTo>
                <a:lnTo>
                  <a:pt x="40" y="249"/>
                </a:lnTo>
                <a:lnTo>
                  <a:pt x="35" y="244"/>
                </a:lnTo>
                <a:lnTo>
                  <a:pt x="31" y="238"/>
                </a:lnTo>
                <a:lnTo>
                  <a:pt x="27" y="234"/>
                </a:lnTo>
                <a:lnTo>
                  <a:pt x="21" y="227"/>
                </a:lnTo>
                <a:lnTo>
                  <a:pt x="18" y="223"/>
                </a:lnTo>
                <a:lnTo>
                  <a:pt x="14" y="217"/>
                </a:lnTo>
                <a:lnTo>
                  <a:pt x="10" y="211"/>
                </a:lnTo>
                <a:lnTo>
                  <a:pt x="6" y="206"/>
                </a:lnTo>
                <a:lnTo>
                  <a:pt x="4" y="198"/>
                </a:lnTo>
                <a:lnTo>
                  <a:pt x="2" y="192"/>
                </a:lnTo>
                <a:lnTo>
                  <a:pt x="0" y="185"/>
                </a:lnTo>
                <a:lnTo>
                  <a:pt x="0" y="177"/>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0" name="Freeform 12"/>
          <p:cNvSpPr>
            <a:spLocks/>
          </p:cNvSpPr>
          <p:nvPr>
            <p:custDataLst>
              <p:tags r:id="rId12"/>
            </p:custDataLst>
          </p:nvPr>
        </p:nvSpPr>
        <p:spPr bwMode="gray">
          <a:xfrm>
            <a:off x="4946993" y="4420284"/>
            <a:ext cx="212200" cy="516698"/>
          </a:xfrm>
          <a:custGeom>
            <a:avLst/>
            <a:gdLst/>
            <a:ahLst/>
            <a:cxnLst>
              <a:cxn ang="0">
                <a:pos x="218" y="401"/>
              </a:cxn>
              <a:cxn ang="0">
                <a:pos x="233" y="437"/>
              </a:cxn>
              <a:cxn ang="0">
                <a:pos x="223" y="447"/>
              </a:cxn>
              <a:cxn ang="0">
                <a:pos x="227" y="492"/>
              </a:cxn>
              <a:cxn ang="0">
                <a:pos x="225" y="511"/>
              </a:cxn>
              <a:cxn ang="0">
                <a:pos x="212" y="517"/>
              </a:cxn>
              <a:cxn ang="0">
                <a:pos x="195" y="525"/>
              </a:cxn>
              <a:cxn ang="0">
                <a:pos x="174" y="546"/>
              </a:cxn>
              <a:cxn ang="0">
                <a:pos x="178" y="555"/>
              </a:cxn>
              <a:cxn ang="0">
                <a:pos x="174" y="567"/>
              </a:cxn>
              <a:cxn ang="0">
                <a:pos x="174" y="580"/>
              </a:cxn>
              <a:cxn ang="0">
                <a:pos x="137" y="544"/>
              </a:cxn>
              <a:cxn ang="0">
                <a:pos x="126" y="506"/>
              </a:cxn>
              <a:cxn ang="0">
                <a:pos x="137" y="479"/>
              </a:cxn>
              <a:cxn ang="0">
                <a:pos x="149" y="452"/>
              </a:cxn>
              <a:cxn ang="0">
                <a:pos x="143" y="414"/>
              </a:cxn>
              <a:cxn ang="0">
                <a:pos x="111" y="380"/>
              </a:cxn>
              <a:cxn ang="0">
                <a:pos x="86" y="395"/>
              </a:cxn>
              <a:cxn ang="0">
                <a:pos x="63" y="385"/>
              </a:cxn>
              <a:cxn ang="0">
                <a:pos x="44" y="355"/>
              </a:cxn>
              <a:cxn ang="0">
                <a:pos x="6" y="342"/>
              </a:cxn>
              <a:cxn ang="0">
                <a:pos x="6" y="315"/>
              </a:cxn>
              <a:cxn ang="0">
                <a:pos x="21" y="302"/>
              </a:cxn>
              <a:cxn ang="0">
                <a:pos x="34" y="277"/>
              </a:cxn>
              <a:cxn ang="0">
                <a:pos x="40" y="254"/>
              </a:cxn>
              <a:cxn ang="0">
                <a:pos x="48" y="231"/>
              </a:cxn>
              <a:cxn ang="0">
                <a:pos x="61" y="214"/>
              </a:cxn>
              <a:cxn ang="0">
                <a:pos x="59" y="187"/>
              </a:cxn>
              <a:cxn ang="0">
                <a:pos x="52" y="160"/>
              </a:cxn>
              <a:cxn ang="0">
                <a:pos x="57" y="137"/>
              </a:cxn>
              <a:cxn ang="0">
                <a:pos x="65" y="111"/>
              </a:cxn>
              <a:cxn ang="0">
                <a:pos x="78" y="80"/>
              </a:cxn>
              <a:cxn ang="0">
                <a:pos x="71" y="52"/>
              </a:cxn>
              <a:cxn ang="0">
                <a:pos x="59" y="23"/>
              </a:cxn>
              <a:cxn ang="0">
                <a:pos x="52" y="0"/>
              </a:cxn>
              <a:cxn ang="0">
                <a:pos x="94" y="6"/>
              </a:cxn>
              <a:cxn ang="0">
                <a:pos x="111" y="25"/>
              </a:cxn>
              <a:cxn ang="0">
                <a:pos x="120" y="52"/>
              </a:cxn>
              <a:cxn ang="0">
                <a:pos x="124" y="61"/>
              </a:cxn>
              <a:cxn ang="0">
                <a:pos x="134" y="73"/>
              </a:cxn>
              <a:cxn ang="0">
                <a:pos x="134" y="170"/>
              </a:cxn>
              <a:cxn ang="0">
                <a:pos x="124" y="202"/>
              </a:cxn>
              <a:cxn ang="0">
                <a:pos x="113" y="225"/>
              </a:cxn>
              <a:cxn ang="0">
                <a:pos x="118" y="242"/>
              </a:cxn>
              <a:cxn ang="0">
                <a:pos x="128" y="271"/>
              </a:cxn>
              <a:cxn ang="0">
                <a:pos x="134" y="319"/>
              </a:cxn>
              <a:cxn ang="0">
                <a:pos x="143" y="332"/>
              </a:cxn>
              <a:cxn ang="0">
                <a:pos x="149" y="345"/>
              </a:cxn>
              <a:cxn ang="0">
                <a:pos x="143" y="359"/>
              </a:cxn>
              <a:cxn ang="0">
                <a:pos x="149" y="376"/>
              </a:cxn>
              <a:cxn ang="0">
                <a:pos x="162" y="380"/>
              </a:cxn>
              <a:cxn ang="0">
                <a:pos x="166" y="368"/>
              </a:cxn>
              <a:cxn ang="0">
                <a:pos x="179" y="374"/>
              </a:cxn>
              <a:cxn ang="0">
                <a:pos x="189" y="378"/>
              </a:cxn>
              <a:cxn ang="0">
                <a:pos x="191" y="366"/>
              </a:cxn>
            </a:cxnLst>
            <a:rect l="0" t="0" r="r" b="b"/>
            <a:pathLst>
              <a:path w="233" h="580">
                <a:moveTo>
                  <a:pt x="189" y="378"/>
                </a:moveTo>
                <a:lnTo>
                  <a:pt x="189" y="378"/>
                </a:lnTo>
                <a:lnTo>
                  <a:pt x="197" y="382"/>
                </a:lnTo>
                <a:lnTo>
                  <a:pt x="202" y="385"/>
                </a:lnTo>
                <a:lnTo>
                  <a:pt x="210" y="393"/>
                </a:lnTo>
                <a:lnTo>
                  <a:pt x="218" y="401"/>
                </a:lnTo>
                <a:lnTo>
                  <a:pt x="223" y="410"/>
                </a:lnTo>
                <a:lnTo>
                  <a:pt x="227" y="418"/>
                </a:lnTo>
                <a:lnTo>
                  <a:pt x="231" y="427"/>
                </a:lnTo>
                <a:lnTo>
                  <a:pt x="233" y="435"/>
                </a:lnTo>
                <a:lnTo>
                  <a:pt x="233" y="435"/>
                </a:lnTo>
                <a:lnTo>
                  <a:pt x="233" y="437"/>
                </a:lnTo>
                <a:lnTo>
                  <a:pt x="231" y="439"/>
                </a:lnTo>
                <a:lnTo>
                  <a:pt x="229" y="439"/>
                </a:lnTo>
                <a:lnTo>
                  <a:pt x="227" y="441"/>
                </a:lnTo>
                <a:lnTo>
                  <a:pt x="225" y="443"/>
                </a:lnTo>
                <a:lnTo>
                  <a:pt x="225" y="445"/>
                </a:lnTo>
                <a:lnTo>
                  <a:pt x="223" y="447"/>
                </a:lnTo>
                <a:lnTo>
                  <a:pt x="223" y="448"/>
                </a:lnTo>
                <a:lnTo>
                  <a:pt x="227" y="483"/>
                </a:lnTo>
                <a:lnTo>
                  <a:pt x="227" y="483"/>
                </a:lnTo>
                <a:lnTo>
                  <a:pt x="227" y="487"/>
                </a:lnTo>
                <a:lnTo>
                  <a:pt x="227" y="490"/>
                </a:lnTo>
                <a:lnTo>
                  <a:pt x="227" y="492"/>
                </a:lnTo>
                <a:lnTo>
                  <a:pt x="227" y="496"/>
                </a:lnTo>
                <a:lnTo>
                  <a:pt x="227" y="500"/>
                </a:lnTo>
                <a:lnTo>
                  <a:pt x="227" y="504"/>
                </a:lnTo>
                <a:lnTo>
                  <a:pt x="227" y="508"/>
                </a:lnTo>
                <a:lnTo>
                  <a:pt x="225" y="511"/>
                </a:lnTo>
                <a:lnTo>
                  <a:pt x="225" y="511"/>
                </a:lnTo>
                <a:lnTo>
                  <a:pt x="223" y="513"/>
                </a:lnTo>
                <a:lnTo>
                  <a:pt x="221" y="515"/>
                </a:lnTo>
                <a:lnTo>
                  <a:pt x="220" y="517"/>
                </a:lnTo>
                <a:lnTo>
                  <a:pt x="218" y="517"/>
                </a:lnTo>
                <a:lnTo>
                  <a:pt x="214" y="517"/>
                </a:lnTo>
                <a:lnTo>
                  <a:pt x="212" y="517"/>
                </a:lnTo>
                <a:lnTo>
                  <a:pt x="208" y="517"/>
                </a:lnTo>
                <a:lnTo>
                  <a:pt x="204" y="517"/>
                </a:lnTo>
                <a:lnTo>
                  <a:pt x="204" y="517"/>
                </a:lnTo>
                <a:lnTo>
                  <a:pt x="202" y="517"/>
                </a:lnTo>
                <a:lnTo>
                  <a:pt x="199" y="521"/>
                </a:lnTo>
                <a:lnTo>
                  <a:pt x="195" y="525"/>
                </a:lnTo>
                <a:lnTo>
                  <a:pt x="189" y="529"/>
                </a:lnTo>
                <a:lnTo>
                  <a:pt x="183" y="532"/>
                </a:lnTo>
                <a:lnTo>
                  <a:pt x="178" y="538"/>
                </a:lnTo>
                <a:lnTo>
                  <a:pt x="174" y="542"/>
                </a:lnTo>
                <a:lnTo>
                  <a:pt x="174" y="546"/>
                </a:lnTo>
                <a:lnTo>
                  <a:pt x="174" y="546"/>
                </a:lnTo>
                <a:lnTo>
                  <a:pt x="174" y="548"/>
                </a:lnTo>
                <a:lnTo>
                  <a:pt x="174" y="550"/>
                </a:lnTo>
                <a:lnTo>
                  <a:pt x="176" y="551"/>
                </a:lnTo>
                <a:lnTo>
                  <a:pt x="178" y="553"/>
                </a:lnTo>
                <a:lnTo>
                  <a:pt x="178" y="553"/>
                </a:lnTo>
                <a:lnTo>
                  <a:pt x="178" y="555"/>
                </a:lnTo>
                <a:lnTo>
                  <a:pt x="176" y="557"/>
                </a:lnTo>
                <a:lnTo>
                  <a:pt x="176" y="559"/>
                </a:lnTo>
                <a:lnTo>
                  <a:pt x="174" y="561"/>
                </a:lnTo>
                <a:lnTo>
                  <a:pt x="174" y="563"/>
                </a:lnTo>
                <a:lnTo>
                  <a:pt x="174" y="565"/>
                </a:lnTo>
                <a:lnTo>
                  <a:pt x="174" y="567"/>
                </a:lnTo>
                <a:lnTo>
                  <a:pt x="174" y="569"/>
                </a:lnTo>
                <a:lnTo>
                  <a:pt x="174" y="569"/>
                </a:lnTo>
                <a:lnTo>
                  <a:pt x="174" y="572"/>
                </a:lnTo>
                <a:lnTo>
                  <a:pt x="174" y="574"/>
                </a:lnTo>
                <a:lnTo>
                  <a:pt x="174" y="578"/>
                </a:lnTo>
                <a:lnTo>
                  <a:pt x="174" y="580"/>
                </a:lnTo>
                <a:lnTo>
                  <a:pt x="174" y="580"/>
                </a:lnTo>
                <a:lnTo>
                  <a:pt x="168" y="576"/>
                </a:lnTo>
                <a:lnTo>
                  <a:pt x="160" y="572"/>
                </a:lnTo>
                <a:lnTo>
                  <a:pt x="153" y="563"/>
                </a:lnTo>
                <a:lnTo>
                  <a:pt x="145" y="553"/>
                </a:lnTo>
                <a:lnTo>
                  <a:pt x="137" y="544"/>
                </a:lnTo>
                <a:lnTo>
                  <a:pt x="132" y="532"/>
                </a:lnTo>
                <a:lnTo>
                  <a:pt x="128" y="523"/>
                </a:lnTo>
                <a:lnTo>
                  <a:pt x="126" y="515"/>
                </a:lnTo>
                <a:lnTo>
                  <a:pt x="126" y="515"/>
                </a:lnTo>
                <a:lnTo>
                  <a:pt x="126" y="511"/>
                </a:lnTo>
                <a:lnTo>
                  <a:pt x="126" y="506"/>
                </a:lnTo>
                <a:lnTo>
                  <a:pt x="128" y="502"/>
                </a:lnTo>
                <a:lnTo>
                  <a:pt x="130" y="498"/>
                </a:lnTo>
                <a:lnTo>
                  <a:pt x="132" y="492"/>
                </a:lnTo>
                <a:lnTo>
                  <a:pt x="134" y="489"/>
                </a:lnTo>
                <a:lnTo>
                  <a:pt x="136" y="485"/>
                </a:lnTo>
                <a:lnTo>
                  <a:pt x="137" y="479"/>
                </a:lnTo>
                <a:lnTo>
                  <a:pt x="139" y="475"/>
                </a:lnTo>
                <a:lnTo>
                  <a:pt x="143" y="471"/>
                </a:lnTo>
                <a:lnTo>
                  <a:pt x="145" y="468"/>
                </a:lnTo>
                <a:lnTo>
                  <a:pt x="147" y="462"/>
                </a:lnTo>
                <a:lnTo>
                  <a:pt x="147" y="458"/>
                </a:lnTo>
                <a:lnTo>
                  <a:pt x="149" y="452"/>
                </a:lnTo>
                <a:lnTo>
                  <a:pt x="149" y="448"/>
                </a:lnTo>
                <a:lnTo>
                  <a:pt x="149" y="443"/>
                </a:lnTo>
                <a:lnTo>
                  <a:pt x="149" y="443"/>
                </a:lnTo>
                <a:lnTo>
                  <a:pt x="149" y="433"/>
                </a:lnTo>
                <a:lnTo>
                  <a:pt x="147" y="424"/>
                </a:lnTo>
                <a:lnTo>
                  <a:pt x="143" y="414"/>
                </a:lnTo>
                <a:lnTo>
                  <a:pt x="139" y="403"/>
                </a:lnTo>
                <a:lnTo>
                  <a:pt x="134" y="395"/>
                </a:lnTo>
                <a:lnTo>
                  <a:pt x="126" y="387"/>
                </a:lnTo>
                <a:lnTo>
                  <a:pt x="118" y="382"/>
                </a:lnTo>
                <a:lnTo>
                  <a:pt x="111" y="380"/>
                </a:lnTo>
                <a:lnTo>
                  <a:pt x="111" y="380"/>
                </a:lnTo>
                <a:lnTo>
                  <a:pt x="105" y="382"/>
                </a:lnTo>
                <a:lnTo>
                  <a:pt x="101" y="384"/>
                </a:lnTo>
                <a:lnTo>
                  <a:pt x="97" y="385"/>
                </a:lnTo>
                <a:lnTo>
                  <a:pt x="94" y="389"/>
                </a:lnTo>
                <a:lnTo>
                  <a:pt x="90" y="391"/>
                </a:lnTo>
                <a:lnTo>
                  <a:pt x="86" y="395"/>
                </a:lnTo>
                <a:lnTo>
                  <a:pt x="82" y="397"/>
                </a:lnTo>
                <a:lnTo>
                  <a:pt x="78" y="397"/>
                </a:lnTo>
                <a:lnTo>
                  <a:pt x="78" y="397"/>
                </a:lnTo>
                <a:lnTo>
                  <a:pt x="73" y="395"/>
                </a:lnTo>
                <a:lnTo>
                  <a:pt x="69" y="391"/>
                </a:lnTo>
                <a:lnTo>
                  <a:pt x="63" y="385"/>
                </a:lnTo>
                <a:lnTo>
                  <a:pt x="59" y="378"/>
                </a:lnTo>
                <a:lnTo>
                  <a:pt x="54" y="370"/>
                </a:lnTo>
                <a:lnTo>
                  <a:pt x="50" y="365"/>
                </a:lnTo>
                <a:lnTo>
                  <a:pt x="46" y="359"/>
                </a:lnTo>
                <a:lnTo>
                  <a:pt x="44" y="355"/>
                </a:lnTo>
                <a:lnTo>
                  <a:pt x="44" y="355"/>
                </a:lnTo>
                <a:lnTo>
                  <a:pt x="38" y="351"/>
                </a:lnTo>
                <a:lnTo>
                  <a:pt x="31" y="349"/>
                </a:lnTo>
                <a:lnTo>
                  <a:pt x="25" y="347"/>
                </a:lnTo>
                <a:lnTo>
                  <a:pt x="17" y="345"/>
                </a:lnTo>
                <a:lnTo>
                  <a:pt x="10" y="344"/>
                </a:lnTo>
                <a:lnTo>
                  <a:pt x="6" y="342"/>
                </a:lnTo>
                <a:lnTo>
                  <a:pt x="2" y="336"/>
                </a:lnTo>
                <a:lnTo>
                  <a:pt x="0" y="326"/>
                </a:lnTo>
                <a:lnTo>
                  <a:pt x="0" y="326"/>
                </a:lnTo>
                <a:lnTo>
                  <a:pt x="2" y="323"/>
                </a:lnTo>
                <a:lnTo>
                  <a:pt x="4" y="319"/>
                </a:lnTo>
                <a:lnTo>
                  <a:pt x="6" y="315"/>
                </a:lnTo>
                <a:lnTo>
                  <a:pt x="10" y="313"/>
                </a:lnTo>
                <a:lnTo>
                  <a:pt x="12" y="309"/>
                </a:lnTo>
                <a:lnTo>
                  <a:pt x="15" y="307"/>
                </a:lnTo>
                <a:lnTo>
                  <a:pt x="19" y="305"/>
                </a:lnTo>
                <a:lnTo>
                  <a:pt x="21" y="302"/>
                </a:lnTo>
                <a:lnTo>
                  <a:pt x="21" y="302"/>
                </a:lnTo>
                <a:lnTo>
                  <a:pt x="23" y="296"/>
                </a:lnTo>
                <a:lnTo>
                  <a:pt x="27" y="290"/>
                </a:lnTo>
                <a:lnTo>
                  <a:pt x="29" y="286"/>
                </a:lnTo>
                <a:lnTo>
                  <a:pt x="31" y="284"/>
                </a:lnTo>
                <a:lnTo>
                  <a:pt x="33" y="281"/>
                </a:lnTo>
                <a:lnTo>
                  <a:pt x="34" y="277"/>
                </a:lnTo>
                <a:lnTo>
                  <a:pt x="36" y="273"/>
                </a:lnTo>
                <a:lnTo>
                  <a:pt x="38" y="269"/>
                </a:lnTo>
                <a:lnTo>
                  <a:pt x="38" y="269"/>
                </a:lnTo>
                <a:lnTo>
                  <a:pt x="40" y="263"/>
                </a:lnTo>
                <a:lnTo>
                  <a:pt x="40" y="258"/>
                </a:lnTo>
                <a:lnTo>
                  <a:pt x="40" y="254"/>
                </a:lnTo>
                <a:lnTo>
                  <a:pt x="40" y="248"/>
                </a:lnTo>
                <a:lnTo>
                  <a:pt x="42" y="244"/>
                </a:lnTo>
                <a:lnTo>
                  <a:pt x="42" y="239"/>
                </a:lnTo>
                <a:lnTo>
                  <a:pt x="44" y="235"/>
                </a:lnTo>
                <a:lnTo>
                  <a:pt x="48" y="231"/>
                </a:lnTo>
                <a:lnTo>
                  <a:pt x="48" y="231"/>
                </a:lnTo>
                <a:lnTo>
                  <a:pt x="50" y="227"/>
                </a:lnTo>
                <a:lnTo>
                  <a:pt x="54" y="225"/>
                </a:lnTo>
                <a:lnTo>
                  <a:pt x="55" y="223"/>
                </a:lnTo>
                <a:lnTo>
                  <a:pt x="57" y="220"/>
                </a:lnTo>
                <a:lnTo>
                  <a:pt x="59" y="218"/>
                </a:lnTo>
                <a:lnTo>
                  <a:pt x="61" y="214"/>
                </a:lnTo>
                <a:lnTo>
                  <a:pt x="61" y="210"/>
                </a:lnTo>
                <a:lnTo>
                  <a:pt x="63" y="206"/>
                </a:lnTo>
                <a:lnTo>
                  <a:pt x="63" y="206"/>
                </a:lnTo>
                <a:lnTo>
                  <a:pt x="61" y="199"/>
                </a:lnTo>
                <a:lnTo>
                  <a:pt x="61" y="193"/>
                </a:lnTo>
                <a:lnTo>
                  <a:pt x="59" y="187"/>
                </a:lnTo>
                <a:lnTo>
                  <a:pt x="57" y="183"/>
                </a:lnTo>
                <a:lnTo>
                  <a:pt x="55" y="178"/>
                </a:lnTo>
                <a:lnTo>
                  <a:pt x="54" y="172"/>
                </a:lnTo>
                <a:lnTo>
                  <a:pt x="52" y="168"/>
                </a:lnTo>
                <a:lnTo>
                  <a:pt x="52" y="160"/>
                </a:lnTo>
                <a:lnTo>
                  <a:pt x="52" y="160"/>
                </a:lnTo>
                <a:lnTo>
                  <a:pt x="52" y="157"/>
                </a:lnTo>
                <a:lnTo>
                  <a:pt x="52" y="153"/>
                </a:lnTo>
                <a:lnTo>
                  <a:pt x="54" y="149"/>
                </a:lnTo>
                <a:lnTo>
                  <a:pt x="55" y="145"/>
                </a:lnTo>
                <a:lnTo>
                  <a:pt x="55" y="141"/>
                </a:lnTo>
                <a:lnTo>
                  <a:pt x="57" y="137"/>
                </a:lnTo>
                <a:lnTo>
                  <a:pt x="57" y="134"/>
                </a:lnTo>
                <a:lnTo>
                  <a:pt x="57" y="130"/>
                </a:lnTo>
                <a:lnTo>
                  <a:pt x="57" y="130"/>
                </a:lnTo>
                <a:lnTo>
                  <a:pt x="59" y="124"/>
                </a:lnTo>
                <a:lnTo>
                  <a:pt x="61" y="116"/>
                </a:lnTo>
                <a:lnTo>
                  <a:pt x="65" y="111"/>
                </a:lnTo>
                <a:lnTo>
                  <a:pt x="69" y="105"/>
                </a:lnTo>
                <a:lnTo>
                  <a:pt x="73" y="99"/>
                </a:lnTo>
                <a:lnTo>
                  <a:pt x="75" y="94"/>
                </a:lnTo>
                <a:lnTo>
                  <a:pt x="78" y="88"/>
                </a:lnTo>
                <a:lnTo>
                  <a:pt x="78" y="80"/>
                </a:lnTo>
                <a:lnTo>
                  <a:pt x="78" y="80"/>
                </a:lnTo>
                <a:lnTo>
                  <a:pt x="78" y="76"/>
                </a:lnTo>
                <a:lnTo>
                  <a:pt x="78" y="71"/>
                </a:lnTo>
                <a:lnTo>
                  <a:pt x="76" y="67"/>
                </a:lnTo>
                <a:lnTo>
                  <a:pt x="75" y="61"/>
                </a:lnTo>
                <a:lnTo>
                  <a:pt x="73" y="57"/>
                </a:lnTo>
                <a:lnTo>
                  <a:pt x="71" y="52"/>
                </a:lnTo>
                <a:lnTo>
                  <a:pt x="69" y="46"/>
                </a:lnTo>
                <a:lnTo>
                  <a:pt x="67" y="42"/>
                </a:lnTo>
                <a:lnTo>
                  <a:pt x="65" y="36"/>
                </a:lnTo>
                <a:lnTo>
                  <a:pt x="63" y="33"/>
                </a:lnTo>
                <a:lnTo>
                  <a:pt x="61" y="27"/>
                </a:lnTo>
                <a:lnTo>
                  <a:pt x="59" y="23"/>
                </a:lnTo>
                <a:lnTo>
                  <a:pt x="57" y="17"/>
                </a:lnTo>
                <a:lnTo>
                  <a:pt x="55" y="12"/>
                </a:lnTo>
                <a:lnTo>
                  <a:pt x="55" y="8"/>
                </a:lnTo>
                <a:lnTo>
                  <a:pt x="55" y="2"/>
                </a:lnTo>
                <a:lnTo>
                  <a:pt x="52" y="0"/>
                </a:lnTo>
                <a:lnTo>
                  <a:pt x="52" y="0"/>
                </a:lnTo>
                <a:lnTo>
                  <a:pt x="57" y="2"/>
                </a:lnTo>
                <a:lnTo>
                  <a:pt x="65" y="4"/>
                </a:lnTo>
                <a:lnTo>
                  <a:pt x="71" y="6"/>
                </a:lnTo>
                <a:lnTo>
                  <a:pt x="78" y="6"/>
                </a:lnTo>
                <a:lnTo>
                  <a:pt x="86" y="6"/>
                </a:lnTo>
                <a:lnTo>
                  <a:pt x="94" y="6"/>
                </a:lnTo>
                <a:lnTo>
                  <a:pt x="101" y="6"/>
                </a:lnTo>
                <a:lnTo>
                  <a:pt x="109" y="4"/>
                </a:lnTo>
                <a:lnTo>
                  <a:pt x="109" y="4"/>
                </a:lnTo>
                <a:lnTo>
                  <a:pt x="109" y="12"/>
                </a:lnTo>
                <a:lnTo>
                  <a:pt x="111" y="19"/>
                </a:lnTo>
                <a:lnTo>
                  <a:pt x="111" y="25"/>
                </a:lnTo>
                <a:lnTo>
                  <a:pt x="113" y="31"/>
                </a:lnTo>
                <a:lnTo>
                  <a:pt x="113" y="34"/>
                </a:lnTo>
                <a:lnTo>
                  <a:pt x="115" y="40"/>
                </a:lnTo>
                <a:lnTo>
                  <a:pt x="118" y="46"/>
                </a:lnTo>
                <a:lnTo>
                  <a:pt x="120" y="52"/>
                </a:lnTo>
                <a:lnTo>
                  <a:pt x="120" y="52"/>
                </a:lnTo>
                <a:lnTo>
                  <a:pt x="120" y="54"/>
                </a:lnTo>
                <a:lnTo>
                  <a:pt x="120" y="57"/>
                </a:lnTo>
                <a:lnTo>
                  <a:pt x="120" y="59"/>
                </a:lnTo>
                <a:lnTo>
                  <a:pt x="122" y="61"/>
                </a:lnTo>
                <a:lnTo>
                  <a:pt x="122" y="61"/>
                </a:lnTo>
                <a:lnTo>
                  <a:pt x="124" y="61"/>
                </a:lnTo>
                <a:lnTo>
                  <a:pt x="126" y="63"/>
                </a:lnTo>
                <a:lnTo>
                  <a:pt x="128" y="65"/>
                </a:lnTo>
                <a:lnTo>
                  <a:pt x="128" y="67"/>
                </a:lnTo>
                <a:lnTo>
                  <a:pt x="130" y="69"/>
                </a:lnTo>
                <a:lnTo>
                  <a:pt x="132" y="71"/>
                </a:lnTo>
                <a:lnTo>
                  <a:pt x="134" y="73"/>
                </a:lnTo>
                <a:lnTo>
                  <a:pt x="137" y="75"/>
                </a:lnTo>
                <a:lnTo>
                  <a:pt x="137" y="160"/>
                </a:lnTo>
                <a:lnTo>
                  <a:pt x="137" y="160"/>
                </a:lnTo>
                <a:lnTo>
                  <a:pt x="136" y="162"/>
                </a:lnTo>
                <a:lnTo>
                  <a:pt x="136" y="166"/>
                </a:lnTo>
                <a:lnTo>
                  <a:pt x="134" y="170"/>
                </a:lnTo>
                <a:lnTo>
                  <a:pt x="134" y="174"/>
                </a:lnTo>
                <a:lnTo>
                  <a:pt x="132" y="179"/>
                </a:lnTo>
                <a:lnTo>
                  <a:pt x="130" y="185"/>
                </a:lnTo>
                <a:lnTo>
                  <a:pt x="128" y="191"/>
                </a:lnTo>
                <a:lnTo>
                  <a:pt x="126" y="197"/>
                </a:lnTo>
                <a:lnTo>
                  <a:pt x="124" y="202"/>
                </a:lnTo>
                <a:lnTo>
                  <a:pt x="122" y="208"/>
                </a:lnTo>
                <a:lnTo>
                  <a:pt x="120" y="212"/>
                </a:lnTo>
                <a:lnTo>
                  <a:pt x="118" y="218"/>
                </a:lnTo>
                <a:lnTo>
                  <a:pt x="116" y="221"/>
                </a:lnTo>
                <a:lnTo>
                  <a:pt x="115" y="223"/>
                </a:lnTo>
                <a:lnTo>
                  <a:pt x="113" y="225"/>
                </a:lnTo>
                <a:lnTo>
                  <a:pt x="111" y="225"/>
                </a:lnTo>
                <a:lnTo>
                  <a:pt x="111" y="225"/>
                </a:lnTo>
                <a:lnTo>
                  <a:pt x="111" y="231"/>
                </a:lnTo>
                <a:lnTo>
                  <a:pt x="113" y="235"/>
                </a:lnTo>
                <a:lnTo>
                  <a:pt x="116" y="239"/>
                </a:lnTo>
                <a:lnTo>
                  <a:pt x="118" y="242"/>
                </a:lnTo>
                <a:lnTo>
                  <a:pt x="122" y="246"/>
                </a:lnTo>
                <a:lnTo>
                  <a:pt x="124" y="252"/>
                </a:lnTo>
                <a:lnTo>
                  <a:pt x="126" y="256"/>
                </a:lnTo>
                <a:lnTo>
                  <a:pt x="128" y="263"/>
                </a:lnTo>
                <a:lnTo>
                  <a:pt x="128" y="263"/>
                </a:lnTo>
                <a:lnTo>
                  <a:pt x="128" y="271"/>
                </a:lnTo>
                <a:lnTo>
                  <a:pt x="128" y="279"/>
                </a:lnTo>
                <a:lnTo>
                  <a:pt x="128" y="286"/>
                </a:lnTo>
                <a:lnTo>
                  <a:pt x="128" y="296"/>
                </a:lnTo>
                <a:lnTo>
                  <a:pt x="130" y="303"/>
                </a:lnTo>
                <a:lnTo>
                  <a:pt x="132" y="311"/>
                </a:lnTo>
                <a:lnTo>
                  <a:pt x="134" y="319"/>
                </a:lnTo>
                <a:lnTo>
                  <a:pt x="137" y="326"/>
                </a:lnTo>
                <a:lnTo>
                  <a:pt x="137" y="326"/>
                </a:lnTo>
                <a:lnTo>
                  <a:pt x="139" y="328"/>
                </a:lnTo>
                <a:lnTo>
                  <a:pt x="141" y="330"/>
                </a:lnTo>
                <a:lnTo>
                  <a:pt x="143" y="332"/>
                </a:lnTo>
                <a:lnTo>
                  <a:pt x="143" y="332"/>
                </a:lnTo>
                <a:lnTo>
                  <a:pt x="145" y="334"/>
                </a:lnTo>
                <a:lnTo>
                  <a:pt x="147" y="336"/>
                </a:lnTo>
                <a:lnTo>
                  <a:pt x="149" y="340"/>
                </a:lnTo>
                <a:lnTo>
                  <a:pt x="149" y="344"/>
                </a:lnTo>
                <a:lnTo>
                  <a:pt x="149" y="344"/>
                </a:lnTo>
                <a:lnTo>
                  <a:pt x="149" y="345"/>
                </a:lnTo>
                <a:lnTo>
                  <a:pt x="147" y="347"/>
                </a:lnTo>
                <a:lnTo>
                  <a:pt x="147" y="349"/>
                </a:lnTo>
                <a:lnTo>
                  <a:pt x="147" y="351"/>
                </a:lnTo>
                <a:lnTo>
                  <a:pt x="145" y="355"/>
                </a:lnTo>
                <a:lnTo>
                  <a:pt x="145" y="357"/>
                </a:lnTo>
                <a:lnTo>
                  <a:pt x="143" y="359"/>
                </a:lnTo>
                <a:lnTo>
                  <a:pt x="143" y="363"/>
                </a:lnTo>
                <a:lnTo>
                  <a:pt x="143" y="363"/>
                </a:lnTo>
                <a:lnTo>
                  <a:pt x="143" y="365"/>
                </a:lnTo>
                <a:lnTo>
                  <a:pt x="145" y="368"/>
                </a:lnTo>
                <a:lnTo>
                  <a:pt x="147" y="372"/>
                </a:lnTo>
                <a:lnTo>
                  <a:pt x="149" y="376"/>
                </a:lnTo>
                <a:lnTo>
                  <a:pt x="151" y="378"/>
                </a:lnTo>
                <a:lnTo>
                  <a:pt x="155" y="380"/>
                </a:lnTo>
                <a:lnTo>
                  <a:pt x="158" y="382"/>
                </a:lnTo>
                <a:lnTo>
                  <a:pt x="162" y="382"/>
                </a:lnTo>
                <a:lnTo>
                  <a:pt x="162" y="382"/>
                </a:lnTo>
                <a:lnTo>
                  <a:pt x="162" y="380"/>
                </a:lnTo>
                <a:lnTo>
                  <a:pt x="162" y="378"/>
                </a:lnTo>
                <a:lnTo>
                  <a:pt x="162" y="376"/>
                </a:lnTo>
                <a:lnTo>
                  <a:pt x="162" y="374"/>
                </a:lnTo>
                <a:lnTo>
                  <a:pt x="164" y="372"/>
                </a:lnTo>
                <a:lnTo>
                  <a:pt x="164" y="370"/>
                </a:lnTo>
                <a:lnTo>
                  <a:pt x="166" y="368"/>
                </a:lnTo>
                <a:lnTo>
                  <a:pt x="168" y="366"/>
                </a:lnTo>
                <a:lnTo>
                  <a:pt x="168" y="366"/>
                </a:lnTo>
                <a:lnTo>
                  <a:pt x="170" y="368"/>
                </a:lnTo>
                <a:lnTo>
                  <a:pt x="174" y="370"/>
                </a:lnTo>
                <a:lnTo>
                  <a:pt x="176" y="372"/>
                </a:lnTo>
                <a:lnTo>
                  <a:pt x="179" y="374"/>
                </a:lnTo>
                <a:lnTo>
                  <a:pt x="181" y="376"/>
                </a:lnTo>
                <a:lnTo>
                  <a:pt x="185" y="378"/>
                </a:lnTo>
                <a:lnTo>
                  <a:pt x="187" y="380"/>
                </a:lnTo>
                <a:lnTo>
                  <a:pt x="191" y="380"/>
                </a:lnTo>
                <a:lnTo>
                  <a:pt x="191" y="380"/>
                </a:lnTo>
                <a:lnTo>
                  <a:pt x="189" y="378"/>
                </a:lnTo>
                <a:lnTo>
                  <a:pt x="187" y="376"/>
                </a:lnTo>
                <a:lnTo>
                  <a:pt x="187" y="374"/>
                </a:lnTo>
                <a:lnTo>
                  <a:pt x="189" y="372"/>
                </a:lnTo>
                <a:lnTo>
                  <a:pt x="189" y="370"/>
                </a:lnTo>
                <a:lnTo>
                  <a:pt x="189" y="368"/>
                </a:lnTo>
                <a:lnTo>
                  <a:pt x="191" y="366"/>
                </a:lnTo>
                <a:lnTo>
                  <a:pt x="191" y="363"/>
                </a:lnTo>
                <a:lnTo>
                  <a:pt x="191" y="363"/>
                </a:lnTo>
                <a:lnTo>
                  <a:pt x="189" y="378"/>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1" name="Freeform 13"/>
          <p:cNvSpPr>
            <a:spLocks/>
          </p:cNvSpPr>
          <p:nvPr>
            <p:custDataLst>
              <p:tags r:id="rId13"/>
            </p:custDataLst>
          </p:nvPr>
        </p:nvSpPr>
        <p:spPr bwMode="gray">
          <a:xfrm>
            <a:off x="4759100" y="4472123"/>
            <a:ext cx="769425" cy="1180794"/>
          </a:xfrm>
          <a:custGeom>
            <a:avLst/>
            <a:gdLst/>
            <a:ahLst/>
            <a:cxnLst>
              <a:cxn ang="0">
                <a:pos x="437" y="380"/>
              </a:cxn>
              <a:cxn ang="0">
                <a:pos x="431" y="435"/>
              </a:cxn>
              <a:cxn ang="0">
                <a:pos x="416" y="460"/>
              </a:cxn>
              <a:cxn ang="0">
                <a:pos x="378" y="489"/>
              </a:cxn>
              <a:cxn ang="0">
                <a:pos x="378" y="510"/>
              </a:cxn>
              <a:cxn ang="0">
                <a:pos x="341" y="487"/>
              </a:cxn>
              <a:cxn ang="0">
                <a:pos x="341" y="422"/>
              </a:cxn>
              <a:cxn ang="0">
                <a:pos x="347" y="357"/>
              </a:cxn>
              <a:cxn ang="0">
                <a:pos x="290" y="338"/>
              </a:cxn>
              <a:cxn ang="0">
                <a:pos x="248" y="298"/>
              </a:cxn>
              <a:cxn ang="0">
                <a:pos x="153" y="330"/>
              </a:cxn>
              <a:cxn ang="0">
                <a:pos x="86" y="349"/>
              </a:cxn>
              <a:cxn ang="0">
                <a:pos x="32" y="369"/>
              </a:cxn>
              <a:cxn ang="0">
                <a:pos x="4" y="405"/>
              </a:cxn>
              <a:cxn ang="0">
                <a:pos x="8" y="430"/>
              </a:cxn>
              <a:cxn ang="0">
                <a:pos x="101" y="491"/>
              </a:cxn>
              <a:cxn ang="0">
                <a:pos x="206" y="563"/>
              </a:cxn>
              <a:cxn ang="0">
                <a:pos x="187" y="664"/>
              </a:cxn>
              <a:cxn ang="0">
                <a:pos x="189" y="748"/>
              </a:cxn>
              <a:cxn ang="0">
                <a:pos x="172" y="804"/>
              </a:cxn>
              <a:cxn ang="0">
                <a:pos x="143" y="857"/>
              </a:cxn>
              <a:cxn ang="0">
                <a:pos x="107" y="914"/>
              </a:cxn>
              <a:cxn ang="0">
                <a:pos x="50" y="966"/>
              </a:cxn>
              <a:cxn ang="0">
                <a:pos x="65" y="1052"/>
              </a:cxn>
              <a:cxn ang="0">
                <a:pos x="88" y="1114"/>
              </a:cxn>
              <a:cxn ang="0">
                <a:pos x="88" y="1164"/>
              </a:cxn>
              <a:cxn ang="0">
                <a:pos x="76" y="1246"/>
              </a:cxn>
              <a:cxn ang="0">
                <a:pos x="84" y="1275"/>
              </a:cxn>
              <a:cxn ang="0">
                <a:pos x="118" y="1326"/>
              </a:cxn>
              <a:cxn ang="0">
                <a:pos x="151" y="1273"/>
              </a:cxn>
              <a:cxn ang="0">
                <a:pos x="158" y="1227"/>
              </a:cxn>
              <a:cxn ang="0">
                <a:pos x="216" y="1189"/>
              </a:cxn>
              <a:cxn ang="0">
                <a:pos x="284" y="1168"/>
              </a:cxn>
              <a:cxn ang="0">
                <a:pos x="351" y="1126"/>
              </a:cxn>
              <a:cxn ang="0">
                <a:pos x="361" y="1073"/>
              </a:cxn>
              <a:cxn ang="0">
                <a:pos x="370" y="1013"/>
              </a:cxn>
              <a:cxn ang="0">
                <a:pos x="376" y="977"/>
              </a:cxn>
              <a:cxn ang="0">
                <a:pos x="357" y="903"/>
              </a:cxn>
              <a:cxn ang="0">
                <a:pos x="334" y="830"/>
              </a:cxn>
              <a:cxn ang="0">
                <a:pos x="345" y="773"/>
              </a:cxn>
              <a:cxn ang="0">
                <a:pos x="422" y="718"/>
              </a:cxn>
              <a:cxn ang="0">
                <a:pos x="502" y="657"/>
              </a:cxn>
              <a:cxn ang="0">
                <a:pos x="582" y="586"/>
              </a:cxn>
              <a:cxn ang="0">
                <a:pos x="692" y="538"/>
              </a:cxn>
              <a:cxn ang="0">
                <a:pos x="757" y="485"/>
              </a:cxn>
              <a:cxn ang="0">
                <a:pos x="811" y="426"/>
              </a:cxn>
              <a:cxn ang="0">
                <a:pos x="837" y="357"/>
              </a:cxn>
              <a:cxn ang="0">
                <a:pos x="824" y="308"/>
              </a:cxn>
              <a:cxn ang="0">
                <a:pos x="824" y="260"/>
              </a:cxn>
              <a:cxn ang="0">
                <a:pos x="826" y="210"/>
              </a:cxn>
              <a:cxn ang="0">
                <a:pos x="816" y="147"/>
              </a:cxn>
              <a:cxn ang="0">
                <a:pos x="822" y="92"/>
              </a:cxn>
              <a:cxn ang="0">
                <a:pos x="818" y="19"/>
              </a:cxn>
              <a:cxn ang="0">
                <a:pos x="765" y="39"/>
              </a:cxn>
              <a:cxn ang="0">
                <a:pos x="658" y="73"/>
              </a:cxn>
              <a:cxn ang="0">
                <a:pos x="610" y="79"/>
              </a:cxn>
              <a:cxn ang="0">
                <a:pos x="544" y="105"/>
              </a:cxn>
              <a:cxn ang="0">
                <a:pos x="479" y="94"/>
              </a:cxn>
              <a:cxn ang="0">
                <a:pos x="435" y="86"/>
              </a:cxn>
              <a:cxn ang="0">
                <a:pos x="383" y="103"/>
              </a:cxn>
              <a:cxn ang="0">
                <a:pos x="382" y="136"/>
              </a:cxn>
              <a:cxn ang="0">
                <a:pos x="368" y="193"/>
              </a:cxn>
              <a:cxn ang="0">
                <a:pos x="395" y="306"/>
              </a:cxn>
            </a:cxnLst>
            <a:rect l="0" t="0" r="r" b="b"/>
            <a:pathLst>
              <a:path w="837" h="1326">
                <a:moveTo>
                  <a:pt x="393" y="321"/>
                </a:moveTo>
                <a:lnTo>
                  <a:pt x="393" y="321"/>
                </a:lnTo>
                <a:lnTo>
                  <a:pt x="401" y="325"/>
                </a:lnTo>
                <a:lnTo>
                  <a:pt x="406" y="328"/>
                </a:lnTo>
                <a:lnTo>
                  <a:pt x="414" y="336"/>
                </a:lnTo>
                <a:lnTo>
                  <a:pt x="422" y="344"/>
                </a:lnTo>
                <a:lnTo>
                  <a:pt x="427" y="353"/>
                </a:lnTo>
                <a:lnTo>
                  <a:pt x="431" y="361"/>
                </a:lnTo>
                <a:lnTo>
                  <a:pt x="435" y="370"/>
                </a:lnTo>
                <a:lnTo>
                  <a:pt x="437" y="378"/>
                </a:lnTo>
                <a:lnTo>
                  <a:pt x="437" y="378"/>
                </a:lnTo>
                <a:lnTo>
                  <a:pt x="437" y="380"/>
                </a:lnTo>
                <a:lnTo>
                  <a:pt x="435" y="382"/>
                </a:lnTo>
                <a:lnTo>
                  <a:pt x="433" y="382"/>
                </a:lnTo>
                <a:lnTo>
                  <a:pt x="431" y="384"/>
                </a:lnTo>
                <a:lnTo>
                  <a:pt x="429" y="386"/>
                </a:lnTo>
                <a:lnTo>
                  <a:pt x="429" y="388"/>
                </a:lnTo>
                <a:lnTo>
                  <a:pt x="427" y="390"/>
                </a:lnTo>
                <a:lnTo>
                  <a:pt x="427" y="391"/>
                </a:lnTo>
                <a:lnTo>
                  <a:pt x="431" y="426"/>
                </a:lnTo>
                <a:lnTo>
                  <a:pt x="431" y="426"/>
                </a:lnTo>
                <a:lnTo>
                  <a:pt x="431" y="430"/>
                </a:lnTo>
                <a:lnTo>
                  <a:pt x="431" y="433"/>
                </a:lnTo>
                <a:lnTo>
                  <a:pt x="431" y="435"/>
                </a:lnTo>
                <a:lnTo>
                  <a:pt x="431" y="439"/>
                </a:lnTo>
                <a:lnTo>
                  <a:pt x="431" y="443"/>
                </a:lnTo>
                <a:lnTo>
                  <a:pt x="431" y="447"/>
                </a:lnTo>
                <a:lnTo>
                  <a:pt x="431" y="451"/>
                </a:lnTo>
                <a:lnTo>
                  <a:pt x="429" y="454"/>
                </a:lnTo>
                <a:lnTo>
                  <a:pt x="429" y="454"/>
                </a:lnTo>
                <a:lnTo>
                  <a:pt x="427" y="456"/>
                </a:lnTo>
                <a:lnTo>
                  <a:pt x="425" y="458"/>
                </a:lnTo>
                <a:lnTo>
                  <a:pt x="424" y="460"/>
                </a:lnTo>
                <a:lnTo>
                  <a:pt x="422" y="460"/>
                </a:lnTo>
                <a:lnTo>
                  <a:pt x="418" y="460"/>
                </a:lnTo>
                <a:lnTo>
                  <a:pt x="416" y="460"/>
                </a:lnTo>
                <a:lnTo>
                  <a:pt x="412" y="460"/>
                </a:lnTo>
                <a:lnTo>
                  <a:pt x="408" y="460"/>
                </a:lnTo>
                <a:lnTo>
                  <a:pt x="408" y="460"/>
                </a:lnTo>
                <a:lnTo>
                  <a:pt x="406" y="460"/>
                </a:lnTo>
                <a:lnTo>
                  <a:pt x="403" y="464"/>
                </a:lnTo>
                <a:lnTo>
                  <a:pt x="399" y="468"/>
                </a:lnTo>
                <a:lnTo>
                  <a:pt x="393" y="472"/>
                </a:lnTo>
                <a:lnTo>
                  <a:pt x="387" y="475"/>
                </a:lnTo>
                <a:lnTo>
                  <a:pt x="382" y="481"/>
                </a:lnTo>
                <a:lnTo>
                  <a:pt x="378" y="485"/>
                </a:lnTo>
                <a:lnTo>
                  <a:pt x="378" y="489"/>
                </a:lnTo>
                <a:lnTo>
                  <a:pt x="378" y="489"/>
                </a:lnTo>
                <a:lnTo>
                  <a:pt x="378" y="491"/>
                </a:lnTo>
                <a:lnTo>
                  <a:pt x="378" y="493"/>
                </a:lnTo>
                <a:lnTo>
                  <a:pt x="380" y="494"/>
                </a:lnTo>
                <a:lnTo>
                  <a:pt x="382" y="496"/>
                </a:lnTo>
                <a:lnTo>
                  <a:pt x="382" y="496"/>
                </a:lnTo>
                <a:lnTo>
                  <a:pt x="382" y="498"/>
                </a:lnTo>
                <a:lnTo>
                  <a:pt x="380" y="500"/>
                </a:lnTo>
                <a:lnTo>
                  <a:pt x="380" y="502"/>
                </a:lnTo>
                <a:lnTo>
                  <a:pt x="378" y="504"/>
                </a:lnTo>
                <a:lnTo>
                  <a:pt x="378" y="506"/>
                </a:lnTo>
                <a:lnTo>
                  <a:pt x="378" y="508"/>
                </a:lnTo>
                <a:lnTo>
                  <a:pt x="378" y="510"/>
                </a:lnTo>
                <a:lnTo>
                  <a:pt x="378" y="512"/>
                </a:lnTo>
                <a:lnTo>
                  <a:pt x="378" y="512"/>
                </a:lnTo>
                <a:lnTo>
                  <a:pt x="378" y="515"/>
                </a:lnTo>
                <a:lnTo>
                  <a:pt x="378" y="517"/>
                </a:lnTo>
                <a:lnTo>
                  <a:pt x="378" y="521"/>
                </a:lnTo>
                <a:lnTo>
                  <a:pt x="378" y="523"/>
                </a:lnTo>
                <a:lnTo>
                  <a:pt x="378" y="523"/>
                </a:lnTo>
                <a:lnTo>
                  <a:pt x="372" y="519"/>
                </a:lnTo>
                <a:lnTo>
                  <a:pt x="364" y="515"/>
                </a:lnTo>
                <a:lnTo>
                  <a:pt x="357" y="506"/>
                </a:lnTo>
                <a:lnTo>
                  <a:pt x="349" y="496"/>
                </a:lnTo>
                <a:lnTo>
                  <a:pt x="341" y="487"/>
                </a:lnTo>
                <a:lnTo>
                  <a:pt x="336" y="475"/>
                </a:lnTo>
                <a:lnTo>
                  <a:pt x="332" y="466"/>
                </a:lnTo>
                <a:lnTo>
                  <a:pt x="330" y="458"/>
                </a:lnTo>
                <a:lnTo>
                  <a:pt x="330" y="458"/>
                </a:lnTo>
                <a:lnTo>
                  <a:pt x="330" y="454"/>
                </a:lnTo>
                <a:lnTo>
                  <a:pt x="330" y="449"/>
                </a:lnTo>
                <a:lnTo>
                  <a:pt x="332" y="445"/>
                </a:lnTo>
                <a:lnTo>
                  <a:pt x="334" y="441"/>
                </a:lnTo>
                <a:lnTo>
                  <a:pt x="336" y="435"/>
                </a:lnTo>
                <a:lnTo>
                  <a:pt x="338" y="432"/>
                </a:lnTo>
                <a:lnTo>
                  <a:pt x="340" y="428"/>
                </a:lnTo>
                <a:lnTo>
                  <a:pt x="341" y="422"/>
                </a:lnTo>
                <a:lnTo>
                  <a:pt x="343" y="418"/>
                </a:lnTo>
                <a:lnTo>
                  <a:pt x="347" y="414"/>
                </a:lnTo>
                <a:lnTo>
                  <a:pt x="349" y="411"/>
                </a:lnTo>
                <a:lnTo>
                  <a:pt x="351" y="405"/>
                </a:lnTo>
                <a:lnTo>
                  <a:pt x="351" y="401"/>
                </a:lnTo>
                <a:lnTo>
                  <a:pt x="353" y="395"/>
                </a:lnTo>
                <a:lnTo>
                  <a:pt x="353" y="391"/>
                </a:lnTo>
                <a:lnTo>
                  <a:pt x="353" y="386"/>
                </a:lnTo>
                <a:lnTo>
                  <a:pt x="353" y="386"/>
                </a:lnTo>
                <a:lnTo>
                  <a:pt x="353" y="376"/>
                </a:lnTo>
                <a:lnTo>
                  <a:pt x="351" y="367"/>
                </a:lnTo>
                <a:lnTo>
                  <a:pt x="347" y="357"/>
                </a:lnTo>
                <a:lnTo>
                  <a:pt x="343" y="346"/>
                </a:lnTo>
                <a:lnTo>
                  <a:pt x="338" y="338"/>
                </a:lnTo>
                <a:lnTo>
                  <a:pt x="330" y="330"/>
                </a:lnTo>
                <a:lnTo>
                  <a:pt x="322" y="325"/>
                </a:lnTo>
                <a:lnTo>
                  <a:pt x="315" y="323"/>
                </a:lnTo>
                <a:lnTo>
                  <a:pt x="315" y="323"/>
                </a:lnTo>
                <a:lnTo>
                  <a:pt x="309" y="325"/>
                </a:lnTo>
                <a:lnTo>
                  <a:pt x="305" y="327"/>
                </a:lnTo>
                <a:lnTo>
                  <a:pt x="301" y="328"/>
                </a:lnTo>
                <a:lnTo>
                  <a:pt x="298" y="332"/>
                </a:lnTo>
                <a:lnTo>
                  <a:pt x="294" y="334"/>
                </a:lnTo>
                <a:lnTo>
                  <a:pt x="290" y="338"/>
                </a:lnTo>
                <a:lnTo>
                  <a:pt x="286" y="340"/>
                </a:lnTo>
                <a:lnTo>
                  <a:pt x="282" y="340"/>
                </a:lnTo>
                <a:lnTo>
                  <a:pt x="282" y="340"/>
                </a:lnTo>
                <a:lnTo>
                  <a:pt x="277" y="338"/>
                </a:lnTo>
                <a:lnTo>
                  <a:pt x="273" y="334"/>
                </a:lnTo>
                <a:lnTo>
                  <a:pt x="267" y="328"/>
                </a:lnTo>
                <a:lnTo>
                  <a:pt x="263" y="321"/>
                </a:lnTo>
                <a:lnTo>
                  <a:pt x="258" y="313"/>
                </a:lnTo>
                <a:lnTo>
                  <a:pt x="254" y="308"/>
                </a:lnTo>
                <a:lnTo>
                  <a:pt x="250" y="302"/>
                </a:lnTo>
                <a:lnTo>
                  <a:pt x="248" y="298"/>
                </a:lnTo>
                <a:lnTo>
                  <a:pt x="248" y="298"/>
                </a:lnTo>
                <a:lnTo>
                  <a:pt x="242" y="302"/>
                </a:lnTo>
                <a:lnTo>
                  <a:pt x="235" y="304"/>
                </a:lnTo>
                <a:lnTo>
                  <a:pt x="225" y="306"/>
                </a:lnTo>
                <a:lnTo>
                  <a:pt x="217" y="309"/>
                </a:lnTo>
                <a:lnTo>
                  <a:pt x="210" y="311"/>
                </a:lnTo>
                <a:lnTo>
                  <a:pt x="202" y="315"/>
                </a:lnTo>
                <a:lnTo>
                  <a:pt x="195" y="317"/>
                </a:lnTo>
                <a:lnTo>
                  <a:pt x="185" y="319"/>
                </a:lnTo>
                <a:lnTo>
                  <a:pt x="177" y="323"/>
                </a:lnTo>
                <a:lnTo>
                  <a:pt x="170" y="325"/>
                </a:lnTo>
                <a:lnTo>
                  <a:pt x="160" y="328"/>
                </a:lnTo>
                <a:lnTo>
                  <a:pt x="153" y="330"/>
                </a:lnTo>
                <a:lnTo>
                  <a:pt x="145" y="332"/>
                </a:lnTo>
                <a:lnTo>
                  <a:pt x="137" y="336"/>
                </a:lnTo>
                <a:lnTo>
                  <a:pt x="130" y="338"/>
                </a:lnTo>
                <a:lnTo>
                  <a:pt x="122" y="338"/>
                </a:lnTo>
                <a:lnTo>
                  <a:pt x="122" y="338"/>
                </a:lnTo>
                <a:lnTo>
                  <a:pt x="116" y="340"/>
                </a:lnTo>
                <a:lnTo>
                  <a:pt x="111" y="342"/>
                </a:lnTo>
                <a:lnTo>
                  <a:pt x="107" y="344"/>
                </a:lnTo>
                <a:lnTo>
                  <a:pt x="101" y="344"/>
                </a:lnTo>
                <a:lnTo>
                  <a:pt x="95" y="346"/>
                </a:lnTo>
                <a:lnTo>
                  <a:pt x="92" y="348"/>
                </a:lnTo>
                <a:lnTo>
                  <a:pt x="86" y="349"/>
                </a:lnTo>
                <a:lnTo>
                  <a:pt x="82" y="351"/>
                </a:lnTo>
                <a:lnTo>
                  <a:pt x="76" y="353"/>
                </a:lnTo>
                <a:lnTo>
                  <a:pt x="73" y="355"/>
                </a:lnTo>
                <a:lnTo>
                  <a:pt x="67" y="357"/>
                </a:lnTo>
                <a:lnTo>
                  <a:pt x="63" y="359"/>
                </a:lnTo>
                <a:lnTo>
                  <a:pt x="57" y="361"/>
                </a:lnTo>
                <a:lnTo>
                  <a:pt x="52" y="363"/>
                </a:lnTo>
                <a:lnTo>
                  <a:pt x="46" y="365"/>
                </a:lnTo>
                <a:lnTo>
                  <a:pt x="40" y="367"/>
                </a:lnTo>
                <a:lnTo>
                  <a:pt x="40" y="367"/>
                </a:lnTo>
                <a:lnTo>
                  <a:pt x="38" y="367"/>
                </a:lnTo>
                <a:lnTo>
                  <a:pt x="32" y="369"/>
                </a:lnTo>
                <a:lnTo>
                  <a:pt x="29" y="372"/>
                </a:lnTo>
                <a:lnTo>
                  <a:pt x="23" y="374"/>
                </a:lnTo>
                <a:lnTo>
                  <a:pt x="17" y="376"/>
                </a:lnTo>
                <a:lnTo>
                  <a:pt x="11" y="380"/>
                </a:lnTo>
                <a:lnTo>
                  <a:pt x="6" y="382"/>
                </a:lnTo>
                <a:lnTo>
                  <a:pt x="0" y="382"/>
                </a:lnTo>
                <a:lnTo>
                  <a:pt x="0" y="393"/>
                </a:lnTo>
                <a:lnTo>
                  <a:pt x="0" y="393"/>
                </a:lnTo>
                <a:lnTo>
                  <a:pt x="0" y="395"/>
                </a:lnTo>
                <a:lnTo>
                  <a:pt x="2" y="399"/>
                </a:lnTo>
                <a:lnTo>
                  <a:pt x="2" y="401"/>
                </a:lnTo>
                <a:lnTo>
                  <a:pt x="4" y="405"/>
                </a:lnTo>
                <a:lnTo>
                  <a:pt x="4" y="407"/>
                </a:lnTo>
                <a:lnTo>
                  <a:pt x="6" y="411"/>
                </a:lnTo>
                <a:lnTo>
                  <a:pt x="6" y="414"/>
                </a:lnTo>
                <a:lnTo>
                  <a:pt x="6" y="416"/>
                </a:lnTo>
                <a:lnTo>
                  <a:pt x="6" y="416"/>
                </a:lnTo>
                <a:lnTo>
                  <a:pt x="6" y="418"/>
                </a:lnTo>
                <a:lnTo>
                  <a:pt x="8" y="418"/>
                </a:lnTo>
                <a:lnTo>
                  <a:pt x="8" y="420"/>
                </a:lnTo>
                <a:lnTo>
                  <a:pt x="8" y="422"/>
                </a:lnTo>
                <a:lnTo>
                  <a:pt x="8" y="424"/>
                </a:lnTo>
                <a:lnTo>
                  <a:pt x="8" y="428"/>
                </a:lnTo>
                <a:lnTo>
                  <a:pt x="8" y="430"/>
                </a:lnTo>
                <a:lnTo>
                  <a:pt x="8" y="433"/>
                </a:lnTo>
                <a:lnTo>
                  <a:pt x="8" y="433"/>
                </a:lnTo>
                <a:lnTo>
                  <a:pt x="10" y="433"/>
                </a:lnTo>
                <a:lnTo>
                  <a:pt x="11" y="432"/>
                </a:lnTo>
                <a:lnTo>
                  <a:pt x="13" y="432"/>
                </a:lnTo>
                <a:lnTo>
                  <a:pt x="15" y="432"/>
                </a:lnTo>
                <a:lnTo>
                  <a:pt x="15" y="470"/>
                </a:lnTo>
                <a:lnTo>
                  <a:pt x="82" y="470"/>
                </a:lnTo>
                <a:lnTo>
                  <a:pt x="82" y="470"/>
                </a:lnTo>
                <a:lnTo>
                  <a:pt x="88" y="479"/>
                </a:lnTo>
                <a:lnTo>
                  <a:pt x="94" y="485"/>
                </a:lnTo>
                <a:lnTo>
                  <a:pt x="101" y="491"/>
                </a:lnTo>
                <a:lnTo>
                  <a:pt x="111" y="496"/>
                </a:lnTo>
                <a:lnTo>
                  <a:pt x="120" y="500"/>
                </a:lnTo>
                <a:lnTo>
                  <a:pt x="132" y="504"/>
                </a:lnTo>
                <a:lnTo>
                  <a:pt x="141" y="508"/>
                </a:lnTo>
                <a:lnTo>
                  <a:pt x="153" y="512"/>
                </a:lnTo>
                <a:lnTo>
                  <a:pt x="164" y="515"/>
                </a:lnTo>
                <a:lnTo>
                  <a:pt x="174" y="521"/>
                </a:lnTo>
                <a:lnTo>
                  <a:pt x="183" y="527"/>
                </a:lnTo>
                <a:lnTo>
                  <a:pt x="191" y="535"/>
                </a:lnTo>
                <a:lnTo>
                  <a:pt x="198" y="542"/>
                </a:lnTo>
                <a:lnTo>
                  <a:pt x="202" y="552"/>
                </a:lnTo>
                <a:lnTo>
                  <a:pt x="206" y="563"/>
                </a:lnTo>
                <a:lnTo>
                  <a:pt x="208" y="576"/>
                </a:lnTo>
                <a:lnTo>
                  <a:pt x="208" y="576"/>
                </a:lnTo>
                <a:lnTo>
                  <a:pt x="206" y="586"/>
                </a:lnTo>
                <a:lnTo>
                  <a:pt x="206" y="596"/>
                </a:lnTo>
                <a:lnTo>
                  <a:pt x="204" y="605"/>
                </a:lnTo>
                <a:lnTo>
                  <a:pt x="202" y="615"/>
                </a:lnTo>
                <a:lnTo>
                  <a:pt x="200" y="622"/>
                </a:lnTo>
                <a:lnTo>
                  <a:pt x="198" y="632"/>
                </a:lnTo>
                <a:lnTo>
                  <a:pt x="195" y="639"/>
                </a:lnTo>
                <a:lnTo>
                  <a:pt x="193" y="649"/>
                </a:lnTo>
                <a:lnTo>
                  <a:pt x="189" y="657"/>
                </a:lnTo>
                <a:lnTo>
                  <a:pt x="187" y="664"/>
                </a:lnTo>
                <a:lnTo>
                  <a:pt x="185" y="674"/>
                </a:lnTo>
                <a:lnTo>
                  <a:pt x="183" y="681"/>
                </a:lnTo>
                <a:lnTo>
                  <a:pt x="181" y="689"/>
                </a:lnTo>
                <a:lnTo>
                  <a:pt x="179" y="697"/>
                </a:lnTo>
                <a:lnTo>
                  <a:pt x="177" y="704"/>
                </a:lnTo>
                <a:lnTo>
                  <a:pt x="177" y="712"/>
                </a:lnTo>
                <a:lnTo>
                  <a:pt x="177" y="712"/>
                </a:lnTo>
                <a:lnTo>
                  <a:pt x="179" y="721"/>
                </a:lnTo>
                <a:lnTo>
                  <a:pt x="179" y="729"/>
                </a:lnTo>
                <a:lnTo>
                  <a:pt x="183" y="737"/>
                </a:lnTo>
                <a:lnTo>
                  <a:pt x="185" y="742"/>
                </a:lnTo>
                <a:lnTo>
                  <a:pt x="189" y="748"/>
                </a:lnTo>
                <a:lnTo>
                  <a:pt x="191" y="754"/>
                </a:lnTo>
                <a:lnTo>
                  <a:pt x="193" y="762"/>
                </a:lnTo>
                <a:lnTo>
                  <a:pt x="193" y="767"/>
                </a:lnTo>
                <a:lnTo>
                  <a:pt x="193" y="767"/>
                </a:lnTo>
                <a:lnTo>
                  <a:pt x="193" y="771"/>
                </a:lnTo>
                <a:lnTo>
                  <a:pt x="191" y="777"/>
                </a:lnTo>
                <a:lnTo>
                  <a:pt x="189" y="781"/>
                </a:lnTo>
                <a:lnTo>
                  <a:pt x="187" y="786"/>
                </a:lnTo>
                <a:lnTo>
                  <a:pt x="183" y="790"/>
                </a:lnTo>
                <a:lnTo>
                  <a:pt x="179" y="796"/>
                </a:lnTo>
                <a:lnTo>
                  <a:pt x="176" y="800"/>
                </a:lnTo>
                <a:lnTo>
                  <a:pt x="172" y="804"/>
                </a:lnTo>
                <a:lnTo>
                  <a:pt x="168" y="809"/>
                </a:lnTo>
                <a:lnTo>
                  <a:pt x="164" y="813"/>
                </a:lnTo>
                <a:lnTo>
                  <a:pt x="160" y="819"/>
                </a:lnTo>
                <a:lnTo>
                  <a:pt x="156" y="823"/>
                </a:lnTo>
                <a:lnTo>
                  <a:pt x="153" y="826"/>
                </a:lnTo>
                <a:lnTo>
                  <a:pt x="151" y="830"/>
                </a:lnTo>
                <a:lnTo>
                  <a:pt x="147" y="836"/>
                </a:lnTo>
                <a:lnTo>
                  <a:pt x="145" y="840"/>
                </a:lnTo>
                <a:lnTo>
                  <a:pt x="145" y="840"/>
                </a:lnTo>
                <a:lnTo>
                  <a:pt x="145" y="845"/>
                </a:lnTo>
                <a:lnTo>
                  <a:pt x="143" y="851"/>
                </a:lnTo>
                <a:lnTo>
                  <a:pt x="143" y="857"/>
                </a:lnTo>
                <a:lnTo>
                  <a:pt x="143" y="863"/>
                </a:lnTo>
                <a:lnTo>
                  <a:pt x="141" y="868"/>
                </a:lnTo>
                <a:lnTo>
                  <a:pt x="141" y="874"/>
                </a:lnTo>
                <a:lnTo>
                  <a:pt x="139" y="878"/>
                </a:lnTo>
                <a:lnTo>
                  <a:pt x="135" y="884"/>
                </a:lnTo>
                <a:lnTo>
                  <a:pt x="135" y="884"/>
                </a:lnTo>
                <a:lnTo>
                  <a:pt x="134" y="886"/>
                </a:lnTo>
                <a:lnTo>
                  <a:pt x="130" y="889"/>
                </a:lnTo>
                <a:lnTo>
                  <a:pt x="126" y="895"/>
                </a:lnTo>
                <a:lnTo>
                  <a:pt x="120" y="901"/>
                </a:lnTo>
                <a:lnTo>
                  <a:pt x="114" y="907"/>
                </a:lnTo>
                <a:lnTo>
                  <a:pt x="107" y="914"/>
                </a:lnTo>
                <a:lnTo>
                  <a:pt x="99" y="922"/>
                </a:lnTo>
                <a:lnTo>
                  <a:pt x="92" y="929"/>
                </a:lnTo>
                <a:lnTo>
                  <a:pt x="84" y="935"/>
                </a:lnTo>
                <a:lnTo>
                  <a:pt x="76" y="943"/>
                </a:lnTo>
                <a:lnTo>
                  <a:pt x="69" y="949"/>
                </a:lnTo>
                <a:lnTo>
                  <a:pt x="63" y="954"/>
                </a:lnTo>
                <a:lnTo>
                  <a:pt x="57" y="960"/>
                </a:lnTo>
                <a:lnTo>
                  <a:pt x="53" y="964"/>
                </a:lnTo>
                <a:lnTo>
                  <a:pt x="50" y="966"/>
                </a:lnTo>
                <a:lnTo>
                  <a:pt x="48" y="966"/>
                </a:lnTo>
                <a:lnTo>
                  <a:pt x="50" y="966"/>
                </a:lnTo>
                <a:lnTo>
                  <a:pt x="50" y="966"/>
                </a:lnTo>
                <a:lnTo>
                  <a:pt x="50" y="973"/>
                </a:lnTo>
                <a:lnTo>
                  <a:pt x="50" y="983"/>
                </a:lnTo>
                <a:lnTo>
                  <a:pt x="52" y="990"/>
                </a:lnTo>
                <a:lnTo>
                  <a:pt x="53" y="998"/>
                </a:lnTo>
                <a:lnTo>
                  <a:pt x="55" y="1008"/>
                </a:lnTo>
                <a:lnTo>
                  <a:pt x="57" y="1015"/>
                </a:lnTo>
                <a:lnTo>
                  <a:pt x="59" y="1023"/>
                </a:lnTo>
                <a:lnTo>
                  <a:pt x="61" y="1032"/>
                </a:lnTo>
                <a:lnTo>
                  <a:pt x="61" y="1044"/>
                </a:lnTo>
                <a:lnTo>
                  <a:pt x="61" y="1044"/>
                </a:lnTo>
                <a:lnTo>
                  <a:pt x="63" y="1048"/>
                </a:lnTo>
                <a:lnTo>
                  <a:pt x="65" y="1052"/>
                </a:lnTo>
                <a:lnTo>
                  <a:pt x="67" y="1057"/>
                </a:lnTo>
                <a:lnTo>
                  <a:pt x="71" y="1061"/>
                </a:lnTo>
                <a:lnTo>
                  <a:pt x="73" y="1065"/>
                </a:lnTo>
                <a:lnTo>
                  <a:pt x="74" y="1071"/>
                </a:lnTo>
                <a:lnTo>
                  <a:pt x="76" y="1074"/>
                </a:lnTo>
                <a:lnTo>
                  <a:pt x="78" y="1080"/>
                </a:lnTo>
                <a:lnTo>
                  <a:pt x="80" y="1086"/>
                </a:lnTo>
                <a:lnTo>
                  <a:pt x="82" y="1092"/>
                </a:lnTo>
                <a:lnTo>
                  <a:pt x="84" y="1097"/>
                </a:lnTo>
                <a:lnTo>
                  <a:pt x="86" y="1103"/>
                </a:lnTo>
                <a:lnTo>
                  <a:pt x="86" y="1109"/>
                </a:lnTo>
                <a:lnTo>
                  <a:pt x="88" y="1114"/>
                </a:lnTo>
                <a:lnTo>
                  <a:pt x="88" y="1120"/>
                </a:lnTo>
                <a:lnTo>
                  <a:pt x="88" y="1126"/>
                </a:lnTo>
                <a:lnTo>
                  <a:pt x="88" y="1126"/>
                </a:lnTo>
                <a:lnTo>
                  <a:pt x="88" y="1130"/>
                </a:lnTo>
                <a:lnTo>
                  <a:pt x="88" y="1134"/>
                </a:lnTo>
                <a:lnTo>
                  <a:pt x="88" y="1137"/>
                </a:lnTo>
                <a:lnTo>
                  <a:pt x="88" y="1141"/>
                </a:lnTo>
                <a:lnTo>
                  <a:pt x="88" y="1145"/>
                </a:lnTo>
                <a:lnTo>
                  <a:pt x="88" y="1151"/>
                </a:lnTo>
                <a:lnTo>
                  <a:pt x="88" y="1155"/>
                </a:lnTo>
                <a:lnTo>
                  <a:pt x="88" y="1158"/>
                </a:lnTo>
                <a:lnTo>
                  <a:pt x="88" y="1164"/>
                </a:lnTo>
                <a:lnTo>
                  <a:pt x="86" y="1168"/>
                </a:lnTo>
                <a:lnTo>
                  <a:pt x="86" y="1172"/>
                </a:lnTo>
                <a:lnTo>
                  <a:pt x="86" y="1177"/>
                </a:lnTo>
                <a:lnTo>
                  <a:pt x="84" y="1181"/>
                </a:lnTo>
                <a:lnTo>
                  <a:pt x="84" y="1185"/>
                </a:lnTo>
                <a:lnTo>
                  <a:pt x="82" y="1189"/>
                </a:lnTo>
                <a:lnTo>
                  <a:pt x="80" y="1193"/>
                </a:lnTo>
                <a:lnTo>
                  <a:pt x="80" y="1233"/>
                </a:lnTo>
                <a:lnTo>
                  <a:pt x="74" y="1240"/>
                </a:lnTo>
                <a:lnTo>
                  <a:pt x="74" y="1240"/>
                </a:lnTo>
                <a:lnTo>
                  <a:pt x="76" y="1244"/>
                </a:lnTo>
                <a:lnTo>
                  <a:pt x="76" y="1246"/>
                </a:lnTo>
                <a:lnTo>
                  <a:pt x="78" y="1250"/>
                </a:lnTo>
                <a:lnTo>
                  <a:pt x="80" y="1252"/>
                </a:lnTo>
                <a:lnTo>
                  <a:pt x="82" y="1256"/>
                </a:lnTo>
                <a:lnTo>
                  <a:pt x="82" y="1258"/>
                </a:lnTo>
                <a:lnTo>
                  <a:pt x="84" y="1261"/>
                </a:lnTo>
                <a:lnTo>
                  <a:pt x="84" y="1263"/>
                </a:lnTo>
                <a:lnTo>
                  <a:pt x="84" y="1263"/>
                </a:lnTo>
                <a:lnTo>
                  <a:pt x="84" y="1265"/>
                </a:lnTo>
                <a:lnTo>
                  <a:pt x="84" y="1267"/>
                </a:lnTo>
                <a:lnTo>
                  <a:pt x="84" y="1269"/>
                </a:lnTo>
                <a:lnTo>
                  <a:pt x="84" y="1273"/>
                </a:lnTo>
                <a:lnTo>
                  <a:pt x="84" y="1275"/>
                </a:lnTo>
                <a:lnTo>
                  <a:pt x="84" y="1279"/>
                </a:lnTo>
                <a:lnTo>
                  <a:pt x="84" y="1280"/>
                </a:lnTo>
                <a:lnTo>
                  <a:pt x="84" y="1284"/>
                </a:lnTo>
                <a:lnTo>
                  <a:pt x="84" y="1284"/>
                </a:lnTo>
                <a:lnTo>
                  <a:pt x="84" y="1294"/>
                </a:lnTo>
                <a:lnTo>
                  <a:pt x="86" y="1301"/>
                </a:lnTo>
                <a:lnTo>
                  <a:pt x="88" y="1309"/>
                </a:lnTo>
                <a:lnTo>
                  <a:pt x="90" y="1315"/>
                </a:lnTo>
                <a:lnTo>
                  <a:pt x="95" y="1321"/>
                </a:lnTo>
                <a:lnTo>
                  <a:pt x="101" y="1324"/>
                </a:lnTo>
                <a:lnTo>
                  <a:pt x="109" y="1326"/>
                </a:lnTo>
                <a:lnTo>
                  <a:pt x="118" y="1326"/>
                </a:lnTo>
                <a:lnTo>
                  <a:pt x="118" y="1326"/>
                </a:lnTo>
                <a:lnTo>
                  <a:pt x="130" y="1326"/>
                </a:lnTo>
                <a:lnTo>
                  <a:pt x="139" y="1322"/>
                </a:lnTo>
                <a:lnTo>
                  <a:pt x="145" y="1315"/>
                </a:lnTo>
                <a:lnTo>
                  <a:pt x="149" y="1307"/>
                </a:lnTo>
                <a:lnTo>
                  <a:pt x="151" y="1300"/>
                </a:lnTo>
                <a:lnTo>
                  <a:pt x="151" y="1290"/>
                </a:lnTo>
                <a:lnTo>
                  <a:pt x="155" y="1282"/>
                </a:lnTo>
                <a:lnTo>
                  <a:pt x="156" y="1273"/>
                </a:lnTo>
                <a:lnTo>
                  <a:pt x="156" y="1273"/>
                </a:lnTo>
                <a:lnTo>
                  <a:pt x="153" y="1273"/>
                </a:lnTo>
                <a:lnTo>
                  <a:pt x="151" y="1273"/>
                </a:lnTo>
                <a:lnTo>
                  <a:pt x="149" y="1271"/>
                </a:lnTo>
                <a:lnTo>
                  <a:pt x="145" y="1269"/>
                </a:lnTo>
                <a:lnTo>
                  <a:pt x="143" y="1267"/>
                </a:lnTo>
                <a:lnTo>
                  <a:pt x="141" y="1265"/>
                </a:lnTo>
                <a:lnTo>
                  <a:pt x="139" y="1261"/>
                </a:lnTo>
                <a:lnTo>
                  <a:pt x="139" y="1258"/>
                </a:lnTo>
                <a:lnTo>
                  <a:pt x="139" y="1258"/>
                </a:lnTo>
                <a:lnTo>
                  <a:pt x="141" y="1250"/>
                </a:lnTo>
                <a:lnTo>
                  <a:pt x="143" y="1242"/>
                </a:lnTo>
                <a:lnTo>
                  <a:pt x="147" y="1237"/>
                </a:lnTo>
                <a:lnTo>
                  <a:pt x="153" y="1233"/>
                </a:lnTo>
                <a:lnTo>
                  <a:pt x="158" y="1227"/>
                </a:lnTo>
                <a:lnTo>
                  <a:pt x="164" y="1223"/>
                </a:lnTo>
                <a:lnTo>
                  <a:pt x="170" y="1217"/>
                </a:lnTo>
                <a:lnTo>
                  <a:pt x="176" y="1214"/>
                </a:lnTo>
                <a:lnTo>
                  <a:pt x="176" y="1214"/>
                </a:lnTo>
                <a:lnTo>
                  <a:pt x="181" y="1210"/>
                </a:lnTo>
                <a:lnTo>
                  <a:pt x="185" y="1206"/>
                </a:lnTo>
                <a:lnTo>
                  <a:pt x="191" y="1202"/>
                </a:lnTo>
                <a:lnTo>
                  <a:pt x="195" y="1198"/>
                </a:lnTo>
                <a:lnTo>
                  <a:pt x="200" y="1197"/>
                </a:lnTo>
                <a:lnTo>
                  <a:pt x="204" y="1193"/>
                </a:lnTo>
                <a:lnTo>
                  <a:pt x="210" y="1191"/>
                </a:lnTo>
                <a:lnTo>
                  <a:pt x="216" y="1189"/>
                </a:lnTo>
                <a:lnTo>
                  <a:pt x="221" y="1187"/>
                </a:lnTo>
                <a:lnTo>
                  <a:pt x="227" y="1185"/>
                </a:lnTo>
                <a:lnTo>
                  <a:pt x="233" y="1183"/>
                </a:lnTo>
                <a:lnTo>
                  <a:pt x="238" y="1181"/>
                </a:lnTo>
                <a:lnTo>
                  <a:pt x="244" y="1179"/>
                </a:lnTo>
                <a:lnTo>
                  <a:pt x="250" y="1177"/>
                </a:lnTo>
                <a:lnTo>
                  <a:pt x="258" y="1176"/>
                </a:lnTo>
                <a:lnTo>
                  <a:pt x="263" y="1174"/>
                </a:lnTo>
                <a:lnTo>
                  <a:pt x="263" y="1174"/>
                </a:lnTo>
                <a:lnTo>
                  <a:pt x="271" y="1172"/>
                </a:lnTo>
                <a:lnTo>
                  <a:pt x="279" y="1170"/>
                </a:lnTo>
                <a:lnTo>
                  <a:pt x="284" y="1168"/>
                </a:lnTo>
                <a:lnTo>
                  <a:pt x="292" y="1164"/>
                </a:lnTo>
                <a:lnTo>
                  <a:pt x="298" y="1162"/>
                </a:lnTo>
                <a:lnTo>
                  <a:pt x="305" y="1160"/>
                </a:lnTo>
                <a:lnTo>
                  <a:pt x="311" y="1156"/>
                </a:lnTo>
                <a:lnTo>
                  <a:pt x="317" y="1153"/>
                </a:lnTo>
                <a:lnTo>
                  <a:pt x="322" y="1149"/>
                </a:lnTo>
                <a:lnTo>
                  <a:pt x="328" y="1147"/>
                </a:lnTo>
                <a:lnTo>
                  <a:pt x="334" y="1141"/>
                </a:lnTo>
                <a:lnTo>
                  <a:pt x="338" y="1139"/>
                </a:lnTo>
                <a:lnTo>
                  <a:pt x="343" y="1134"/>
                </a:lnTo>
                <a:lnTo>
                  <a:pt x="347" y="1130"/>
                </a:lnTo>
                <a:lnTo>
                  <a:pt x="351" y="1126"/>
                </a:lnTo>
                <a:lnTo>
                  <a:pt x="355" y="1122"/>
                </a:lnTo>
                <a:lnTo>
                  <a:pt x="355" y="1122"/>
                </a:lnTo>
                <a:lnTo>
                  <a:pt x="359" y="1116"/>
                </a:lnTo>
                <a:lnTo>
                  <a:pt x="361" y="1113"/>
                </a:lnTo>
                <a:lnTo>
                  <a:pt x="362" y="1111"/>
                </a:lnTo>
                <a:lnTo>
                  <a:pt x="364" y="1107"/>
                </a:lnTo>
                <a:lnTo>
                  <a:pt x="364" y="1101"/>
                </a:lnTo>
                <a:lnTo>
                  <a:pt x="364" y="1097"/>
                </a:lnTo>
                <a:lnTo>
                  <a:pt x="364" y="1092"/>
                </a:lnTo>
                <a:lnTo>
                  <a:pt x="362" y="1084"/>
                </a:lnTo>
                <a:lnTo>
                  <a:pt x="362" y="1084"/>
                </a:lnTo>
                <a:lnTo>
                  <a:pt x="361" y="1073"/>
                </a:lnTo>
                <a:lnTo>
                  <a:pt x="361" y="1061"/>
                </a:lnTo>
                <a:lnTo>
                  <a:pt x="362" y="1053"/>
                </a:lnTo>
                <a:lnTo>
                  <a:pt x="362" y="1048"/>
                </a:lnTo>
                <a:lnTo>
                  <a:pt x="366" y="1042"/>
                </a:lnTo>
                <a:lnTo>
                  <a:pt x="368" y="1034"/>
                </a:lnTo>
                <a:lnTo>
                  <a:pt x="370" y="1029"/>
                </a:lnTo>
                <a:lnTo>
                  <a:pt x="370" y="1021"/>
                </a:lnTo>
                <a:lnTo>
                  <a:pt x="370" y="1021"/>
                </a:lnTo>
                <a:lnTo>
                  <a:pt x="370" y="1019"/>
                </a:lnTo>
                <a:lnTo>
                  <a:pt x="370" y="1017"/>
                </a:lnTo>
                <a:lnTo>
                  <a:pt x="370" y="1017"/>
                </a:lnTo>
                <a:lnTo>
                  <a:pt x="370" y="1013"/>
                </a:lnTo>
                <a:lnTo>
                  <a:pt x="370" y="1011"/>
                </a:lnTo>
                <a:lnTo>
                  <a:pt x="370" y="1010"/>
                </a:lnTo>
                <a:lnTo>
                  <a:pt x="370" y="1008"/>
                </a:lnTo>
                <a:lnTo>
                  <a:pt x="370" y="1004"/>
                </a:lnTo>
                <a:lnTo>
                  <a:pt x="370" y="1004"/>
                </a:lnTo>
                <a:lnTo>
                  <a:pt x="370" y="1000"/>
                </a:lnTo>
                <a:lnTo>
                  <a:pt x="370" y="996"/>
                </a:lnTo>
                <a:lnTo>
                  <a:pt x="372" y="992"/>
                </a:lnTo>
                <a:lnTo>
                  <a:pt x="372" y="989"/>
                </a:lnTo>
                <a:lnTo>
                  <a:pt x="372" y="987"/>
                </a:lnTo>
                <a:lnTo>
                  <a:pt x="374" y="981"/>
                </a:lnTo>
                <a:lnTo>
                  <a:pt x="376" y="977"/>
                </a:lnTo>
                <a:lnTo>
                  <a:pt x="378" y="973"/>
                </a:lnTo>
                <a:lnTo>
                  <a:pt x="378" y="960"/>
                </a:lnTo>
                <a:lnTo>
                  <a:pt x="378" y="960"/>
                </a:lnTo>
                <a:lnTo>
                  <a:pt x="374" y="960"/>
                </a:lnTo>
                <a:lnTo>
                  <a:pt x="372" y="960"/>
                </a:lnTo>
                <a:lnTo>
                  <a:pt x="368" y="960"/>
                </a:lnTo>
                <a:lnTo>
                  <a:pt x="366" y="960"/>
                </a:lnTo>
                <a:lnTo>
                  <a:pt x="366" y="920"/>
                </a:lnTo>
                <a:lnTo>
                  <a:pt x="366" y="920"/>
                </a:lnTo>
                <a:lnTo>
                  <a:pt x="362" y="916"/>
                </a:lnTo>
                <a:lnTo>
                  <a:pt x="359" y="910"/>
                </a:lnTo>
                <a:lnTo>
                  <a:pt x="357" y="903"/>
                </a:lnTo>
                <a:lnTo>
                  <a:pt x="357" y="895"/>
                </a:lnTo>
                <a:lnTo>
                  <a:pt x="357" y="889"/>
                </a:lnTo>
                <a:lnTo>
                  <a:pt x="357" y="880"/>
                </a:lnTo>
                <a:lnTo>
                  <a:pt x="357" y="872"/>
                </a:lnTo>
                <a:lnTo>
                  <a:pt x="357" y="865"/>
                </a:lnTo>
                <a:lnTo>
                  <a:pt x="357" y="865"/>
                </a:lnTo>
                <a:lnTo>
                  <a:pt x="355" y="857"/>
                </a:lnTo>
                <a:lnTo>
                  <a:pt x="353" y="851"/>
                </a:lnTo>
                <a:lnTo>
                  <a:pt x="347" y="845"/>
                </a:lnTo>
                <a:lnTo>
                  <a:pt x="343" y="840"/>
                </a:lnTo>
                <a:lnTo>
                  <a:pt x="340" y="836"/>
                </a:lnTo>
                <a:lnTo>
                  <a:pt x="334" y="830"/>
                </a:lnTo>
                <a:lnTo>
                  <a:pt x="332" y="824"/>
                </a:lnTo>
                <a:lnTo>
                  <a:pt x="332" y="819"/>
                </a:lnTo>
                <a:lnTo>
                  <a:pt x="332" y="819"/>
                </a:lnTo>
                <a:lnTo>
                  <a:pt x="332" y="817"/>
                </a:lnTo>
                <a:lnTo>
                  <a:pt x="332" y="815"/>
                </a:lnTo>
                <a:lnTo>
                  <a:pt x="332" y="811"/>
                </a:lnTo>
                <a:lnTo>
                  <a:pt x="332" y="809"/>
                </a:lnTo>
                <a:lnTo>
                  <a:pt x="336" y="783"/>
                </a:lnTo>
                <a:lnTo>
                  <a:pt x="336" y="783"/>
                </a:lnTo>
                <a:lnTo>
                  <a:pt x="338" y="779"/>
                </a:lnTo>
                <a:lnTo>
                  <a:pt x="341" y="775"/>
                </a:lnTo>
                <a:lnTo>
                  <a:pt x="345" y="773"/>
                </a:lnTo>
                <a:lnTo>
                  <a:pt x="349" y="769"/>
                </a:lnTo>
                <a:lnTo>
                  <a:pt x="355" y="767"/>
                </a:lnTo>
                <a:lnTo>
                  <a:pt x="361" y="763"/>
                </a:lnTo>
                <a:lnTo>
                  <a:pt x="366" y="760"/>
                </a:lnTo>
                <a:lnTo>
                  <a:pt x="372" y="756"/>
                </a:lnTo>
                <a:lnTo>
                  <a:pt x="372" y="756"/>
                </a:lnTo>
                <a:lnTo>
                  <a:pt x="378" y="750"/>
                </a:lnTo>
                <a:lnTo>
                  <a:pt x="385" y="742"/>
                </a:lnTo>
                <a:lnTo>
                  <a:pt x="393" y="737"/>
                </a:lnTo>
                <a:lnTo>
                  <a:pt x="403" y="731"/>
                </a:lnTo>
                <a:lnTo>
                  <a:pt x="412" y="723"/>
                </a:lnTo>
                <a:lnTo>
                  <a:pt x="422" y="718"/>
                </a:lnTo>
                <a:lnTo>
                  <a:pt x="429" y="712"/>
                </a:lnTo>
                <a:lnTo>
                  <a:pt x="437" y="708"/>
                </a:lnTo>
                <a:lnTo>
                  <a:pt x="437" y="708"/>
                </a:lnTo>
                <a:lnTo>
                  <a:pt x="444" y="702"/>
                </a:lnTo>
                <a:lnTo>
                  <a:pt x="452" y="697"/>
                </a:lnTo>
                <a:lnTo>
                  <a:pt x="460" y="691"/>
                </a:lnTo>
                <a:lnTo>
                  <a:pt x="467" y="685"/>
                </a:lnTo>
                <a:lnTo>
                  <a:pt x="475" y="680"/>
                </a:lnTo>
                <a:lnTo>
                  <a:pt x="481" y="674"/>
                </a:lnTo>
                <a:lnTo>
                  <a:pt x="488" y="668"/>
                </a:lnTo>
                <a:lnTo>
                  <a:pt x="496" y="662"/>
                </a:lnTo>
                <a:lnTo>
                  <a:pt x="502" y="657"/>
                </a:lnTo>
                <a:lnTo>
                  <a:pt x="509" y="649"/>
                </a:lnTo>
                <a:lnTo>
                  <a:pt x="515" y="643"/>
                </a:lnTo>
                <a:lnTo>
                  <a:pt x="523" y="636"/>
                </a:lnTo>
                <a:lnTo>
                  <a:pt x="530" y="630"/>
                </a:lnTo>
                <a:lnTo>
                  <a:pt x="536" y="622"/>
                </a:lnTo>
                <a:lnTo>
                  <a:pt x="544" y="615"/>
                </a:lnTo>
                <a:lnTo>
                  <a:pt x="551" y="607"/>
                </a:lnTo>
                <a:lnTo>
                  <a:pt x="551" y="607"/>
                </a:lnTo>
                <a:lnTo>
                  <a:pt x="559" y="601"/>
                </a:lnTo>
                <a:lnTo>
                  <a:pt x="565" y="596"/>
                </a:lnTo>
                <a:lnTo>
                  <a:pt x="574" y="590"/>
                </a:lnTo>
                <a:lnTo>
                  <a:pt x="582" y="586"/>
                </a:lnTo>
                <a:lnTo>
                  <a:pt x="589" y="580"/>
                </a:lnTo>
                <a:lnTo>
                  <a:pt x="599" y="576"/>
                </a:lnTo>
                <a:lnTo>
                  <a:pt x="609" y="573"/>
                </a:lnTo>
                <a:lnTo>
                  <a:pt x="618" y="569"/>
                </a:lnTo>
                <a:lnTo>
                  <a:pt x="628" y="565"/>
                </a:lnTo>
                <a:lnTo>
                  <a:pt x="637" y="561"/>
                </a:lnTo>
                <a:lnTo>
                  <a:pt x="647" y="557"/>
                </a:lnTo>
                <a:lnTo>
                  <a:pt x="656" y="554"/>
                </a:lnTo>
                <a:lnTo>
                  <a:pt x="666" y="550"/>
                </a:lnTo>
                <a:lnTo>
                  <a:pt x="675" y="546"/>
                </a:lnTo>
                <a:lnTo>
                  <a:pt x="683" y="542"/>
                </a:lnTo>
                <a:lnTo>
                  <a:pt x="692" y="538"/>
                </a:lnTo>
                <a:lnTo>
                  <a:pt x="692" y="538"/>
                </a:lnTo>
                <a:lnTo>
                  <a:pt x="696" y="535"/>
                </a:lnTo>
                <a:lnTo>
                  <a:pt x="704" y="531"/>
                </a:lnTo>
                <a:lnTo>
                  <a:pt x="713" y="527"/>
                </a:lnTo>
                <a:lnTo>
                  <a:pt x="723" y="521"/>
                </a:lnTo>
                <a:lnTo>
                  <a:pt x="733" y="515"/>
                </a:lnTo>
                <a:lnTo>
                  <a:pt x="740" y="510"/>
                </a:lnTo>
                <a:lnTo>
                  <a:pt x="746" y="504"/>
                </a:lnTo>
                <a:lnTo>
                  <a:pt x="750" y="500"/>
                </a:lnTo>
                <a:lnTo>
                  <a:pt x="750" y="500"/>
                </a:lnTo>
                <a:lnTo>
                  <a:pt x="754" y="493"/>
                </a:lnTo>
                <a:lnTo>
                  <a:pt x="757" y="485"/>
                </a:lnTo>
                <a:lnTo>
                  <a:pt x="763" y="479"/>
                </a:lnTo>
                <a:lnTo>
                  <a:pt x="767" y="472"/>
                </a:lnTo>
                <a:lnTo>
                  <a:pt x="773" y="466"/>
                </a:lnTo>
                <a:lnTo>
                  <a:pt x="778" y="460"/>
                </a:lnTo>
                <a:lnTo>
                  <a:pt x="784" y="456"/>
                </a:lnTo>
                <a:lnTo>
                  <a:pt x="792" y="451"/>
                </a:lnTo>
                <a:lnTo>
                  <a:pt x="792" y="451"/>
                </a:lnTo>
                <a:lnTo>
                  <a:pt x="795" y="447"/>
                </a:lnTo>
                <a:lnTo>
                  <a:pt x="799" y="441"/>
                </a:lnTo>
                <a:lnTo>
                  <a:pt x="803" y="435"/>
                </a:lnTo>
                <a:lnTo>
                  <a:pt x="807" y="432"/>
                </a:lnTo>
                <a:lnTo>
                  <a:pt x="811" y="426"/>
                </a:lnTo>
                <a:lnTo>
                  <a:pt x="813" y="420"/>
                </a:lnTo>
                <a:lnTo>
                  <a:pt x="816" y="414"/>
                </a:lnTo>
                <a:lnTo>
                  <a:pt x="820" y="409"/>
                </a:lnTo>
                <a:lnTo>
                  <a:pt x="824" y="403"/>
                </a:lnTo>
                <a:lnTo>
                  <a:pt x="826" y="397"/>
                </a:lnTo>
                <a:lnTo>
                  <a:pt x="830" y="391"/>
                </a:lnTo>
                <a:lnTo>
                  <a:pt x="832" y="386"/>
                </a:lnTo>
                <a:lnTo>
                  <a:pt x="834" y="378"/>
                </a:lnTo>
                <a:lnTo>
                  <a:pt x="836" y="372"/>
                </a:lnTo>
                <a:lnTo>
                  <a:pt x="836" y="365"/>
                </a:lnTo>
                <a:lnTo>
                  <a:pt x="837" y="357"/>
                </a:lnTo>
                <a:lnTo>
                  <a:pt x="837" y="357"/>
                </a:lnTo>
                <a:lnTo>
                  <a:pt x="837" y="353"/>
                </a:lnTo>
                <a:lnTo>
                  <a:pt x="836" y="349"/>
                </a:lnTo>
                <a:lnTo>
                  <a:pt x="836" y="346"/>
                </a:lnTo>
                <a:lnTo>
                  <a:pt x="834" y="342"/>
                </a:lnTo>
                <a:lnTo>
                  <a:pt x="834" y="338"/>
                </a:lnTo>
                <a:lnTo>
                  <a:pt x="832" y="334"/>
                </a:lnTo>
                <a:lnTo>
                  <a:pt x="830" y="328"/>
                </a:lnTo>
                <a:lnTo>
                  <a:pt x="830" y="325"/>
                </a:lnTo>
                <a:lnTo>
                  <a:pt x="828" y="321"/>
                </a:lnTo>
                <a:lnTo>
                  <a:pt x="826" y="317"/>
                </a:lnTo>
                <a:lnTo>
                  <a:pt x="826" y="311"/>
                </a:lnTo>
                <a:lnTo>
                  <a:pt x="824" y="308"/>
                </a:lnTo>
                <a:lnTo>
                  <a:pt x="822" y="304"/>
                </a:lnTo>
                <a:lnTo>
                  <a:pt x="822" y="298"/>
                </a:lnTo>
                <a:lnTo>
                  <a:pt x="822" y="292"/>
                </a:lnTo>
                <a:lnTo>
                  <a:pt x="822" y="287"/>
                </a:lnTo>
                <a:lnTo>
                  <a:pt x="822" y="287"/>
                </a:lnTo>
                <a:lnTo>
                  <a:pt x="822" y="283"/>
                </a:lnTo>
                <a:lnTo>
                  <a:pt x="822" y="279"/>
                </a:lnTo>
                <a:lnTo>
                  <a:pt x="822" y="275"/>
                </a:lnTo>
                <a:lnTo>
                  <a:pt x="822" y="269"/>
                </a:lnTo>
                <a:lnTo>
                  <a:pt x="822" y="267"/>
                </a:lnTo>
                <a:lnTo>
                  <a:pt x="822" y="264"/>
                </a:lnTo>
                <a:lnTo>
                  <a:pt x="824" y="260"/>
                </a:lnTo>
                <a:lnTo>
                  <a:pt x="824" y="256"/>
                </a:lnTo>
                <a:lnTo>
                  <a:pt x="824" y="252"/>
                </a:lnTo>
                <a:lnTo>
                  <a:pt x="826" y="248"/>
                </a:lnTo>
                <a:lnTo>
                  <a:pt x="826" y="245"/>
                </a:lnTo>
                <a:lnTo>
                  <a:pt x="826" y="239"/>
                </a:lnTo>
                <a:lnTo>
                  <a:pt x="826" y="235"/>
                </a:lnTo>
                <a:lnTo>
                  <a:pt x="826" y="231"/>
                </a:lnTo>
                <a:lnTo>
                  <a:pt x="828" y="225"/>
                </a:lnTo>
                <a:lnTo>
                  <a:pt x="828" y="222"/>
                </a:lnTo>
                <a:lnTo>
                  <a:pt x="828" y="222"/>
                </a:lnTo>
                <a:lnTo>
                  <a:pt x="828" y="214"/>
                </a:lnTo>
                <a:lnTo>
                  <a:pt x="826" y="210"/>
                </a:lnTo>
                <a:lnTo>
                  <a:pt x="826" y="204"/>
                </a:lnTo>
                <a:lnTo>
                  <a:pt x="826" y="199"/>
                </a:lnTo>
                <a:lnTo>
                  <a:pt x="824" y="193"/>
                </a:lnTo>
                <a:lnTo>
                  <a:pt x="824" y="189"/>
                </a:lnTo>
                <a:lnTo>
                  <a:pt x="822" y="183"/>
                </a:lnTo>
                <a:lnTo>
                  <a:pt x="822" y="180"/>
                </a:lnTo>
                <a:lnTo>
                  <a:pt x="820" y="174"/>
                </a:lnTo>
                <a:lnTo>
                  <a:pt x="820" y="170"/>
                </a:lnTo>
                <a:lnTo>
                  <a:pt x="818" y="164"/>
                </a:lnTo>
                <a:lnTo>
                  <a:pt x="818" y="159"/>
                </a:lnTo>
                <a:lnTo>
                  <a:pt x="816" y="153"/>
                </a:lnTo>
                <a:lnTo>
                  <a:pt x="816" y="147"/>
                </a:lnTo>
                <a:lnTo>
                  <a:pt x="816" y="142"/>
                </a:lnTo>
                <a:lnTo>
                  <a:pt x="816" y="134"/>
                </a:lnTo>
                <a:lnTo>
                  <a:pt x="816" y="134"/>
                </a:lnTo>
                <a:lnTo>
                  <a:pt x="816" y="130"/>
                </a:lnTo>
                <a:lnTo>
                  <a:pt x="816" y="124"/>
                </a:lnTo>
                <a:lnTo>
                  <a:pt x="816" y="121"/>
                </a:lnTo>
                <a:lnTo>
                  <a:pt x="818" y="115"/>
                </a:lnTo>
                <a:lnTo>
                  <a:pt x="818" y="109"/>
                </a:lnTo>
                <a:lnTo>
                  <a:pt x="818" y="105"/>
                </a:lnTo>
                <a:lnTo>
                  <a:pt x="820" y="100"/>
                </a:lnTo>
                <a:lnTo>
                  <a:pt x="820" y="96"/>
                </a:lnTo>
                <a:lnTo>
                  <a:pt x="822" y="92"/>
                </a:lnTo>
                <a:lnTo>
                  <a:pt x="822" y="86"/>
                </a:lnTo>
                <a:lnTo>
                  <a:pt x="822" y="82"/>
                </a:lnTo>
                <a:lnTo>
                  <a:pt x="824" y="79"/>
                </a:lnTo>
                <a:lnTo>
                  <a:pt x="824" y="75"/>
                </a:lnTo>
                <a:lnTo>
                  <a:pt x="824" y="71"/>
                </a:lnTo>
                <a:lnTo>
                  <a:pt x="824" y="67"/>
                </a:lnTo>
                <a:lnTo>
                  <a:pt x="824" y="63"/>
                </a:lnTo>
                <a:lnTo>
                  <a:pt x="824" y="29"/>
                </a:lnTo>
                <a:lnTo>
                  <a:pt x="824" y="29"/>
                </a:lnTo>
                <a:lnTo>
                  <a:pt x="822" y="27"/>
                </a:lnTo>
                <a:lnTo>
                  <a:pt x="820" y="23"/>
                </a:lnTo>
                <a:lnTo>
                  <a:pt x="818" y="19"/>
                </a:lnTo>
                <a:lnTo>
                  <a:pt x="816" y="16"/>
                </a:lnTo>
                <a:lnTo>
                  <a:pt x="815" y="12"/>
                </a:lnTo>
                <a:lnTo>
                  <a:pt x="813" y="6"/>
                </a:lnTo>
                <a:lnTo>
                  <a:pt x="811" y="2"/>
                </a:lnTo>
                <a:lnTo>
                  <a:pt x="807" y="0"/>
                </a:lnTo>
                <a:lnTo>
                  <a:pt x="807" y="0"/>
                </a:lnTo>
                <a:lnTo>
                  <a:pt x="803" y="6"/>
                </a:lnTo>
                <a:lnTo>
                  <a:pt x="797" y="14"/>
                </a:lnTo>
                <a:lnTo>
                  <a:pt x="792" y="19"/>
                </a:lnTo>
                <a:lnTo>
                  <a:pt x="784" y="27"/>
                </a:lnTo>
                <a:lnTo>
                  <a:pt x="774" y="33"/>
                </a:lnTo>
                <a:lnTo>
                  <a:pt x="765" y="39"/>
                </a:lnTo>
                <a:lnTo>
                  <a:pt x="755" y="44"/>
                </a:lnTo>
                <a:lnTo>
                  <a:pt x="746" y="50"/>
                </a:lnTo>
                <a:lnTo>
                  <a:pt x="734" y="56"/>
                </a:lnTo>
                <a:lnTo>
                  <a:pt x="723" y="59"/>
                </a:lnTo>
                <a:lnTo>
                  <a:pt x="713" y="63"/>
                </a:lnTo>
                <a:lnTo>
                  <a:pt x="702" y="67"/>
                </a:lnTo>
                <a:lnTo>
                  <a:pt x="691" y="69"/>
                </a:lnTo>
                <a:lnTo>
                  <a:pt x="681" y="71"/>
                </a:lnTo>
                <a:lnTo>
                  <a:pt x="671" y="73"/>
                </a:lnTo>
                <a:lnTo>
                  <a:pt x="662" y="73"/>
                </a:lnTo>
                <a:lnTo>
                  <a:pt x="662" y="73"/>
                </a:lnTo>
                <a:lnTo>
                  <a:pt x="658" y="73"/>
                </a:lnTo>
                <a:lnTo>
                  <a:pt x="656" y="73"/>
                </a:lnTo>
                <a:lnTo>
                  <a:pt x="652" y="73"/>
                </a:lnTo>
                <a:lnTo>
                  <a:pt x="649" y="73"/>
                </a:lnTo>
                <a:lnTo>
                  <a:pt x="647" y="73"/>
                </a:lnTo>
                <a:lnTo>
                  <a:pt x="643" y="73"/>
                </a:lnTo>
                <a:lnTo>
                  <a:pt x="639" y="73"/>
                </a:lnTo>
                <a:lnTo>
                  <a:pt x="633" y="73"/>
                </a:lnTo>
                <a:lnTo>
                  <a:pt x="633" y="73"/>
                </a:lnTo>
                <a:lnTo>
                  <a:pt x="628" y="73"/>
                </a:lnTo>
                <a:lnTo>
                  <a:pt x="622" y="75"/>
                </a:lnTo>
                <a:lnTo>
                  <a:pt x="616" y="77"/>
                </a:lnTo>
                <a:lnTo>
                  <a:pt x="610" y="79"/>
                </a:lnTo>
                <a:lnTo>
                  <a:pt x="607" y="80"/>
                </a:lnTo>
                <a:lnTo>
                  <a:pt x="601" y="82"/>
                </a:lnTo>
                <a:lnTo>
                  <a:pt x="597" y="86"/>
                </a:lnTo>
                <a:lnTo>
                  <a:pt x="591" y="90"/>
                </a:lnTo>
                <a:lnTo>
                  <a:pt x="586" y="92"/>
                </a:lnTo>
                <a:lnTo>
                  <a:pt x="582" y="96"/>
                </a:lnTo>
                <a:lnTo>
                  <a:pt x="576" y="98"/>
                </a:lnTo>
                <a:lnTo>
                  <a:pt x="570" y="100"/>
                </a:lnTo>
                <a:lnTo>
                  <a:pt x="565" y="101"/>
                </a:lnTo>
                <a:lnTo>
                  <a:pt x="557" y="103"/>
                </a:lnTo>
                <a:lnTo>
                  <a:pt x="551" y="105"/>
                </a:lnTo>
                <a:lnTo>
                  <a:pt x="544" y="105"/>
                </a:lnTo>
                <a:lnTo>
                  <a:pt x="544" y="105"/>
                </a:lnTo>
                <a:lnTo>
                  <a:pt x="536" y="105"/>
                </a:lnTo>
                <a:lnTo>
                  <a:pt x="528" y="105"/>
                </a:lnTo>
                <a:lnTo>
                  <a:pt x="521" y="103"/>
                </a:lnTo>
                <a:lnTo>
                  <a:pt x="513" y="103"/>
                </a:lnTo>
                <a:lnTo>
                  <a:pt x="506" y="101"/>
                </a:lnTo>
                <a:lnTo>
                  <a:pt x="500" y="101"/>
                </a:lnTo>
                <a:lnTo>
                  <a:pt x="492" y="100"/>
                </a:lnTo>
                <a:lnTo>
                  <a:pt x="485" y="98"/>
                </a:lnTo>
                <a:lnTo>
                  <a:pt x="485" y="98"/>
                </a:lnTo>
                <a:lnTo>
                  <a:pt x="481" y="96"/>
                </a:lnTo>
                <a:lnTo>
                  <a:pt x="479" y="94"/>
                </a:lnTo>
                <a:lnTo>
                  <a:pt x="475" y="92"/>
                </a:lnTo>
                <a:lnTo>
                  <a:pt x="471" y="88"/>
                </a:lnTo>
                <a:lnTo>
                  <a:pt x="467" y="86"/>
                </a:lnTo>
                <a:lnTo>
                  <a:pt x="462" y="84"/>
                </a:lnTo>
                <a:lnTo>
                  <a:pt x="458" y="82"/>
                </a:lnTo>
                <a:lnTo>
                  <a:pt x="452" y="82"/>
                </a:lnTo>
                <a:lnTo>
                  <a:pt x="452" y="82"/>
                </a:lnTo>
                <a:lnTo>
                  <a:pt x="450" y="82"/>
                </a:lnTo>
                <a:lnTo>
                  <a:pt x="446" y="82"/>
                </a:lnTo>
                <a:lnTo>
                  <a:pt x="443" y="84"/>
                </a:lnTo>
                <a:lnTo>
                  <a:pt x="439" y="84"/>
                </a:lnTo>
                <a:lnTo>
                  <a:pt x="435" y="86"/>
                </a:lnTo>
                <a:lnTo>
                  <a:pt x="429" y="86"/>
                </a:lnTo>
                <a:lnTo>
                  <a:pt x="425" y="88"/>
                </a:lnTo>
                <a:lnTo>
                  <a:pt x="420" y="90"/>
                </a:lnTo>
                <a:lnTo>
                  <a:pt x="416" y="92"/>
                </a:lnTo>
                <a:lnTo>
                  <a:pt x="410" y="94"/>
                </a:lnTo>
                <a:lnTo>
                  <a:pt x="406" y="96"/>
                </a:lnTo>
                <a:lnTo>
                  <a:pt x="401" y="98"/>
                </a:lnTo>
                <a:lnTo>
                  <a:pt x="397" y="100"/>
                </a:lnTo>
                <a:lnTo>
                  <a:pt x="391" y="100"/>
                </a:lnTo>
                <a:lnTo>
                  <a:pt x="387" y="101"/>
                </a:lnTo>
                <a:lnTo>
                  <a:pt x="383" y="103"/>
                </a:lnTo>
                <a:lnTo>
                  <a:pt x="383" y="103"/>
                </a:lnTo>
                <a:lnTo>
                  <a:pt x="383" y="105"/>
                </a:lnTo>
                <a:lnTo>
                  <a:pt x="385" y="107"/>
                </a:lnTo>
                <a:lnTo>
                  <a:pt x="385" y="107"/>
                </a:lnTo>
                <a:lnTo>
                  <a:pt x="387" y="109"/>
                </a:lnTo>
                <a:lnTo>
                  <a:pt x="387" y="111"/>
                </a:lnTo>
                <a:lnTo>
                  <a:pt x="387" y="113"/>
                </a:lnTo>
                <a:lnTo>
                  <a:pt x="387" y="115"/>
                </a:lnTo>
                <a:lnTo>
                  <a:pt x="387" y="117"/>
                </a:lnTo>
                <a:lnTo>
                  <a:pt x="387" y="117"/>
                </a:lnTo>
                <a:lnTo>
                  <a:pt x="387" y="124"/>
                </a:lnTo>
                <a:lnTo>
                  <a:pt x="385" y="130"/>
                </a:lnTo>
                <a:lnTo>
                  <a:pt x="382" y="136"/>
                </a:lnTo>
                <a:lnTo>
                  <a:pt x="380" y="142"/>
                </a:lnTo>
                <a:lnTo>
                  <a:pt x="376" y="145"/>
                </a:lnTo>
                <a:lnTo>
                  <a:pt x="372" y="151"/>
                </a:lnTo>
                <a:lnTo>
                  <a:pt x="370" y="155"/>
                </a:lnTo>
                <a:lnTo>
                  <a:pt x="368" y="159"/>
                </a:lnTo>
                <a:lnTo>
                  <a:pt x="368" y="159"/>
                </a:lnTo>
                <a:lnTo>
                  <a:pt x="366" y="166"/>
                </a:lnTo>
                <a:lnTo>
                  <a:pt x="366" y="170"/>
                </a:lnTo>
                <a:lnTo>
                  <a:pt x="366" y="176"/>
                </a:lnTo>
                <a:lnTo>
                  <a:pt x="368" y="182"/>
                </a:lnTo>
                <a:lnTo>
                  <a:pt x="368" y="187"/>
                </a:lnTo>
                <a:lnTo>
                  <a:pt x="368" y="193"/>
                </a:lnTo>
                <a:lnTo>
                  <a:pt x="370" y="199"/>
                </a:lnTo>
                <a:lnTo>
                  <a:pt x="370" y="204"/>
                </a:lnTo>
                <a:lnTo>
                  <a:pt x="370" y="248"/>
                </a:lnTo>
                <a:lnTo>
                  <a:pt x="370" y="248"/>
                </a:lnTo>
                <a:lnTo>
                  <a:pt x="372" y="258"/>
                </a:lnTo>
                <a:lnTo>
                  <a:pt x="374" y="267"/>
                </a:lnTo>
                <a:lnTo>
                  <a:pt x="378" y="275"/>
                </a:lnTo>
                <a:lnTo>
                  <a:pt x="383" y="281"/>
                </a:lnTo>
                <a:lnTo>
                  <a:pt x="387" y="287"/>
                </a:lnTo>
                <a:lnTo>
                  <a:pt x="391" y="292"/>
                </a:lnTo>
                <a:lnTo>
                  <a:pt x="393" y="298"/>
                </a:lnTo>
                <a:lnTo>
                  <a:pt x="395" y="306"/>
                </a:lnTo>
                <a:lnTo>
                  <a:pt x="393" y="321"/>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2" name="Freeform 14"/>
          <p:cNvSpPr>
            <a:spLocks/>
          </p:cNvSpPr>
          <p:nvPr>
            <p:custDataLst>
              <p:tags r:id="rId14"/>
            </p:custDataLst>
          </p:nvPr>
        </p:nvSpPr>
        <p:spPr bwMode="gray">
          <a:xfrm>
            <a:off x="4742893" y="5565444"/>
            <a:ext cx="103670" cy="115002"/>
          </a:xfrm>
          <a:custGeom>
            <a:avLst/>
            <a:gdLst/>
            <a:ahLst/>
            <a:cxnLst>
              <a:cxn ang="0">
                <a:pos x="97" y="4"/>
              </a:cxn>
              <a:cxn ang="0">
                <a:pos x="91" y="11"/>
              </a:cxn>
              <a:cxn ang="0">
                <a:pos x="93" y="17"/>
              </a:cxn>
              <a:cxn ang="0">
                <a:pos x="97" y="23"/>
              </a:cxn>
              <a:cxn ang="0">
                <a:pos x="99" y="29"/>
              </a:cxn>
              <a:cxn ang="0">
                <a:pos x="101" y="34"/>
              </a:cxn>
              <a:cxn ang="0">
                <a:pos x="101" y="36"/>
              </a:cxn>
              <a:cxn ang="0">
                <a:pos x="101" y="40"/>
              </a:cxn>
              <a:cxn ang="0">
                <a:pos x="101" y="46"/>
              </a:cxn>
              <a:cxn ang="0">
                <a:pos x="101" y="51"/>
              </a:cxn>
              <a:cxn ang="0">
                <a:pos x="101" y="55"/>
              </a:cxn>
              <a:cxn ang="0">
                <a:pos x="101" y="67"/>
              </a:cxn>
              <a:cxn ang="0">
                <a:pos x="103" y="76"/>
              </a:cxn>
              <a:cxn ang="0">
                <a:pos x="107" y="84"/>
              </a:cxn>
              <a:cxn ang="0">
                <a:pos x="112" y="92"/>
              </a:cxn>
              <a:cxn ang="0">
                <a:pos x="109" y="97"/>
              </a:cxn>
              <a:cxn ang="0">
                <a:pos x="101" y="109"/>
              </a:cxn>
              <a:cxn ang="0">
                <a:pos x="91" y="122"/>
              </a:cxn>
              <a:cxn ang="0">
                <a:pos x="78" y="128"/>
              </a:cxn>
              <a:cxn ang="0">
                <a:pos x="69" y="130"/>
              </a:cxn>
              <a:cxn ang="0">
                <a:pos x="55" y="130"/>
              </a:cxn>
              <a:cxn ang="0">
                <a:pos x="44" y="128"/>
              </a:cxn>
              <a:cxn ang="0">
                <a:pos x="32" y="122"/>
              </a:cxn>
              <a:cxn ang="0">
                <a:pos x="23" y="118"/>
              </a:cxn>
              <a:cxn ang="0">
                <a:pos x="13" y="111"/>
              </a:cxn>
              <a:cxn ang="0">
                <a:pos x="7" y="103"/>
              </a:cxn>
              <a:cxn ang="0">
                <a:pos x="2" y="93"/>
              </a:cxn>
              <a:cxn ang="0">
                <a:pos x="0" y="82"/>
              </a:cxn>
              <a:cxn ang="0">
                <a:pos x="2" y="78"/>
              </a:cxn>
              <a:cxn ang="0">
                <a:pos x="4" y="65"/>
              </a:cxn>
              <a:cxn ang="0">
                <a:pos x="9" y="51"/>
              </a:cxn>
              <a:cxn ang="0">
                <a:pos x="17" y="38"/>
              </a:cxn>
              <a:cxn ang="0">
                <a:pos x="25" y="25"/>
              </a:cxn>
              <a:cxn ang="0">
                <a:pos x="34" y="13"/>
              </a:cxn>
              <a:cxn ang="0">
                <a:pos x="44" y="6"/>
              </a:cxn>
              <a:cxn ang="0">
                <a:pos x="53" y="0"/>
              </a:cxn>
              <a:cxn ang="0">
                <a:pos x="59" y="0"/>
              </a:cxn>
              <a:cxn ang="0">
                <a:pos x="69" y="2"/>
              </a:cxn>
              <a:cxn ang="0">
                <a:pos x="74" y="8"/>
              </a:cxn>
              <a:cxn ang="0">
                <a:pos x="84" y="13"/>
              </a:cxn>
              <a:cxn ang="0">
                <a:pos x="91" y="15"/>
              </a:cxn>
              <a:cxn ang="0">
                <a:pos x="97" y="4"/>
              </a:cxn>
            </a:cxnLst>
            <a:rect l="0" t="0" r="r" b="b"/>
            <a:pathLst>
              <a:path w="112" h="130">
                <a:moveTo>
                  <a:pt x="97" y="4"/>
                </a:moveTo>
                <a:lnTo>
                  <a:pt x="97" y="4"/>
                </a:lnTo>
                <a:lnTo>
                  <a:pt x="91" y="11"/>
                </a:lnTo>
                <a:lnTo>
                  <a:pt x="91" y="11"/>
                </a:lnTo>
                <a:lnTo>
                  <a:pt x="93" y="15"/>
                </a:lnTo>
                <a:lnTo>
                  <a:pt x="93" y="17"/>
                </a:lnTo>
                <a:lnTo>
                  <a:pt x="95" y="21"/>
                </a:lnTo>
                <a:lnTo>
                  <a:pt x="97" y="23"/>
                </a:lnTo>
                <a:lnTo>
                  <a:pt x="99" y="27"/>
                </a:lnTo>
                <a:lnTo>
                  <a:pt x="99" y="29"/>
                </a:lnTo>
                <a:lnTo>
                  <a:pt x="101" y="32"/>
                </a:lnTo>
                <a:lnTo>
                  <a:pt x="101" y="34"/>
                </a:lnTo>
                <a:lnTo>
                  <a:pt x="101" y="34"/>
                </a:lnTo>
                <a:lnTo>
                  <a:pt x="101" y="36"/>
                </a:lnTo>
                <a:lnTo>
                  <a:pt x="101" y="38"/>
                </a:lnTo>
                <a:lnTo>
                  <a:pt x="101" y="40"/>
                </a:lnTo>
                <a:lnTo>
                  <a:pt x="101" y="44"/>
                </a:lnTo>
                <a:lnTo>
                  <a:pt x="101" y="46"/>
                </a:lnTo>
                <a:lnTo>
                  <a:pt x="101" y="50"/>
                </a:lnTo>
                <a:lnTo>
                  <a:pt x="101" y="51"/>
                </a:lnTo>
                <a:lnTo>
                  <a:pt x="101" y="55"/>
                </a:lnTo>
                <a:lnTo>
                  <a:pt x="101" y="55"/>
                </a:lnTo>
                <a:lnTo>
                  <a:pt x="101" y="61"/>
                </a:lnTo>
                <a:lnTo>
                  <a:pt x="101" y="67"/>
                </a:lnTo>
                <a:lnTo>
                  <a:pt x="103" y="72"/>
                </a:lnTo>
                <a:lnTo>
                  <a:pt x="103" y="76"/>
                </a:lnTo>
                <a:lnTo>
                  <a:pt x="105" y="80"/>
                </a:lnTo>
                <a:lnTo>
                  <a:pt x="107" y="84"/>
                </a:lnTo>
                <a:lnTo>
                  <a:pt x="109" y="88"/>
                </a:lnTo>
                <a:lnTo>
                  <a:pt x="112" y="92"/>
                </a:lnTo>
                <a:lnTo>
                  <a:pt x="112" y="92"/>
                </a:lnTo>
                <a:lnTo>
                  <a:pt x="109" y="97"/>
                </a:lnTo>
                <a:lnTo>
                  <a:pt x="105" y="103"/>
                </a:lnTo>
                <a:lnTo>
                  <a:pt x="101" y="109"/>
                </a:lnTo>
                <a:lnTo>
                  <a:pt x="97" y="116"/>
                </a:lnTo>
                <a:lnTo>
                  <a:pt x="91" y="122"/>
                </a:lnTo>
                <a:lnTo>
                  <a:pt x="86" y="126"/>
                </a:lnTo>
                <a:lnTo>
                  <a:pt x="78" y="128"/>
                </a:lnTo>
                <a:lnTo>
                  <a:pt x="69" y="130"/>
                </a:lnTo>
                <a:lnTo>
                  <a:pt x="69" y="130"/>
                </a:lnTo>
                <a:lnTo>
                  <a:pt x="63" y="130"/>
                </a:lnTo>
                <a:lnTo>
                  <a:pt x="55" y="130"/>
                </a:lnTo>
                <a:lnTo>
                  <a:pt x="49" y="128"/>
                </a:lnTo>
                <a:lnTo>
                  <a:pt x="44" y="128"/>
                </a:lnTo>
                <a:lnTo>
                  <a:pt x="38" y="124"/>
                </a:lnTo>
                <a:lnTo>
                  <a:pt x="32" y="122"/>
                </a:lnTo>
                <a:lnTo>
                  <a:pt x="27" y="120"/>
                </a:lnTo>
                <a:lnTo>
                  <a:pt x="23" y="118"/>
                </a:lnTo>
                <a:lnTo>
                  <a:pt x="17" y="114"/>
                </a:lnTo>
                <a:lnTo>
                  <a:pt x="13" y="111"/>
                </a:lnTo>
                <a:lnTo>
                  <a:pt x="9" y="107"/>
                </a:lnTo>
                <a:lnTo>
                  <a:pt x="7" y="103"/>
                </a:lnTo>
                <a:lnTo>
                  <a:pt x="4" y="99"/>
                </a:lnTo>
                <a:lnTo>
                  <a:pt x="2" y="93"/>
                </a:lnTo>
                <a:lnTo>
                  <a:pt x="2" y="88"/>
                </a:lnTo>
                <a:lnTo>
                  <a:pt x="0" y="82"/>
                </a:lnTo>
                <a:lnTo>
                  <a:pt x="0" y="82"/>
                </a:lnTo>
                <a:lnTo>
                  <a:pt x="2" y="78"/>
                </a:lnTo>
                <a:lnTo>
                  <a:pt x="2" y="71"/>
                </a:lnTo>
                <a:lnTo>
                  <a:pt x="4" y="65"/>
                </a:lnTo>
                <a:lnTo>
                  <a:pt x="6" y="59"/>
                </a:lnTo>
                <a:lnTo>
                  <a:pt x="9" y="51"/>
                </a:lnTo>
                <a:lnTo>
                  <a:pt x="13" y="44"/>
                </a:lnTo>
                <a:lnTo>
                  <a:pt x="17" y="38"/>
                </a:lnTo>
                <a:lnTo>
                  <a:pt x="21" y="30"/>
                </a:lnTo>
                <a:lnTo>
                  <a:pt x="25" y="25"/>
                </a:lnTo>
                <a:lnTo>
                  <a:pt x="28" y="19"/>
                </a:lnTo>
                <a:lnTo>
                  <a:pt x="34" y="13"/>
                </a:lnTo>
                <a:lnTo>
                  <a:pt x="40" y="9"/>
                </a:lnTo>
                <a:lnTo>
                  <a:pt x="44" y="6"/>
                </a:lnTo>
                <a:lnTo>
                  <a:pt x="49" y="2"/>
                </a:lnTo>
                <a:lnTo>
                  <a:pt x="53" y="0"/>
                </a:lnTo>
                <a:lnTo>
                  <a:pt x="59" y="0"/>
                </a:lnTo>
                <a:lnTo>
                  <a:pt x="59" y="0"/>
                </a:lnTo>
                <a:lnTo>
                  <a:pt x="63" y="0"/>
                </a:lnTo>
                <a:lnTo>
                  <a:pt x="69" y="2"/>
                </a:lnTo>
                <a:lnTo>
                  <a:pt x="72" y="6"/>
                </a:lnTo>
                <a:lnTo>
                  <a:pt x="74" y="8"/>
                </a:lnTo>
                <a:lnTo>
                  <a:pt x="80" y="9"/>
                </a:lnTo>
                <a:lnTo>
                  <a:pt x="84" y="13"/>
                </a:lnTo>
                <a:lnTo>
                  <a:pt x="88" y="15"/>
                </a:lnTo>
                <a:lnTo>
                  <a:pt x="91" y="15"/>
                </a:lnTo>
                <a:lnTo>
                  <a:pt x="93" y="15"/>
                </a:lnTo>
                <a:lnTo>
                  <a:pt x="97" y="4"/>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3" name="Freeform 15"/>
          <p:cNvSpPr>
            <a:spLocks/>
          </p:cNvSpPr>
          <p:nvPr>
            <p:custDataLst>
              <p:tags r:id="rId15"/>
            </p:custDataLst>
          </p:nvPr>
        </p:nvSpPr>
        <p:spPr bwMode="gray">
          <a:xfrm>
            <a:off x="3783949" y="5312763"/>
            <a:ext cx="1107971" cy="861704"/>
          </a:xfrm>
          <a:custGeom>
            <a:avLst/>
            <a:gdLst/>
            <a:ahLst/>
            <a:cxnLst>
              <a:cxn ang="0">
                <a:pos x="1106" y="284"/>
              </a:cxn>
              <a:cxn ang="0">
                <a:pos x="1056" y="335"/>
              </a:cxn>
              <a:cxn ang="0">
                <a:pos x="1056" y="391"/>
              </a:cxn>
              <a:cxn ang="0">
                <a:pos x="1116" y="414"/>
              </a:cxn>
              <a:cxn ang="0">
                <a:pos x="1161" y="377"/>
              </a:cxn>
              <a:cxn ang="0">
                <a:pos x="1194" y="381"/>
              </a:cxn>
              <a:cxn ang="0">
                <a:pos x="1192" y="412"/>
              </a:cxn>
              <a:cxn ang="0">
                <a:pos x="1158" y="505"/>
              </a:cxn>
              <a:cxn ang="0">
                <a:pos x="1108" y="541"/>
              </a:cxn>
              <a:cxn ang="0">
                <a:pos x="1074" y="576"/>
              </a:cxn>
              <a:cxn ang="0">
                <a:pos x="1041" y="622"/>
              </a:cxn>
              <a:cxn ang="0">
                <a:pos x="988" y="685"/>
              </a:cxn>
              <a:cxn ang="0">
                <a:pos x="925" y="746"/>
              </a:cxn>
              <a:cxn ang="0">
                <a:pos x="858" y="803"/>
              </a:cxn>
              <a:cxn ang="0">
                <a:pos x="784" y="858"/>
              </a:cxn>
              <a:cxn ang="0">
                <a:pos x="692" y="894"/>
              </a:cxn>
              <a:cxn ang="0">
                <a:pos x="644" y="896"/>
              </a:cxn>
              <a:cxn ang="0">
                <a:pos x="583" y="923"/>
              </a:cxn>
              <a:cxn ang="0">
                <a:pos x="471" y="913"/>
              </a:cxn>
              <a:cxn ang="0">
                <a:pos x="427" y="915"/>
              </a:cxn>
              <a:cxn ang="0">
                <a:pos x="368" y="938"/>
              </a:cxn>
              <a:cxn ang="0">
                <a:pos x="324" y="940"/>
              </a:cxn>
              <a:cxn ang="0">
                <a:pos x="280" y="950"/>
              </a:cxn>
              <a:cxn ang="0">
                <a:pos x="230" y="969"/>
              </a:cxn>
              <a:cxn ang="0">
                <a:pos x="181" y="940"/>
              </a:cxn>
              <a:cxn ang="0">
                <a:pos x="147" y="919"/>
              </a:cxn>
              <a:cxn ang="0">
                <a:pos x="122" y="927"/>
              </a:cxn>
              <a:cxn ang="0">
                <a:pos x="129" y="887"/>
              </a:cxn>
              <a:cxn ang="0">
                <a:pos x="95" y="822"/>
              </a:cxn>
              <a:cxn ang="0">
                <a:pos x="120" y="755"/>
              </a:cxn>
              <a:cxn ang="0">
                <a:pos x="80" y="686"/>
              </a:cxn>
              <a:cxn ang="0">
                <a:pos x="34" y="604"/>
              </a:cxn>
              <a:cxn ang="0">
                <a:pos x="9" y="528"/>
              </a:cxn>
              <a:cxn ang="0">
                <a:pos x="15" y="471"/>
              </a:cxn>
              <a:cxn ang="0">
                <a:pos x="68" y="490"/>
              </a:cxn>
              <a:cxn ang="0">
                <a:pos x="124" y="517"/>
              </a:cxn>
              <a:cxn ang="0">
                <a:pos x="188" y="519"/>
              </a:cxn>
              <a:cxn ang="0">
                <a:pos x="238" y="488"/>
              </a:cxn>
              <a:cxn ang="0">
                <a:pos x="282" y="231"/>
              </a:cxn>
              <a:cxn ang="0">
                <a:pos x="314" y="292"/>
              </a:cxn>
              <a:cxn ang="0">
                <a:pos x="301" y="347"/>
              </a:cxn>
              <a:cxn ang="0">
                <a:pos x="351" y="364"/>
              </a:cxn>
              <a:cxn ang="0">
                <a:pos x="438" y="320"/>
              </a:cxn>
              <a:cxn ang="0">
                <a:pos x="486" y="250"/>
              </a:cxn>
              <a:cxn ang="0">
                <a:pos x="551" y="278"/>
              </a:cxn>
              <a:cxn ang="0">
                <a:pos x="621" y="278"/>
              </a:cxn>
              <a:cxn ang="0">
                <a:pos x="675" y="271"/>
              </a:cxn>
              <a:cxn ang="0">
                <a:pos x="704" y="210"/>
              </a:cxn>
              <a:cxn ang="0">
                <a:pos x="744" y="194"/>
              </a:cxn>
              <a:cxn ang="0">
                <a:pos x="782" y="147"/>
              </a:cxn>
              <a:cxn ang="0">
                <a:pos x="824" y="107"/>
              </a:cxn>
              <a:cxn ang="0">
                <a:pos x="885" y="42"/>
              </a:cxn>
              <a:cxn ang="0">
                <a:pos x="927" y="38"/>
              </a:cxn>
              <a:cxn ang="0">
                <a:pos x="1003" y="4"/>
              </a:cxn>
              <a:cxn ang="0">
                <a:pos x="1072" y="21"/>
              </a:cxn>
              <a:cxn ang="0">
                <a:pos x="1112" y="21"/>
              </a:cxn>
              <a:cxn ang="0">
                <a:pos x="1125" y="99"/>
              </a:cxn>
              <a:cxn ang="0">
                <a:pos x="1146" y="147"/>
              </a:cxn>
              <a:cxn ang="0">
                <a:pos x="1152" y="196"/>
              </a:cxn>
              <a:cxn ang="0">
                <a:pos x="1146" y="244"/>
              </a:cxn>
            </a:cxnLst>
            <a:rect l="0" t="0" r="r" b="b"/>
            <a:pathLst>
              <a:path w="1207" h="969">
                <a:moveTo>
                  <a:pt x="1138" y="299"/>
                </a:moveTo>
                <a:lnTo>
                  <a:pt x="1138" y="299"/>
                </a:lnTo>
                <a:lnTo>
                  <a:pt x="1135" y="299"/>
                </a:lnTo>
                <a:lnTo>
                  <a:pt x="1131" y="297"/>
                </a:lnTo>
                <a:lnTo>
                  <a:pt x="1127" y="293"/>
                </a:lnTo>
                <a:lnTo>
                  <a:pt x="1121" y="292"/>
                </a:lnTo>
                <a:lnTo>
                  <a:pt x="1119" y="290"/>
                </a:lnTo>
                <a:lnTo>
                  <a:pt x="1116" y="286"/>
                </a:lnTo>
                <a:lnTo>
                  <a:pt x="1110" y="284"/>
                </a:lnTo>
                <a:lnTo>
                  <a:pt x="1106" y="284"/>
                </a:lnTo>
                <a:lnTo>
                  <a:pt x="1106" y="284"/>
                </a:lnTo>
                <a:lnTo>
                  <a:pt x="1100" y="284"/>
                </a:lnTo>
                <a:lnTo>
                  <a:pt x="1096" y="286"/>
                </a:lnTo>
                <a:lnTo>
                  <a:pt x="1091" y="290"/>
                </a:lnTo>
                <a:lnTo>
                  <a:pt x="1087" y="293"/>
                </a:lnTo>
                <a:lnTo>
                  <a:pt x="1081" y="297"/>
                </a:lnTo>
                <a:lnTo>
                  <a:pt x="1075" y="303"/>
                </a:lnTo>
                <a:lnTo>
                  <a:pt x="1072" y="309"/>
                </a:lnTo>
                <a:lnTo>
                  <a:pt x="1068" y="314"/>
                </a:lnTo>
                <a:lnTo>
                  <a:pt x="1064" y="322"/>
                </a:lnTo>
                <a:lnTo>
                  <a:pt x="1060" y="328"/>
                </a:lnTo>
                <a:lnTo>
                  <a:pt x="1056" y="335"/>
                </a:lnTo>
                <a:lnTo>
                  <a:pt x="1053" y="343"/>
                </a:lnTo>
                <a:lnTo>
                  <a:pt x="1051" y="349"/>
                </a:lnTo>
                <a:lnTo>
                  <a:pt x="1049" y="355"/>
                </a:lnTo>
                <a:lnTo>
                  <a:pt x="1049" y="362"/>
                </a:lnTo>
                <a:lnTo>
                  <a:pt x="1047" y="366"/>
                </a:lnTo>
                <a:lnTo>
                  <a:pt x="1047" y="366"/>
                </a:lnTo>
                <a:lnTo>
                  <a:pt x="1049" y="372"/>
                </a:lnTo>
                <a:lnTo>
                  <a:pt x="1049" y="377"/>
                </a:lnTo>
                <a:lnTo>
                  <a:pt x="1051" y="383"/>
                </a:lnTo>
                <a:lnTo>
                  <a:pt x="1054" y="387"/>
                </a:lnTo>
                <a:lnTo>
                  <a:pt x="1056" y="391"/>
                </a:lnTo>
                <a:lnTo>
                  <a:pt x="1060" y="395"/>
                </a:lnTo>
                <a:lnTo>
                  <a:pt x="1064" y="398"/>
                </a:lnTo>
                <a:lnTo>
                  <a:pt x="1070" y="402"/>
                </a:lnTo>
                <a:lnTo>
                  <a:pt x="1074" y="404"/>
                </a:lnTo>
                <a:lnTo>
                  <a:pt x="1079" y="406"/>
                </a:lnTo>
                <a:lnTo>
                  <a:pt x="1085" y="408"/>
                </a:lnTo>
                <a:lnTo>
                  <a:pt x="1091" y="412"/>
                </a:lnTo>
                <a:lnTo>
                  <a:pt x="1096" y="412"/>
                </a:lnTo>
                <a:lnTo>
                  <a:pt x="1102" y="414"/>
                </a:lnTo>
                <a:lnTo>
                  <a:pt x="1110" y="414"/>
                </a:lnTo>
                <a:lnTo>
                  <a:pt x="1116" y="414"/>
                </a:lnTo>
                <a:lnTo>
                  <a:pt x="1116" y="414"/>
                </a:lnTo>
                <a:lnTo>
                  <a:pt x="1125" y="412"/>
                </a:lnTo>
                <a:lnTo>
                  <a:pt x="1133" y="410"/>
                </a:lnTo>
                <a:lnTo>
                  <a:pt x="1138" y="406"/>
                </a:lnTo>
                <a:lnTo>
                  <a:pt x="1144" y="400"/>
                </a:lnTo>
                <a:lnTo>
                  <a:pt x="1148" y="393"/>
                </a:lnTo>
                <a:lnTo>
                  <a:pt x="1152" y="387"/>
                </a:lnTo>
                <a:lnTo>
                  <a:pt x="1156" y="381"/>
                </a:lnTo>
                <a:lnTo>
                  <a:pt x="1159" y="376"/>
                </a:lnTo>
                <a:lnTo>
                  <a:pt x="1159" y="376"/>
                </a:lnTo>
                <a:lnTo>
                  <a:pt x="1161" y="377"/>
                </a:lnTo>
                <a:lnTo>
                  <a:pt x="1163" y="377"/>
                </a:lnTo>
                <a:lnTo>
                  <a:pt x="1165" y="379"/>
                </a:lnTo>
                <a:lnTo>
                  <a:pt x="1169" y="381"/>
                </a:lnTo>
                <a:lnTo>
                  <a:pt x="1171" y="381"/>
                </a:lnTo>
                <a:lnTo>
                  <a:pt x="1175" y="381"/>
                </a:lnTo>
                <a:lnTo>
                  <a:pt x="1178" y="381"/>
                </a:lnTo>
                <a:lnTo>
                  <a:pt x="1182" y="381"/>
                </a:lnTo>
                <a:lnTo>
                  <a:pt x="1182" y="381"/>
                </a:lnTo>
                <a:lnTo>
                  <a:pt x="1188" y="381"/>
                </a:lnTo>
                <a:lnTo>
                  <a:pt x="1190" y="381"/>
                </a:lnTo>
                <a:lnTo>
                  <a:pt x="1194" y="381"/>
                </a:lnTo>
                <a:lnTo>
                  <a:pt x="1198" y="379"/>
                </a:lnTo>
                <a:lnTo>
                  <a:pt x="1199" y="377"/>
                </a:lnTo>
                <a:lnTo>
                  <a:pt x="1203" y="377"/>
                </a:lnTo>
                <a:lnTo>
                  <a:pt x="1205" y="376"/>
                </a:lnTo>
                <a:lnTo>
                  <a:pt x="1207" y="374"/>
                </a:lnTo>
                <a:lnTo>
                  <a:pt x="1207" y="374"/>
                </a:lnTo>
                <a:lnTo>
                  <a:pt x="1203" y="381"/>
                </a:lnTo>
                <a:lnTo>
                  <a:pt x="1199" y="389"/>
                </a:lnTo>
                <a:lnTo>
                  <a:pt x="1198" y="396"/>
                </a:lnTo>
                <a:lnTo>
                  <a:pt x="1196" y="404"/>
                </a:lnTo>
                <a:lnTo>
                  <a:pt x="1192" y="412"/>
                </a:lnTo>
                <a:lnTo>
                  <a:pt x="1190" y="421"/>
                </a:lnTo>
                <a:lnTo>
                  <a:pt x="1188" y="429"/>
                </a:lnTo>
                <a:lnTo>
                  <a:pt x="1186" y="438"/>
                </a:lnTo>
                <a:lnTo>
                  <a:pt x="1182" y="446"/>
                </a:lnTo>
                <a:lnTo>
                  <a:pt x="1180" y="456"/>
                </a:lnTo>
                <a:lnTo>
                  <a:pt x="1178" y="463"/>
                </a:lnTo>
                <a:lnTo>
                  <a:pt x="1175" y="473"/>
                </a:lnTo>
                <a:lnTo>
                  <a:pt x="1171" y="480"/>
                </a:lnTo>
                <a:lnTo>
                  <a:pt x="1167" y="488"/>
                </a:lnTo>
                <a:lnTo>
                  <a:pt x="1163" y="498"/>
                </a:lnTo>
                <a:lnTo>
                  <a:pt x="1158" y="505"/>
                </a:lnTo>
                <a:lnTo>
                  <a:pt x="1158" y="505"/>
                </a:lnTo>
                <a:lnTo>
                  <a:pt x="1154" y="509"/>
                </a:lnTo>
                <a:lnTo>
                  <a:pt x="1148" y="515"/>
                </a:lnTo>
                <a:lnTo>
                  <a:pt x="1142" y="519"/>
                </a:lnTo>
                <a:lnTo>
                  <a:pt x="1137" y="522"/>
                </a:lnTo>
                <a:lnTo>
                  <a:pt x="1131" y="526"/>
                </a:lnTo>
                <a:lnTo>
                  <a:pt x="1123" y="530"/>
                </a:lnTo>
                <a:lnTo>
                  <a:pt x="1117" y="534"/>
                </a:lnTo>
                <a:lnTo>
                  <a:pt x="1114" y="536"/>
                </a:lnTo>
                <a:lnTo>
                  <a:pt x="1114" y="536"/>
                </a:lnTo>
                <a:lnTo>
                  <a:pt x="1108" y="541"/>
                </a:lnTo>
                <a:lnTo>
                  <a:pt x="1104" y="545"/>
                </a:lnTo>
                <a:lnTo>
                  <a:pt x="1100" y="549"/>
                </a:lnTo>
                <a:lnTo>
                  <a:pt x="1098" y="553"/>
                </a:lnTo>
                <a:lnTo>
                  <a:pt x="1096" y="557"/>
                </a:lnTo>
                <a:lnTo>
                  <a:pt x="1093" y="561"/>
                </a:lnTo>
                <a:lnTo>
                  <a:pt x="1089" y="564"/>
                </a:lnTo>
                <a:lnTo>
                  <a:pt x="1083" y="568"/>
                </a:lnTo>
                <a:lnTo>
                  <a:pt x="1083" y="568"/>
                </a:lnTo>
                <a:lnTo>
                  <a:pt x="1081" y="568"/>
                </a:lnTo>
                <a:lnTo>
                  <a:pt x="1077" y="572"/>
                </a:lnTo>
                <a:lnTo>
                  <a:pt x="1074" y="576"/>
                </a:lnTo>
                <a:lnTo>
                  <a:pt x="1070" y="582"/>
                </a:lnTo>
                <a:lnTo>
                  <a:pt x="1066" y="585"/>
                </a:lnTo>
                <a:lnTo>
                  <a:pt x="1062" y="591"/>
                </a:lnTo>
                <a:lnTo>
                  <a:pt x="1060" y="595"/>
                </a:lnTo>
                <a:lnTo>
                  <a:pt x="1056" y="599"/>
                </a:lnTo>
                <a:lnTo>
                  <a:pt x="1056" y="599"/>
                </a:lnTo>
                <a:lnTo>
                  <a:pt x="1054" y="604"/>
                </a:lnTo>
                <a:lnTo>
                  <a:pt x="1051" y="610"/>
                </a:lnTo>
                <a:lnTo>
                  <a:pt x="1049" y="614"/>
                </a:lnTo>
                <a:lnTo>
                  <a:pt x="1045" y="618"/>
                </a:lnTo>
                <a:lnTo>
                  <a:pt x="1041" y="622"/>
                </a:lnTo>
                <a:lnTo>
                  <a:pt x="1037" y="624"/>
                </a:lnTo>
                <a:lnTo>
                  <a:pt x="1034" y="627"/>
                </a:lnTo>
                <a:lnTo>
                  <a:pt x="1030" y="631"/>
                </a:lnTo>
                <a:lnTo>
                  <a:pt x="1030" y="631"/>
                </a:lnTo>
                <a:lnTo>
                  <a:pt x="1022" y="639"/>
                </a:lnTo>
                <a:lnTo>
                  <a:pt x="1016" y="646"/>
                </a:lnTo>
                <a:lnTo>
                  <a:pt x="1011" y="654"/>
                </a:lnTo>
                <a:lnTo>
                  <a:pt x="1005" y="662"/>
                </a:lnTo>
                <a:lnTo>
                  <a:pt x="999" y="669"/>
                </a:lnTo>
                <a:lnTo>
                  <a:pt x="993" y="677"/>
                </a:lnTo>
                <a:lnTo>
                  <a:pt x="988" y="685"/>
                </a:lnTo>
                <a:lnTo>
                  <a:pt x="984" y="692"/>
                </a:lnTo>
                <a:lnTo>
                  <a:pt x="978" y="698"/>
                </a:lnTo>
                <a:lnTo>
                  <a:pt x="972" y="706"/>
                </a:lnTo>
                <a:lnTo>
                  <a:pt x="967" y="711"/>
                </a:lnTo>
                <a:lnTo>
                  <a:pt x="961" y="717"/>
                </a:lnTo>
                <a:lnTo>
                  <a:pt x="955" y="723"/>
                </a:lnTo>
                <a:lnTo>
                  <a:pt x="948" y="728"/>
                </a:lnTo>
                <a:lnTo>
                  <a:pt x="940" y="734"/>
                </a:lnTo>
                <a:lnTo>
                  <a:pt x="932" y="738"/>
                </a:lnTo>
                <a:lnTo>
                  <a:pt x="932" y="738"/>
                </a:lnTo>
                <a:lnTo>
                  <a:pt x="925" y="746"/>
                </a:lnTo>
                <a:lnTo>
                  <a:pt x="919" y="751"/>
                </a:lnTo>
                <a:lnTo>
                  <a:pt x="913" y="757"/>
                </a:lnTo>
                <a:lnTo>
                  <a:pt x="908" y="763"/>
                </a:lnTo>
                <a:lnTo>
                  <a:pt x="900" y="769"/>
                </a:lnTo>
                <a:lnTo>
                  <a:pt x="894" y="774"/>
                </a:lnTo>
                <a:lnTo>
                  <a:pt x="889" y="778"/>
                </a:lnTo>
                <a:lnTo>
                  <a:pt x="883" y="784"/>
                </a:lnTo>
                <a:lnTo>
                  <a:pt x="877" y="788"/>
                </a:lnTo>
                <a:lnTo>
                  <a:pt x="869" y="793"/>
                </a:lnTo>
                <a:lnTo>
                  <a:pt x="864" y="797"/>
                </a:lnTo>
                <a:lnTo>
                  <a:pt x="858" y="803"/>
                </a:lnTo>
                <a:lnTo>
                  <a:pt x="850" y="807"/>
                </a:lnTo>
                <a:lnTo>
                  <a:pt x="845" y="812"/>
                </a:lnTo>
                <a:lnTo>
                  <a:pt x="837" y="816"/>
                </a:lnTo>
                <a:lnTo>
                  <a:pt x="829" y="822"/>
                </a:lnTo>
                <a:lnTo>
                  <a:pt x="829" y="822"/>
                </a:lnTo>
                <a:lnTo>
                  <a:pt x="822" y="828"/>
                </a:lnTo>
                <a:lnTo>
                  <a:pt x="812" y="833"/>
                </a:lnTo>
                <a:lnTo>
                  <a:pt x="805" y="839"/>
                </a:lnTo>
                <a:lnTo>
                  <a:pt x="799" y="845"/>
                </a:lnTo>
                <a:lnTo>
                  <a:pt x="791" y="852"/>
                </a:lnTo>
                <a:lnTo>
                  <a:pt x="784" y="858"/>
                </a:lnTo>
                <a:lnTo>
                  <a:pt x="776" y="864"/>
                </a:lnTo>
                <a:lnTo>
                  <a:pt x="768" y="870"/>
                </a:lnTo>
                <a:lnTo>
                  <a:pt x="761" y="875"/>
                </a:lnTo>
                <a:lnTo>
                  <a:pt x="753" y="879"/>
                </a:lnTo>
                <a:lnTo>
                  <a:pt x="745" y="885"/>
                </a:lnTo>
                <a:lnTo>
                  <a:pt x="736" y="889"/>
                </a:lnTo>
                <a:lnTo>
                  <a:pt x="726" y="891"/>
                </a:lnTo>
                <a:lnTo>
                  <a:pt x="715" y="893"/>
                </a:lnTo>
                <a:lnTo>
                  <a:pt x="704" y="894"/>
                </a:lnTo>
                <a:lnTo>
                  <a:pt x="692" y="894"/>
                </a:lnTo>
                <a:lnTo>
                  <a:pt x="692" y="894"/>
                </a:lnTo>
                <a:lnTo>
                  <a:pt x="686" y="894"/>
                </a:lnTo>
                <a:lnTo>
                  <a:pt x="681" y="894"/>
                </a:lnTo>
                <a:lnTo>
                  <a:pt x="677" y="894"/>
                </a:lnTo>
                <a:lnTo>
                  <a:pt x="671" y="894"/>
                </a:lnTo>
                <a:lnTo>
                  <a:pt x="667" y="894"/>
                </a:lnTo>
                <a:lnTo>
                  <a:pt x="662" y="894"/>
                </a:lnTo>
                <a:lnTo>
                  <a:pt x="660" y="894"/>
                </a:lnTo>
                <a:lnTo>
                  <a:pt x="656" y="894"/>
                </a:lnTo>
                <a:lnTo>
                  <a:pt x="656" y="894"/>
                </a:lnTo>
                <a:lnTo>
                  <a:pt x="650" y="894"/>
                </a:lnTo>
                <a:lnTo>
                  <a:pt x="644" y="896"/>
                </a:lnTo>
                <a:lnTo>
                  <a:pt x="639" y="898"/>
                </a:lnTo>
                <a:lnTo>
                  <a:pt x="633" y="900"/>
                </a:lnTo>
                <a:lnTo>
                  <a:pt x="627" y="902"/>
                </a:lnTo>
                <a:lnTo>
                  <a:pt x="621" y="904"/>
                </a:lnTo>
                <a:lnTo>
                  <a:pt x="618" y="908"/>
                </a:lnTo>
                <a:lnTo>
                  <a:pt x="612" y="910"/>
                </a:lnTo>
                <a:lnTo>
                  <a:pt x="606" y="913"/>
                </a:lnTo>
                <a:lnTo>
                  <a:pt x="601" y="917"/>
                </a:lnTo>
                <a:lnTo>
                  <a:pt x="595" y="919"/>
                </a:lnTo>
                <a:lnTo>
                  <a:pt x="589" y="921"/>
                </a:lnTo>
                <a:lnTo>
                  <a:pt x="583" y="923"/>
                </a:lnTo>
                <a:lnTo>
                  <a:pt x="578" y="925"/>
                </a:lnTo>
                <a:lnTo>
                  <a:pt x="572" y="927"/>
                </a:lnTo>
                <a:lnTo>
                  <a:pt x="566" y="927"/>
                </a:lnTo>
                <a:lnTo>
                  <a:pt x="497" y="910"/>
                </a:lnTo>
                <a:lnTo>
                  <a:pt x="497" y="910"/>
                </a:lnTo>
                <a:lnTo>
                  <a:pt x="492" y="912"/>
                </a:lnTo>
                <a:lnTo>
                  <a:pt x="488" y="912"/>
                </a:lnTo>
                <a:lnTo>
                  <a:pt x="484" y="912"/>
                </a:lnTo>
                <a:lnTo>
                  <a:pt x="480" y="913"/>
                </a:lnTo>
                <a:lnTo>
                  <a:pt x="477" y="913"/>
                </a:lnTo>
                <a:lnTo>
                  <a:pt x="471" y="913"/>
                </a:lnTo>
                <a:lnTo>
                  <a:pt x="467" y="913"/>
                </a:lnTo>
                <a:lnTo>
                  <a:pt x="463" y="915"/>
                </a:lnTo>
                <a:lnTo>
                  <a:pt x="459" y="915"/>
                </a:lnTo>
                <a:lnTo>
                  <a:pt x="456" y="915"/>
                </a:lnTo>
                <a:lnTo>
                  <a:pt x="452" y="915"/>
                </a:lnTo>
                <a:lnTo>
                  <a:pt x="446" y="915"/>
                </a:lnTo>
                <a:lnTo>
                  <a:pt x="442" y="915"/>
                </a:lnTo>
                <a:lnTo>
                  <a:pt x="436" y="915"/>
                </a:lnTo>
                <a:lnTo>
                  <a:pt x="433" y="915"/>
                </a:lnTo>
                <a:lnTo>
                  <a:pt x="427" y="915"/>
                </a:lnTo>
                <a:lnTo>
                  <a:pt x="427" y="915"/>
                </a:lnTo>
                <a:lnTo>
                  <a:pt x="415" y="915"/>
                </a:lnTo>
                <a:lnTo>
                  <a:pt x="408" y="917"/>
                </a:lnTo>
                <a:lnTo>
                  <a:pt x="400" y="921"/>
                </a:lnTo>
                <a:lnTo>
                  <a:pt x="394" y="923"/>
                </a:lnTo>
                <a:lnTo>
                  <a:pt x="389" y="927"/>
                </a:lnTo>
                <a:lnTo>
                  <a:pt x="383" y="931"/>
                </a:lnTo>
                <a:lnTo>
                  <a:pt x="377" y="934"/>
                </a:lnTo>
                <a:lnTo>
                  <a:pt x="372" y="938"/>
                </a:lnTo>
                <a:lnTo>
                  <a:pt x="372" y="938"/>
                </a:lnTo>
                <a:lnTo>
                  <a:pt x="372" y="938"/>
                </a:lnTo>
                <a:lnTo>
                  <a:pt x="368" y="938"/>
                </a:lnTo>
                <a:lnTo>
                  <a:pt x="364" y="940"/>
                </a:lnTo>
                <a:lnTo>
                  <a:pt x="360" y="940"/>
                </a:lnTo>
                <a:lnTo>
                  <a:pt x="356" y="940"/>
                </a:lnTo>
                <a:lnTo>
                  <a:pt x="351" y="940"/>
                </a:lnTo>
                <a:lnTo>
                  <a:pt x="349" y="940"/>
                </a:lnTo>
                <a:lnTo>
                  <a:pt x="343" y="940"/>
                </a:lnTo>
                <a:lnTo>
                  <a:pt x="339" y="940"/>
                </a:lnTo>
                <a:lnTo>
                  <a:pt x="335" y="940"/>
                </a:lnTo>
                <a:lnTo>
                  <a:pt x="332" y="940"/>
                </a:lnTo>
                <a:lnTo>
                  <a:pt x="328" y="940"/>
                </a:lnTo>
                <a:lnTo>
                  <a:pt x="324" y="940"/>
                </a:lnTo>
                <a:lnTo>
                  <a:pt x="318" y="940"/>
                </a:lnTo>
                <a:lnTo>
                  <a:pt x="314" y="940"/>
                </a:lnTo>
                <a:lnTo>
                  <a:pt x="311" y="940"/>
                </a:lnTo>
                <a:lnTo>
                  <a:pt x="307" y="940"/>
                </a:lnTo>
                <a:lnTo>
                  <a:pt x="307" y="940"/>
                </a:lnTo>
                <a:lnTo>
                  <a:pt x="303" y="940"/>
                </a:lnTo>
                <a:lnTo>
                  <a:pt x="299" y="940"/>
                </a:lnTo>
                <a:lnTo>
                  <a:pt x="293" y="942"/>
                </a:lnTo>
                <a:lnTo>
                  <a:pt x="290" y="944"/>
                </a:lnTo>
                <a:lnTo>
                  <a:pt x="286" y="946"/>
                </a:lnTo>
                <a:lnTo>
                  <a:pt x="280" y="950"/>
                </a:lnTo>
                <a:lnTo>
                  <a:pt x="276" y="952"/>
                </a:lnTo>
                <a:lnTo>
                  <a:pt x="270" y="954"/>
                </a:lnTo>
                <a:lnTo>
                  <a:pt x="267" y="957"/>
                </a:lnTo>
                <a:lnTo>
                  <a:pt x="261" y="959"/>
                </a:lnTo>
                <a:lnTo>
                  <a:pt x="255" y="963"/>
                </a:lnTo>
                <a:lnTo>
                  <a:pt x="251" y="965"/>
                </a:lnTo>
                <a:lnTo>
                  <a:pt x="246" y="967"/>
                </a:lnTo>
                <a:lnTo>
                  <a:pt x="240" y="969"/>
                </a:lnTo>
                <a:lnTo>
                  <a:pt x="234" y="969"/>
                </a:lnTo>
                <a:lnTo>
                  <a:pt x="230" y="969"/>
                </a:lnTo>
                <a:lnTo>
                  <a:pt x="230" y="969"/>
                </a:lnTo>
                <a:lnTo>
                  <a:pt x="223" y="969"/>
                </a:lnTo>
                <a:lnTo>
                  <a:pt x="217" y="967"/>
                </a:lnTo>
                <a:lnTo>
                  <a:pt x="211" y="967"/>
                </a:lnTo>
                <a:lnTo>
                  <a:pt x="208" y="963"/>
                </a:lnTo>
                <a:lnTo>
                  <a:pt x="204" y="961"/>
                </a:lnTo>
                <a:lnTo>
                  <a:pt x="200" y="957"/>
                </a:lnTo>
                <a:lnTo>
                  <a:pt x="196" y="954"/>
                </a:lnTo>
                <a:lnTo>
                  <a:pt x="192" y="950"/>
                </a:lnTo>
                <a:lnTo>
                  <a:pt x="188" y="946"/>
                </a:lnTo>
                <a:lnTo>
                  <a:pt x="185" y="944"/>
                </a:lnTo>
                <a:lnTo>
                  <a:pt x="181" y="940"/>
                </a:lnTo>
                <a:lnTo>
                  <a:pt x="179" y="936"/>
                </a:lnTo>
                <a:lnTo>
                  <a:pt x="175" y="934"/>
                </a:lnTo>
                <a:lnTo>
                  <a:pt x="171" y="933"/>
                </a:lnTo>
                <a:lnTo>
                  <a:pt x="166" y="933"/>
                </a:lnTo>
                <a:lnTo>
                  <a:pt x="162" y="931"/>
                </a:lnTo>
                <a:lnTo>
                  <a:pt x="162" y="931"/>
                </a:lnTo>
                <a:lnTo>
                  <a:pt x="158" y="931"/>
                </a:lnTo>
                <a:lnTo>
                  <a:pt x="154" y="929"/>
                </a:lnTo>
                <a:lnTo>
                  <a:pt x="152" y="925"/>
                </a:lnTo>
                <a:lnTo>
                  <a:pt x="148" y="923"/>
                </a:lnTo>
                <a:lnTo>
                  <a:pt x="147" y="919"/>
                </a:lnTo>
                <a:lnTo>
                  <a:pt x="145" y="915"/>
                </a:lnTo>
                <a:lnTo>
                  <a:pt x="141" y="913"/>
                </a:lnTo>
                <a:lnTo>
                  <a:pt x="137" y="913"/>
                </a:lnTo>
                <a:lnTo>
                  <a:pt x="137" y="913"/>
                </a:lnTo>
                <a:lnTo>
                  <a:pt x="135" y="913"/>
                </a:lnTo>
                <a:lnTo>
                  <a:pt x="131" y="915"/>
                </a:lnTo>
                <a:lnTo>
                  <a:pt x="129" y="917"/>
                </a:lnTo>
                <a:lnTo>
                  <a:pt x="127" y="919"/>
                </a:lnTo>
                <a:lnTo>
                  <a:pt x="126" y="921"/>
                </a:lnTo>
                <a:lnTo>
                  <a:pt x="124" y="925"/>
                </a:lnTo>
                <a:lnTo>
                  <a:pt x="122" y="927"/>
                </a:lnTo>
                <a:lnTo>
                  <a:pt x="120" y="929"/>
                </a:lnTo>
                <a:lnTo>
                  <a:pt x="120" y="908"/>
                </a:lnTo>
                <a:lnTo>
                  <a:pt x="120" y="908"/>
                </a:lnTo>
                <a:lnTo>
                  <a:pt x="122" y="906"/>
                </a:lnTo>
                <a:lnTo>
                  <a:pt x="122" y="902"/>
                </a:lnTo>
                <a:lnTo>
                  <a:pt x="124" y="900"/>
                </a:lnTo>
                <a:lnTo>
                  <a:pt x="126" y="896"/>
                </a:lnTo>
                <a:lnTo>
                  <a:pt x="127" y="894"/>
                </a:lnTo>
                <a:lnTo>
                  <a:pt x="127" y="891"/>
                </a:lnTo>
                <a:lnTo>
                  <a:pt x="129" y="889"/>
                </a:lnTo>
                <a:lnTo>
                  <a:pt x="129" y="887"/>
                </a:lnTo>
                <a:lnTo>
                  <a:pt x="129" y="887"/>
                </a:lnTo>
                <a:lnTo>
                  <a:pt x="127" y="877"/>
                </a:lnTo>
                <a:lnTo>
                  <a:pt x="124" y="870"/>
                </a:lnTo>
                <a:lnTo>
                  <a:pt x="118" y="864"/>
                </a:lnTo>
                <a:lnTo>
                  <a:pt x="112" y="856"/>
                </a:lnTo>
                <a:lnTo>
                  <a:pt x="105" y="851"/>
                </a:lnTo>
                <a:lnTo>
                  <a:pt x="99" y="845"/>
                </a:lnTo>
                <a:lnTo>
                  <a:pt x="95" y="837"/>
                </a:lnTo>
                <a:lnTo>
                  <a:pt x="93" y="828"/>
                </a:lnTo>
                <a:lnTo>
                  <a:pt x="93" y="828"/>
                </a:lnTo>
                <a:lnTo>
                  <a:pt x="95" y="822"/>
                </a:lnTo>
                <a:lnTo>
                  <a:pt x="97" y="816"/>
                </a:lnTo>
                <a:lnTo>
                  <a:pt x="103" y="812"/>
                </a:lnTo>
                <a:lnTo>
                  <a:pt x="106" y="807"/>
                </a:lnTo>
                <a:lnTo>
                  <a:pt x="112" y="801"/>
                </a:lnTo>
                <a:lnTo>
                  <a:pt x="116" y="795"/>
                </a:lnTo>
                <a:lnTo>
                  <a:pt x="118" y="788"/>
                </a:lnTo>
                <a:lnTo>
                  <a:pt x="120" y="780"/>
                </a:lnTo>
                <a:lnTo>
                  <a:pt x="120" y="780"/>
                </a:lnTo>
                <a:lnTo>
                  <a:pt x="120" y="772"/>
                </a:lnTo>
                <a:lnTo>
                  <a:pt x="120" y="763"/>
                </a:lnTo>
                <a:lnTo>
                  <a:pt x="120" y="755"/>
                </a:lnTo>
                <a:lnTo>
                  <a:pt x="118" y="746"/>
                </a:lnTo>
                <a:lnTo>
                  <a:pt x="116" y="738"/>
                </a:lnTo>
                <a:lnTo>
                  <a:pt x="114" y="730"/>
                </a:lnTo>
                <a:lnTo>
                  <a:pt x="110" y="723"/>
                </a:lnTo>
                <a:lnTo>
                  <a:pt x="106" y="715"/>
                </a:lnTo>
                <a:lnTo>
                  <a:pt x="106" y="715"/>
                </a:lnTo>
                <a:lnTo>
                  <a:pt x="101" y="709"/>
                </a:lnTo>
                <a:lnTo>
                  <a:pt x="95" y="704"/>
                </a:lnTo>
                <a:lnTo>
                  <a:pt x="91" y="698"/>
                </a:lnTo>
                <a:lnTo>
                  <a:pt x="85" y="692"/>
                </a:lnTo>
                <a:lnTo>
                  <a:pt x="80" y="686"/>
                </a:lnTo>
                <a:lnTo>
                  <a:pt x="74" y="679"/>
                </a:lnTo>
                <a:lnTo>
                  <a:pt x="68" y="673"/>
                </a:lnTo>
                <a:lnTo>
                  <a:pt x="63" y="665"/>
                </a:lnTo>
                <a:lnTo>
                  <a:pt x="59" y="660"/>
                </a:lnTo>
                <a:lnTo>
                  <a:pt x="53" y="652"/>
                </a:lnTo>
                <a:lnTo>
                  <a:pt x="49" y="645"/>
                </a:lnTo>
                <a:lnTo>
                  <a:pt x="45" y="637"/>
                </a:lnTo>
                <a:lnTo>
                  <a:pt x="42" y="629"/>
                </a:lnTo>
                <a:lnTo>
                  <a:pt x="38" y="620"/>
                </a:lnTo>
                <a:lnTo>
                  <a:pt x="36" y="612"/>
                </a:lnTo>
                <a:lnTo>
                  <a:pt x="34" y="604"/>
                </a:lnTo>
                <a:lnTo>
                  <a:pt x="34" y="604"/>
                </a:lnTo>
                <a:lnTo>
                  <a:pt x="32" y="591"/>
                </a:lnTo>
                <a:lnTo>
                  <a:pt x="28" y="582"/>
                </a:lnTo>
                <a:lnTo>
                  <a:pt x="26" y="572"/>
                </a:lnTo>
                <a:lnTo>
                  <a:pt x="24" y="562"/>
                </a:lnTo>
                <a:lnTo>
                  <a:pt x="23" y="555"/>
                </a:lnTo>
                <a:lnTo>
                  <a:pt x="19" y="549"/>
                </a:lnTo>
                <a:lnTo>
                  <a:pt x="17" y="543"/>
                </a:lnTo>
                <a:lnTo>
                  <a:pt x="13" y="538"/>
                </a:lnTo>
                <a:lnTo>
                  <a:pt x="11" y="532"/>
                </a:lnTo>
                <a:lnTo>
                  <a:pt x="9" y="528"/>
                </a:lnTo>
                <a:lnTo>
                  <a:pt x="7" y="522"/>
                </a:lnTo>
                <a:lnTo>
                  <a:pt x="5" y="519"/>
                </a:lnTo>
                <a:lnTo>
                  <a:pt x="3" y="513"/>
                </a:lnTo>
                <a:lnTo>
                  <a:pt x="2" y="509"/>
                </a:lnTo>
                <a:lnTo>
                  <a:pt x="0" y="503"/>
                </a:lnTo>
                <a:lnTo>
                  <a:pt x="0" y="496"/>
                </a:lnTo>
                <a:lnTo>
                  <a:pt x="0" y="496"/>
                </a:lnTo>
                <a:lnTo>
                  <a:pt x="5" y="492"/>
                </a:lnTo>
                <a:lnTo>
                  <a:pt x="9" y="486"/>
                </a:lnTo>
                <a:lnTo>
                  <a:pt x="13" y="479"/>
                </a:lnTo>
                <a:lnTo>
                  <a:pt x="15" y="471"/>
                </a:lnTo>
                <a:lnTo>
                  <a:pt x="17" y="463"/>
                </a:lnTo>
                <a:lnTo>
                  <a:pt x="21" y="458"/>
                </a:lnTo>
                <a:lnTo>
                  <a:pt x="26" y="454"/>
                </a:lnTo>
                <a:lnTo>
                  <a:pt x="34" y="452"/>
                </a:lnTo>
                <a:lnTo>
                  <a:pt x="34" y="452"/>
                </a:lnTo>
                <a:lnTo>
                  <a:pt x="44" y="454"/>
                </a:lnTo>
                <a:lnTo>
                  <a:pt x="51" y="459"/>
                </a:lnTo>
                <a:lnTo>
                  <a:pt x="57" y="465"/>
                </a:lnTo>
                <a:lnTo>
                  <a:pt x="61" y="473"/>
                </a:lnTo>
                <a:lnTo>
                  <a:pt x="64" y="480"/>
                </a:lnTo>
                <a:lnTo>
                  <a:pt x="68" y="490"/>
                </a:lnTo>
                <a:lnTo>
                  <a:pt x="72" y="498"/>
                </a:lnTo>
                <a:lnTo>
                  <a:pt x="76" y="503"/>
                </a:lnTo>
                <a:lnTo>
                  <a:pt x="76" y="503"/>
                </a:lnTo>
                <a:lnTo>
                  <a:pt x="80" y="505"/>
                </a:lnTo>
                <a:lnTo>
                  <a:pt x="84" y="509"/>
                </a:lnTo>
                <a:lnTo>
                  <a:pt x="89" y="511"/>
                </a:lnTo>
                <a:lnTo>
                  <a:pt x="95" y="513"/>
                </a:lnTo>
                <a:lnTo>
                  <a:pt x="103" y="515"/>
                </a:lnTo>
                <a:lnTo>
                  <a:pt x="108" y="515"/>
                </a:lnTo>
                <a:lnTo>
                  <a:pt x="116" y="517"/>
                </a:lnTo>
                <a:lnTo>
                  <a:pt x="124" y="517"/>
                </a:lnTo>
                <a:lnTo>
                  <a:pt x="131" y="519"/>
                </a:lnTo>
                <a:lnTo>
                  <a:pt x="139" y="519"/>
                </a:lnTo>
                <a:lnTo>
                  <a:pt x="147" y="519"/>
                </a:lnTo>
                <a:lnTo>
                  <a:pt x="154" y="521"/>
                </a:lnTo>
                <a:lnTo>
                  <a:pt x="162" y="521"/>
                </a:lnTo>
                <a:lnTo>
                  <a:pt x="167" y="521"/>
                </a:lnTo>
                <a:lnTo>
                  <a:pt x="173" y="521"/>
                </a:lnTo>
                <a:lnTo>
                  <a:pt x="179" y="521"/>
                </a:lnTo>
                <a:lnTo>
                  <a:pt x="179" y="521"/>
                </a:lnTo>
                <a:lnTo>
                  <a:pt x="185" y="521"/>
                </a:lnTo>
                <a:lnTo>
                  <a:pt x="188" y="519"/>
                </a:lnTo>
                <a:lnTo>
                  <a:pt x="194" y="517"/>
                </a:lnTo>
                <a:lnTo>
                  <a:pt x="198" y="515"/>
                </a:lnTo>
                <a:lnTo>
                  <a:pt x="202" y="511"/>
                </a:lnTo>
                <a:lnTo>
                  <a:pt x="208" y="509"/>
                </a:lnTo>
                <a:lnTo>
                  <a:pt x="211" y="505"/>
                </a:lnTo>
                <a:lnTo>
                  <a:pt x="215" y="501"/>
                </a:lnTo>
                <a:lnTo>
                  <a:pt x="219" y="500"/>
                </a:lnTo>
                <a:lnTo>
                  <a:pt x="225" y="496"/>
                </a:lnTo>
                <a:lnTo>
                  <a:pt x="229" y="492"/>
                </a:lnTo>
                <a:lnTo>
                  <a:pt x="232" y="490"/>
                </a:lnTo>
                <a:lnTo>
                  <a:pt x="238" y="488"/>
                </a:lnTo>
                <a:lnTo>
                  <a:pt x="244" y="486"/>
                </a:lnTo>
                <a:lnTo>
                  <a:pt x="250" y="484"/>
                </a:lnTo>
                <a:lnTo>
                  <a:pt x="255" y="484"/>
                </a:lnTo>
                <a:lnTo>
                  <a:pt x="255" y="482"/>
                </a:lnTo>
                <a:lnTo>
                  <a:pt x="253" y="213"/>
                </a:lnTo>
                <a:lnTo>
                  <a:pt x="265" y="217"/>
                </a:lnTo>
                <a:lnTo>
                  <a:pt x="265" y="217"/>
                </a:lnTo>
                <a:lnTo>
                  <a:pt x="269" y="219"/>
                </a:lnTo>
                <a:lnTo>
                  <a:pt x="274" y="223"/>
                </a:lnTo>
                <a:lnTo>
                  <a:pt x="278" y="227"/>
                </a:lnTo>
                <a:lnTo>
                  <a:pt x="282" y="231"/>
                </a:lnTo>
                <a:lnTo>
                  <a:pt x="286" y="234"/>
                </a:lnTo>
                <a:lnTo>
                  <a:pt x="290" y="238"/>
                </a:lnTo>
                <a:lnTo>
                  <a:pt x="295" y="242"/>
                </a:lnTo>
                <a:lnTo>
                  <a:pt x="299" y="248"/>
                </a:lnTo>
                <a:lnTo>
                  <a:pt x="301" y="252"/>
                </a:lnTo>
                <a:lnTo>
                  <a:pt x="305" y="257"/>
                </a:lnTo>
                <a:lnTo>
                  <a:pt x="307" y="263"/>
                </a:lnTo>
                <a:lnTo>
                  <a:pt x="311" y="269"/>
                </a:lnTo>
                <a:lnTo>
                  <a:pt x="312" y="276"/>
                </a:lnTo>
                <a:lnTo>
                  <a:pt x="312" y="284"/>
                </a:lnTo>
                <a:lnTo>
                  <a:pt x="314" y="292"/>
                </a:lnTo>
                <a:lnTo>
                  <a:pt x="314" y="299"/>
                </a:lnTo>
                <a:lnTo>
                  <a:pt x="314" y="299"/>
                </a:lnTo>
                <a:lnTo>
                  <a:pt x="314" y="307"/>
                </a:lnTo>
                <a:lnTo>
                  <a:pt x="312" y="314"/>
                </a:lnTo>
                <a:lnTo>
                  <a:pt x="311" y="320"/>
                </a:lnTo>
                <a:lnTo>
                  <a:pt x="307" y="324"/>
                </a:lnTo>
                <a:lnTo>
                  <a:pt x="305" y="328"/>
                </a:lnTo>
                <a:lnTo>
                  <a:pt x="303" y="334"/>
                </a:lnTo>
                <a:lnTo>
                  <a:pt x="301" y="339"/>
                </a:lnTo>
                <a:lnTo>
                  <a:pt x="301" y="347"/>
                </a:lnTo>
                <a:lnTo>
                  <a:pt x="301" y="347"/>
                </a:lnTo>
                <a:lnTo>
                  <a:pt x="301" y="351"/>
                </a:lnTo>
                <a:lnTo>
                  <a:pt x="303" y="355"/>
                </a:lnTo>
                <a:lnTo>
                  <a:pt x="307" y="356"/>
                </a:lnTo>
                <a:lnTo>
                  <a:pt x="312" y="358"/>
                </a:lnTo>
                <a:lnTo>
                  <a:pt x="316" y="358"/>
                </a:lnTo>
                <a:lnTo>
                  <a:pt x="322" y="358"/>
                </a:lnTo>
                <a:lnTo>
                  <a:pt x="328" y="358"/>
                </a:lnTo>
                <a:lnTo>
                  <a:pt x="332" y="360"/>
                </a:lnTo>
                <a:lnTo>
                  <a:pt x="332" y="360"/>
                </a:lnTo>
                <a:lnTo>
                  <a:pt x="341" y="362"/>
                </a:lnTo>
                <a:lnTo>
                  <a:pt x="351" y="364"/>
                </a:lnTo>
                <a:lnTo>
                  <a:pt x="360" y="364"/>
                </a:lnTo>
                <a:lnTo>
                  <a:pt x="370" y="362"/>
                </a:lnTo>
                <a:lnTo>
                  <a:pt x="377" y="360"/>
                </a:lnTo>
                <a:lnTo>
                  <a:pt x="387" y="356"/>
                </a:lnTo>
                <a:lnTo>
                  <a:pt x="394" y="353"/>
                </a:lnTo>
                <a:lnTo>
                  <a:pt x="404" y="349"/>
                </a:lnTo>
                <a:lnTo>
                  <a:pt x="412" y="343"/>
                </a:lnTo>
                <a:lnTo>
                  <a:pt x="419" y="337"/>
                </a:lnTo>
                <a:lnTo>
                  <a:pt x="425" y="332"/>
                </a:lnTo>
                <a:lnTo>
                  <a:pt x="433" y="326"/>
                </a:lnTo>
                <a:lnTo>
                  <a:pt x="438" y="320"/>
                </a:lnTo>
                <a:lnTo>
                  <a:pt x="444" y="314"/>
                </a:lnTo>
                <a:lnTo>
                  <a:pt x="450" y="309"/>
                </a:lnTo>
                <a:lnTo>
                  <a:pt x="454" y="305"/>
                </a:lnTo>
                <a:lnTo>
                  <a:pt x="454" y="305"/>
                </a:lnTo>
                <a:lnTo>
                  <a:pt x="459" y="297"/>
                </a:lnTo>
                <a:lnTo>
                  <a:pt x="463" y="288"/>
                </a:lnTo>
                <a:lnTo>
                  <a:pt x="465" y="280"/>
                </a:lnTo>
                <a:lnTo>
                  <a:pt x="469" y="271"/>
                </a:lnTo>
                <a:lnTo>
                  <a:pt x="473" y="261"/>
                </a:lnTo>
                <a:lnTo>
                  <a:pt x="477" y="255"/>
                </a:lnTo>
                <a:lnTo>
                  <a:pt x="486" y="250"/>
                </a:lnTo>
                <a:lnTo>
                  <a:pt x="497" y="248"/>
                </a:lnTo>
                <a:lnTo>
                  <a:pt x="497" y="248"/>
                </a:lnTo>
                <a:lnTo>
                  <a:pt x="507" y="250"/>
                </a:lnTo>
                <a:lnTo>
                  <a:pt x="515" y="252"/>
                </a:lnTo>
                <a:lnTo>
                  <a:pt x="520" y="255"/>
                </a:lnTo>
                <a:lnTo>
                  <a:pt x="528" y="261"/>
                </a:lnTo>
                <a:lnTo>
                  <a:pt x="534" y="265"/>
                </a:lnTo>
                <a:lnTo>
                  <a:pt x="539" y="271"/>
                </a:lnTo>
                <a:lnTo>
                  <a:pt x="545" y="274"/>
                </a:lnTo>
                <a:lnTo>
                  <a:pt x="551" y="278"/>
                </a:lnTo>
                <a:lnTo>
                  <a:pt x="551" y="278"/>
                </a:lnTo>
                <a:lnTo>
                  <a:pt x="560" y="278"/>
                </a:lnTo>
                <a:lnTo>
                  <a:pt x="570" y="278"/>
                </a:lnTo>
                <a:lnTo>
                  <a:pt x="578" y="278"/>
                </a:lnTo>
                <a:lnTo>
                  <a:pt x="585" y="278"/>
                </a:lnTo>
                <a:lnTo>
                  <a:pt x="593" y="278"/>
                </a:lnTo>
                <a:lnTo>
                  <a:pt x="599" y="278"/>
                </a:lnTo>
                <a:lnTo>
                  <a:pt x="604" y="278"/>
                </a:lnTo>
                <a:lnTo>
                  <a:pt x="608" y="278"/>
                </a:lnTo>
                <a:lnTo>
                  <a:pt x="614" y="278"/>
                </a:lnTo>
                <a:lnTo>
                  <a:pt x="618" y="278"/>
                </a:lnTo>
                <a:lnTo>
                  <a:pt x="621" y="278"/>
                </a:lnTo>
                <a:lnTo>
                  <a:pt x="627" y="278"/>
                </a:lnTo>
                <a:lnTo>
                  <a:pt x="631" y="278"/>
                </a:lnTo>
                <a:lnTo>
                  <a:pt x="635" y="278"/>
                </a:lnTo>
                <a:lnTo>
                  <a:pt x="641" y="278"/>
                </a:lnTo>
                <a:lnTo>
                  <a:pt x="644" y="278"/>
                </a:lnTo>
                <a:lnTo>
                  <a:pt x="644" y="278"/>
                </a:lnTo>
                <a:lnTo>
                  <a:pt x="652" y="278"/>
                </a:lnTo>
                <a:lnTo>
                  <a:pt x="660" y="276"/>
                </a:lnTo>
                <a:lnTo>
                  <a:pt x="665" y="274"/>
                </a:lnTo>
                <a:lnTo>
                  <a:pt x="671" y="272"/>
                </a:lnTo>
                <a:lnTo>
                  <a:pt x="675" y="271"/>
                </a:lnTo>
                <a:lnTo>
                  <a:pt x="679" y="267"/>
                </a:lnTo>
                <a:lnTo>
                  <a:pt x="683" y="263"/>
                </a:lnTo>
                <a:lnTo>
                  <a:pt x="684" y="259"/>
                </a:lnTo>
                <a:lnTo>
                  <a:pt x="688" y="253"/>
                </a:lnTo>
                <a:lnTo>
                  <a:pt x="690" y="248"/>
                </a:lnTo>
                <a:lnTo>
                  <a:pt x="694" y="244"/>
                </a:lnTo>
                <a:lnTo>
                  <a:pt x="696" y="236"/>
                </a:lnTo>
                <a:lnTo>
                  <a:pt x="698" y="231"/>
                </a:lnTo>
                <a:lnTo>
                  <a:pt x="700" y="225"/>
                </a:lnTo>
                <a:lnTo>
                  <a:pt x="702" y="217"/>
                </a:lnTo>
                <a:lnTo>
                  <a:pt x="704" y="210"/>
                </a:lnTo>
                <a:lnTo>
                  <a:pt x="704" y="210"/>
                </a:lnTo>
                <a:lnTo>
                  <a:pt x="707" y="206"/>
                </a:lnTo>
                <a:lnTo>
                  <a:pt x="709" y="204"/>
                </a:lnTo>
                <a:lnTo>
                  <a:pt x="715" y="202"/>
                </a:lnTo>
                <a:lnTo>
                  <a:pt x="719" y="202"/>
                </a:lnTo>
                <a:lnTo>
                  <a:pt x="724" y="202"/>
                </a:lnTo>
                <a:lnTo>
                  <a:pt x="730" y="200"/>
                </a:lnTo>
                <a:lnTo>
                  <a:pt x="734" y="200"/>
                </a:lnTo>
                <a:lnTo>
                  <a:pt x="738" y="198"/>
                </a:lnTo>
                <a:lnTo>
                  <a:pt x="738" y="198"/>
                </a:lnTo>
                <a:lnTo>
                  <a:pt x="744" y="194"/>
                </a:lnTo>
                <a:lnTo>
                  <a:pt x="749" y="190"/>
                </a:lnTo>
                <a:lnTo>
                  <a:pt x="753" y="187"/>
                </a:lnTo>
                <a:lnTo>
                  <a:pt x="757" y="183"/>
                </a:lnTo>
                <a:lnTo>
                  <a:pt x="761" y="179"/>
                </a:lnTo>
                <a:lnTo>
                  <a:pt x="765" y="175"/>
                </a:lnTo>
                <a:lnTo>
                  <a:pt x="768" y="169"/>
                </a:lnTo>
                <a:lnTo>
                  <a:pt x="770" y="166"/>
                </a:lnTo>
                <a:lnTo>
                  <a:pt x="774" y="160"/>
                </a:lnTo>
                <a:lnTo>
                  <a:pt x="776" y="156"/>
                </a:lnTo>
                <a:lnTo>
                  <a:pt x="778" y="150"/>
                </a:lnTo>
                <a:lnTo>
                  <a:pt x="782" y="147"/>
                </a:lnTo>
                <a:lnTo>
                  <a:pt x="784" y="141"/>
                </a:lnTo>
                <a:lnTo>
                  <a:pt x="786" y="137"/>
                </a:lnTo>
                <a:lnTo>
                  <a:pt x="789" y="131"/>
                </a:lnTo>
                <a:lnTo>
                  <a:pt x="793" y="128"/>
                </a:lnTo>
                <a:lnTo>
                  <a:pt x="793" y="128"/>
                </a:lnTo>
                <a:lnTo>
                  <a:pt x="797" y="122"/>
                </a:lnTo>
                <a:lnTo>
                  <a:pt x="803" y="118"/>
                </a:lnTo>
                <a:lnTo>
                  <a:pt x="808" y="116"/>
                </a:lnTo>
                <a:lnTo>
                  <a:pt x="814" y="112"/>
                </a:lnTo>
                <a:lnTo>
                  <a:pt x="818" y="108"/>
                </a:lnTo>
                <a:lnTo>
                  <a:pt x="824" y="107"/>
                </a:lnTo>
                <a:lnTo>
                  <a:pt x="827" y="103"/>
                </a:lnTo>
                <a:lnTo>
                  <a:pt x="831" y="101"/>
                </a:lnTo>
                <a:lnTo>
                  <a:pt x="831" y="101"/>
                </a:lnTo>
                <a:lnTo>
                  <a:pt x="839" y="93"/>
                </a:lnTo>
                <a:lnTo>
                  <a:pt x="845" y="86"/>
                </a:lnTo>
                <a:lnTo>
                  <a:pt x="850" y="78"/>
                </a:lnTo>
                <a:lnTo>
                  <a:pt x="856" y="68"/>
                </a:lnTo>
                <a:lnTo>
                  <a:pt x="862" y="63"/>
                </a:lnTo>
                <a:lnTo>
                  <a:pt x="868" y="55"/>
                </a:lnTo>
                <a:lnTo>
                  <a:pt x="875" y="47"/>
                </a:lnTo>
                <a:lnTo>
                  <a:pt x="885" y="42"/>
                </a:lnTo>
                <a:lnTo>
                  <a:pt x="885" y="42"/>
                </a:lnTo>
                <a:lnTo>
                  <a:pt x="889" y="40"/>
                </a:lnTo>
                <a:lnTo>
                  <a:pt x="892" y="40"/>
                </a:lnTo>
                <a:lnTo>
                  <a:pt x="896" y="40"/>
                </a:lnTo>
                <a:lnTo>
                  <a:pt x="902" y="40"/>
                </a:lnTo>
                <a:lnTo>
                  <a:pt x="908" y="40"/>
                </a:lnTo>
                <a:lnTo>
                  <a:pt x="911" y="40"/>
                </a:lnTo>
                <a:lnTo>
                  <a:pt x="917" y="40"/>
                </a:lnTo>
                <a:lnTo>
                  <a:pt x="921" y="40"/>
                </a:lnTo>
                <a:lnTo>
                  <a:pt x="921" y="40"/>
                </a:lnTo>
                <a:lnTo>
                  <a:pt x="927" y="38"/>
                </a:lnTo>
                <a:lnTo>
                  <a:pt x="932" y="34"/>
                </a:lnTo>
                <a:lnTo>
                  <a:pt x="942" y="28"/>
                </a:lnTo>
                <a:lnTo>
                  <a:pt x="951" y="23"/>
                </a:lnTo>
                <a:lnTo>
                  <a:pt x="959" y="17"/>
                </a:lnTo>
                <a:lnTo>
                  <a:pt x="969" y="11"/>
                </a:lnTo>
                <a:lnTo>
                  <a:pt x="976" y="5"/>
                </a:lnTo>
                <a:lnTo>
                  <a:pt x="982" y="0"/>
                </a:lnTo>
                <a:lnTo>
                  <a:pt x="982" y="0"/>
                </a:lnTo>
                <a:lnTo>
                  <a:pt x="988" y="2"/>
                </a:lnTo>
                <a:lnTo>
                  <a:pt x="995" y="4"/>
                </a:lnTo>
                <a:lnTo>
                  <a:pt x="1003" y="4"/>
                </a:lnTo>
                <a:lnTo>
                  <a:pt x="1011" y="5"/>
                </a:lnTo>
                <a:lnTo>
                  <a:pt x="1018" y="7"/>
                </a:lnTo>
                <a:lnTo>
                  <a:pt x="1026" y="11"/>
                </a:lnTo>
                <a:lnTo>
                  <a:pt x="1030" y="15"/>
                </a:lnTo>
                <a:lnTo>
                  <a:pt x="1035" y="21"/>
                </a:lnTo>
                <a:lnTo>
                  <a:pt x="1035" y="21"/>
                </a:lnTo>
                <a:lnTo>
                  <a:pt x="1045" y="21"/>
                </a:lnTo>
                <a:lnTo>
                  <a:pt x="1053" y="21"/>
                </a:lnTo>
                <a:lnTo>
                  <a:pt x="1060" y="21"/>
                </a:lnTo>
                <a:lnTo>
                  <a:pt x="1066" y="21"/>
                </a:lnTo>
                <a:lnTo>
                  <a:pt x="1072" y="21"/>
                </a:lnTo>
                <a:lnTo>
                  <a:pt x="1075" y="21"/>
                </a:lnTo>
                <a:lnTo>
                  <a:pt x="1081" y="21"/>
                </a:lnTo>
                <a:lnTo>
                  <a:pt x="1085" y="21"/>
                </a:lnTo>
                <a:lnTo>
                  <a:pt x="1087" y="21"/>
                </a:lnTo>
                <a:lnTo>
                  <a:pt x="1091" y="21"/>
                </a:lnTo>
                <a:lnTo>
                  <a:pt x="1095" y="21"/>
                </a:lnTo>
                <a:lnTo>
                  <a:pt x="1096" y="21"/>
                </a:lnTo>
                <a:lnTo>
                  <a:pt x="1100" y="21"/>
                </a:lnTo>
                <a:lnTo>
                  <a:pt x="1104" y="21"/>
                </a:lnTo>
                <a:lnTo>
                  <a:pt x="1108" y="21"/>
                </a:lnTo>
                <a:lnTo>
                  <a:pt x="1112" y="21"/>
                </a:lnTo>
                <a:lnTo>
                  <a:pt x="1114" y="21"/>
                </a:lnTo>
                <a:lnTo>
                  <a:pt x="1114" y="21"/>
                </a:lnTo>
                <a:lnTo>
                  <a:pt x="1114" y="28"/>
                </a:lnTo>
                <a:lnTo>
                  <a:pt x="1114" y="38"/>
                </a:lnTo>
                <a:lnTo>
                  <a:pt x="1116" y="45"/>
                </a:lnTo>
                <a:lnTo>
                  <a:pt x="1117" y="53"/>
                </a:lnTo>
                <a:lnTo>
                  <a:pt x="1119" y="63"/>
                </a:lnTo>
                <a:lnTo>
                  <a:pt x="1121" y="70"/>
                </a:lnTo>
                <a:lnTo>
                  <a:pt x="1123" y="78"/>
                </a:lnTo>
                <a:lnTo>
                  <a:pt x="1125" y="87"/>
                </a:lnTo>
                <a:lnTo>
                  <a:pt x="1125" y="99"/>
                </a:lnTo>
                <a:lnTo>
                  <a:pt x="1125" y="99"/>
                </a:lnTo>
                <a:lnTo>
                  <a:pt x="1127" y="103"/>
                </a:lnTo>
                <a:lnTo>
                  <a:pt x="1129" y="107"/>
                </a:lnTo>
                <a:lnTo>
                  <a:pt x="1131" y="112"/>
                </a:lnTo>
                <a:lnTo>
                  <a:pt x="1135" y="116"/>
                </a:lnTo>
                <a:lnTo>
                  <a:pt x="1137" y="120"/>
                </a:lnTo>
                <a:lnTo>
                  <a:pt x="1138" y="126"/>
                </a:lnTo>
                <a:lnTo>
                  <a:pt x="1140" y="129"/>
                </a:lnTo>
                <a:lnTo>
                  <a:pt x="1142" y="135"/>
                </a:lnTo>
                <a:lnTo>
                  <a:pt x="1144" y="141"/>
                </a:lnTo>
                <a:lnTo>
                  <a:pt x="1146" y="147"/>
                </a:lnTo>
                <a:lnTo>
                  <a:pt x="1148" y="152"/>
                </a:lnTo>
                <a:lnTo>
                  <a:pt x="1150" y="158"/>
                </a:lnTo>
                <a:lnTo>
                  <a:pt x="1150" y="164"/>
                </a:lnTo>
                <a:lnTo>
                  <a:pt x="1152" y="169"/>
                </a:lnTo>
                <a:lnTo>
                  <a:pt x="1152" y="175"/>
                </a:lnTo>
                <a:lnTo>
                  <a:pt x="1152" y="181"/>
                </a:lnTo>
                <a:lnTo>
                  <a:pt x="1152" y="181"/>
                </a:lnTo>
                <a:lnTo>
                  <a:pt x="1152" y="185"/>
                </a:lnTo>
                <a:lnTo>
                  <a:pt x="1152" y="189"/>
                </a:lnTo>
                <a:lnTo>
                  <a:pt x="1152" y="192"/>
                </a:lnTo>
                <a:lnTo>
                  <a:pt x="1152" y="196"/>
                </a:lnTo>
                <a:lnTo>
                  <a:pt x="1152" y="200"/>
                </a:lnTo>
                <a:lnTo>
                  <a:pt x="1152" y="206"/>
                </a:lnTo>
                <a:lnTo>
                  <a:pt x="1152" y="210"/>
                </a:lnTo>
                <a:lnTo>
                  <a:pt x="1152" y="213"/>
                </a:lnTo>
                <a:lnTo>
                  <a:pt x="1152" y="219"/>
                </a:lnTo>
                <a:lnTo>
                  <a:pt x="1150" y="223"/>
                </a:lnTo>
                <a:lnTo>
                  <a:pt x="1150" y="227"/>
                </a:lnTo>
                <a:lnTo>
                  <a:pt x="1150" y="232"/>
                </a:lnTo>
                <a:lnTo>
                  <a:pt x="1148" y="236"/>
                </a:lnTo>
                <a:lnTo>
                  <a:pt x="1148" y="240"/>
                </a:lnTo>
                <a:lnTo>
                  <a:pt x="1146" y="244"/>
                </a:lnTo>
                <a:lnTo>
                  <a:pt x="1144" y="248"/>
                </a:lnTo>
                <a:lnTo>
                  <a:pt x="1144" y="288"/>
                </a:lnTo>
                <a:lnTo>
                  <a:pt x="1138" y="299"/>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4" name="Freeform 16"/>
          <p:cNvSpPr>
            <a:spLocks/>
          </p:cNvSpPr>
          <p:nvPr>
            <p:custDataLst>
              <p:tags r:id="rId16"/>
            </p:custDataLst>
          </p:nvPr>
        </p:nvSpPr>
        <p:spPr bwMode="gray">
          <a:xfrm>
            <a:off x="4480486" y="5759813"/>
            <a:ext cx="176563" cy="142538"/>
          </a:xfrm>
          <a:custGeom>
            <a:avLst/>
            <a:gdLst/>
            <a:ahLst/>
            <a:cxnLst>
              <a:cxn ang="0">
                <a:pos x="66" y="20"/>
              </a:cxn>
              <a:cxn ang="0">
                <a:pos x="74" y="14"/>
              </a:cxn>
              <a:cxn ang="0">
                <a:pos x="87" y="8"/>
              </a:cxn>
              <a:cxn ang="0">
                <a:pos x="103" y="4"/>
              </a:cxn>
              <a:cxn ang="0">
                <a:pos x="112" y="0"/>
              </a:cxn>
              <a:cxn ang="0">
                <a:pos x="114" y="2"/>
              </a:cxn>
              <a:cxn ang="0">
                <a:pos x="124" y="4"/>
              </a:cxn>
              <a:cxn ang="0">
                <a:pos x="135" y="6"/>
              </a:cxn>
              <a:cxn ang="0">
                <a:pos x="149" y="12"/>
              </a:cxn>
              <a:cxn ang="0">
                <a:pos x="162" y="18"/>
              </a:cxn>
              <a:cxn ang="0">
                <a:pos x="175" y="23"/>
              </a:cxn>
              <a:cxn ang="0">
                <a:pos x="185" y="31"/>
              </a:cxn>
              <a:cxn ang="0">
                <a:pos x="190" y="37"/>
              </a:cxn>
              <a:cxn ang="0">
                <a:pos x="190" y="40"/>
              </a:cxn>
              <a:cxn ang="0">
                <a:pos x="189" y="46"/>
              </a:cxn>
              <a:cxn ang="0">
                <a:pos x="185" y="56"/>
              </a:cxn>
              <a:cxn ang="0">
                <a:pos x="175" y="69"/>
              </a:cxn>
              <a:cxn ang="0">
                <a:pos x="166" y="82"/>
              </a:cxn>
              <a:cxn ang="0">
                <a:pos x="156" y="94"/>
              </a:cxn>
              <a:cxn ang="0">
                <a:pos x="149" y="105"/>
              </a:cxn>
              <a:cxn ang="0">
                <a:pos x="141" y="113"/>
              </a:cxn>
              <a:cxn ang="0">
                <a:pos x="137" y="117"/>
              </a:cxn>
              <a:cxn ang="0">
                <a:pos x="135" y="119"/>
              </a:cxn>
              <a:cxn ang="0">
                <a:pos x="126" y="121"/>
              </a:cxn>
              <a:cxn ang="0">
                <a:pos x="116" y="119"/>
              </a:cxn>
              <a:cxn ang="0">
                <a:pos x="107" y="119"/>
              </a:cxn>
              <a:cxn ang="0">
                <a:pos x="103" y="119"/>
              </a:cxn>
              <a:cxn ang="0">
                <a:pos x="91" y="128"/>
              </a:cxn>
              <a:cxn ang="0">
                <a:pos x="84" y="144"/>
              </a:cxn>
              <a:cxn ang="0">
                <a:pos x="76" y="155"/>
              </a:cxn>
              <a:cxn ang="0">
                <a:pos x="61" y="161"/>
              </a:cxn>
              <a:cxn ang="0">
                <a:pos x="55" y="161"/>
              </a:cxn>
              <a:cxn ang="0">
                <a:pos x="46" y="155"/>
              </a:cxn>
              <a:cxn ang="0">
                <a:pos x="36" y="147"/>
              </a:cxn>
              <a:cxn ang="0">
                <a:pos x="26" y="136"/>
              </a:cxn>
              <a:cxn ang="0">
                <a:pos x="19" y="123"/>
              </a:cxn>
              <a:cxn ang="0">
                <a:pos x="13" y="107"/>
              </a:cxn>
              <a:cxn ang="0">
                <a:pos x="7" y="96"/>
              </a:cxn>
              <a:cxn ang="0">
                <a:pos x="2" y="84"/>
              </a:cxn>
              <a:cxn ang="0">
                <a:pos x="17" y="75"/>
              </a:cxn>
            </a:cxnLst>
            <a:rect l="0" t="0" r="r" b="b"/>
            <a:pathLst>
              <a:path w="190" h="161">
                <a:moveTo>
                  <a:pt x="66" y="20"/>
                </a:moveTo>
                <a:lnTo>
                  <a:pt x="66" y="20"/>
                </a:lnTo>
                <a:lnTo>
                  <a:pt x="68" y="18"/>
                </a:lnTo>
                <a:lnTo>
                  <a:pt x="74" y="14"/>
                </a:lnTo>
                <a:lnTo>
                  <a:pt x="80" y="12"/>
                </a:lnTo>
                <a:lnTo>
                  <a:pt x="87" y="8"/>
                </a:lnTo>
                <a:lnTo>
                  <a:pt x="95" y="6"/>
                </a:lnTo>
                <a:lnTo>
                  <a:pt x="103" y="4"/>
                </a:lnTo>
                <a:lnTo>
                  <a:pt x="108" y="2"/>
                </a:lnTo>
                <a:lnTo>
                  <a:pt x="112" y="0"/>
                </a:lnTo>
                <a:lnTo>
                  <a:pt x="112" y="0"/>
                </a:lnTo>
                <a:lnTo>
                  <a:pt x="114" y="2"/>
                </a:lnTo>
                <a:lnTo>
                  <a:pt x="118" y="2"/>
                </a:lnTo>
                <a:lnTo>
                  <a:pt x="124" y="4"/>
                </a:lnTo>
                <a:lnTo>
                  <a:pt x="129" y="4"/>
                </a:lnTo>
                <a:lnTo>
                  <a:pt x="135" y="6"/>
                </a:lnTo>
                <a:lnTo>
                  <a:pt x="141" y="10"/>
                </a:lnTo>
                <a:lnTo>
                  <a:pt x="149" y="12"/>
                </a:lnTo>
                <a:lnTo>
                  <a:pt x="156" y="14"/>
                </a:lnTo>
                <a:lnTo>
                  <a:pt x="162" y="18"/>
                </a:lnTo>
                <a:lnTo>
                  <a:pt x="170" y="20"/>
                </a:lnTo>
                <a:lnTo>
                  <a:pt x="175" y="23"/>
                </a:lnTo>
                <a:lnTo>
                  <a:pt x="181" y="27"/>
                </a:lnTo>
                <a:lnTo>
                  <a:pt x="185" y="31"/>
                </a:lnTo>
                <a:lnTo>
                  <a:pt x="189" y="33"/>
                </a:lnTo>
                <a:lnTo>
                  <a:pt x="190" y="37"/>
                </a:lnTo>
                <a:lnTo>
                  <a:pt x="190" y="40"/>
                </a:lnTo>
                <a:lnTo>
                  <a:pt x="190" y="40"/>
                </a:lnTo>
                <a:lnTo>
                  <a:pt x="190" y="42"/>
                </a:lnTo>
                <a:lnTo>
                  <a:pt x="189" y="46"/>
                </a:lnTo>
                <a:lnTo>
                  <a:pt x="187" y="50"/>
                </a:lnTo>
                <a:lnTo>
                  <a:pt x="185" y="56"/>
                </a:lnTo>
                <a:lnTo>
                  <a:pt x="179" y="61"/>
                </a:lnTo>
                <a:lnTo>
                  <a:pt x="175" y="69"/>
                </a:lnTo>
                <a:lnTo>
                  <a:pt x="171" y="75"/>
                </a:lnTo>
                <a:lnTo>
                  <a:pt x="166" y="82"/>
                </a:lnTo>
                <a:lnTo>
                  <a:pt x="162" y="88"/>
                </a:lnTo>
                <a:lnTo>
                  <a:pt x="156" y="94"/>
                </a:lnTo>
                <a:lnTo>
                  <a:pt x="152" y="100"/>
                </a:lnTo>
                <a:lnTo>
                  <a:pt x="149" y="105"/>
                </a:lnTo>
                <a:lnTo>
                  <a:pt x="145" y="109"/>
                </a:lnTo>
                <a:lnTo>
                  <a:pt x="141" y="113"/>
                </a:lnTo>
                <a:lnTo>
                  <a:pt x="139" y="117"/>
                </a:lnTo>
                <a:lnTo>
                  <a:pt x="137" y="117"/>
                </a:lnTo>
                <a:lnTo>
                  <a:pt x="137" y="117"/>
                </a:lnTo>
                <a:lnTo>
                  <a:pt x="135" y="119"/>
                </a:lnTo>
                <a:lnTo>
                  <a:pt x="129" y="121"/>
                </a:lnTo>
                <a:lnTo>
                  <a:pt x="126" y="121"/>
                </a:lnTo>
                <a:lnTo>
                  <a:pt x="120" y="121"/>
                </a:lnTo>
                <a:lnTo>
                  <a:pt x="116" y="119"/>
                </a:lnTo>
                <a:lnTo>
                  <a:pt x="110" y="119"/>
                </a:lnTo>
                <a:lnTo>
                  <a:pt x="107" y="119"/>
                </a:lnTo>
                <a:lnTo>
                  <a:pt x="103" y="119"/>
                </a:lnTo>
                <a:lnTo>
                  <a:pt x="103" y="119"/>
                </a:lnTo>
                <a:lnTo>
                  <a:pt x="97" y="123"/>
                </a:lnTo>
                <a:lnTo>
                  <a:pt x="91" y="128"/>
                </a:lnTo>
                <a:lnTo>
                  <a:pt x="87" y="136"/>
                </a:lnTo>
                <a:lnTo>
                  <a:pt x="84" y="144"/>
                </a:lnTo>
                <a:lnTo>
                  <a:pt x="80" y="149"/>
                </a:lnTo>
                <a:lnTo>
                  <a:pt x="76" y="155"/>
                </a:lnTo>
                <a:lnTo>
                  <a:pt x="70" y="159"/>
                </a:lnTo>
                <a:lnTo>
                  <a:pt x="61" y="161"/>
                </a:lnTo>
                <a:lnTo>
                  <a:pt x="61" y="161"/>
                </a:lnTo>
                <a:lnTo>
                  <a:pt x="55" y="161"/>
                </a:lnTo>
                <a:lnTo>
                  <a:pt x="51" y="159"/>
                </a:lnTo>
                <a:lnTo>
                  <a:pt x="46" y="155"/>
                </a:lnTo>
                <a:lnTo>
                  <a:pt x="40" y="151"/>
                </a:lnTo>
                <a:lnTo>
                  <a:pt x="36" y="147"/>
                </a:lnTo>
                <a:lnTo>
                  <a:pt x="32" y="142"/>
                </a:lnTo>
                <a:lnTo>
                  <a:pt x="26" y="136"/>
                </a:lnTo>
                <a:lnTo>
                  <a:pt x="23" y="128"/>
                </a:lnTo>
                <a:lnTo>
                  <a:pt x="19" y="123"/>
                </a:lnTo>
                <a:lnTo>
                  <a:pt x="17" y="115"/>
                </a:lnTo>
                <a:lnTo>
                  <a:pt x="13" y="107"/>
                </a:lnTo>
                <a:lnTo>
                  <a:pt x="9" y="102"/>
                </a:lnTo>
                <a:lnTo>
                  <a:pt x="7" y="96"/>
                </a:lnTo>
                <a:lnTo>
                  <a:pt x="5" y="90"/>
                </a:lnTo>
                <a:lnTo>
                  <a:pt x="2" y="84"/>
                </a:lnTo>
                <a:lnTo>
                  <a:pt x="0" y="81"/>
                </a:lnTo>
                <a:lnTo>
                  <a:pt x="17" y="75"/>
                </a:lnTo>
                <a:lnTo>
                  <a:pt x="66" y="2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5" name="Freeform 17"/>
          <p:cNvSpPr>
            <a:spLocks/>
          </p:cNvSpPr>
          <p:nvPr>
            <p:custDataLst>
              <p:tags r:id="rId17"/>
            </p:custDataLst>
          </p:nvPr>
        </p:nvSpPr>
        <p:spPr bwMode="gray">
          <a:xfrm>
            <a:off x="3437310" y="4958048"/>
            <a:ext cx="968665" cy="817971"/>
          </a:xfrm>
          <a:custGeom>
            <a:avLst/>
            <a:gdLst/>
            <a:ahLst/>
            <a:cxnLst>
              <a:cxn ang="0">
                <a:pos x="80" y="189"/>
              </a:cxn>
              <a:cxn ang="0">
                <a:pos x="132" y="276"/>
              </a:cxn>
              <a:cxn ang="0">
                <a:pos x="187" y="362"/>
              </a:cxn>
              <a:cxn ang="0">
                <a:pos x="215" y="410"/>
              </a:cxn>
              <a:cxn ang="0">
                <a:pos x="235" y="427"/>
              </a:cxn>
              <a:cxn ang="0">
                <a:pos x="248" y="456"/>
              </a:cxn>
              <a:cxn ang="0">
                <a:pos x="214" y="486"/>
              </a:cxn>
              <a:cxn ang="0">
                <a:pos x="214" y="486"/>
              </a:cxn>
              <a:cxn ang="0">
                <a:pos x="223" y="555"/>
              </a:cxn>
              <a:cxn ang="0">
                <a:pos x="235" y="584"/>
              </a:cxn>
              <a:cxn ang="0">
                <a:pos x="244" y="612"/>
              </a:cxn>
              <a:cxn ang="0">
                <a:pos x="248" y="631"/>
              </a:cxn>
              <a:cxn ang="0">
                <a:pos x="248" y="650"/>
              </a:cxn>
              <a:cxn ang="0">
                <a:pos x="248" y="671"/>
              </a:cxn>
              <a:cxn ang="0">
                <a:pos x="263" y="700"/>
              </a:cxn>
              <a:cxn ang="0">
                <a:pos x="277" y="774"/>
              </a:cxn>
              <a:cxn ang="0">
                <a:pos x="303" y="820"/>
              </a:cxn>
              <a:cxn ang="0">
                <a:pos x="339" y="860"/>
              </a:cxn>
              <a:cxn ang="0">
                <a:pos x="378" y="893"/>
              </a:cxn>
              <a:cxn ang="0">
                <a:pos x="393" y="868"/>
              </a:cxn>
              <a:cxn ang="0">
                <a:pos x="412" y="849"/>
              </a:cxn>
              <a:cxn ang="0">
                <a:pos x="442" y="877"/>
              </a:cxn>
              <a:cxn ang="0">
                <a:pos x="458" y="902"/>
              </a:cxn>
              <a:cxn ang="0">
                <a:pos x="486" y="912"/>
              </a:cxn>
              <a:cxn ang="0">
                <a:pos x="525" y="916"/>
              </a:cxn>
              <a:cxn ang="0">
                <a:pos x="557" y="918"/>
              </a:cxn>
              <a:cxn ang="0">
                <a:pos x="576" y="912"/>
              </a:cxn>
              <a:cxn ang="0">
                <a:pos x="597" y="897"/>
              </a:cxn>
              <a:cxn ang="0">
                <a:pos x="622" y="883"/>
              </a:cxn>
              <a:cxn ang="0">
                <a:pos x="631" y="391"/>
              </a:cxn>
              <a:cxn ang="0">
                <a:pos x="893" y="70"/>
              </a:cxn>
              <a:cxn ang="0">
                <a:pos x="916" y="88"/>
              </a:cxn>
              <a:cxn ang="0">
                <a:pos x="933" y="99"/>
              </a:cxn>
              <a:cxn ang="0">
                <a:pos x="954" y="82"/>
              </a:cxn>
              <a:cxn ang="0">
                <a:pos x="975" y="67"/>
              </a:cxn>
              <a:cxn ang="0">
                <a:pos x="1009" y="61"/>
              </a:cxn>
              <a:cxn ang="0">
                <a:pos x="1034" y="61"/>
              </a:cxn>
              <a:cxn ang="0">
                <a:pos x="1057" y="61"/>
              </a:cxn>
              <a:cxn ang="0">
                <a:pos x="1028" y="40"/>
              </a:cxn>
              <a:cxn ang="0">
                <a:pos x="994" y="34"/>
              </a:cxn>
              <a:cxn ang="0">
                <a:pos x="950" y="38"/>
              </a:cxn>
              <a:cxn ang="0">
                <a:pos x="906" y="44"/>
              </a:cxn>
              <a:cxn ang="0">
                <a:pos x="864" y="51"/>
              </a:cxn>
              <a:cxn ang="0">
                <a:pos x="822" y="61"/>
              </a:cxn>
              <a:cxn ang="0">
                <a:pos x="776" y="67"/>
              </a:cxn>
              <a:cxn ang="0">
                <a:pos x="729" y="70"/>
              </a:cxn>
              <a:cxn ang="0">
                <a:pos x="685" y="70"/>
              </a:cxn>
              <a:cxn ang="0">
                <a:pos x="624" y="67"/>
              </a:cxn>
              <a:cxn ang="0">
                <a:pos x="568" y="57"/>
              </a:cxn>
              <a:cxn ang="0">
                <a:pos x="536" y="48"/>
              </a:cxn>
              <a:cxn ang="0">
                <a:pos x="519" y="32"/>
              </a:cxn>
              <a:cxn ang="0">
                <a:pos x="168" y="23"/>
              </a:cxn>
              <a:cxn ang="0">
                <a:pos x="135" y="2"/>
              </a:cxn>
              <a:cxn ang="0">
                <a:pos x="97" y="2"/>
              </a:cxn>
              <a:cxn ang="0">
                <a:pos x="63" y="11"/>
              </a:cxn>
              <a:cxn ang="0">
                <a:pos x="34" y="9"/>
              </a:cxn>
              <a:cxn ang="0">
                <a:pos x="0" y="11"/>
              </a:cxn>
              <a:cxn ang="0">
                <a:pos x="11" y="65"/>
              </a:cxn>
              <a:cxn ang="0">
                <a:pos x="29" y="93"/>
              </a:cxn>
              <a:cxn ang="0">
                <a:pos x="44" y="124"/>
              </a:cxn>
            </a:cxnLst>
            <a:rect l="0" t="0" r="r" b="b"/>
            <a:pathLst>
              <a:path w="1057" h="918">
                <a:moveTo>
                  <a:pt x="59" y="141"/>
                </a:moveTo>
                <a:lnTo>
                  <a:pt x="59" y="141"/>
                </a:lnTo>
                <a:lnTo>
                  <a:pt x="65" y="156"/>
                </a:lnTo>
                <a:lnTo>
                  <a:pt x="72" y="173"/>
                </a:lnTo>
                <a:lnTo>
                  <a:pt x="80" y="189"/>
                </a:lnTo>
                <a:lnTo>
                  <a:pt x="90" y="206"/>
                </a:lnTo>
                <a:lnTo>
                  <a:pt x="99" y="223"/>
                </a:lnTo>
                <a:lnTo>
                  <a:pt x="111" y="242"/>
                </a:lnTo>
                <a:lnTo>
                  <a:pt x="120" y="259"/>
                </a:lnTo>
                <a:lnTo>
                  <a:pt x="132" y="276"/>
                </a:lnTo>
                <a:lnTo>
                  <a:pt x="143" y="296"/>
                </a:lnTo>
                <a:lnTo>
                  <a:pt x="154" y="313"/>
                </a:lnTo>
                <a:lnTo>
                  <a:pt x="166" y="330"/>
                </a:lnTo>
                <a:lnTo>
                  <a:pt x="177" y="347"/>
                </a:lnTo>
                <a:lnTo>
                  <a:pt x="187" y="362"/>
                </a:lnTo>
                <a:lnTo>
                  <a:pt x="196" y="380"/>
                </a:lnTo>
                <a:lnTo>
                  <a:pt x="206" y="395"/>
                </a:lnTo>
                <a:lnTo>
                  <a:pt x="214" y="410"/>
                </a:lnTo>
                <a:lnTo>
                  <a:pt x="214" y="410"/>
                </a:lnTo>
                <a:lnTo>
                  <a:pt x="215" y="410"/>
                </a:lnTo>
                <a:lnTo>
                  <a:pt x="217" y="412"/>
                </a:lnTo>
                <a:lnTo>
                  <a:pt x="221" y="414"/>
                </a:lnTo>
                <a:lnTo>
                  <a:pt x="225" y="418"/>
                </a:lnTo>
                <a:lnTo>
                  <a:pt x="231" y="421"/>
                </a:lnTo>
                <a:lnTo>
                  <a:pt x="235" y="427"/>
                </a:lnTo>
                <a:lnTo>
                  <a:pt x="238" y="431"/>
                </a:lnTo>
                <a:lnTo>
                  <a:pt x="244" y="439"/>
                </a:lnTo>
                <a:lnTo>
                  <a:pt x="246" y="444"/>
                </a:lnTo>
                <a:lnTo>
                  <a:pt x="248" y="450"/>
                </a:lnTo>
                <a:lnTo>
                  <a:pt x="248" y="456"/>
                </a:lnTo>
                <a:lnTo>
                  <a:pt x="248" y="463"/>
                </a:lnTo>
                <a:lnTo>
                  <a:pt x="242" y="469"/>
                </a:lnTo>
                <a:lnTo>
                  <a:pt x="236" y="475"/>
                </a:lnTo>
                <a:lnTo>
                  <a:pt x="227" y="481"/>
                </a:lnTo>
                <a:lnTo>
                  <a:pt x="214" y="486"/>
                </a:lnTo>
                <a:lnTo>
                  <a:pt x="214" y="486"/>
                </a:lnTo>
                <a:lnTo>
                  <a:pt x="214" y="486"/>
                </a:lnTo>
                <a:lnTo>
                  <a:pt x="214" y="486"/>
                </a:lnTo>
                <a:lnTo>
                  <a:pt x="214" y="486"/>
                </a:lnTo>
                <a:lnTo>
                  <a:pt x="214" y="486"/>
                </a:lnTo>
                <a:lnTo>
                  <a:pt x="217" y="486"/>
                </a:lnTo>
                <a:lnTo>
                  <a:pt x="217" y="545"/>
                </a:lnTo>
                <a:lnTo>
                  <a:pt x="217" y="545"/>
                </a:lnTo>
                <a:lnTo>
                  <a:pt x="219" y="549"/>
                </a:lnTo>
                <a:lnTo>
                  <a:pt x="223" y="555"/>
                </a:lnTo>
                <a:lnTo>
                  <a:pt x="225" y="561"/>
                </a:lnTo>
                <a:lnTo>
                  <a:pt x="227" y="566"/>
                </a:lnTo>
                <a:lnTo>
                  <a:pt x="231" y="572"/>
                </a:lnTo>
                <a:lnTo>
                  <a:pt x="233" y="578"/>
                </a:lnTo>
                <a:lnTo>
                  <a:pt x="235" y="584"/>
                </a:lnTo>
                <a:lnTo>
                  <a:pt x="236" y="589"/>
                </a:lnTo>
                <a:lnTo>
                  <a:pt x="238" y="595"/>
                </a:lnTo>
                <a:lnTo>
                  <a:pt x="242" y="601"/>
                </a:lnTo>
                <a:lnTo>
                  <a:pt x="242" y="607"/>
                </a:lnTo>
                <a:lnTo>
                  <a:pt x="244" y="612"/>
                </a:lnTo>
                <a:lnTo>
                  <a:pt x="246" y="616"/>
                </a:lnTo>
                <a:lnTo>
                  <a:pt x="246" y="622"/>
                </a:lnTo>
                <a:lnTo>
                  <a:pt x="248" y="628"/>
                </a:lnTo>
                <a:lnTo>
                  <a:pt x="248" y="631"/>
                </a:lnTo>
                <a:lnTo>
                  <a:pt x="248" y="631"/>
                </a:lnTo>
                <a:lnTo>
                  <a:pt x="248" y="635"/>
                </a:lnTo>
                <a:lnTo>
                  <a:pt x="248" y="639"/>
                </a:lnTo>
                <a:lnTo>
                  <a:pt x="248" y="641"/>
                </a:lnTo>
                <a:lnTo>
                  <a:pt x="248" y="645"/>
                </a:lnTo>
                <a:lnTo>
                  <a:pt x="248" y="650"/>
                </a:lnTo>
                <a:lnTo>
                  <a:pt x="248" y="654"/>
                </a:lnTo>
                <a:lnTo>
                  <a:pt x="248" y="660"/>
                </a:lnTo>
                <a:lnTo>
                  <a:pt x="248" y="666"/>
                </a:lnTo>
                <a:lnTo>
                  <a:pt x="248" y="666"/>
                </a:lnTo>
                <a:lnTo>
                  <a:pt x="248" y="671"/>
                </a:lnTo>
                <a:lnTo>
                  <a:pt x="250" y="677"/>
                </a:lnTo>
                <a:lnTo>
                  <a:pt x="252" y="685"/>
                </a:lnTo>
                <a:lnTo>
                  <a:pt x="256" y="690"/>
                </a:lnTo>
                <a:lnTo>
                  <a:pt x="259" y="696"/>
                </a:lnTo>
                <a:lnTo>
                  <a:pt x="263" y="700"/>
                </a:lnTo>
                <a:lnTo>
                  <a:pt x="267" y="706"/>
                </a:lnTo>
                <a:lnTo>
                  <a:pt x="271" y="708"/>
                </a:lnTo>
                <a:lnTo>
                  <a:pt x="271" y="763"/>
                </a:lnTo>
                <a:lnTo>
                  <a:pt x="271" y="763"/>
                </a:lnTo>
                <a:lnTo>
                  <a:pt x="277" y="774"/>
                </a:lnTo>
                <a:lnTo>
                  <a:pt x="280" y="784"/>
                </a:lnTo>
                <a:lnTo>
                  <a:pt x="286" y="793"/>
                </a:lnTo>
                <a:lnTo>
                  <a:pt x="292" y="803"/>
                </a:lnTo>
                <a:lnTo>
                  <a:pt x="298" y="811"/>
                </a:lnTo>
                <a:lnTo>
                  <a:pt x="303" y="820"/>
                </a:lnTo>
                <a:lnTo>
                  <a:pt x="311" y="828"/>
                </a:lnTo>
                <a:lnTo>
                  <a:pt x="317" y="837"/>
                </a:lnTo>
                <a:lnTo>
                  <a:pt x="324" y="845"/>
                </a:lnTo>
                <a:lnTo>
                  <a:pt x="332" y="853"/>
                </a:lnTo>
                <a:lnTo>
                  <a:pt x="339" y="860"/>
                </a:lnTo>
                <a:lnTo>
                  <a:pt x="347" y="868"/>
                </a:lnTo>
                <a:lnTo>
                  <a:pt x="353" y="874"/>
                </a:lnTo>
                <a:lnTo>
                  <a:pt x="362" y="881"/>
                </a:lnTo>
                <a:lnTo>
                  <a:pt x="370" y="887"/>
                </a:lnTo>
                <a:lnTo>
                  <a:pt x="378" y="893"/>
                </a:lnTo>
                <a:lnTo>
                  <a:pt x="378" y="893"/>
                </a:lnTo>
                <a:lnTo>
                  <a:pt x="383" y="889"/>
                </a:lnTo>
                <a:lnTo>
                  <a:pt x="387" y="883"/>
                </a:lnTo>
                <a:lnTo>
                  <a:pt x="391" y="876"/>
                </a:lnTo>
                <a:lnTo>
                  <a:pt x="393" y="868"/>
                </a:lnTo>
                <a:lnTo>
                  <a:pt x="395" y="860"/>
                </a:lnTo>
                <a:lnTo>
                  <a:pt x="399" y="855"/>
                </a:lnTo>
                <a:lnTo>
                  <a:pt x="404" y="851"/>
                </a:lnTo>
                <a:lnTo>
                  <a:pt x="412" y="849"/>
                </a:lnTo>
                <a:lnTo>
                  <a:pt x="412" y="849"/>
                </a:lnTo>
                <a:lnTo>
                  <a:pt x="422" y="851"/>
                </a:lnTo>
                <a:lnTo>
                  <a:pt x="429" y="856"/>
                </a:lnTo>
                <a:lnTo>
                  <a:pt x="435" y="862"/>
                </a:lnTo>
                <a:lnTo>
                  <a:pt x="439" y="870"/>
                </a:lnTo>
                <a:lnTo>
                  <a:pt x="442" y="877"/>
                </a:lnTo>
                <a:lnTo>
                  <a:pt x="446" y="887"/>
                </a:lnTo>
                <a:lnTo>
                  <a:pt x="450" y="895"/>
                </a:lnTo>
                <a:lnTo>
                  <a:pt x="454" y="900"/>
                </a:lnTo>
                <a:lnTo>
                  <a:pt x="454" y="900"/>
                </a:lnTo>
                <a:lnTo>
                  <a:pt x="458" y="902"/>
                </a:lnTo>
                <a:lnTo>
                  <a:pt x="462" y="906"/>
                </a:lnTo>
                <a:lnTo>
                  <a:pt x="467" y="908"/>
                </a:lnTo>
                <a:lnTo>
                  <a:pt x="473" y="910"/>
                </a:lnTo>
                <a:lnTo>
                  <a:pt x="481" y="912"/>
                </a:lnTo>
                <a:lnTo>
                  <a:pt x="486" y="912"/>
                </a:lnTo>
                <a:lnTo>
                  <a:pt x="494" y="914"/>
                </a:lnTo>
                <a:lnTo>
                  <a:pt x="502" y="914"/>
                </a:lnTo>
                <a:lnTo>
                  <a:pt x="509" y="916"/>
                </a:lnTo>
                <a:lnTo>
                  <a:pt x="517" y="916"/>
                </a:lnTo>
                <a:lnTo>
                  <a:pt x="525" y="916"/>
                </a:lnTo>
                <a:lnTo>
                  <a:pt x="532" y="918"/>
                </a:lnTo>
                <a:lnTo>
                  <a:pt x="540" y="918"/>
                </a:lnTo>
                <a:lnTo>
                  <a:pt x="545" y="918"/>
                </a:lnTo>
                <a:lnTo>
                  <a:pt x="551" y="918"/>
                </a:lnTo>
                <a:lnTo>
                  <a:pt x="557" y="918"/>
                </a:lnTo>
                <a:lnTo>
                  <a:pt x="557" y="918"/>
                </a:lnTo>
                <a:lnTo>
                  <a:pt x="563" y="918"/>
                </a:lnTo>
                <a:lnTo>
                  <a:pt x="566" y="916"/>
                </a:lnTo>
                <a:lnTo>
                  <a:pt x="572" y="914"/>
                </a:lnTo>
                <a:lnTo>
                  <a:pt x="576" y="912"/>
                </a:lnTo>
                <a:lnTo>
                  <a:pt x="580" y="908"/>
                </a:lnTo>
                <a:lnTo>
                  <a:pt x="586" y="906"/>
                </a:lnTo>
                <a:lnTo>
                  <a:pt x="589" y="902"/>
                </a:lnTo>
                <a:lnTo>
                  <a:pt x="593" y="898"/>
                </a:lnTo>
                <a:lnTo>
                  <a:pt x="597" y="897"/>
                </a:lnTo>
                <a:lnTo>
                  <a:pt x="603" y="893"/>
                </a:lnTo>
                <a:lnTo>
                  <a:pt x="607" y="889"/>
                </a:lnTo>
                <a:lnTo>
                  <a:pt x="610" y="887"/>
                </a:lnTo>
                <a:lnTo>
                  <a:pt x="616" y="885"/>
                </a:lnTo>
                <a:lnTo>
                  <a:pt x="622" y="883"/>
                </a:lnTo>
                <a:lnTo>
                  <a:pt x="628" y="881"/>
                </a:lnTo>
                <a:lnTo>
                  <a:pt x="633" y="881"/>
                </a:lnTo>
                <a:lnTo>
                  <a:pt x="633" y="879"/>
                </a:lnTo>
                <a:lnTo>
                  <a:pt x="631" y="610"/>
                </a:lnTo>
                <a:lnTo>
                  <a:pt x="631" y="391"/>
                </a:lnTo>
                <a:lnTo>
                  <a:pt x="713" y="391"/>
                </a:lnTo>
                <a:lnTo>
                  <a:pt x="713" y="93"/>
                </a:lnTo>
                <a:lnTo>
                  <a:pt x="725" y="93"/>
                </a:lnTo>
                <a:lnTo>
                  <a:pt x="893" y="70"/>
                </a:lnTo>
                <a:lnTo>
                  <a:pt x="893" y="70"/>
                </a:lnTo>
                <a:lnTo>
                  <a:pt x="896" y="72"/>
                </a:lnTo>
                <a:lnTo>
                  <a:pt x="902" y="76"/>
                </a:lnTo>
                <a:lnTo>
                  <a:pt x="906" y="80"/>
                </a:lnTo>
                <a:lnTo>
                  <a:pt x="910" y="84"/>
                </a:lnTo>
                <a:lnTo>
                  <a:pt x="916" y="88"/>
                </a:lnTo>
                <a:lnTo>
                  <a:pt x="919" y="93"/>
                </a:lnTo>
                <a:lnTo>
                  <a:pt x="925" y="97"/>
                </a:lnTo>
                <a:lnTo>
                  <a:pt x="929" y="101"/>
                </a:lnTo>
                <a:lnTo>
                  <a:pt x="929" y="101"/>
                </a:lnTo>
                <a:lnTo>
                  <a:pt x="933" y="99"/>
                </a:lnTo>
                <a:lnTo>
                  <a:pt x="938" y="95"/>
                </a:lnTo>
                <a:lnTo>
                  <a:pt x="942" y="91"/>
                </a:lnTo>
                <a:lnTo>
                  <a:pt x="946" y="88"/>
                </a:lnTo>
                <a:lnTo>
                  <a:pt x="950" y="86"/>
                </a:lnTo>
                <a:lnTo>
                  <a:pt x="954" y="82"/>
                </a:lnTo>
                <a:lnTo>
                  <a:pt x="958" y="78"/>
                </a:lnTo>
                <a:lnTo>
                  <a:pt x="961" y="74"/>
                </a:lnTo>
                <a:lnTo>
                  <a:pt x="965" y="72"/>
                </a:lnTo>
                <a:lnTo>
                  <a:pt x="971" y="69"/>
                </a:lnTo>
                <a:lnTo>
                  <a:pt x="975" y="67"/>
                </a:lnTo>
                <a:lnTo>
                  <a:pt x="980" y="65"/>
                </a:lnTo>
                <a:lnTo>
                  <a:pt x="988" y="63"/>
                </a:lnTo>
                <a:lnTo>
                  <a:pt x="994" y="61"/>
                </a:lnTo>
                <a:lnTo>
                  <a:pt x="1001" y="61"/>
                </a:lnTo>
                <a:lnTo>
                  <a:pt x="1009" y="61"/>
                </a:lnTo>
                <a:lnTo>
                  <a:pt x="1009" y="61"/>
                </a:lnTo>
                <a:lnTo>
                  <a:pt x="1015" y="61"/>
                </a:lnTo>
                <a:lnTo>
                  <a:pt x="1022" y="61"/>
                </a:lnTo>
                <a:lnTo>
                  <a:pt x="1028" y="61"/>
                </a:lnTo>
                <a:lnTo>
                  <a:pt x="1034" y="61"/>
                </a:lnTo>
                <a:lnTo>
                  <a:pt x="1040" y="61"/>
                </a:lnTo>
                <a:lnTo>
                  <a:pt x="1045" y="61"/>
                </a:lnTo>
                <a:lnTo>
                  <a:pt x="1051" y="61"/>
                </a:lnTo>
                <a:lnTo>
                  <a:pt x="1057" y="61"/>
                </a:lnTo>
                <a:lnTo>
                  <a:pt x="1057" y="61"/>
                </a:lnTo>
                <a:lnTo>
                  <a:pt x="1051" y="57"/>
                </a:lnTo>
                <a:lnTo>
                  <a:pt x="1045" y="53"/>
                </a:lnTo>
                <a:lnTo>
                  <a:pt x="1040" y="49"/>
                </a:lnTo>
                <a:lnTo>
                  <a:pt x="1034" y="46"/>
                </a:lnTo>
                <a:lnTo>
                  <a:pt x="1028" y="40"/>
                </a:lnTo>
                <a:lnTo>
                  <a:pt x="1022" y="38"/>
                </a:lnTo>
                <a:lnTo>
                  <a:pt x="1013" y="36"/>
                </a:lnTo>
                <a:lnTo>
                  <a:pt x="1003" y="34"/>
                </a:lnTo>
                <a:lnTo>
                  <a:pt x="1003" y="34"/>
                </a:lnTo>
                <a:lnTo>
                  <a:pt x="994" y="34"/>
                </a:lnTo>
                <a:lnTo>
                  <a:pt x="984" y="34"/>
                </a:lnTo>
                <a:lnTo>
                  <a:pt x="975" y="36"/>
                </a:lnTo>
                <a:lnTo>
                  <a:pt x="967" y="36"/>
                </a:lnTo>
                <a:lnTo>
                  <a:pt x="958" y="36"/>
                </a:lnTo>
                <a:lnTo>
                  <a:pt x="950" y="38"/>
                </a:lnTo>
                <a:lnTo>
                  <a:pt x="940" y="40"/>
                </a:lnTo>
                <a:lnTo>
                  <a:pt x="931" y="40"/>
                </a:lnTo>
                <a:lnTo>
                  <a:pt x="923" y="42"/>
                </a:lnTo>
                <a:lnTo>
                  <a:pt x="916" y="42"/>
                </a:lnTo>
                <a:lnTo>
                  <a:pt x="906" y="44"/>
                </a:lnTo>
                <a:lnTo>
                  <a:pt x="898" y="46"/>
                </a:lnTo>
                <a:lnTo>
                  <a:pt x="889" y="48"/>
                </a:lnTo>
                <a:lnTo>
                  <a:pt x="881" y="49"/>
                </a:lnTo>
                <a:lnTo>
                  <a:pt x="872" y="51"/>
                </a:lnTo>
                <a:lnTo>
                  <a:pt x="864" y="51"/>
                </a:lnTo>
                <a:lnTo>
                  <a:pt x="856" y="53"/>
                </a:lnTo>
                <a:lnTo>
                  <a:pt x="847" y="55"/>
                </a:lnTo>
                <a:lnTo>
                  <a:pt x="839" y="57"/>
                </a:lnTo>
                <a:lnTo>
                  <a:pt x="830" y="59"/>
                </a:lnTo>
                <a:lnTo>
                  <a:pt x="822" y="61"/>
                </a:lnTo>
                <a:lnTo>
                  <a:pt x="813" y="61"/>
                </a:lnTo>
                <a:lnTo>
                  <a:pt x="805" y="63"/>
                </a:lnTo>
                <a:lnTo>
                  <a:pt x="795" y="65"/>
                </a:lnTo>
                <a:lnTo>
                  <a:pt x="786" y="65"/>
                </a:lnTo>
                <a:lnTo>
                  <a:pt x="776" y="67"/>
                </a:lnTo>
                <a:lnTo>
                  <a:pt x="769" y="67"/>
                </a:lnTo>
                <a:lnTo>
                  <a:pt x="759" y="69"/>
                </a:lnTo>
                <a:lnTo>
                  <a:pt x="750" y="69"/>
                </a:lnTo>
                <a:lnTo>
                  <a:pt x="740" y="70"/>
                </a:lnTo>
                <a:lnTo>
                  <a:pt x="729" y="70"/>
                </a:lnTo>
                <a:lnTo>
                  <a:pt x="719" y="70"/>
                </a:lnTo>
                <a:lnTo>
                  <a:pt x="719" y="70"/>
                </a:lnTo>
                <a:lnTo>
                  <a:pt x="708" y="70"/>
                </a:lnTo>
                <a:lnTo>
                  <a:pt x="696" y="70"/>
                </a:lnTo>
                <a:lnTo>
                  <a:pt x="685" y="70"/>
                </a:lnTo>
                <a:lnTo>
                  <a:pt x="673" y="69"/>
                </a:lnTo>
                <a:lnTo>
                  <a:pt x="660" y="69"/>
                </a:lnTo>
                <a:lnTo>
                  <a:pt x="648" y="69"/>
                </a:lnTo>
                <a:lnTo>
                  <a:pt x="635" y="67"/>
                </a:lnTo>
                <a:lnTo>
                  <a:pt x="624" y="67"/>
                </a:lnTo>
                <a:lnTo>
                  <a:pt x="612" y="65"/>
                </a:lnTo>
                <a:lnTo>
                  <a:pt x="601" y="63"/>
                </a:lnTo>
                <a:lnTo>
                  <a:pt x="589" y="61"/>
                </a:lnTo>
                <a:lnTo>
                  <a:pt x="578" y="59"/>
                </a:lnTo>
                <a:lnTo>
                  <a:pt x="568" y="57"/>
                </a:lnTo>
                <a:lnTo>
                  <a:pt x="557" y="55"/>
                </a:lnTo>
                <a:lnTo>
                  <a:pt x="547" y="51"/>
                </a:lnTo>
                <a:lnTo>
                  <a:pt x="540" y="49"/>
                </a:lnTo>
                <a:lnTo>
                  <a:pt x="540" y="49"/>
                </a:lnTo>
                <a:lnTo>
                  <a:pt x="536" y="48"/>
                </a:lnTo>
                <a:lnTo>
                  <a:pt x="532" y="44"/>
                </a:lnTo>
                <a:lnTo>
                  <a:pt x="528" y="42"/>
                </a:lnTo>
                <a:lnTo>
                  <a:pt x="525" y="38"/>
                </a:lnTo>
                <a:lnTo>
                  <a:pt x="521" y="34"/>
                </a:lnTo>
                <a:lnTo>
                  <a:pt x="519" y="32"/>
                </a:lnTo>
                <a:lnTo>
                  <a:pt x="515" y="30"/>
                </a:lnTo>
                <a:lnTo>
                  <a:pt x="513" y="28"/>
                </a:lnTo>
                <a:lnTo>
                  <a:pt x="174" y="28"/>
                </a:lnTo>
                <a:lnTo>
                  <a:pt x="174" y="28"/>
                </a:lnTo>
                <a:lnTo>
                  <a:pt x="168" y="23"/>
                </a:lnTo>
                <a:lnTo>
                  <a:pt x="162" y="17"/>
                </a:lnTo>
                <a:lnTo>
                  <a:pt x="156" y="11"/>
                </a:lnTo>
                <a:lnTo>
                  <a:pt x="151" y="8"/>
                </a:lnTo>
                <a:lnTo>
                  <a:pt x="143" y="4"/>
                </a:lnTo>
                <a:lnTo>
                  <a:pt x="135" y="2"/>
                </a:lnTo>
                <a:lnTo>
                  <a:pt x="126" y="0"/>
                </a:lnTo>
                <a:lnTo>
                  <a:pt x="114" y="0"/>
                </a:lnTo>
                <a:lnTo>
                  <a:pt x="114" y="0"/>
                </a:lnTo>
                <a:lnTo>
                  <a:pt x="105" y="0"/>
                </a:lnTo>
                <a:lnTo>
                  <a:pt x="97" y="2"/>
                </a:lnTo>
                <a:lnTo>
                  <a:pt x="90" y="2"/>
                </a:lnTo>
                <a:lnTo>
                  <a:pt x="82" y="6"/>
                </a:lnTo>
                <a:lnTo>
                  <a:pt x="76" y="8"/>
                </a:lnTo>
                <a:lnTo>
                  <a:pt x="69" y="9"/>
                </a:lnTo>
                <a:lnTo>
                  <a:pt x="63" y="11"/>
                </a:lnTo>
                <a:lnTo>
                  <a:pt x="55" y="11"/>
                </a:lnTo>
                <a:lnTo>
                  <a:pt x="55" y="11"/>
                </a:lnTo>
                <a:lnTo>
                  <a:pt x="48" y="11"/>
                </a:lnTo>
                <a:lnTo>
                  <a:pt x="42" y="11"/>
                </a:lnTo>
                <a:lnTo>
                  <a:pt x="34" y="9"/>
                </a:lnTo>
                <a:lnTo>
                  <a:pt x="29" y="9"/>
                </a:lnTo>
                <a:lnTo>
                  <a:pt x="23" y="9"/>
                </a:lnTo>
                <a:lnTo>
                  <a:pt x="15" y="9"/>
                </a:lnTo>
                <a:lnTo>
                  <a:pt x="9" y="9"/>
                </a:lnTo>
                <a:lnTo>
                  <a:pt x="0" y="11"/>
                </a:lnTo>
                <a:lnTo>
                  <a:pt x="0" y="46"/>
                </a:lnTo>
                <a:lnTo>
                  <a:pt x="0" y="46"/>
                </a:lnTo>
                <a:lnTo>
                  <a:pt x="4" y="51"/>
                </a:lnTo>
                <a:lnTo>
                  <a:pt x="8" y="57"/>
                </a:lnTo>
                <a:lnTo>
                  <a:pt x="11" y="65"/>
                </a:lnTo>
                <a:lnTo>
                  <a:pt x="15" y="70"/>
                </a:lnTo>
                <a:lnTo>
                  <a:pt x="19" y="76"/>
                </a:lnTo>
                <a:lnTo>
                  <a:pt x="21" y="82"/>
                </a:lnTo>
                <a:lnTo>
                  <a:pt x="25" y="88"/>
                </a:lnTo>
                <a:lnTo>
                  <a:pt x="29" y="93"/>
                </a:lnTo>
                <a:lnTo>
                  <a:pt x="32" y="101"/>
                </a:lnTo>
                <a:lnTo>
                  <a:pt x="34" y="107"/>
                </a:lnTo>
                <a:lnTo>
                  <a:pt x="38" y="112"/>
                </a:lnTo>
                <a:lnTo>
                  <a:pt x="42" y="118"/>
                </a:lnTo>
                <a:lnTo>
                  <a:pt x="44" y="124"/>
                </a:lnTo>
                <a:lnTo>
                  <a:pt x="48" y="130"/>
                </a:lnTo>
                <a:lnTo>
                  <a:pt x="51" y="135"/>
                </a:lnTo>
                <a:lnTo>
                  <a:pt x="55" y="141"/>
                </a:lnTo>
                <a:lnTo>
                  <a:pt x="59" y="141"/>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6" name="Freeform 18"/>
          <p:cNvSpPr>
            <a:spLocks/>
          </p:cNvSpPr>
          <p:nvPr>
            <p:custDataLst>
              <p:tags r:id="rId18"/>
            </p:custDataLst>
          </p:nvPr>
        </p:nvSpPr>
        <p:spPr bwMode="gray">
          <a:xfrm>
            <a:off x="4015586" y="5013120"/>
            <a:ext cx="668994" cy="623601"/>
          </a:xfrm>
          <a:custGeom>
            <a:avLst/>
            <a:gdLst/>
            <a:ahLst/>
            <a:cxnLst>
              <a:cxn ang="0">
                <a:pos x="435" y="21"/>
              </a:cxn>
              <a:cxn ang="0">
                <a:pos x="452" y="50"/>
              </a:cxn>
              <a:cxn ang="0">
                <a:pos x="475" y="78"/>
              </a:cxn>
              <a:cxn ang="0">
                <a:pos x="485" y="105"/>
              </a:cxn>
              <a:cxn ang="0">
                <a:pos x="494" y="128"/>
              </a:cxn>
              <a:cxn ang="0">
                <a:pos x="517" y="143"/>
              </a:cxn>
              <a:cxn ang="0">
                <a:pos x="559" y="160"/>
              </a:cxn>
              <a:cxn ang="0">
                <a:pos x="574" y="175"/>
              </a:cxn>
              <a:cxn ang="0">
                <a:pos x="590" y="195"/>
              </a:cxn>
              <a:cxn ang="0">
                <a:pos x="605" y="206"/>
              </a:cxn>
              <a:cxn ang="0">
                <a:pos x="607" y="229"/>
              </a:cxn>
              <a:cxn ang="0">
                <a:pos x="609" y="257"/>
              </a:cxn>
              <a:cxn ang="0">
                <a:pos x="618" y="277"/>
              </a:cxn>
              <a:cxn ang="0">
                <a:pos x="655" y="294"/>
              </a:cxn>
              <a:cxn ang="0">
                <a:pos x="678" y="301"/>
              </a:cxn>
              <a:cxn ang="0">
                <a:pos x="697" y="315"/>
              </a:cxn>
              <a:cxn ang="0">
                <a:pos x="714" y="328"/>
              </a:cxn>
              <a:cxn ang="0">
                <a:pos x="723" y="341"/>
              </a:cxn>
              <a:cxn ang="0">
                <a:pos x="679" y="370"/>
              </a:cxn>
              <a:cxn ang="0">
                <a:pos x="658" y="376"/>
              </a:cxn>
              <a:cxn ang="0">
                <a:pos x="636" y="376"/>
              </a:cxn>
              <a:cxn ang="0">
                <a:pos x="609" y="399"/>
              </a:cxn>
              <a:cxn ang="0">
                <a:pos x="578" y="437"/>
              </a:cxn>
              <a:cxn ang="0">
                <a:pos x="561" y="448"/>
              </a:cxn>
              <a:cxn ang="0">
                <a:pos x="540" y="464"/>
              </a:cxn>
              <a:cxn ang="0">
                <a:pos x="525" y="486"/>
              </a:cxn>
              <a:cxn ang="0">
                <a:pos x="512" y="511"/>
              </a:cxn>
              <a:cxn ang="0">
                <a:pos x="491" y="530"/>
              </a:cxn>
              <a:cxn ang="0">
                <a:pos x="471" y="538"/>
              </a:cxn>
              <a:cxn ang="0">
                <a:pos x="451" y="546"/>
              </a:cxn>
              <a:cxn ang="0">
                <a:pos x="443" y="572"/>
              </a:cxn>
              <a:cxn ang="0">
                <a:pos x="430" y="599"/>
              </a:cxn>
              <a:cxn ang="0">
                <a:pos x="407" y="612"/>
              </a:cxn>
              <a:cxn ang="0">
                <a:pos x="382" y="614"/>
              </a:cxn>
              <a:cxn ang="0">
                <a:pos x="361" y="614"/>
              </a:cxn>
              <a:cxn ang="0">
                <a:pos x="332" y="614"/>
              </a:cxn>
              <a:cxn ang="0">
                <a:pos x="298" y="614"/>
              </a:cxn>
              <a:cxn ang="0">
                <a:pos x="267" y="591"/>
              </a:cxn>
              <a:cxn ang="0">
                <a:pos x="233" y="586"/>
              </a:cxn>
              <a:cxn ang="0">
                <a:pos x="210" y="624"/>
              </a:cxn>
              <a:cxn ang="0">
                <a:pos x="191" y="650"/>
              </a:cxn>
              <a:cxn ang="0">
                <a:pos x="159" y="679"/>
              </a:cxn>
              <a:cxn ang="0">
                <a:pos x="117" y="698"/>
              </a:cxn>
              <a:cxn ang="0">
                <a:pos x="79" y="696"/>
              </a:cxn>
              <a:cxn ang="0">
                <a:pos x="54" y="692"/>
              </a:cxn>
              <a:cxn ang="0">
                <a:pos x="48" y="675"/>
              </a:cxn>
              <a:cxn ang="0">
                <a:pos x="59" y="650"/>
              </a:cxn>
              <a:cxn ang="0">
                <a:pos x="59" y="620"/>
              </a:cxn>
              <a:cxn ang="0">
                <a:pos x="48" y="588"/>
              </a:cxn>
              <a:cxn ang="0">
                <a:pos x="29" y="567"/>
              </a:cxn>
              <a:cxn ang="0">
                <a:pos x="0" y="549"/>
              </a:cxn>
              <a:cxn ang="0">
                <a:pos x="262" y="9"/>
              </a:cxn>
              <a:cxn ang="0">
                <a:pos x="279" y="23"/>
              </a:cxn>
              <a:cxn ang="0">
                <a:pos x="298" y="40"/>
              </a:cxn>
              <a:cxn ang="0">
                <a:pos x="319" y="25"/>
              </a:cxn>
              <a:cxn ang="0">
                <a:pos x="340" y="8"/>
              </a:cxn>
              <a:cxn ang="0">
                <a:pos x="370" y="0"/>
              </a:cxn>
              <a:cxn ang="0">
                <a:pos x="397" y="0"/>
              </a:cxn>
              <a:cxn ang="0">
                <a:pos x="431" y="0"/>
              </a:cxn>
            </a:cxnLst>
            <a:rect l="0" t="0" r="r" b="b"/>
            <a:pathLst>
              <a:path w="729" h="700">
                <a:moveTo>
                  <a:pt x="431" y="0"/>
                </a:moveTo>
                <a:lnTo>
                  <a:pt x="431" y="0"/>
                </a:lnTo>
                <a:lnTo>
                  <a:pt x="431" y="8"/>
                </a:lnTo>
                <a:lnTo>
                  <a:pt x="433" y="15"/>
                </a:lnTo>
                <a:lnTo>
                  <a:pt x="435" y="21"/>
                </a:lnTo>
                <a:lnTo>
                  <a:pt x="437" y="29"/>
                </a:lnTo>
                <a:lnTo>
                  <a:pt x="441" y="34"/>
                </a:lnTo>
                <a:lnTo>
                  <a:pt x="445" y="40"/>
                </a:lnTo>
                <a:lnTo>
                  <a:pt x="449" y="46"/>
                </a:lnTo>
                <a:lnTo>
                  <a:pt x="452" y="50"/>
                </a:lnTo>
                <a:lnTo>
                  <a:pt x="458" y="57"/>
                </a:lnTo>
                <a:lnTo>
                  <a:pt x="462" y="61"/>
                </a:lnTo>
                <a:lnTo>
                  <a:pt x="466" y="67"/>
                </a:lnTo>
                <a:lnTo>
                  <a:pt x="471" y="72"/>
                </a:lnTo>
                <a:lnTo>
                  <a:pt x="475" y="78"/>
                </a:lnTo>
                <a:lnTo>
                  <a:pt x="479" y="86"/>
                </a:lnTo>
                <a:lnTo>
                  <a:pt x="481" y="93"/>
                </a:lnTo>
                <a:lnTo>
                  <a:pt x="485" y="99"/>
                </a:lnTo>
                <a:lnTo>
                  <a:pt x="485" y="99"/>
                </a:lnTo>
                <a:lnTo>
                  <a:pt x="485" y="105"/>
                </a:lnTo>
                <a:lnTo>
                  <a:pt x="487" y="111"/>
                </a:lnTo>
                <a:lnTo>
                  <a:pt x="489" y="116"/>
                </a:lnTo>
                <a:lnTo>
                  <a:pt x="489" y="120"/>
                </a:lnTo>
                <a:lnTo>
                  <a:pt x="491" y="124"/>
                </a:lnTo>
                <a:lnTo>
                  <a:pt x="494" y="128"/>
                </a:lnTo>
                <a:lnTo>
                  <a:pt x="498" y="132"/>
                </a:lnTo>
                <a:lnTo>
                  <a:pt x="502" y="135"/>
                </a:lnTo>
                <a:lnTo>
                  <a:pt x="502" y="135"/>
                </a:lnTo>
                <a:lnTo>
                  <a:pt x="510" y="139"/>
                </a:lnTo>
                <a:lnTo>
                  <a:pt x="517" y="143"/>
                </a:lnTo>
                <a:lnTo>
                  <a:pt x="525" y="145"/>
                </a:lnTo>
                <a:lnTo>
                  <a:pt x="533" y="149"/>
                </a:lnTo>
                <a:lnTo>
                  <a:pt x="542" y="153"/>
                </a:lnTo>
                <a:lnTo>
                  <a:pt x="552" y="156"/>
                </a:lnTo>
                <a:lnTo>
                  <a:pt x="559" y="160"/>
                </a:lnTo>
                <a:lnTo>
                  <a:pt x="567" y="166"/>
                </a:lnTo>
                <a:lnTo>
                  <a:pt x="567" y="166"/>
                </a:lnTo>
                <a:lnTo>
                  <a:pt x="571" y="168"/>
                </a:lnTo>
                <a:lnTo>
                  <a:pt x="573" y="172"/>
                </a:lnTo>
                <a:lnTo>
                  <a:pt x="574" y="175"/>
                </a:lnTo>
                <a:lnTo>
                  <a:pt x="578" y="181"/>
                </a:lnTo>
                <a:lnTo>
                  <a:pt x="580" y="185"/>
                </a:lnTo>
                <a:lnTo>
                  <a:pt x="582" y="189"/>
                </a:lnTo>
                <a:lnTo>
                  <a:pt x="586" y="193"/>
                </a:lnTo>
                <a:lnTo>
                  <a:pt x="590" y="195"/>
                </a:lnTo>
                <a:lnTo>
                  <a:pt x="590" y="195"/>
                </a:lnTo>
                <a:lnTo>
                  <a:pt x="595" y="196"/>
                </a:lnTo>
                <a:lnTo>
                  <a:pt x="599" y="200"/>
                </a:lnTo>
                <a:lnTo>
                  <a:pt x="603" y="202"/>
                </a:lnTo>
                <a:lnTo>
                  <a:pt x="605" y="206"/>
                </a:lnTo>
                <a:lnTo>
                  <a:pt x="605" y="210"/>
                </a:lnTo>
                <a:lnTo>
                  <a:pt x="607" y="215"/>
                </a:lnTo>
                <a:lnTo>
                  <a:pt x="607" y="219"/>
                </a:lnTo>
                <a:lnTo>
                  <a:pt x="607" y="225"/>
                </a:lnTo>
                <a:lnTo>
                  <a:pt x="607" y="229"/>
                </a:lnTo>
                <a:lnTo>
                  <a:pt x="607" y="235"/>
                </a:lnTo>
                <a:lnTo>
                  <a:pt x="607" y="240"/>
                </a:lnTo>
                <a:lnTo>
                  <a:pt x="607" y="246"/>
                </a:lnTo>
                <a:lnTo>
                  <a:pt x="607" y="252"/>
                </a:lnTo>
                <a:lnTo>
                  <a:pt x="609" y="257"/>
                </a:lnTo>
                <a:lnTo>
                  <a:pt x="609" y="263"/>
                </a:lnTo>
                <a:lnTo>
                  <a:pt x="611" y="269"/>
                </a:lnTo>
                <a:lnTo>
                  <a:pt x="611" y="269"/>
                </a:lnTo>
                <a:lnTo>
                  <a:pt x="615" y="273"/>
                </a:lnTo>
                <a:lnTo>
                  <a:pt x="618" y="277"/>
                </a:lnTo>
                <a:lnTo>
                  <a:pt x="624" y="280"/>
                </a:lnTo>
                <a:lnTo>
                  <a:pt x="632" y="284"/>
                </a:lnTo>
                <a:lnTo>
                  <a:pt x="639" y="288"/>
                </a:lnTo>
                <a:lnTo>
                  <a:pt x="647" y="290"/>
                </a:lnTo>
                <a:lnTo>
                  <a:pt x="655" y="294"/>
                </a:lnTo>
                <a:lnTo>
                  <a:pt x="662" y="296"/>
                </a:lnTo>
                <a:lnTo>
                  <a:pt x="662" y="296"/>
                </a:lnTo>
                <a:lnTo>
                  <a:pt x="668" y="298"/>
                </a:lnTo>
                <a:lnTo>
                  <a:pt x="674" y="299"/>
                </a:lnTo>
                <a:lnTo>
                  <a:pt x="678" y="301"/>
                </a:lnTo>
                <a:lnTo>
                  <a:pt x="681" y="305"/>
                </a:lnTo>
                <a:lnTo>
                  <a:pt x="685" y="307"/>
                </a:lnTo>
                <a:lnTo>
                  <a:pt x="689" y="309"/>
                </a:lnTo>
                <a:lnTo>
                  <a:pt x="693" y="313"/>
                </a:lnTo>
                <a:lnTo>
                  <a:pt x="697" y="315"/>
                </a:lnTo>
                <a:lnTo>
                  <a:pt x="700" y="319"/>
                </a:lnTo>
                <a:lnTo>
                  <a:pt x="704" y="320"/>
                </a:lnTo>
                <a:lnTo>
                  <a:pt x="706" y="324"/>
                </a:lnTo>
                <a:lnTo>
                  <a:pt x="710" y="326"/>
                </a:lnTo>
                <a:lnTo>
                  <a:pt x="714" y="328"/>
                </a:lnTo>
                <a:lnTo>
                  <a:pt x="719" y="332"/>
                </a:lnTo>
                <a:lnTo>
                  <a:pt x="723" y="334"/>
                </a:lnTo>
                <a:lnTo>
                  <a:pt x="729" y="336"/>
                </a:lnTo>
                <a:lnTo>
                  <a:pt x="729" y="336"/>
                </a:lnTo>
                <a:lnTo>
                  <a:pt x="723" y="341"/>
                </a:lnTo>
                <a:lnTo>
                  <a:pt x="716" y="347"/>
                </a:lnTo>
                <a:lnTo>
                  <a:pt x="706" y="353"/>
                </a:lnTo>
                <a:lnTo>
                  <a:pt x="698" y="359"/>
                </a:lnTo>
                <a:lnTo>
                  <a:pt x="689" y="364"/>
                </a:lnTo>
                <a:lnTo>
                  <a:pt x="679" y="370"/>
                </a:lnTo>
                <a:lnTo>
                  <a:pt x="674" y="374"/>
                </a:lnTo>
                <a:lnTo>
                  <a:pt x="668" y="376"/>
                </a:lnTo>
                <a:lnTo>
                  <a:pt x="668" y="376"/>
                </a:lnTo>
                <a:lnTo>
                  <a:pt x="664" y="376"/>
                </a:lnTo>
                <a:lnTo>
                  <a:pt x="658" y="376"/>
                </a:lnTo>
                <a:lnTo>
                  <a:pt x="655" y="376"/>
                </a:lnTo>
                <a:lnTo>
                  <a:pt x="649" y="376"/>
                </a:lnTo>
                <a:lnTo>
                  <a:pt x="643" y="376"/>
                </a:lnTo>
                <a:lnTo>
                  <a:pt x="639" y="376"/>
                </a:lnTo>
                <a:lnTo>
                  <a:pt x="636" y="376"/>
                </a:lnTo>
                <a:lnTo>
                  <a:pt x="632" y="378"/>
                </a:lnTo>
                <a:lnTo>
                  <a:pt x="632" y="378"/>
                </a:lnTo>
                <a:lnTo>
                  <a:pt x="622" y="383"/>
                </a:lnTo>
                <a:lnTo>
                  <a:pt x="615" y="391"/>
                </a:lnTo>
                <a:lnTo>
                  <a:pt x="609" y="399"/>
                </a:lnTo>
                <a:lnTo>
                  <a:pt x="603" y="404"/>
                </a:lnTo>
                <a:lnTo>
                  <a:pt x="597" y="414"/>
                </a:lnTo>
                <a:lnTo>
                  <a:pt x="592" y="422"/>
                </a:lnTo>
                <a:lnTo>
                  <a:pt x="586" y="429"/>
                </a:lnTo>
                <a:lnTo>
                  <a:pt x="578" y="437"/>
                </a:lnTo>
                <a:lnTo>
                  <a:pt x="578" y="437"/>
                </a:lnTo>
                <a:lnTo>
                  <a:pt x="574" y="439"/>
                </a:lnTo>
                <a:lnTo>
                  <a:pt x="571" y="443"/>
                </a:lnTo>
                <a:lnTo>
                  <a:pt x="565" y="444"/>
                </a:lnTo>
                <a:lnTo>
                  <a:pt x="561" y="448"/>
                </a:lnTo>
                <a:lnTo>
                  <a:pt x="555" y="452"/>
                </a:lnTo>
                <a:lnTo>
                  <a:pt x="550" y="454"/>
                </a:lnTo>
                <a:lnTo>
                  <a:pt x="544" y="458"/>
                </a:lnTo>
                <a:lnTo>
                  <a:pt x="540" y="464"/>
                </a:lnTo>
                <a:lnTo>
                  <a:pt x="540" y="464"/>
                </a:lnTo>
                <a:lnTo>
                  <a:pt x="536" y="467"/>
                </a:lnTo>
                <a:lnTo>
                  <a:pt x="533" y="473"/>
                </a:lnTo>
                <a:lnTo>
                  <a:pt x="531" y="477"/>
                </a:lnTo>
                <a:lnTo>
                  <a:pt x="529" y="483"/>
                </a:lnTo>
                <a:lnTo>
                  <a:pt x="525" y="486"/>
                </a:lnTo>
                <a:lnTo>
                  <a:pt x="523" y="492"/>
                </a:lnTo>
                <a:lnTo>
                  <a:pt x="521" y="496"/>
                </a:lnTo>
                <a:lnTo>
                  <a:pt x="517" y="502"/>
                </a:lnTo>
                <a:lnTo>
                  <a:pt x="515" y="505"/>
                </a:lnTo>
                <a:lnTo>
                  <a:pt x="512" y="511"/>
                </a:lnTo>
                <a:lnTo>
                  <a:pt x="508" y="515"/>
                </a:lnTo>
                <a:lnTo>
                  <a:pt x="504" y="519"/>
                </a:lnTo>
                <a:lnTo>
                  <a:pt x="500" y="523"/>
                </a:lnTo>
                <a:lnTo>
                  <a:pt x="496" y="526"/>
                </a:lnTo>
                <a:lnTo>
                  <a:pt x="491" y="530"/>
                </a:lnTo>
                <a:lnTo>
                  <a:pt x="485" y="534"/>
                </a:lnTo>
                <a:lnTo>
                  <a:pt x="485" y="534"/>
                </a:lnTo>
                <a:lnTo>
                  <a:pt x="481" y="536"/>
                </a:lnTo>
                <a:lnTo>
                  <a:pt x="477" y="536"/>
                </a:lnTo>
                <a:lnTo>
                  <a:pt x="471" y="538"/>
                </a:lnTo>
                <a:lnTo>
                  <a:pt x="466" y="538"/>
                </a:lnTo>
                <a:lnTo>
                  <a:pt x="462" y="538"/>
                </a:lnTo>
                <a:lnTo>
                  <a:pt x="456" y="540"/>
                </a:lnTo>
                <a:lnTo>
                  <a:pt x="454" y="542"/>
                </a:lnTo>
                <a:lnTo>
                  <a:pt x="451" y="546"/>
                </a:lnTo>
                <a:lnTo>
                  <a:pt x="451" y="546"/>
                </a:lnTo>
                <a:lnTo>
                  <a:pt x="449" y="553"/>
                </a:lnTo>
                <a:lnTo>
                  <a:pt x="447" y="561"/>
                </a:lnTo>
                <a:lnTo>
                  <a:pt x="445" y="567"/>
                </a:lnTo>
                <a:lnTo>
                  <a:pt x="443" y="572"/>
                </a:lnTo>
                <a:lnTo>
                  <a:pt x="441" y="580"/>
                </a:lnTo>
                <a:lnTo>
                  <a:pt x="437" y="584"/>
                </a:lnTo>
                <a:lnTo>
                  <a:pt x="435" y="589"/>
                </a:lnTo>
                <a:lnTo>
                  <a:pt x="431" y="595"/>
                </a:lnTo>
                <a:lnTo>
                  <a:pt x="430" y="599"/>
                </a:lnTo>
                <a:lnTo>
                  <a:pt x="426" y="603"/>
                </a:lnTo>
                <a:lnTo>
                  <a:pt x="422" y="607"/>
                </a:lnTo>
                <a:lnTo>
                  <a:pt x="418" y="608"/>
                </a:lnTo>
                <a:lnTo>
                  <a:pt x="412" y="610"/>
                </a:lnTo>
                <a:lnTo>
                  <a:pt x="407" y="612"/>
                </a:lnTo>
                <a:lnTo>
                  <a:pt x="399" y="614"/>
                </a:lnTo>
                <a:lnTo>
                  <a:pt x="391" y="614"/>
                </a:lnTo>
                <a:lnTo>
                  <a:pt x="391" y="614"/>
                </a:lnTo>
                <a:lnTo>
                  <a:pt x="388" y="614"/>
                </a:lnTo>
                <a:lnTo>
                  <a:pt x="382" y="614"/>
                </a:lnTo>
                <a:lnTo>
                  <a:pt x="378" y="614"/>
                </a:lnTo>
                <a:lnTo>
                  <a:pt x="374" y="614"/>
                </a:lnTo>
                <a:lnTo>
                  <a:pt x="368" y="614"/>
                </a:lnTo>
                <a:lnTo>
                  <a:pt x="365" y="614"/>
                </a:lnTo>
                <a:lnTo>
                  <a:pt x="361" y="614"/>
                </a:lnTo>
                <a:lnTo>
                  <a:pt x="355" y="614"/>
                </a:lnTo>
                <a:lnTo>
                  <a:pt x="351" y="614"/>
                </a:lnTo>
                <a:lnTo>
                  <a:pt x="346" y="614"/>
                </a:lnTo>
                <a:lnTo>
                  <a:pt x="340" y="614"/>
                </a:lnTo>
                <a:lnTo>
                  <a:pt x="332" y="614"/>
                </a:lnTo>
                <a:lnTo>
                  <a:pt x="325" y="614"/>
                </a:lnTo>
                <a:lnTo>
                  <a:pt x="317" y="614"/>
                </a:lnTo>
                <a:lnTo>
                  <a:pt x="307" y="614"/>
                </a:lnTo>
                <a:lnTo>
                  <a:pt x="298" y="614"/>
                </a:lnTo>
                <a:lnTo>
                  <a:pt x="298" y="614"/>
                </a:lnTo>
                <a:lnTo>
                  <a:pt x="292" y="610"/>
                </a:lnTo>
                <a:lnTo>
                  <a:pt x="286" y="607"/>
                </a:lnTo>
                <a:lnTo>
                  <a:pt x="281" y="601"/>
                </a:lnTo>
                <a:lnTo>
                  <a:pt x="275" y="597"/>
                </a:lnTo>
                <a:lnTo>
                  <a:pt x="267" y="591"/>
                </a:lnTo>
                <a:lnTo>
                  <a:pt x="262" y="588"/>
                </a:lnTo>
                <a:lnTo>
                  <a:pt x="254" y="586"/>
                </a:lnTo>
                <a:lnTo>
                  <a:pt x="244" y="584"/>
                </a:lnTo>
                <a:lnTo>
                  <a:pt x="244" y="584"/>
                </a:lnTo>
                <a:lnTo>
                  <a:pt x="233" y="586"/>
                </a:lnTo>
                <a:lnTo>
                  <a:pt x="224" y="591"/>
                </a:lnTo>
                <a:lnTo>
                  <a:pt x="220" y="597"/>
                </a:lnTo>
                <a:lnTo>
                  <a:pt x="216" y="607"/>
                </a:lnTo>
                <a:lnTo>
                  <a:pt x="212" y="616"/>
                </a:lnTo>
                <a:lnTo>
                  <a:pt x="210" y="624"/>
                </a:lnTo>
                <a:lnTo>
                  <a:pt x="206" y="633"/>
                </a:lnTo>
                <a:lnTo>
                  <a:pt x="201" y="641"/>
                </a:lnTo>
                <a:lnTo>
                  <a:pt x="201" y="641"/>
                </a:lnTo>
                <a:lnTo>
                  <a:pt x="197" y="645"/>
                </a:lnTo>
                <a:lnTo>
                  <a:pt x="191" y="650"/>
                </a:lnTo>
                <a:lnTo>
                  <a:pt x="185" y="656"/>
                </a:lnTo>
                <a:lnTo>
                  <a:pt x="180" y="662"/>
                </a:lnTo>
                <a:lnTo>
                  <a:pt x="172" y="668"/>
                </a:lnTo>
                <a:lnTo>
                  <a:pt x="166" y="673"/>
                </a:lnTo>
                <a:lnTo>
                  <a:pt x="159" y="679"/>
                </a:lnTo>
                <a:lnTo>
                  <a:pt x="151" y="685"/>
                </a:lnTo>
                <a:lnTo>
                  <a:pt x="141" y="689"/>
                </a:lnTo>
                <a:lnTo>
                  <a:pt x="134" y="692"/>
                </a:lnTo>
                <a:lnTo>
                  <a:pt x="124" y="696"/>
                </a:lnTo>
                <a:lnTo>
                  <a:pt x="117" y="698"/>
                </a:lnTo>
                <a:lnTo>
                  <a:pt x="107" y="700"/>
                </a:lnTo>
                <a:lnTo>
                  <a:pt x="98" y="700"/>
                </a:lnTo>
                <a:lnTo>
                  <a:pt x="88" y="698"/>
                </a:lnTo>
                <a:lnTo>
                  <a:pt x="79" y="696"/>
                </a:lnTo>
                <a:lnTo>
                  <a:pt x="79" y="696"/>
                </a:lnTo>
                <a:lnTo>
                  <a:pt x="75" y="694"/>
                </a:lnTo>
                <a:lnTo>
                  <a:pt x="69" y="694"/>
                </a:lnTo>
                <a:lnTo>
                  <a:pt x="63" y="694"/>
                </a:lnTo>
                <a:lnTo>
                  <a:pt x="59" y="694"/>
                </a:lnTo>
                <a:lnTo>
                  <a:pt x="54" y="692"/>
                </a:lnTo>
                <a:lnTo>
                  <a:pt x="50" y="691"/>
                </a:lnTo>
                <a:lnTo>
                  <a:pt x="48" y="687"/>
                </a:lnTo>
                <a:lnTo>
                  <a:pt x="48" y="683"/>
                </a:lnTo>
                <a:lnTo>
                  <a:pt x="48" y="683"/>
                </a:lnTo>
                <a:lnTo>
                  <a:pt x="48" y="675"/>
                </a:lnTo>
                <a:lnTo>
                  <a:pt x="50" y="670"/>
                </a:lnTo>
                <a:lnTo>
                  <a:pt x="52" y="664"/>
                </a:lnTo>
                <a:lnTo>
                  <a:pt x="54" y="660"/>
                </a:lnTo>
                <a:lnTo>
                  <a:pt x="58" y="656"/>
                </a:lnTo>
                <a:lnTo>
                  <a:pt x="59" y="650"/>
                </a:lnTo>
                <a:lnTo>
                  <a:pt x="61" y="643"/>
                </a:lnTo>
                <a:lnTo>
                  <a:pt x="61" y="635"/>
                </a:lnTo>
                <a:lnTo>
                  <a:pt x="61" y="635"/>
                </a:lnTo>
                <a:lnTo>
                  <a:pt x="61" y="628"/>
                </a:lnTo>
                <a:lnTo>
                  <a:pt x="59" y="620"/>
                </a:lnTo>
                <a:lnTo>
                  <a:pt x="59" y="612"/>
                </a:lnTo>
                <a:lnTo>
                  <a:pt x="58" y="605"/>
                </a:lnTo>
                <a:lnTo>
                  <a:pt x="54" y="599"/>
                </a:lnTo>
                <a:lnTo>
                  <a:pt x="52" y="593"/>
                </a:lnTo>
                <a:lnTo>
                  <a:pt x="48" y="588"/>
                </a:lnTo>
                <a:lnTo>
                  <a:pt x="46" y="584"/>
                </a:lnTo>
                <a:lnTo>
                  <a:pt x="42" y="578"/>
                </a:lnTo>
                <a:lnTo>
                  <a:pt x="37" y="574"/>
                </a:lnTo>
                <a:lnTo>
                  <a:pt x="33" y="570"/>
                </a:lnTo>
                <a:lnTo>
                  <a:pt x="29" y="567"/>
                </a:lnTo>
                <a:lnTo>
                  <a:pt x="25" y="563"/>
                </a:lnTo>
                <a:lnTo>
                  <a:pt x="21" y="559"/>
                </a:lnTo>
                <a:lnTo>
                  <a:pt x="16" y="555"/>
                </a:lnTo>
                <a:lnTo>
                  <a:pt x="12" y="553"/>
                </a:lnTo>
                <a:lnTo>
                  <a:pt x="0" y="549"/>
                </a:lnTo>
                <a:lnTo>
                  <a:pt x="0" y="330"/>
                </a:lnTo>
                <a:lnTo>
                  <a:pt x="82" y="330"/>
                </a:lnTo>
                <a:lnTo>
                  <a:pt x="82" y="32"/>
                </a:lnTo>
                <a:lnTo>
                  <a:pt x="94" y="32"/>
                </a:lnTo>
                <a:lnTo>
                  <a:pt x="262" y="9"/>
                </a:lnTo>
                <a:lnTo>
                  <a:pt x="262" y="9"/>
                </a:lnTo>
                <a:lnTo>
                  <a:pt x="265" y="11"/>
                </a:lnTo>
                <a:lnTo>
                  <a:pt x="271" y="15"/>
                </a:lnTo>
                <a:lnTo>
                  <a:pt x="275" y="19"/>
                </a:lnTo>
                <a:lnTo>
                  <a:pt x="279" y="23"/>
                </a:lnTo>
                <a:lnTo>
                  <a:pt x="285" y="27"/>
                </a:lnTo>
                <a:lnTo>
                  <a:pt x="288" y="32"/>
                </a:lnTo>
                <a:lnTo>
                  <a:pt x="294" y="36"/>
                </a:lnTo>
                <a:lnTo>
                  <a:pt x="298" y="40"/>
                </a:lnTo>
                <a:lnTo>
                  <a:pt x="298" y="40"/>
                </a:lnTo>
                <a:lnTo>
                  <a:pt x="302" y="38"/>
                </a:lnTo>
                <a:lnTo>
                  <a:pt x="307" y="34"/>
                </a:lnTo>
                <a:lnTo>
                  <a:pt x="311" y="30"/>
                </a:lnTo>
                <a:lnTo>
                  <a:pt x="315" y="27"/>
                </a:lnTo>
                <a:lnTo>
                  <a:pt x="319" y="25"/>
                </a:lnTo>
                <a:lnTo>
                  <a:pt x="323" y="21"/>
                </a:lnTo>
                <a:lnTo>
                  <a:pt x="327" y="17"/>
                </a:lnTo>
                <a:lnTo>
                  <a:pt x="330" y="13"/>
                </a:lnTo>
                <a:lnTo>
                  <a:pt x="334" y="11"/>
                </a:lnTo>
                <a:lnTo>
                  <a:pt x="340" y="8"/>
                </a:lnTo>
                <a:lnTo>
                  <a:pt x="344" y="6"/>
                </a:lnTo>
                <a:lnTo>
                  <a:pt x="349" y="4"/>
                </a:lnTo>
                <a:lnTo>
                  <a:pt x="357" y="2"/>
                </a:lnTo>
                <a:lnTo>
                  <a:pt x="363" y="0"/>
                </a:lnTo>
                <a:lnTo>
                  <a:pt x="370" y="0"/>
                </a:lnTo>
                <a:lnTo>
                  <a:pt x="378" y="0"/>
                </a:lnTo>
                <a:lnTo>
                  <a:pt x="378" y="0"/>
                </a:lnTo>
                <a:lnTo>
                  <a:pt x="384" y="0"/>
                </a:lnTo>
                <a:lnTo>
                  <a:pt x="391" y="0"/>
                </a:lnTo>
                <a:lnTo>
                  <a:pt x="397" y="0"/>
                </a:lnTo>
                <a:lnTo>
                  <a:pt x="405" y="0"/>
                </a:lnTo>
                <a:lnTo>
                  <a:pt x="410" y="0"/>
                </a:lnTo>
                <a:lnTo>
                  <a:pt x="418" y="0"/>
                </a:lnTo>
                <a:lnTo>
                  <a:pt x="424" y="0"/>
                </a:lnTo>
                <a:lnTo>
                  <a:pt x="431" y="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7" name="Freeform 19"/>
          <p:cNvSpPr>
            <a:spLocks/>
          </p:cNvSpPr>
          <p:nvPr>
            <p:custDataLst>
              <p:tags r:id="rId19"/>
            </p:custDataLst>
          </p:nvPr>
        </p:nvSpPr>
        <p:spPr bwMode="gray">
          <a:xfrm>
            <a:off x="4174331" y="4331199"/>
            <a:ext cx="843936" cy="699730"/>
          </a:xfrm>
          <a:custGeom>
            <a:avLst/>
            <a:gdLst/>
            <a:ahLst/>
            <a:cxnLst>
              <a:cxn ang="0">
                <a:pos x="580" y="597"/>
              </a:cxn>
              <a:cxn ang="0">
                <a:pos x="532" y="637"/>
              </a:cxn>
              <a:cxn ang="0">
                <a:pos x="521" y="670"/>
              </a:cxn>
              <a:cxn ang="0">
                <a:pos x="479" y="683"/>
              </a:cxn>
              <a:cxn ang="0">
                <a:pos x="444" y="708"/>
              </a:cxn>
              <a:cxn ang="0">
                <a:pos x="406" y="763"/>
              </a:cxn>
              <a:cxn ang="0">
                <a:pos x="355" y="788"/>
              </a:cxn>
              <a:cxn ang="0">
                <a:pos x="296" y="773"/>
              </a:cxn>
              <a:cxn ang="0">
                <a:pos x="242" y="759"/>
              </a:cxn>
              <a:cxn ang="0">
                <a:pos x="187" y="740"/>
              </a:cxn>
              <a:cxn ang="0">
                <a:pos x="130" y="746"/>
              </a:cxn>
              <a:cxn ang="0">
                <a:pos x="2" y="391"/>
              </a:cxn>
              <a:cxn ang="0">
                <a:pos x="48" y="391"/>
              </a:cxn>
              <a:cxn ang="0">
                <a:pos x="93" y="385"/>
              </a:cxn>
              <a:cxn ang="0">
                <a:pos x="153" y="366"/>
              </a:cxn>
              <a:cxn ang="0">
                <a:pos x="164" y="311"/>
              </a:cxn>
              <a:cxn ang="0">
                <a:pos x="164" y="263"/>
              </a:cxn>
              <a:cxn ang="0">
                <a:pos x="189" y="246"/>
              </a:cxn>
              <a:cxn ang="0">
                <a:pos x="219" y="254"/>
              </a:cxn>
              <a:cxn ang="0">
                <a:pos x="256" y="244"/>
              </a:cxn>
              <a:cxn ang="0">
                <a:pos x="275" y="271"/>
              </a:cxn>
              <a:cxn ang="0">
                <a:pos x="345" y="301"/>
              </a:cxn>
              <a:cxn ang="0">
                <a:pos x="399" y="288"/>
              </a:cxn>
              <a:cxn ang="0">
                <a:pos x="431" y="303"/>
              </a:cxn>
              <a:cxn ang="0">
                <a:pos x="488" y="336"/>
              </a:cxn>
              <a:cxn ang="0">
                <a:pos x="525" y="370"/>
              </a:cxn>
              <a:cxn ang="0">
                <a:pos x="555" y="414"/>
              </a:cxn>
              <a:cxn ang="0">
                <a:pos x="582" y="408"/>
              </a:cxn>
              <a:cxn ang="0">
                <a:pos x="612" y="406"/>
              </a:cxn>
              <a:cxn ang="0">
                <a:pos x="601" y="332"/>
              </a:cxn>
              <a:cxn ang="0">
                <a:pos x="551" y="326"/>
              </a:cxn>
              <a:cxn ang="0">
                <a:pos x="513" y="275"/>
              </a:cxn>
              <a:cxn ang="0">
                <a:pos x="517" y="227"/>
              </a:cxn>
              <a:cxn ang="0">
                <a:pos x="526" y="179"/>
              </a:cxn>
              <a:cxn ang="0">
                <a:pos x="526" y="124"/>
              </a:cxn>
              <a:cxn ang="0">
                <a:pos x="517" y="97"/>
              </a:cxn>
              <a:cxn ang="0">
                <a:pos x="536" y="67"/>
              </a:cxn>
              <a:cxn ang="0">
                <a:pos x="555" y="31"/>
              </a:cxn>
              <a:cxn ang="0">
                <a:pos x="595" y="11"/>
              </a:cxn>
              <a:cxn ang="0">
                <a:pos x="643" y="8"/>
              </a:cxn>
              <a:cxn ang="0">
                <a:pos x="721" y="25"/>
              </a:cxn>
              <a:cxn ang="0">
                <a:pos x="744" y="38"/>
              </a:cxn>
              <a:cxn ang="0">
                <a:pos x="759" y="36"/>
              </a:cxn>
              <a:cxn ang="0">
                <a:pos x="778" y="50"/>
              </a:cxn>
              <a:cxn ang="0">
                <a:pos x="824" y="69"/>
              </a:cxn>
              <a:cxn ang="0">
                <a:pos x="885" y="97"/>
              </a:cxn>
              <a:cxn ang="0">
                <a:pos x="904" y="134"/>
              </a:cxn>
              <a:cxn ang="0">
                <a:pos x="921" y="177"/>
              </a:cxn>
              <a:cxn ang="0">
                <a:pos x="902" y="225"/>
              </a:cxn>
              <a:cxn ang="0">
                <a:pos x="895" y="258"/>
              </a:cxn>
              <a:cxn ang="0">
                <a:pos x="904" y="300"/>
              </a:cxn>
              <a:cxn ang="0">
                <a:pos x="893" y="328"/>
              </a:cxn>
              <a:cxn ang="0">
                <a:pos x="883" y="364"/>
              </a:cxn>
              <a:cxn ang="0">
                <a:pos x="866" y="397"/>
              </a:cxn>
              <a:cxn ang="0">
                <a:pos x="845" y="424"/>
              </a:cxn>
              <a:cxn ang="0">
                <a:pos x="881" y="452"/>
              </a:cxn>
              <a:cxn ang="0">
                <a:pos x="834" y="475"/>
              </a:cxn>
              <a:cxn ang="0">
                <a:pos x="761" y="496"/>
              </a:cxn>
              <a:cxn ang="0">
                <a:pos x="721" y="509"/>
              </a:cxn>
              <a:cxn ang="0">
                <a:pos x="679" y="525"/>
              </a:cxn>
              <a:cxn ang="0">
                <a:pos x="639" y="551"/>
              </a:cxn>
              <a:cxn ang="0">
                <a:pos x="645" y="574"/>
              </a:cxn>
              <a:cxn ang="0">
                <a:pos x="647" y="591"/>
              </a:cxn>
            </a:cxnLst>
            <a:rect l="0" t="0" r="r" b="b"/>
            <a:pathLst>
              <a:path w="921" h="788">
                <a:moveTo>
                  <a:pt x="631" y="590"/>
                </a:moveTo>
                <a:lnTo>
                  <a:pt x="631" y="590"/>
                </a:lnTo>
                <a:lnTo>
                  <a:pt x="624" y="590"/>
                </a:lnTo>
                <a:lnTo>
                  <a:pt x="616" y="590"/>
                </a:lnTo>
                <a:lnTo>
                  <a:pt x="609" y="590"/>
                </a:lnTo>
                <a:lnTo>
                  <a:pt x="601" y="591"/>
                </a:lnTo>
                <a:lnTo>
                  <a:pt x="595" y="593"/>
                </a:lnTo>
                <a:lnTo>
                  <a:pt x="588" y="595"/>
                </a:lnTo>
                <a:lnTo>
                  <a:pt x="580" y="597"/>
                </a:lnTo>
                <a:lnTo>
                  <a:pt x="574" y="599"/>
                </a:lnTo>
                <a:lnTo>
                  <a:pt x="568" y="603"/>
                </a:lnTo>
                <a:lnTo>
                  <a:pt x="563" y="607"/>
                </a:lnTo>
                <a:lnTo>
                  <a:pt x="557" y="610"/>
                </a:lnTo>
                <a:lnTo>
                  <a:pt x="551" y="614"/>
                </a:lnTo>
                <a:lnTo>
                  <a:pt x="546" y="620"/>
                </a:lnTo>
                <a:lnTo>
                  <a:pt x="542" y="624"/>
                </a:lnTo>
                <a:lnTo>
                  <a:pt x="538" y="630"/>
                </a:lnTo>
                <a:lnTo>
                  <a:pt x="532" y="637"/>
                </a:lnTo>
                <a:lnTo>
                  <a:pt x="532" y="637"/>
                </a:lnTo>
                <a:lnTo>
                  <a:pt x="532" y="639"/>
                </a:lnTo>
                <a:lnTo>
                  <a:pt x="530" y="645"/>
                </a:lnTo>
                <a:lnTo>
                  <a:pt x="530" y="649"/>
                </a:lnTo>
                <a:lnTo>
                  <a:pt x="530" y="654"/>
                </a:lnTo>
                <a:lnTo>
                  <a:pt x="530" y="658"/>
                </a:lnTo>
                <a:lnTo>
                  <a:pt x="528" y="664"/>
                </a:lnTo>
                <a:lnTo>
                  <a:pt x="526" y="668"/>
                </a:lnTo>
                <a:lnTo>
                  <a:pt x="521" y="670"/>
                </a:lnTo>
                <a:lnTo>
                  <a:pt x="521" y="670"/>
                </a:lnTo>
                <a:lnTo>
                  <a:pt x="515" y="672"/>
                </a:lnTo>
                <a:lnTo>
                  <a:pt x="509" y="673"/>
                </a:lnTo>
                <a:lnTo>
                  <a:pt x="504" y="675"/>
                </a:lnTo>
                <a:lnTo>
                  <a:pt x="500" y="677"/>
                </a:lnTo>
                <a:lnTo>
                  <a:pt x="494" y="679"/>
                </a:lnTo>
                <a:lnTo>
                  <a:pt x="488" y="681"/>
                </a:lnTo>
                <a:lnTo>
                  <a:pt x="483" y="683"/>
                </a:lnTo>
                <a:lnTo>
                  <a:pt x="479" y="683"/>
                </a:lnTo>
                <a:lnTo>
                  <a:pt x="473" y="687"/>
                </a:lnTo>
                <a:lnTo>
                  <a:pt x="469" y="689"/>
                </a:lnTo>
                <a:lnTo>
                  <a:pt x="464" y="691"/>
                </a:lnTo>
                <a:lnTo>
                  <a:pt x="460" y="693"/>
                </a:lnTo>
                <a:lnTo>
                  <a:pt x="456" y="696"/>
                </a:lnTo>
                <a:lnTo>
                  <a:pt x="452" y="700"/>
                </a:lnTo>
                <a:lnTo>
                  <a:pt x="448" y="704"/>
                </a:lnTo>
                <a:lnTo>
                  <a:pt x="444" y="708"/>
                </a:lnTo>
                <a:lnTo>
                  <a:pt x="444" y="708"/>
                </a:lnTo>
                <a:lnTo>
                  <a:pt x="441" y="712"/>
                </a:lnTo>
                <a:lnTo>
                  <a:pt x="437" y="717"/>
                </a:lnTo>
                <a:lnTo>
                  <a:pt x="433" y="723"/>
                </a:lnTo>
                <a:lnTo>
                  <a:pt x="429" y="729"/>
                </a:lnTo>
                <a:lnTo>
                  <a:pt x="425" y="736"/>
                </a:lnTo>
                <a:lnTo>
                  <a:pt x="422" y="742"/>
                </a:lnTo>
                <a:lnTo>
                  <a:pt x="418" y="750"/>
                </a:lnTo>
                <a:lnTo>
                  <a:pt x="412" y="755"/>
                </a:lnTo>
                <a:lnTo>
                  <a:pt x="406" y="763"/>
                </a:lnTo>
                <a:lnTo>
                  <a:pt x="402" y="769"/>
                </a:lnTo>
                <a:lnTo>
                  <a:pt x="395" y="773"/>
                </a:lnTo>
                <a:lnTo>
                  <a:pt x="389" y="778"/>
                </a:lnTo>
                <a:lnTo>
                  <a:pt x="383" y="782"/>
                </a:lnTo>
                <a:lnTo>
                  <a:pt x="378" y="786"/>
                </a:lnTo>
                <a:lnTo>
                  <a:pt x="370" y="786"/>
                </a:lnTo>
                <a:lnTo>
                  <a:pt x="362" y="788"/>
                </a:lnTo>
                <a:lnTo>
                  <a:pt x="362" y="788"/>
                </a:lnTo>
                <a:lnTo>
                  <a:pt x="355" y="788"/>
                </a:lnTo>
                <a:lnTo>
                  <a:pt x="349" y="786"/>
                </a:lnTo>
                <a:lnTo>
                  <a:pt x="343" y="786"/>
                </a:lnTo>
                <a:lnTo>
                  <a:pt x="336" y="784"/>
                </a:lnTo>
                <a:lnTo>
                  <a:pt x="330" y="782"/>
                </a:lnTo>
                <a:lnTo>
                  <a:pt x="324" y="780"/>
                </a:lnTo>
                <a:lnTo>
                  <a:pt x="317" y="778"/>
                </a:lnTo>
                <a:lnTo>
                  <a:pt x="309" y="776"/>
                </a:lnTo>
                <a:lnTo>
                  <a:pt x="303" y="775"/>
                </a:lnTo>
                <a:lnTo>
                  <a:pt x="296" y="773"/>
                </a:lnTo>
                <a:lnTo>
                  <a:pt x="290" y="771"/>
                </a:lnTo>
                <a:lnTo>
                  <a:pt x="282" y="771"/>
                </a:lnTo>
                <a:lnTo>
                  <a:pt x="275" y="769"/>
                </a:lnTo>
                <a:lnTo>
                  <a:pt x="269" y="767"/>
                </a:lnTo>
                <a:lnTo>
                  <a:pt x="261" y="767"/>
                </a:lnTo>
                <a:lnTo>
                  <a:pt x="254" y="767"/>
                </a:lnTo>
                <a:lnTo>
                  <a:pt x="254" y="767"/>
                </a:lnTo>
                <a:lnTo>
                  <a:pt x="248" y="763"/>
                </a:lnTo>
                <a:lnTo>
                  <a:pt x="242" y="759"/>
                </a:lnTo>
                <a:lnTo>
                  <a:pt x="237" y="755"/>
                </a:lnTo>
                <a:lnTo>
                  <a:pt x="231" y="752"/>
                </a:lnTo>
                <a:lnTo>
                  <a:pt x="225" y="746"/>
                </a:lnTo>
                <a:lnTo>
                  <a:pt x="219" y="744"/>
                </a:lnTo>
                <a:lnTo>
                  <a:pt x="210" y="742"/>
                </a:lnTo>
                <a:lnTo>
                  <a:pt x="200" y="740"/>
                </a:lnTo>
                <a:lnTo>
                  <a:pt x="200" y="740"/>
                </a:lnTo>
                <a:lnTo>
                  <a:pt x="195" y="740"/>
                </a:lnTo>
                <a:lnTo>
                  <a:pt x="187" y="740"/>
                </a:lnTo>
                <a:lnTo>
                  <a:pt x="181" y="740"/>
                </a:lnTo>
                <a:lnTo>
                  <a:pt x="174" y="742"/>
                </a:lnTo>
                <a:lnTo>
                  <a:pt x="168" y="742"/>
                </a:lnTo>
                <a:lnTo>
                  <a:pt x="160" y="742"/>
                </a:lnTo>
                <a:lnTo>
                  <a:pt x="155" y="742"/>
                </a:lnTo>
                <a:lnTo>
                  <a:pt x="149" y="744"/>
                </a:lnTo>
                <a:lnTo>
                  <a:pt x="143" y="744"/>
                </a:lnTo>
                <a:lnTo>
                  <a:pt x="135" y="746"/>
                </a:lnTo>
                <a:lnTo>
                  <a:pt x="130" y="746"/>
                </a:lnTo>
                <a:lnTo>
                  <a:pt x="124" y="746"/>
                </a:lnTo>
                <a:lnTo>
                  <a:pt x="118" y="748"/>
                </a:lnTo>
                <a:lnTo>
                  <a:pt x="111" y="748"/>
                </a:lnTo>
                <a:lnTo>
                  <a:pt x="105" y="750"/>
                </a:lnTo>
                <a:lnTo>
                  <a:pt x="99" y="752"/>
                </a:lnTo>
                <a:lnTo>
                  <a:pt x="0" y="637"/>
                </a:lnTo>
                <a:lnTo>
                  <a:pt x="0" y="391"/>
                </a:lnTo>
                <a:lnTo>
                  <a:pt x="0" y="391"/>
                </a:lnTo>
                <a:lnTo>
                  <a:pt x="2" y="391"/>
                </a:lnTo>
                <a:lnTo>
                  <a:pt x="6" y="391"/>
                </a:lnTo>
                <a:lnTo>
                  <a:pt x="10" y="391"/>
                </a:lnTo>
                <a:lnTo>
                  <a:pt x="13" y="391"/>
                </a:lnTo>
                <a:lnTo>
                  <a:pt x="19" y="391"/>
                </a:lnTo>
                <a:lnTo>
                  <a:pt x="25" y="391"/>
                </a:lnTo>
                <a:lnTo>
                  <a:pt x="31" y="391"/>
                </a:lnTo>
                <a:lnTo>
                  <a:pt x="36" y="391"/>
                </a:lnTo>
                <a:lnTo>
                  <a:pt x="42" y="391"/>
                </a:lnTo>
                <a:lnTo>
                  <a:pt x="48" y="391"/>
                </a:lnTo>
                <a:lnTo>
                  <a:pt x="53" y="391"/>
                </a:lnTo>
                <a:lnTo>
                  <a:pt x="59" y="391"/>
                </a:lnTo>
                <a:lnTo>
                  <a:pt x="63" y="391"/>
                </a:lnTo>
                <a:lnTo>
                  <a:pt x="69" y="391"/>
                </a:lnTo>
                <a:lnTo>
                  <a:pt x="72" y="391"/>
                </a:lnTo>
                <a:lnTo>
                  <a:pt x="76" y="391"/>
                </a:lnTo>
                <a:lnTo>
                  <a:pt x="76" y="391"/>
                </a:lnTo>
                <a:lnTo>
                  <a:pt x="86" y="389"/>
                </a:lnTo>
                <a:lnTo>
                  <a:pt x="93" y="385"/>
                </a:lnTo>
                <a:lnTo>
                  <a:pt x="101" y="383"/>
                </a:lnTo>
                <a:lnTo>
                  <a:pt x="109" y="382"/>
                </a:lnTo>
                <a:lnTo>
                  <a:pt x="116" y="382"/>
                </a:lnTo>
                <a:lnTo>
                  <a:pt x="124" y="380"/>
                </a:lnTo>
                <a:lnTo>
                  <a:pt x="132" y="378"/>
                </a:lnTo>
                <a:lnTo>
                  <a:pt x="137" y="376"/>
                </a:lnTo>
                <a:lnTo>
                  <a:pt x="143" y="374"/>
                </a:lnTo>
                <a:lnTo>
                  <a:pt x="149" y="370"/>
                </a:lnTo>
                <a:lnTo>
                  <a:pt x="153" y="366"/>
                </a:lnTo>
                <a:lnTo>
                  <a:pt x="156" y="362"/>
                </a:lnTo>
                <a:lnTo>
                  <a:pt x="160" y="357"/>
                </a:lnTo>
                <a:lnTo>
                  <a:pt x="162" y="349"/>
                </a:lnTo>
                <a:lnTo>
                  <a:pt x="164" y="340"/>
                </a:lnTo>
                <a:lnTo>
                  <a:pt x="164" y="330"/>
                </a:lnTo>
                <a:lnTo>
                  <a:pt x="164" y="330"/>
                </a:lnTo>
                <a:lnTo>
                  <a:pt x="164" y="322"/>
                </a:lnTo>
                <a:lnTo>
                  <a:pt x="164" y="317"/>
                </a:lnTo>
                <a:lnTo>
                  <a:pt x="164" y="311"/>
                </a:lnTo>
                <a:lnTo>
                  <a:pt x="164" y="307"/>
                </a:lnTo>
                <a:lnTo>
                  <a:pt x="164" y="301"/>
                </a:lnTo>
                <a:lnTo>
                  <a:pt x="164" y="298"/>
                </a:lnTo>
                <a:lnTo>
                  <a:pt x="164" y="292"/>
                </a:lnTo>
                <a:lnTo>
                  <a:pt x="164" y="288"/>
                </a:lnTo>
                <a:lnTo>
                  <a:pt x="164" y="282"/>
                </a:lnTo>
                <a:lnTo>
                  <a:pt x="164" y="277"/>
                </a:lnTo>
                <a:lnTo>
                  <a:pt x="164" y="271"/>
                </a:lnTo>
                <a:lnTo>
                  <a:pt x="164" y="263"/>
                </a:lnTo>
                <a:lnTo>
                  <a:pt x="164" y="258"/>
                </a:lnTo>
                <a:lnTo>
                  <a:pt x="164" y="248"/>
                </a:lnTo>
                <a:lnTo>
                  <a:pt x="164" y="238"/>
                </a:lnTo>
                <a:lnTo>
                  <a:pt x="164" y="229"/>
                </a:lnTo>
                <a:lnTo>
                  <a:pt x="164" y="229"/>
                </a:lnTo>
                <a:lnTo>
                  <a:pt x="177" y="231"/>
                </a:lnTo>
                <a:lnTo>
                  <a:pt x="185" y="235"/>
                </a:lnTo>
                <a:lnTo>
                  <a:pt x="189" y="238"/>
                </a:lnTo>
                <a:lnTo>
                  <a:pt x="189" y="246"/>
                </a:lnTo>
                <a:lnTo>
                  <a:pt x="189" y="252"/>
                </a:lnTo>
                <a:lnTo>
                  <a:pt x="191" y="258"/>
                </a:lnTo>
                <a:lnTo>
                  <a:pt x="195" y="261"/>
                </a:lnTo>
                <a:lnTo>
                  <a:pt x="200" y="261"/>
                </a:lnTo>
                <a:lnTo>
                  <a:pt x="200" y="261"/>
                </a:lnTo>
                <a:lnTo>
                  <a:pt x="206" y="261"/>
                </a:lnTo>
                <a:lnTo>
                  <a:pt x="210" y="259"/>
                </a:lnTo>
                <a:lnTo>
                  <a:pt x="216" y="256"/>
                </a:lnTo>
                <a:lnTo>
                  <a:pt x="219" y="254"/>
                </a:lnTo>
                <a:lnTo>
                  <a:pt x="225" y="250"/>
                </a:lnTo>
                <a:lnTo>
                  <a:pt x="231" y="248"/>
                </a:lnTo>
                <a:lnTo>
                  <a:pt x="237" y="244"/>
                </a:lnTo>
                <a:lnTo>
                  <a:pt x="244" y="244"/>
                </a:lnTo>
                <a:lnTo>
                  <a:pt x="244" y="244"/>
                </a:lnTo>
                <a:lnTo>
                  <a:pt x="248" y="244"/>
                </a:lnTo>
                <a:lnTo>
                  <a:pt x="250" y="244"/>
                </a:lnTo>
                <a:lnTo>
                  <a:pt x="254" y="244"/>
                </a:lnTo>
                <a:lnTo>
                  <a:pt x="256" y="244"/>
                </a:lnTo>
                <a:lnTo>
                  <a:pt x="258" y="246"/>
                </a:lnTo>
                <a:lnTo>
                  <a:pt x="259" y="246"/>
                </a:lnTo>
                <a:lnTo>
                  <a:pt x="261" y="244"/>
                </a:lnTo>
                <a:lnTo>
                  <a:pt x="265" y="244"/>
                </a:lnTo>
                <a:lnTo>
                  <a:pt x="265" y="244"/>
                </a:lnTo>
                <a:lnTo>
                  <a:pt x="265" y="252"/>
                </a:lnTo>
                <a:lnTo>
                  <a:pt x="269" y="259"/>
                </a:lnTo>
                <a:lnTo>
                  <a:pt x="271" y="265"/>
                </a:lnTo>
                <a:lnTo>
                  <a:pt x="275" y="271"/>
                </a:lnTo>
                <a:lnTo>
                  <a:pt x="280" y="277"/>
                </a:lnTo>
                <a:lnTo>
                  <a:pt x="286" y="280"/>
                </a:lnTo>
                <a:lnTo>
                  <a:pt x="294" y="286"/>
                </a:lnTo>
                <a:lnTo>
                  <a:pt x="301" y="290"/>
                </a:lnTo>
                <a:lnTo>
                  <a:pt x="309" y="292"/>
                </a:lnTo>
                <a:lnTo>
                  <a:pt x="319" y="296"/>
                </a:lnTo>
                <a:lnTo>
                  <a:pt x="328" y="298"/>
                </a:lnTo>
                <a:lnTo>
                  <a:pt x="336" y="300"/>
                </a:lnTo>
                <a:lnTo>
                  <a:pt x="345" y="301"/>
                </a:lnTo>
                <a:lnTo>
                  <a:pt x="355" y="303"/>
                </a:lnTo>
                <a:lnTo>
                  <a:pt x="362" y="303"/>
                </a:lnTo>
                <a:lnTo>
                  <a:pt x="372" y="303"/>
                </a:lnTo>
                <a:lnTo>
                  <a:pt x="372" y="303"/>
                </a:lnTo>
                <a:lnTo>
                  <a:pt x="378" y="303"/>
                </a:lnTo>
                <a:lnTo>
                  <a:pt x="385" y="300"/>
                </a:lnTo>
                <a:lnTo>
                  <a:pt x="389" y="298"/>
                </a:lnTo>
                <a:lnTo>
                  <a:pt x="395" y="294"/>
                </a:lnTo>
                <a:lnTo>
                  <a:pt x="399" y="288"/>
                </a:lnTo>
                <a:lnTo>
                  <a:pt x="401" y="284"/>
                </a:lnTo>
                <a:lnTo>
                  <a:pt x="404" y="279"/>
                </a:lnTo>
                <a:lnTo>
                  <a:pt x="406" y="273"/>
                </a:lnTo>
                <a:lnTo>
                  <a:pt x="406" y="273"/>
                </a:lnTo>
                <a:lnTo>
                  <a:pt x="414" y="279"/>
                </a:lnTo>
                <a:lnTo>
                  <a:pt x="420" y="284"/>
                </a:lnTo>
                <a:lnTo>
                  <a:pt x="423" y="290"/>
                </a:lnTo>
                <a:lnTo>
                  <a:pt x="427" y="298"/>
                </a:lnTo>
                <a:lnTo>
                  <a:pt x="431" y="303"/>
                </a:lnTo>
                <a:lnTo>
                  <a:pt x="435" y="309"/>
                </a:lnTo>
                <a:lnTo>
                  <a:pt x="439" y="317"/>
                </a:lnTo>
                <a:lnTo>
                  <a:pt x="444" y="321"/>
                </a:lnTo>
                <a:lnTo>
                  <a:pt x="444" y="321"/>
                </a:lnTo>
                <a:lnTo>
                  <a:pt x="454" y="326"/>
                </a:lnTo>
                <a:lnTo>
                  <a:pt x="464" y="330"/>
                </a:lnTo>
                <a:lnTo>
                  <a:pt x="471" y="332"/>
                </a:lnTo>
                <a:lnTo>
                  <a:pt x="479" y="334"/>
                </a:lnTo>
                <a:lnTo>
                  <a:pt x="488" y="336"/>
                </a:lnTo>
                <a:lnTo>
                  <a:pt x="496" y="338"/>
                </a:lnTo>
                <a:lnTo>
                  <a:pt x="502" y="341"/>
                </a:lnTo>
                <a:lnTo>
                  <a:pt x="509" y="347"/>
                </a:lnTo>
                <a:lnTo>
                  <a:pt x="509" y="347"/>
                </a:lnTo>
                <a:lnTo>
                  <a:pt x="513" y="351"/>
                </a:lnTo>
                <a:lnTo>
                  <a:pt x="515" y="355"/>
                </a:lnTo>
                <a:lnTo>
                  <a:pt x="519" y="359"/>
                </a:lnTo>
                <a:lnTo>
                  <a:pt x="523" y="364"/>
                </a:lnTo>
                <a:lnTo>
                  <a:pt x="525" y="370"/>
                </a:lnTo>
                <a:lnTo>
                  <a:pt x="528" y="376"/>
                </a:lnTo>
                <a:lnTo>
                  <a:pt x="530" y="382"/>
                </a:lnTo>
                <a:lnTo>
                  <a:pt x="534" y="387"/>
                </a:lnTo>
                <a:lnTo>
                  <a:pt x="538" y="393"/>
                </a:lnTo>
                <a:lnTo>
                  <a:pt x="542" y="399"/>
                </a:lnTo>
                <a:lnTo>
                  <a:pt x="544" y="403"/>
                </a:lnTo>
                <a:lnTo>
                  <a:pt x="547" y="406"/>
                </a:lnTo>
                <a:lnTo>
                  <a:pt x="551" y="410"/>
                </a:lnTo>
                <a:lnTo>
                  <a:pt x="555" y="414"/>
                </a:lnTo>
                <a:lnTo>
                  <a:pt x="559" y="416"/>
                </a:lnTo>
                <a:lnTo>
                  <a:pt x="563" y="416"/>
                </a:lnTo>
                <a:lnTo>
                  <a:pt x="563" y="416"/>
                </a:lnTo>
                <a:lnTo>
                  <a:pt x="567" y="416"/>
                </a:lnTo>
                <a:lnTo>
                  <a:pt x="570" y="414"/>
                </a:lnTo>
                <a:lnTo>
                  <a:pt x="572" y="412"/>
                </a:lnTo>
                <a:lnTo>
                  <a:pt x="576" y="410"/>
                </a:lnTo>
                <a:lnTo>
                  <a:pt x="580" y="408"/>
                </a:lnTo>
                <a:lnTo>
                  <a:pt x="582" y="408"/>
                </a:lnTo>
                <a:lnTo>
                  <a:pt x="586" y="406"/>
                </a:lnTo>
                <a:lnTo>
                  <a:pt x="589" y="406"/>
                </a:lnTo>
                <a:lnTo>
                  <a:pt x="589" y="406"/>
                </a:lnTo>
                <a:lnTo>
                  <a:pt x="595" y="406"/>
                </a:lnTo>
                <a:lnTo>
                  <a:pt x="599" y="406"/>
                </a:lnTo>
                <a:lnTo>
                  <a:pt x="603" y="406"/>
                </a:lnTo>
                <a:lnTo>
                  <a:pt x="605" y="406"/>
                </a:lnTo>
                <a:lnTo>
                  <a:pt x="609" y="406"/>
                </a:lnTo>
                <a:lnTo>
                  <a:pt x="612" y="406"/>
                </a:lnTo>
                <a:lnTo>
                  <a:pt x="616" y="406"/>
                </a:lnTo>
                <a:lnTo>
                  <a:pt x="620" y="406"/>
                </a:lnTo>
                <a:lnTo>
                  <a:pt x="620" y="321"/>
                </a:lnTo>
                <a:lnTo>
                  <a:pt x="620" y="321"/>
                </a:lnTo>
                <a:lnTo>
                  <a:pt x="614" y="322"/>
                </a:lnTo>
                <a:lnTo>
                  <a:pt x="610" y="324"/>
                </a:lnTo>
                <a:lnTo>
                  <a:pt x="607" y="326"/>
                </a:lnTo>
                <a:lnTo>
                  <a:pt x="605" y="328"/>
                </a:lnTo>
                <a:lnTo>
                  <a:pt x="601" y="332"/>
                </a:lnTo>
                <a:lnTo>
                  <a:pt x="599" y="334"/>
                </a:lnTo>
                <a:lnTo>
                  <a:pt x="597" y="338"/>
                </a:lnTo>
                <a:lnTo>
                  <a:pt x="595" y="341"/>
                </a:lnTo>
                <a:lnTo>
                  <a:pt x="572" y="341"/>
                </a:lnTo>
                <a:lnTo>
                  <a:pt x="572" y="341"/>
                </a:lnTo>
                <a:lnTo>
                  <a:pt x="567" y="338"/>
                </a:lnTo>
                <a:lnTo>
                  <a:pt x="563" y="336"/>
                </a:lnTo>
                <a:lnTo>
                  <a:pt x="557" y="332"/>
                </a:lnTo>
                <a:lnTo>
                  <a:pt x="551" y="326"/>
                </a:lnTo>
                <a:lnTo>
                  <a:pt x="546" y="322"/>
                </a:lnTo>
                <a:lnTo>
                  <a:pt x="542" y="317"/>
                </a:lnTo>
                <a:lnTo>
                  <a:pt x="536" y="313"/>
                </a:lnTo>
                <a:lnTo>
                  <a:pt x="530" y="307"/>
                </a:lnTo>
                <a:lnTo>
                  <a:pt x="526" y="300"/>
                </a:lnTo>
                <a:lnTo>
                  <a:pt x="523" y="294"/>
                </a:lnTo>
                <a:lnTo>
                  <a:pt x="519" y="288"/>
                </a:lnTo>
                <a:lnTo>
                  <a:pt x="515" y="282"/>
                </a:lnTo>
                <a:lnTo>
                  <a:pt x="513" y="275"/>
                </a:lnTo>
                <a:lnTo>
                  <a:pt x="511" y="269"/>
                </a:lnTo>
                <a:lnTo>
                  <a:pt x="509" y="263"/>
                </a:lnTo>
                <a:lnTo>
                  <a:pt x="509" y="256"/>
                </a:lnTo>
                <a:lnTo>
                  <a:pt x="509" y="256"/>
                </a:lnTo>
                <a:lnTo>
                  <a:pt x="509" y="250"/>
                </a:lnTo>
                <a:lnTo>
                  <a:pt x="511" y="242"/>
                </a:lnTo>
                <a:lnTo>
                  <a:pt x="513" y="237"/>
                </a:lnTo>
                <a:lnTo>
                  <a:pt x="515" y="231"/>
                </a:lnTo>
                <a:lnTo>
                  <a:pt x="517" y="227"/>
                </a:lnTo>
                <a:lnTo>
                  <a:pt x="521" y="223"/>
                </a:lnTo>
                <a:lnTo>
                  <a:pt x="525" y="219"/>
                </a:lnTo>
                <a:lnTo>
                  <a:pt x="526" y="216"/>
                </a:lnTo>
                <a:lnTo>
                  <a:pt x="526" y="216"/>
                </a:lnTo>
                <a:lnTo>
                  <a:pt x="526" y="208"/>
                </a:lnTo>
                <a:lnTo>
                  <a:pt x="526" y="200"/>
                </a:lnTo>
                <a:lnTo>
                  <a:pt x="526" y="193"/>
                </a:lnTo>
                <a:lnTo>
                  <a:pt x="526" y="185"/>
                </a:lnTo>
                <a:lnTo>
                  <a:pt x="526" y="179"/>
                </a:lnTo>
                <a:lnTo>
                  <a:pt x="526" y="172"/>
                </a:lnTo>
                <a:lnTo>
                  <a:pt x="526" y="166"/>
                </a:lnTo>
                <a:lnTo>
                  <a:pt x="526" y="158"/>
                </a:lnTo>
                <a:lnTo>
                  <a:pt x="526" y="153"/>
                </a:lnTo>
                <a:lnTo>
                  <a:pt x="526" y="145"/>
                </a:lnTo>
                <a:lnTo>
                  <a:pt x="526" y="139"/>
                </a:lnTo>
                <a:lnTo>
                  <a:pt x="526" y="135"/>
                </a:lnTo>
                <a:lnTo>
                  <a:pt x="526" y="130"/>
                </a:lnTo>
                <a:lnTo>
                  <a:pt x="526" y="124"/>
                </a:lnTo>
                <a:lnTo>
                  <a:pt x="526" y="120"/>
                </a:lnTo>
                <a:lnTo>
                  <a:pt x="526" y="116"/>
                </a:lnTo>
                <a:lnTo>
                  <a:pt x="526" y="116"/>
                </a:lnTo>
                <a:lnTo>
                  <a:pt x="526" y="113"/>
                </a:lnTo>
                <a:lnTo>
                  <a:pt x="525" y="109"/>
                </a:lnTo>
                <a:lnTo>
                  <a:pt x="523" y="107"/>
                </a:lnTo>
                <a:lnTo>
                  <a:pt x="521" y="103"/>
                </a:lnTo>
                <a:lnTo>
                  <a:pt x="519" y="101"/>
                </a:lnTo>
                <a:lnTo>
                  <a:pt x="517" y="97"/>
                </a:lnTo>
                <a:lnTo>
                  <a:pt x="515" y="95"/>
                </a:lnTo>
                <a:lnTo>
                  <a:pt x="515" y="92"/>
                </a:lnTo>
                <a:lnTo>
                  <a:pt x="515" y="92"/>
                </a:lnTo>
                <a:lnTo>
                  <a:pt x="517" y="86"/>
                </a:lnTo>
                <a:lnTo>
                  <a:pt x="519" y="80"/>
                </a:lnTo>
                <a:lnTo>
                  <a:pt x="523" y="76"/>
                </a:lnTo>
                <a:lnTo>
                  <a:pt x="526" y="73"/>
                </a:lnTo>
                <a:lnTo>
                  <a:pt x="532" y="71"/>
                </a:lnTo>
                <a:lnTo>
                  <a:pt x="536" y="67"/>
                </a:lnTo>
                <a:lnTo>
                  <a:pt x="540" y="65"/>
                </a:lnTo>
                <a:lnTo>
                  <a:pt x="542" y="63"/>
                </a:lnTo>
                <a:lnTo>
                  <a:pt x="542" y="63"/>
                </a:lnTo>
                <a:lnTo>
                  <a:pt x="547" y="57"/>
                </a:lnTo>
                <a:lnTo>
                  <a:pt x="549" y="53"/>
                </a:lnTo>
                <a:lnTo>
                  <a:pt x="551" y="48"/>
                </a:lnTo>
                <a:lnTo>
                  <a:pt x="551" y="42"/>
                </a:lnTo>
                <a:lnTo>
                  <a:pt x="553" y="36"/>
                </a:lnTo>
                <a:lnTo>
                  <a:pt x="555" y="31"/>
                </a:lnTo>
                <a:lnTo>
                  <a:pt x="557" y="27"/>
                </a:lnTo>
                <a:lnTo>
                  <a:pt x="563" y="23"/>
                </a:lnTo>
                <a:lnTo>
                  <a:pt x="563" y="23"/>
                </a:lnTo>
                <a:lnTo>
                  <a:pt x="568" y="19"/>
                </a:lnTo>
                <a:lnTo>
                  <a:pt x="574" y="17"/>
                </a:lnTo>
                <a:lnTo>
                  <a:pt x="580" y="15"/>
                </a:lnTo>
                <a:lnTo>
                  <a:pt x="586" y="13"/>
                </a:lnTo>
                <a:lnTo>
                  <a:pt x="589" y="13"/>
                </a:lnTo>
                <a:lnTo>
                  <a:pt x="595" y="11"/>
                </a:lnTo>
                <a:lnTo>
                  <a:pt x="601" y="11"/>
                </a:lnTo>
                <a:lnTo>
                  <a:pt x="605" y="11"/>
                </a:lnTo>
                <a:lnTo>
                  <a:pt x="610" y="11"/>
                </a:lnTo>
                <a:lnTo>
                  <a:pt x="616" y="11"/>
                </a:lnTo>
                <a:lnTo>
                  <a:pt x="622" y="10"/>
                </a:lnTo>
                <a:lnTo>
                  <a:pt x="626" y="10"/>
                </a:lnTo>
                <a:lnTo>
                  <a:pt x="631" y="10"/>
                </a:lnTo>
                <a:lnTo>
                  <a:pt x="637" y="8"/>
                </a:lnTo>
                <a:lnTo>
                  <a:pt x="643" y="8"/>
                </a:lnTo>
                <a:lnTo>
                  <a:pt x="649" y="4"/>
                </a:lnTo>
                <a:lnTo>
                  <a:pt x="700" y="0"/>
                </a:lnTo>
                <a:lnTo>
                  <a:pt x="700" y="0"/>
                </a:lnTo>
                <a:lnTo>
                  <a:pt x="704" y="4"/>
                </a:lnTo>
                <a:lnTo>
                  <a:pt x="708" y="8"/>
                </a:lnTo>
                <a:lnTo>
                  <a:pt x="712" y="11"/>
                </a:lnTo>
                <a:lnTo>
                  <a:pt x="715" y="15"/>
                </a:lnTo>
                <a:lnTo>
                  <a:pt x="719" y="21"/>
                </a:lnTo>
                <a:lnTo>
                  <a:pt x="721" y="25"/>
                </a:lnTo>
                <a:lnTo>
                  <a:pt x="725" y="29"/>
                </a:lnTo>
                <a:lnTo>
                  <a:pt x="729" y="32"/>
                </a:lnTo>
                <a:lnTo>
                  <a:pt x="729" y="32"/>
                </a:lnTo>
                <a:lnTo>
                  <a:pt x="731" y="34"/>
                </a:lnTo>
                <a:lnTo>
                  <a:pt x="733" y="34"/>
                </a:lnTo>
                <a:lnTo>
                  <a:pt x="736" y="36"/>
                </a:lnTo>
                <a:lnTo>
                  <a:pt x="738" y="38"/>
                </a:lnTo>
                <a:lnTo>
                  <a:pt x="742" y="38"/>
                </a:lnTo>
                <a:lnTo>
                  <a:pt x="744" y="38"/>
                </a:lnTo>
                <a:lnTo>
                  <a:pt x="746" y="38"/>
                </a:lnTo>
                <a:lnTo>
                  <a:pt x="746" y="38"/>
                </a:lnTo>
                <a:lnTo>
                  <a:pt x="746" y="38"/>
                </a:lnTo>
                <a:lnTo>
                  <a:pt x="752" y="36"/>
                </a:lnTo>
                <a:lnTo>
                  <a:pt x="753" y="36"/>
                </a:lnTo>
                <a:lnTo>
                  <a:pt x="755" y="36"/>
                </a:lnTo>
                <a:lnTo>
                  <a:pt x="757" y="36"/>
                </a:lnTo>
                <a:lnTo>
                  <a:pt x="757" y="36"/>
                </a:lnTo>
                <a:lnTo>
                  <a:pt x="759" y="36"/>
                </a:lnTo>
                <a:lnTo>
                  <a:pt x="759" y="36"/>
                </a:lnTo>
                <a:lnTo>
                  <a:pt x="761" y="36"/>
                </a:lnTo>
                <a:lnTo>
                  <a:pt x="761" y="36"/>
                </a:lnTo>
                <a:lnTo>
                  <a:pt x="763" y="36"/>
                </a:lnTo>
                <a:lnTo>
                  <a:pt x="765" y="38"/>
                </a:lnTo>
                <a:lnTo>
                  <a:pt x="767" y="42"/>
                </a:lnTo>
                <a:lnTo>
                  <a:pt x="771" y="44"/>
                </a:lnTo>
                <a:lnTo>
                  <a:pt x="774" y="48"/>
                </a:lnTo>
                <a:lnTo>
                  <a:pt x="778" y="50"/>
                </a:lnTo>
                <a:lnTo>
                  <a:pt x="780" y="52"/>
                </a:lnTo>
                <a:lnTo>
                  <a:pt x="782" y="53"/>
                </a:lnTo>
                <a:lnTo>
                  <a:pt x="782" y="53"/>
                </a:lnTo>
                <a:lnTo>
                  <a:pt x="790" y="57"/>
                </a:lnTo>
                <a:lnTo>
                  <a:pt x="797" y="61"/>
                </a:lnTo>
                <a:lnTo>
                  <a:pt x="805" y="63"/>
                </a:lnTo>
                <a:lnTo>
                  <a:pt x="813" y="65"/>
                </a:lnTo>
                <a:lnTo>
                  <a:pt x="818" y="67"/>
                </a:lnTo>
                <a:lnTo>
                  <a:pt x="824" y="69"/>
                </a:lnTo>
                <a:lnTo>
                  <a:pt x="832" y="73"/>
                </a:lnTo>
                <a:lnTo>
                  <a:pt x="839" y="74"/>
                </a:lnTo>
                <a:lnTo>
                  <a:pt x="839" y="74"/>
                </a:lnTo>
                <a:lnTo>
                  <a:pt x="847" y="78"/>
                </a:lnTo>
                <a:lnTo>
                  <a:pt x="855" y="84"/>
                </a:lnTo>
                <a:lnTo>
                  <a:pt x="862" y="88"/>
                </a:lnTo>
                <a:lnTo>
                  <a:pt x="870" y="92"/>
                </a:lnTo>
                <a:lnTo>
                  <a:pt x="877" y="95"/>
                </a:lnTo>
                <a:lnTo>
                  <a:pt x="885" y="97"/>
                </a:lnTo>
                <a:lnTo>
                  <a:pt x="893" y="101"/>
                </a:lnTo>
                <a:lnTo>
                  <a:pt x="900" y="103"/>
                </a:lnTo>
                <a:lnTo>
                  <a:pt x="900" y="103"/>
                </a:lnTo>
                <a:lnTo>
                  <a:pt x="898" y="109"/>
                </a:lnTo>
                <a:lnTo>
                  <a:pt x="898" y="113"/>
                </a:lnTo>
                <a:lnTo>
                  <a:pt x="900" y="118"/>
                </a:lnTo>
                <a:lnTo>
                  <a:pt x="900" y="124"/>
                </a:lnTo>
                <a:lnTo>
                  <a:pt x="902" y="128"/>
                </a:lnTo>
                <a:lnTo>
                  <a:pt x="904" y="134"/>
                </a:lnTo>
                <a:lnTo>
                  <a:pt x="906" y="137"/>
                </a:lnTo>
                <a:lnTo>
                  <a:pt x="908" y="143"/>
                </a:lnTo>
                <a:lnTo>
                  <a:pt x="912" y="147"/>
                </a:lnTo>
                <a:lnTo>
                  <a:pt x="914" y="153"/>
                </a:lnTo>
                <a:lnTo>
                  <a:pt x="916" y="156"/>
                </a:lnTo>
                <a:lnTo>
                  <a:pt x="918" y="162"/>
                </a:lnTo>
                <a:lnTo>
                  <a:pt x="919" y="168"/>
                </a:lnTo>
                <a:lnTo>
                  <a:pt x="921" y="172"/>
                </a:lnTo>
                <a:lnTo>
                  <a:pt x="921" y="177"/>
                </a:lnTo>
                <a:lnTo>
                  <a:pt x="921" y="181"/>
                </a:lnTo>
                <a:lnTo>
                  <a:pt x="921" y="181"/>
                </a:lnTo>
                <a:lnTo>
                  <a:pt x="921" y="189"/>
                </a:lnTo>
                <a:lnTo>
                  <a:pt x="918" y="195"/>
                </a:lnTo>
                <a:lnTo>
                  <a:pt x="916" y="200"/>
                </a:lnTo>
                <a:lnTo>
                  <a:pt x="912" y="206"/>
                </a:lnTo>
                <a:lnTo>
                  <a:pt x="908" y="212"/>
                </a:lnTo>
                <a:lnTo>
                  <a:pt x="904" y="217"/>
                </a:lnTo>
                <a:lnTo>
                  <a:pt x="902" y="225"/>
                </a:lnTo>
                <a:lnTo>
                  <a:pt x="900" y="231"/>
                </a:lnTo>
                <a:lnTo>
                  <a:pt x="900" y="231"/>
                </a:lnTo>
                <a:lnTo>
                  <a:pt x="900" y="235"/>
                </a:lnTo>
                <a:lnTo>
                  <a:pt x="900" y="238"/>
                </a:lnTo>
                <a:lnTo>
                  <a:pt x="898" y="242"/>
                </a:lnTo>
                <a:lnTo>
                  <a:pt x="898" y="246"/>
                </a:lnTo>
                <a:lnTo>
                  <a:pt x="897" y="250"/>
                </a:lnTo>
                <a:lnTo>
                  <a:pt x="895" y="254"/>
                </a:lnTo>
                <a:lnTo>
                  <a:pt x="895" y="258"/>
                </a:lnTo>
                <a:lnTo>
                  <a:pt x="895" y="261"/>
                </a:lnTo>
                <a:lnTo>
                  <a:pt x="895" y="261"/>
                </a:lnTo>
                <a:lnTo>
                  <a:pt x="895" y="269"/>
                </a:lnTo>
                <a:lnTo>
                  <a:pt x="897" y="273"/>
                </a:lnTo>
                <a:lnTo>
                  <a:pt x="898" y="279"/>
                </a:lnTo>
                <a:lnTo>
                  <a:pt x="900" y="284"/>
                </a:lnTo>
                <a:lnTo>
                  <a:pt x="902" y="288"/>
                </a:lnTo>
                <a:lnTo>
                  <a:pt x="904" y="294"/>
                </a:lnTo>
                <a:lnTo>
                  <a:pt x="904" y="300"/>
                </a:lnTo>
                <a:lnTo>
                  <a:pt x="906" y="307"/>
                </a:lnTo>
                <a:lnTo>
                  <a:pt x="906" y="307"/>
                </a:lnTo>
                <a:lnTo>
                  <a:pt x="904" y="311"/>
                </a:lnTo>
                <a:lnTo>
                  <a:pt x="904" y="315"/>
                </a:lnTo>
                <a:lnTo>
                  <a:pt x="902" y="319"/>
                </a:lnTo>
                <a:lnTo>
                  <a:pt x="900" y="321"/>
                </a:lnTo>
                <a:lnTo>
                  <a:pt x="898" y="324"/>
                </a:lnTo>
                <a:lnTo>
                  <a:pt x="897" y="326"/>
                </a:lnTo>
                <a:lnTo>
                  <a:pt x="893" y="328"/>
                </a:lnTo>
                <a:lnTo>
                  <a:pt x="891" y="332"/>
                </a:lnTo>
                <a:lnTo>
                  <a:pt x="891" y="332"/>
                </a:lnTo>
                <a:lnTo>
                  <a:pt x="887" y="336"/>
                </a:lnTo>
                <a:lnTo>
                  <a:pt x="885" y="340"/>
                </a:lnTo>
                <a:lnTo>
                  <a:pt x="885" y="345"/>
                </a:lnTo>
                <a:lnTo>
                  <a:pt x="883" y="349"/>
                </a:lnTo>
                <a:lnTo>
                  <a:pt x="883" y="355"/>
                </a:lnTo>
                <a:lnTo>
                  <a:pt x="883" y="359"/>
                </a:lnTo>
                <a:lnTo>
                  <a:pt x="883" y="364"/>
                </a:lnTo>
                <a:lnTo>
                  <a:pt x="881" y="370"/>
                </a:lnTo>
                <a:lnTo>
                  <a:pt x="881" y="370"/>
                </a:lnTo>
                <a:lnTo>
                  <a:pt x="879" y="374"/>
                </a:lnTo>
                <a:lnTo>
                  <a:pt x="877" y="378"/>
                </a:lnTo>
                <a:lnTo>
                  <a:pt x="876" y="382"/>
                </a:lnTo>
                <a:lnTo>
                  <a:pt x="874" y="385"/>
                </a:lnTo>
                <a:lnTo>
                  <a:pt x="872" y="387"/>
                </a:lnTo>
                <a:lnTo>
                  <a:pt x="870" y="391"/>
                </a:lnTo>
                <a:lnTo>
                  <a:pt x="866" y="397"/>
                </a:lnTo>
                <a:lnTo>
                  <a:pt x="864" y="403"/>
                </a:lnTo>
                <a:lnTo>
                  <a:pt x="864" y="403"/>
                </a:lnTo>
                <a:lnTo>
                  <a:pt x="862" y="406"/>
                </a:lnTo>
                <a:lnTo>
                  <a:pt x="858" y="408"/>
                </a:lnTo>
                <a:lnTo>
                  <a:pt x="855" y="410"/>
                </a:lnTo>
                <a:lnTo>
                  <a:pt x="853" y="414"/>
                </a:lnTo>
                <a:lnTo>
                  <a:pt x="849" y="416"/>
                </a:lnTo>
                <a:lnTo>
                  <a:pt x="847" y="420"/>
                </a:lnTo>
                <a:lnTo>
                  <a:pt x="845" y="424"/>
                </a:lnTo>
                <a:lnTo>
                  <a:pt x="843" y="427"/>
                </a:lnTo>
                <a:lnTo>
                  <a:pt x="843" y="427"/>
                </a:lnTo>
                <a:lnTo>
                  <a:pt x="845" y="437"/>
                </a:lnTo>
                <a:lnTo>
                  <a:pt x="849" y="443"/>
                </a:lnTo>
                <a:lnTo>
                  <a:pt x="853" y="445"/>
                </a:lnTo>
                <a:lnTo>
                  <a:pt x="860" y="446"/>
                </a:lnTo>
                <a:lnTo>
                  <a:pt x="868" y="448"/>
                </a:lnTo>
                <a:lnTo>
                  <a:pt x="874" y="450"/>
                </a:lnTo>
                <a:lnTo>
                  <a:pt x="881" y="452"/>
                </a:lnTo>
                <a:lnTo>
                  <a:pt x="887" y="456"/>
                </a:lnTo>
                <a:lnTo>
                  <a:pt x="887" y="456"/>
                </a:lnTo>
                <a:lnTo>
                  <a:pt x="881" y="460"/>
                </a:lnTo>
                <a:lnTo>
                  <a:pt x="874" y="462"/>
                </a:lnTo>
                <a:lnTo>
                  <a:pt x="864" y="464"/>
                </a:lnTo>
                <a:lnTo>
                  <a:pt x="856" y="467"/>
                </a:lnTo>
                <a:lnTo>
                  <a:pt x="849" y="469"/>
                </a:lnTo>
                <a:lnTo>
                  <a:pt x="841" y="473"/>
                </a:lnTo>
                <a:lnTo>
                  <a:pt x="834" y="475"/>
                </a:lnTo>
                <a:lnTo>
                  <a:pt x="824" y="477"/>
                </a:lnTo>
                <a:lnTo>
                  <a:pt x="816" y="481"/>
                </a:lnTo>
                <a:lnTo>
                  <a:pt x="809" y="483"/>
                </a:lnTo>
                <a:lnTo>
                  <a:pt x="799" y="486"/>
                </a:lnTo>
                <a:lnTo>
                  <a:pt x="792" y="488"/>
                </a:lnTo>
                <a:lnTo>
                  <a:pt x="784" y="490"/>
                </a:lnTo>
                <a:lnTo>
                  <a:pt x="776" y="494"/>
                </a:lnTo>
                <a:lnTo>
                  <a:pt x="769" y="496"/>
                </a:lnTo>
                <a:lnTo>
                  <a:pt x="761" y="496"/>
                </a:lnTo>
                <a:lnTo>
                  <a:pt x="761" y="496"/>
                </a:lnTo>
                <a:lnTo>
                  <a:pt x="755" y="498"/>
                </a:lnTo>
                <a:lnTo>
                  <a:pt x="750" y="500"/>
                </a:lnTo>
                <a:lnTo>
                  <a:pt x="746" y="502"/>
                </a:lnTo>
                <a:lnTo>
                  <a:pt x="740" y="502"/>
                </a:lnTo>
                <a:lnTo>
                  <a:pt x="734" y="504"/>
                </a:lnTo>
                <a:lnTo>
                  <a:pt x="731" y="506"/>
                </a:lnTo>
                <a:lnTo>
                  <a:pt x="725" y="507"/>
                </a:lnTo>
                <a:lnTo>
                  <a:pt x="721" y="509"/>
                </a:lnTo>
                <a:lnTo>
                  <a:pt x="715" y="511"/>
                </a:lnTo>
                <a:lnTo>
                  <a:pt x="712" y="513"/>
                </a:lnTo>
                <a:lnTo>
                  <a:pt x="706" y="515"/>
                </a:lnTo>
                <a:lnTo>
                  <a:pt x="702" y="517"/>
                </a:lnTo>
                <a:lnTo>
                  <a:pt x="696" y="519"/>
                </a:lnTo>
                <a:lnTo>
                  <a:pt x="691" y="521"/>
                </a:lnTo>
                <a:lnTo>
                  <a:pt x="685" y="523"/>
                </a:lnTo>
                <a:lnTo>
                  <a:pt x="679" y="525"/>
                </a:lnTo>
                <a:lnTo>
                  <a:pt x="679" y="525"/>
                </a:lnTo>
                <a:lnTo>
                  <a:pt x="677" y="525"/>
                </a:lnTo>
                <a:lnTo>
                  <a:pt x="671" y="527"/>
                </a:lnTo>
                <a:lnTo>
                  <a:pt x="668" y="530"/>
                </a:lnTo>
                <a:lnTo>
                  <a:pt x="662" y="532"/>
                </a:lnTo>
                <a:lnTo>
                  <a:pt x="656" y="534"/>
                </a:lnTo>
                <a:lnTo>
                  <a:pt x="650" y="538"/>
                </a:lnTo>
                <a:lnTo>
                  <a:pt x="645" y="540"/>
                </a:lnTo>
                <a:lnTo>
                  <a:pt x="639" y="540"/>
                </a:lnTo>
                <a:lnTo>
                  <a:pt x="639" y="551"/>
                </a:lnTo>
                <a:lnTo>
                  <a:pt x="639" y="551"/>
                </a:lnTo>
                <a:lnTo>
                  <a:pt x="639" y="553"/>
                </a:lnTo>
                <a:lnTo>
                  <a:pt x="641" y="557"/>
                </a:lnTo>
                <a:lnTo>
                  <a:pt x="641" y="559"/>
                </a:lnTo>
                <a:lnTo>
                  <a:pt x="643" y="563"/>
                </a:lnTo>
                <a:lnTo>
                  <a:pt x="643" y="565"/>
                </a:lnTo>
                <a:lnTo>
                  <a:pt x="645" y="569"/>
                </a:lnTo>
                <a:lnTo>
                  <a:pt x="645" y="572"/>
                </a:lnTo>
                <a:lnTo>
                  <a:pt x="645" y="574"/>
                </a:lnTo>
                <a:lnTo>
                  <a:pt x="645" y="574"/>
                </a:lnTo>
                <a:lnTo>
                  <a:pt x="645" y="576"/>
                </a:lnTo>
                <a:lnTo>
                  <a:pt x="647" y="576"/>
                </a:lnTo>
                <a:lnTo>
                  <a:pt x="647" y="578"/>
                </a:lnTo>
                <a:lnTo>
                  <a:pt x="647" y="580"/>
                </a:lnTo>
                <a:lnTo>
                  <a:pt x="647" y="582"/>
                </a:lnTo>
                <a:lnTo>
                  <a:pt x="647" y="586"/>
                </a:lnTo>
                <a:lnTo>
                  <a:pt x="647" y="588"/>
                </a:lnTo>
                <a:lnTo>
                  <a:pt x="647" y="591"/>
                </a:lnTo>
                <a:lnTo>
                  <a:pt x="631" y="59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8" name="Freeform 20"/>
          <p:cNvSpPr>
            <a:spLocks/>
          </p:cNvSpPr>
          <p:nvPr>
            <p:custDataLst>
              <p:tags r:id="rId20"/>
            </p:custDataLst>
          </p:nvPr>
        </p:nvSpPr>
        <p:spPr bwMode="gray">
          <a:xfrm>
            <a:off x="3437302" y="4169226"/>
            <a:ext cx="887673" cy="853606"/>
          </a:xfrm>
          <a:custGeom>
            <a:avLst/>
            <a:gdLst/>
            <a:ahLst/>
            <a:cxnLst>
              <a:cxn ang="0">
                <a:pos x="51" y="13"/>
              </a:cxn>
              <a:cxn ang="0">
                <a:pos x="88" y="2"/>
              </a:cxn>
              <a:cxn ang="0">
                <a:pos x="326" y="2"/>
              </a:cxn>
              <a:cxn ang="0">
                <a:pos x="380" y="7"/>
              </a:cxn>
              <a:cxn ang="0">
                <a:pos x="389" y="42"/>
              </a:cxn>
              <a:cxn ang="0">
                <a:pos x="401" y="93"/>
              </a:cxn>
              <a:cxn ang="0">
                <a:pos x="446" y="158"/>
              </a:cxn>
              <a:cxn ang="0">
                <a:pos x="502" y="177"/>
              </a:cxn>
              <a:cxn ang="0">
                <a:pos x="557" y="168"/>
              </a:cxn>
              <a:cxn ang="0">
                <a:pos x="605" y="152"/>
              </a:cxn>
              <a:cxn ang="0">
                <a:pos x="614" y="105"/>
              </a:cxn>
              <a:cxn ang="0">
                <a:pos x="652" y="89"/>
              </a:cxn>
              <a:cxn ang="0">
                <a:pos x="692" y="112"/>
              </a:cxn>
              <a:cxn ang="0">
                <a:pos x="799" y="171"/>
              </a:cxn>
              <a:cxn ang="0">
                <a:pos x="799" y="246"/>
              </a:cxn>
              <a:cxn ang="0">
                <a:pos x="801" y="301"/>
              </a:cxn>
              <a:cxn ang="0">
                <a:pos x="826" y="324"/>
              </a:cxn>
              <a:cxn ang="0">
                <a:pos x="839" y="362"/>
              </a:cxn>
              <a:cxn ang="0">
                <a:pos x="830" y="400"/>
              </a:cxn>
              <a:cxn ang="0">
                <a:pos x="834" y="427"/>
              </a:cxn>
              <a:cxn ang="0">
                <a:pos x="858" y="423"/>
              </a:cxn>
              <a:cxn ang="0">
                <a:pos x="898" y="412"/>
              </a:cxn>
              <a:cxn ang="0">
                <a:pos x="931" y="412"/>
              </a:cxn>
              <a:cxn ang="0">
                <a:pos x="967" y="410"/>
              </a:cxn>
              <a:cxn ang="0">
                <a:pos x="967" y="463"/>
              </a:cxn>
              <a:cxn ang="0">
                <a:pos x="967" y="498"/>
              </a:cxn>
              <a:cxn ang="0">
                <a:pos x="959" y="543"/>
              </a:cxn>
              <a:cxn ang="0">
                <a:pos x="919" y="563"/>
              </a:cxn>
              <a:cxn ang="0">
                <a:pos x="875" y="572"/>
              </a:cxn>
              <a:cxn ang="0">
                <a:pos x="839" y="572"/>
              </a:cxn>
              <a:cxn ang="0">
                <a:pos x="805" y="572"/>
              </a:cxn>
              <a:cxn ang="0">
                <a:pos x="870" y="938"/>
              </a:cxn>
              <a:cxn ang="0">
                <a:pos x="792" y="952"/>
              </a:cxn>
              <a:cxn ang="0">
                <a:pos x="719" y="957"/>
              </a:cxn>
              <a:cxn ang="0">
                <a:pos x="635" y="954"/>
              </a:cxn>
              <a:cxn ang="0">
                <a:pos x="557" y="942"/>
              </a:cxn>
              <a:cxn ang="0">
                <a:pos x="525" y="925"/>
              </a:cxn>
              <a:cxn ang="0">
                <a:pos x="168" y="910"/>
              </a:cxn>
              <a:cxn ang="0">
                <a:pos x="114" y="887"/>
              </a:cxn>
              <a:cxn ang="0">
                <a:pos x="69" y="896"/>
              </a:cxn>
              <a:cxn ang="0">
                <a:pos x="29" y="896"/>
              </a:cxn>
              <a:cxn ang="0">
                <a:pos x="2" y="885"/>
              </a:cxn>
              <a:cxn ang="0">
                <a:pos x="6" y="847"/>
              </a:cxn>
              <a:cxn ang="0">
                <a:pos x="6" y="811"/>
              </a:cxn>
              <a:cxn ang="0">
                <a:pos x="9" y="788"/>
              </a:cxn>
              <a:cxn ang="0">
                <a:pos x="23" y="751"/>
              </a:cxn>
              <a:cxn ang="0">
                <a:pos x="34" y="713"/>
              </a:cxn>
              <a:cxn ang="0">
                <a:pos x="48" y="643"/>
              </a:cxn>
              <a:cxn ang="0">
                <a:pos x="76" y="576"/>
              </a:cxn>
              <a:cxn ang="0">
                <a:pos x="118" y="528"/>
              </a:cxn>
              <a:cxn ang="0">
                <a:pos x="160" y="461"/>
              </a:cxn>
              <a:cxn ang="0">
                <a:pos x="160" y="387"/>
              </a:cxn>
              <a:cxn ang="0">
                <a:pos x="124" y="324"/>
              </a:cxn>
              <a:cxn ang="0">
                <a:pos x="105" y="265"/>
              </a:cxn>
              <a:cxn ang="0">
                <a:pos x="130" y="215"/>
              </a:cxn>
              <a:cxn ang="0">
                <a:pos x="114" y="160"/>
              </a:cxn>
              <a:cxn ang="0">
                <a:pos x="80" y="91"/>
              </a:cxn>
            </a:cxnLst>
            <a:rect l="0" t="0" r="r" b="b"/>
            <a:pathLst>
              <a:path w="967" h="957">
                <a:moveTo>
                  <a:pt x="40" y="30"/>
                </a:moveTo>
                <a:lnTo>
                  <a:pt x="40" y="30"/>
                </a:lnTo>
                <a:lnTo>
                  <a:pt x="42" y="25"/>
                </a:lnTo>
                <a:lnTo>
                  <a:pt x="44" y="21"/>
                </a:lnTo>
                <a:lnTo>
                  <a:pt x="46" y="19"/>
                </a:lnTo>
                <a:lnTo>
                  <a:pt x="50" y="15"/>
                </a:lnTo>
                <a:lnTo>
                  <a:pt x="51" y="13"/>
                </a:lnTo>
                <a:lnTo>
                  <a:pt x="57" y="11"/>
                </a:lnTo>
                <a:lnTo>
                  <a:pt x="61" y="7"/>
                </a:lnTo>
                <a:lnTo>
                  <a:pt x="67" y="5"/>
                </a:lnTo>
                <a:lnTo>
                  <a:pt x="71" y="5"/>
                </a:lnTo>
                <a:lnTo>
                  <a:pt x="76" y="4"/>
                </a:lnTo>
                <a:lnTo>
                  <a:pt x="82" y="2"/>
                </a:lnTo>
                <a:lnTo>
                  <a:pt x="88" y="2"/>
                </a:lnTo>
                <a:lnTo>
                  <a:pt x="93" y="2"/>
                </a:lnTo>
                <a:lnTo>
                  <a:pt x="99" y="0"/>
                </a:lnTo>
                <a:lnTo>
                  <a:pt x="103" y="0"/>
                </a:lnTo>
                <a:lnTo>
                  <a:pt x="109" y="0"/>
                </a:lnTo>
                <a:lnTo>
                  <a:pt x="318" y="0"/>
                </a:lnTo>
                <a:lnTo>
                  <a:pt x="318" y="0"/>
                </a:lnTo>
                <a:lnTo>
                  <a:pt x="326" y="2"/>
                </a:lnTo>
                <a:lnTo>
                  <a:pt x="336" y="2"/>
                </a:lnTo>
                <a:lnTo>
                  <a:pt x="343" y="0"/>
                </a:lnTo>
                <a:lnTo>
                  <a:pt x="351" y="0"/>
                </a:lnTo>
                <a:lnTo>
                  <a:pt x="359" y="0"/>
                </a:lnTo>
                <a:lnTo>
                  <a:pt x="366" y="0"/>
                </a:lnTo>
                <a:lnTo>
                  <a:pt x="372" y="4"/>
                </a:lnTo>
                <a:lnTo>
                  <a:pt x="380" y="7"/>
                </a:lnTo>
                <a:lnTo>
                  <a:pt x="380" y="7"/>
                </a:lnTo>
                <a:lnTo>
                  <a:pt x="383" y="13"/>
                </a:lnTo>
                <a:lnTo>
                  <a:pt x="387" y="19"/>
                </a:lnTo>
                <a:lnTo>
                  <a:pt x="387" y="25"/>
                </a:lnTo>
                <a:lnTo>
                  <a:pt x="389" y="30"/>
                </a:lnTo>
                <a:lnTo>
                  <a:pt x="389" y="36"/>
                </a:lnTo>
                <a:lnTo>
                  <a:pt x="389" y="42"/>
                </a:lnTo>
                <a:lnTo>
                  <a:pt x="389" y="49"/>
                </a:lnTo>
                <a:lnTo>
                  <a:pt x="389" y="55"/>
                </a:lnTo>
                <a:lnTo>
                  <a:pt x="389" y="55"/>
                </a:lnTo>
                <a:lnTo>
                  <a:pt x="391" y="65"/>
                </a:lnTo>
                <a:lnTo>
                  <a:pt x="393" y="74"/>
                </a:lnTo>
                <a:lnTo>
                  <a:pt x="397" y="84"/>
                </a:lnTo>
                <a:lnTo>
                  <a:pt x="401" y="93"/>
                </a:lnTo>
                <a:lnTo>
                  <a:pt x="404" y="103"/>
                </a:lnTo>
                <a:lnTo>
                  <a:pt x="410" y="114"/>
                </a:lnTo>
                <a:lnTo>
                  <a:pt x="416" y="124"/>
                </a:lnTo>
                <a:lnTo>
                  <a:pt x="423" y="133"/>
                </a:lnTo>
                <a:lnTo>
                  <a:pt x="431" y="141"/>
                </a:lnTo>
                <a:lnTo>
                  <a:pt x="437" y="150"/>
                </a:lnTo>
                <a:lnTo>
                  <a:pt x="446" y="158"/>
                </a:lnTo>
                <a:lnTo>
                  <a:pt x="454" y="164"/>
                </a:lnTo>
                <a:lnTo>
                  <a:pt x="463" y="170"/>
                </a:lnTo>
                <a:lnTo>
                  <a:pt x="473" y="173"/>
                </a:lnTo>
                <a:lnTo>
                  <a:pt x="483" y="175"/>
                </a:lnTo>
                <a:lnTo>
                  <a:pt x="492" y="177"/>
                </a:lnTo>
                <a:lnTo>
                  <a:pt x="492" y="177"/>
                </a:lnTo>
                <a:lnTo>
                  <a:pt x="502" y="177"/>
                </a:lnTo>
                <a:lnTo>
                  <a:pt x="509" y="175"/>
                </a:lnTo>
                <a:lnTo>
                  <a:pt x="517" y="173"/>
                </a:lnTo>
                <a:lnTo>
                  <a:pt x="525" y="173"/>
                </a:lnTo>
                <a:lnTo>
                  <a:pt x="532" y="171"/>
                </a:lnTo>
                <a:lnTo>
                  <a:pt x="540" y="170"/>
                </a:lnTo>
                <a:lnTo>
                  <a:pt x="549" y="168"/>
                </a:lnTo>
                <a:lnTo>
                  <a:pt x="557" y="168"/>
                </a:lnTo>
                <a:lnTo>
                  <a:pt x="557" y="168"/>
                </a:lnTo>
                <a:lnTo>
                  <a:pt x="568" y="168"/>
                </a:lnTo>
                <a:lnTo>
                  <a:pt x="580" y="166"/>
                </a:lnTo>
                <a:lnTo>
                  <a:pt x="587" y="164"/>
                </a:lnTo>
                <a:lnTo>
                  <a:pt x="595" y="162"/>
                </a:lnTo>
                <a:lnTo>
                  <a:pt x="601" y="158"/>
                </a:lnTo>
                <a:lnTo>
                  <a:pt x="605" y="152"/>
                </a:lnTo>
                <a:lnTo>
                  <a:pt x="610" y="145"/>
                </a:lnTo>
                <a:lnTo>
                  <a:pt x="614" y="135"/>
                </a:lnTo>
                <a:lnTo>
                  <a:pt x="614" y="135"/>
                </a:lnTo>
                <a:lnTo>
                  <a:pt x="616" y="128"/>
                </a:lnTo>
                <a:lnTo>
                  <a:pt x="616" y="120"/>
                </a:lnTo>
                <a:lnTo>
                  <a:pt x="614" y="112"/>
                </a:lnTo>
                <a:lnTo>
                  <a:pt x="614" y="105"/>
                </a:lnTo>
                <a:lnTo>
                  <a:pt x="616" y="99"/>
                </a:lnTo>
                <a:lnTo>
                  <a:pt x="618" y="93"/>
                </a:lnTo>
                <a:lnTo>
                  <a:pt x="626" y="89"/>
                </a:lnTo>
                <a:lnTo>
                  <a:pt x="637" y="89"/>
                </a:lnTo>
                <a:lnTo>
                  <a:pt x="637" y="89"/>
                </a:lnTo>
                <a:lnTo>
                  <a:pt x="645" y="89"/>
                </a:lnTo>
                <a:lnTo>
                  <a:pt x="652" y="89"/>
                </a:lnTo>
                <a:lnTo>
                  <a:pt x="660" y="89"/>
                </a:lnTo>
                <a:lnTo>
                  <a:pt x="666" y="91"/>
                </a:lnTo>
                <a:lnTo>
                  <a:pt x="671" y="93"/>
                </a:lnTo>
                <a:lnTo>
                  <a:pt x="677" y="93"/>
                </a:lnTo>
                <a:lnTo>
                  <a:pt x="685" y="93"/>
                </a:lnTo>
                <a:lnTo>
                  <a:pt x="692" y="95"/>
                </a:lnTo>
                <a:lnTo>
                  <a:pt x="692" y="112"/>
                </a:lnTo>
                <a:lnTo>
                  <a:pt x="799" y="112"/>
                </a:lnTo>
                <a:lnTo>
                  <a:pt x="799" y="112"/>
                </a:lnTo>
                <a:lnTo>
                  <a:pt x="799" y="126"/>
                </a:lnTo>
                <a:lnTo>
                  <a:pt x="799" y="137"/>
                </a:lnTo>
                <a:lnTo>
                  <a:pt x="799" y="149"/>
                </a:lnTo>
                <a:lnTo>
                  <a:pt x="799" y="160"/>
                </a:lnTo>
                <a:lnTo>
                  <a:pt x="799" y="171"/>
                </a:lnTo>
                <a:lnTo>
                  <a:pt x="799" y="183"/>
                </a:lnTo>
                <a:lnTo>
                  <a:pt x="799" y="192"/>
                </a:lnTo>
                <a:lnTo>
                  <a:pt x="799" y="204"/>
                </a:lnTo>
                <a:lnTo>
                  <a:pt x="799" y="213"/>
                </a:lnTo>
                <a:lnTo>
                  <a:pt x="799" y="225"/>
                </a:lnTo>
                <a:lnTo>
                  <a:pt x="799" y="234"/>
                </a:lnTo>
                <a:lnTo>
                  <a:pt x="799" y="246"/>
                </a:lnTo>
                <a:lnTo>
                  <a:pt x="799" y="255"/>
                </a:lnTo>
                <a:lnTo>
                  <a:pt x="799" y="267"/>
                </a:lnTo>
                <a:lnTo>
                  <a:pt x="799" y="278"/>
                </a:lnTo>
                <a:lnTo>
                  <a:pt x="799" y="290"/>
                </a:lnTo>
                <a:lnTo>
                  <a:pt x="799" y="290"/>
                </a:lnTo>
                <a:lnTo>
                  <a:pt x="799" y="294"/>
                </a:lnTo>
                <a:lnTo>
                  <a:pt x="801" y="301"/>
                </a:lnTo>
                <a:lnTo>
                  <a:pt x="805" y="307"/>
                </a:lnTo>
                <a:lnTo>
                  <a:pt x="807" y="313"/>
                </a:lnTo>
                <a:lnTo>
                  <a:pt x="811" y="316"/>
                </a:lnTo>
                <a:lnTo>
                  <a:pt x="816" y="320"/>
                </a:lnTo>
                <a:lnTo>
                  <a:pt x="820" y="324"/>
                </a:lnTo>
                <a:lnTo>
                  <a:pt x="826" y="324"/>
                </a:lnTo>
                <a:lnTo>
                  <a:pt x="826" y="324"/>
                </a:lnTo>
                <a:lnTo>
                  <a:pt x="826" y="332"/>
                </a:lnTo>
                <a:lnTo>
                  <a:pt x="828" y="337"/>
                </a:lnTo>
                <a:lnTo>
                  <a:pt x="830" y="343"/>
                </a:lnTo>
                <a:lnTo>
                  <a:pt x="834" y="347"/>
                </a:lnTo>
                <a:lnTo>
                  <a:pt x="835" y="353"/>
                </a:lnTo>
                <a:lnTo>
                  <a:pt x="837" y="357"/>
                </a:lnTo>
                <a:lnTo>
                  <a:pt x="839" y="362"/>
                </a:lnTo>
                <a:lnTo>
                  <a:pt x="839" y="368"/>
                </a:lnTo>
                <a:lnTo>
                  <a:pt x="839" y="368"/>
                </a:lnTo>
                <a:lnTo>
                  <a:pt x="839" y="376"/>
                </a:lnTo>
                <a:lnTo>
                  <a:pt x="837" y="383"/>
                </a:lnTo>
                <a:lnTo>
                  <a:pt x="835" y="389"/>
                </a:lnTo>
                <a:lnTo>
                  <a:pt x="834" y="395"/>
                </a:lnTo>
                <a:lnTo>
                  <a:pt x="830" y="400"/>
                </a:lnTo>
                <a:lnTo>
                  <a:pt x="828" y="406"/>
                </a:lnTo>
                <a:lnTo>
                  <a:pt x="826" y="412"/>
                </a:lnTo>
                <a:lnTo>
                  <a:pt x="826" y="419"/>
                </a:lnTo>
                <a:lnTo>
                  <a:pt x="826" y="419"/>
                </a:lnTo>
                <a:lnTo>
                  <a:pt x="828" y="423"/>
                </a:lnTo>
                <a:lnTo>
                  <a:pt x="830" y="425"/>
                </a:lnTo>
                <a:lnTo>
                  <a:pt x="834" y="427"/>
                </a:lnTo>
                <a:lnTo>
                  <a:pt x="837" y="427"/>
                </a:lnTo>
                <a:lnTo>
                  <a:pt x="837" y="427"/>
                </a:lnTo>
                <a:lnTo>
                  <a:pt x="841" y="427"/>
                </a:lnTo>
                <a:lnTo>
                  <a:pt x="845" y="427"/>
                </a:lnTo>
                <a:lnTo>
                  <a:pt x="849" y="425"/>
                </a:lnTo>
                <a:lnTo>
                  <a:pt x="855" y="425"/>
                </a:lnTo>
                <a:lnTo>
                  <a:pt x="858" y="423"/>
                </a:lnTo>
                <a:lnTo>
                  <a:pt x="864" y="421"/>
                </a:lnTo>
                <a:lnTo>
                  <a:pt x="870" y="421"/>
                </a:lnTo>
                <a:lnTo>
                  <a:pt x="875" y="419"/>
                </a:lnTo>
                <a:lnTo>
                  <a:pt x="881" y="418"/>
                </a:lnTo>
                <a:lnTo>
                  <a:pt x="887" y="416"/>
                </a:lnTo>
                <a:lnTo>
                  <a:pt x="893" y="414"/>
                </a:lnTo>
                <a:lnTo>
                  <a:pt x="898" y="412"/>
                </a:lnTo>
                <a:lnTo>
                  <a:pt x="904" y="412"/>
                </a:lnTo>
                <a:lnTo>
                  <a:pt x="908" y="410"/>
                </a:lnTo>
                <a:lnTo>
                  <a:pt x="914" y="410"/>
                </a:lnTo>
                <a:lnTo>
                  <a:pt x="917" y="410"/>
                </a:lnTo>
                <a:lnTo>
                  <a:pt x="917" y="410"/>
                </a:lnTo>
                <a:lnTo>
                  <a:pt x="923" y="410"/>
                </a:lnTo>
                <a:lnTo>
                  <a:pt x="931" y="412"/>
                </a:lnTo>
                <a:lnTo>
                  <a:pt x="938" y="412"/>
                </a:lnTo>
                <a:lnTo>
                  <a:pt x="944" y="412"/>
                </a:lnTo>
                <a:lnTo>
                  <a:pt x="950" y="414"/>
                </a:lnTo>
                <a:lnTo>
                  <a:pt x="958" y="414"/>
                </a:lnTo>
                <a:lnTo>
                  <a:pt x="963" y="412"/>
                </a:lnTo>
                <a:lnTo>
                  <a:pt x="967" y="410"/>
                </a:lnTo>
                <a:lnTo>
                  <a:pt x="967" y="410"/>
                </a:lnTo>
                <a:lnTo>
                  <a:pt x="967" y="419"/>
                </a:lnTo>
                <a:lnTo>
                  <a:pt x="967" y="429"/>
                </a:lnTo>
                <a:lnTo>
                  <a:pt x="967" y="439"/>
                </a:lnTo>
                <a:lnTo>
                  <a:pt x="967" y="444"/>
                </a:lnTo>
                <a:lnTo>
                  <a:pt x="967" y="452"/>
                </a:lnTo>
                <a:lnTo>
                  <a:pt x="967" y="458"/>
                </a:lnTo>
                <a:lnTo>
                  <a:pt x="967" y="463"/>
                </a:lnTo>
                <a:lnTo>
                  <a:pt x="967" y="469"/>
                </a:lnTo>
                <a:lnTo>
                  <a:pt x="967" y="473"/>
                </a:lnTo>
                <a:lnTo>
                  <a:pt x="967" y="479"/>
                </a:lnTo>
                <a:lnTo>
                  <a:pt x="967" y="482"/>
                </a:lnTo>
                <a:lnTo>
                  <a:pt x="967" y="488"/>
                </a:lnTo>
                <a:lnTo>
                  <a:pt x="967" y="492"/>
                </a:lnTo>
                <a:lnTo>
                  <a:pt x="967" y="498"/>
                </a:lnTo>
                <a:lnTo>
                  <a:pt x="967" y="503"/>
                </a:lnTo>
                <a:lnTo>
                  <a:pt x="967" y="511"/>
                </a:lnTo>
                <a:lnTo>
                  <a:pt x="967" y="511"/>
                </a:lnTo>
                <a:lnTo>
                  <a:pt x="967" y="521"/>
                </a:lnTo>
                <a:lnTo>
                  <a:pt x="965" y="530"/>
                </a:lnTo>
                <a:lnTo>
                  <a:pt x="963" y="538"/>
                </a:lnTo>
                <a:lnTo>
                  <a:pt x="959" y="543"/>
                </a:lnTo>
                <a:lnTo>
                  <a:pt x="956" y="547"/>
                </a:lnTo>
                <a:lnTo>
                  <a:pt x="952" y="551"/>
                </a:lnTo>
                <a:lnTo>
                  <a:pt x="946" y="555"/>
                </a:lnTo>
                <a:lnTo>
                  <a:pt x="940" y="557"/>
                </a:lnTo>
                <a:lnTo>
                  <a:pt x="935" y="559"/>
                </a:lnTo>
                <a:lnTo>
                  <a:pt x="927" y="561"/>
                </a:lnTo>
                <a:lnTo>
                  <a:pt x="919" y="563"/>
                </a:lnTo>
                <a:lnTo>
                  <a:pt x="912" y="563"/>
                </a:lnTo>
                <a:lnTo>
                  <a:pt x="904" y="564"/>
                </a:lnTo>
                <a:lnTo>
                  <a:pt x="896" y="566"/>
                </a:lnTo>
                <a:lnTo>
                  <a:pt x="889" y="570"/>
                </a:lnTo>
                <a:lnTo>
                  <a:pt x="879" y="572"/>
                </a:lnTo>
                <a:lnTo>
                  <a:pt x="879" y="572"/>
                </a:lnTo>
                <a:lnTo>
                  <a:pt x="875" y="572"/>
                </a:lnTo>
                <a:lnTo>
                  <a:pt x="872" y="572"/>
                </a:lnTo>
                <a:lnTo>
                  <a:pt x="866" y="572"/>
                </a:lnTo>
                <a:lnTo>
                  <a:pt x="862" y="572"/>
                </a:lnTo>
                <a:lnTo>
                  <a:pt x="856" y="572"/>
                </a:lnTo>
                <a:lnTo>
                  <a:pt x="851" y="572"/>
                </a:lnTo>
                <a:lnTo>
                  <a:pt x="845" y="572"/>
                </a:lnTo>
                <a:lnTo>
                  <a:pt x="839" y="572"/>
                </a:lnTo>
                <a:lnTo>
                  <a:pt x="834" y="572"/>
                </a:lnTo>
                <a:lnTo>
                  <a:pt x="828" y="572"/>
                </a:lnTo>
                <a:lnTo>
                  <a:pt x="822" y="572"/>
                </a:lnTo>
                <a:lnTo>
                  <a:pt x="816" y="572"/>
                </a:lnTo>
                <a:lnTo>
                  <a:pt x="813" y="572"/>
                </a:lnTo>
                <a:lnTo>
                  <a:pt x="809" y="572"/>
                </a:lnTo>
                <a:lnTo>
                  <a:pt x="805" y="572"/>
                </a:lnTo>
                <a:lnTo>
                  <a:pt x="803" y="572"/>
                </a:lnTo>
                <a:lnTo>
                  <a:pt x="803" y="818"/>
                </a:lnTo>
                <a:lnTo>
                  <a:pt x="902" y="933"/>
                </a:lnTo>
                <a:lnTo>
                  <a:pt x="902" y="933"/>
                </a:lnTo>
                <a:lnTo>
                  <a:pt x="891" y="935"/>
                </a:lnTo>
                <a:lnTo>
                  <a:pt x="881" y="936"/>
                </a:lnTo>
                <a:lnTo>
                  <a:pt x="870" y="938"/>
                </a:lnTo>
                <a:lnTo>
                  <a:pt x="858" y="940"/>
                </a:lnTo>
                <a:lnTo>
                  <a:pt x="849" y="942"/>
                </a:lnTo>
                <a:lnTo>
                  <a:pt x="837" y="944"/>
                </a:lnTo>
                <a:lnTo>
                  <a:pt x="826" y="946"/>
                </a:lnTo>
                <a:lnTo>
                  <a:pt x="814" y="948"/>
                </a:lnTo>
                <a:lnTo>
                  <a:pt x="805" y="950"/>
                </a:lnTo>
                <a:lnTo>
                  <a:pt x="792" y="952"/>
                </a:lnTo>
                <a:lnTo>
                  <a:pt x="780" y="954"/>
                </a:lnTo>
                <a:lnTo>
                  <a:pt x="769" y="954"/>
                </a:lnTo>
                <a:lnTo>
                  <a:pt x="757" y="956"/>
                </a:lnTo>
                <a:lnTo>
                  <a:pt x="746" y="956"/>
                </a:lnTo>
                <a:lnTo>
                  <a:pt x="732" y="957"/>
                </a:lnTo>
                <a:lnTo>
                  <a:pt x="719" y="957"/>
                </a:lnTo>
                <a:lnTo>
                  <a:pt x="719" y="957"/>
                </a:lnTo>
                <a:lnTo>
                  <a:pt x="708" y="957"/>
                </a:lnTo>
                <a:lnTo>
                  <a:pt x="696" y="957"/>
                </a:lnTo>
                <a:lnTo>
                  <a:pt x="685" y="957"/>
                </a:lnTo>
                <a:lnTo>
                  <a:pt x="673" y="956"/>
                </a:lnTo>
                <a:lnTo>
                  <a:pt x="660" y="956"/>
                </a:lnTo>
                <a:lnTo>
                  <a:pt x="648" y="956"/>
                </a:lnTo>
                <a:lnTo>
                  <a:pt x="635" y="954"/>
                </a:lnTo>
                <a:lnTo>
                  <a:pt x="624" y="954"/>
                </a:lnTo>
                <a:lnTo>
                  <a:pt x="612" y="952"/>
                </a:lnTo>
                <a:lnTo>
                  <a:pt x="601" y="950"/>
                </a:lnTo>
                <a:lnTo>
                  <a:pt x="589" y="948"/>
                </a:lnTo>
                <a:lnTo>
                  <a:pt x="578" y="946"/>
                </a:lnTo>
                <a:lnTo>
                  <a:pt x="568" y="944"/>
                </a:lnTo>
                <a:lnTo>
                  <a:pt x="557" y="942"/>
                </a:lnTo>
                <a:lnTo>
                  <a:pt x="547" y="938"/>
                </a:lnTo>
                <a:lnTo>
                  <a:pt x="540" y="936"/>
                </a:lnTo>
                <a:lnTo>
                  <a:pt x="540" y="936"/>
                </a:lnTo>
                <a:lnTo>
                  <a:pt x="536" y="935"/>
                </a:lnTo>
                <a:lnTo>
                  <a:pt x="532" y="931"/>
                </a:lnTo>
                <a:lnTo>
                  <a:pt x="528" y="929"/>
                </a:lnTo>
                <a:lnTo>
                  <a:pt x="525" y="925"/>
                </a:lnTo>
                <a:lnTo>
                  <a:pt x="521" y="921"/>
                </a:lnTo>
                <a:lnTo>
                  <a:pt x="519" y="919"/>
                </a:lnTo>
                <a:lnTo>
                  <a:pt x="515" y="917"/>
                </a:lnTo>
                <a:lnTo>
                  <a:pt x="513" y="915"/>
                </a:lnTo>
                <a:lnTo>
                  <a:pt x="174" y="915"/>
                </a:lnTo>
                <a:lnTo>
                  <a:pt x="174" y="915"/>
                </a:lnTo>
                <a:lnTo>
                  <a:pt x="168" y="910"/>
                </a:lnTo>
                <a:lnTo>
                  <a:pt x="162" y="904"/>
                </a:lnTo>
                <a:lnTo>
                  <a:pt x="156" y="898"/>
                </a:lnTo>
                <a:lnTo>
                  <a:pt x="151" y="895"/>
                </a:lnTo>
                <a:lnTo>
                  <a:pt x="143" y="891"/>
                </a:lnTo>
                <a:lnTo>
                  <a:pt x="135" y="889"/>
                </a:lnTo>
                <a:lnTo>
                  <a:pt x="126" y="887"/>
                </a:lnTo>
                <a:lnTo>
                  <a:pt x="114" y="887"/>
                </a:lnTo>
                <a:lnTo>
                  <a:pt x="114" y="887"/>
                </a:lnTo>
                <a:lnTo>
                  <a:pt x="105" y="887"/>
                </a:lnTo>
                <a:lnTo>
                  <a:pt x="97" y="889"/>
                </a:lnTo>
                <a:lnTo>
                  <a:pt x="90" y="889"/>
                </a:lnTo>
                <a:lnTo>
                  <a:pt x="82" y="893"/>
                </a:lnTo>
                <a:lnTo>
                  <a:pt x="76" y="895"/>
                </a:lnTo>
                <a:lnTo>
                  <a:pt x="69" y="896"/>
                </a:lnTo>
                <a:lnTo>
                  <a:pt x="63" y="898"/>
                </a:lnTo>
                <a:lnTo>
                  <a:pt x="55" y="898"/>
                </a:lnTo>
                <a:lnTo>
                  <a:pt x="55" y="898"/>
                </a:lnTo>
                <a:lnTo>
                  <a:pt x="48" y="898"/>
                </a:lnTo>
                <a:lnTo>
                  <a:pt x="42" y="898"/>
                </a:lnTo>
                <a:lnTo>
                  <a:pt x="34" y="896"/>
                </a:lnTo>
                <a:lnTo>
                  <a:pt x="29" y="896"/>
                </a:lnTo>
                <a:lnTo>
                  <a:pt x="23" y="896"/>
                </a:lnTo>
                <a:lnTo>
                  <a:pt x="15" y="896"/>
                </a:lnTo>
                <a:lnTo>
                  <a:pt x="9" y="896"/>
                </a:lnTo>
                <a:lnTo>
                  <a:pt x="0" y="898"/>
                </a:lnTo>
                <a:lnTo>
                  <a:pt x="0" y="898"/>
                </a:lnTo>
                <a:lnTo>
                  <a:pt x="2" y="891"/>
                </a:lnTo>
                <a:lnTo>
                  <a:pt x="2" y="885"/>
                </a:lnTo>
                <a:lnTo>
                  <a:pt x="4" y="879"/>
                </a:lnTo>
                <a:lnTo>
                  <a:pt x="4" y="874"/>
                </a:lnTo>
                <a:lnTo>
                  <a:pt x="6" y="868"/>
                </a:lnTo>
                <a:lnTo>
                  <a:pt x="6" y="862"/>
                </a:lnTo>
                <a:lnTo>
                  <a:pt x="6" y="854"/>
                </a:lnTo>
                <a:lnTo>
                  <a:pt x="6" y="847"/>
                </a:lnTo>
                <a:lnTo>
                  <a:pt x="6" y="847"/>
                </a:lnTo>
                <a:lnTo>
                  <a:pt x="6" y="841"/>
                </a:lnTo>
                <a:lnTo>
                  <a:pt x="6" y="833"/>
                </a:lnTo>
                <a:lnTo>
                  <a:pt x="6" y="830"/>
                </a:lnTo>
                <a:lnTo>
                  <a:pt x="6" y="824"/>
                </a:lnTo>
                <a:lnTo>
                  <a:pt x="6" y="818"/>
                </a:lnTo>
                <a:lnTo>
                  <a:pt x="6" y="814"/>
                </a:lnTo>
                <a:lnTo>
                  <a:pt x="6" y="811"/>
                </a:lnTo>
                <a:lnTo>
                  <a:pt x="6" y="805"/>
                </a:lnTo>
                <a:lnTo>
                  <a:pt x="6" y="805"/>
                </a:lnTo>
                <a:lnTo>
                  <a:pt x="6" y="803"/>
                </a:lnTo>
                <a:lnTo>
                  <a:pt x="6" y="799"/>
                </a:lnTo>
                <a:lnTo>
                  <a:pt x="8" y="795"/>
                </a:lnTo>
                <a:lnTo>
                  <a:pt x="9" y="791"/>
                </a:lnTo>
                <a:lnTo>
                  <a:pt x="9" y="788"/>
                </a:lnTo>
                <a:lnTo>
                  <a:pt x="11" y="782"/>
                </a:lnTo>
                <a:lnTo>
                  <a:pt x="13" y="778"/>
                </a:lnTo>
                <a:lnTo>
                  <a:pt x="15" y="772"/>
                </a:lnTo>
                <a:lnTo>
                  <a:pt x="17" y="767"/>
                </a:lnTo>
                <a:lnTo>
                  <a:pt x="19" y="763"/>
                </a:lnTo>
                <a:lnTo>
                  <a:pt x="21" y="757"/>
                </a:lnTo>
                <a:lnTo>
                  <a:pt x="23" y="751"/>
                </a:lnTo>
                <a:lnTo>
                  <a:pt x="25" y="748"/>
                </a:lnTo>
                <a:lnTo>
                  <a:pt x="27" y="742"/>
                </a:lnTo>
                <a:lnTo>
                  <a:pt x="29" y="738"/>
                </a:lnTo>
                <a:lnTo>
                  <a:pt x="29" y="734"/>
                </a:lnTo>
                <a:lnTo>
                  <a:pt x="29" y="734"/>
                </a:lnTo>
                <a:lnTo>
                  <a:pt x="32" y="725"/>
                </a:lnTo>
                <a:lnTo>
                  <a:pt x="34" y="713"/>
                </a:lnTo>
                <a:lnTo>
                  <a:pt x="36" y="704"/>
                </a:lnTo>
                <a:lnTo>
                  <a:pt x="40" y="692"/>
                </a:lnTo>
                <a:lnTo>
                  <a:pt x="40" y="683"/>
                </a:lnTo>
                <a:lnTo>
                  <a:pt x="42" y="673"/>
                </a:lnTo>
                <a:lnTo>
                  <a:pt x="44" y="662"/>
                </a:lnTo>
                <a:lnTo>
                  <a:pt x="46" y="652"/>
                </a:lnTo>
                <a:lnTo>
                  <a:pt x="48" y="643"/>
                </a:lnTo>
                <a:lnTo>
                  <a:pt x="50" y="633"/>
                </a:lnTo>
                <a:lnTo>
                  <a:pt x="51" y="624"/>
                </a:lnTo>
                <a:lnTo>
                  <a:pt x="55" y="614"/>
                </a:lnTo>
                <a:lnTo>
                  <a:pt x="59" y="603"/>
                </a:lnTo>
                <a:lnTo>
                  <a:pt x="65" y="593"/>
                </a:lnTo>
                <a:lnTo>
                  <a:pt x="71" y="585"/>
                </a:lnTo>
                <a:lnTo>
                  <a:pt x="76" y="576"/>
                </a:lnTo>
                <a:lnTo>
                  <a:pt x="76" y="576"/>
                </a:lnTo>
                <a:lnTo>
                  <a:pt x="84" y="568"/>
                </a:lnTo>
                <a:lnTo>
                  <a:pt x="90" y="559"/>
                </a:lnTo>
                <a:lnTo>
                  <a:pt x="97" y="553"/>
                </a:lnTo>
                <a:lnTo>
                  <a:pt x="105" y="543"/>
                </a:lnTo>
                <a:lnTo>
                  <a:pt x="111" y="536"/>
                </a:lnTo>
                <a:lnTo>
                  <a:pt x="118" y="528"/>
                </a:lnTo>
                <a:lnTo>
                  <a:pt x="126" y="521"/>
                </a:lnTo>
                <a:lnTo>
                  <a:pt x="133" y="511"/>
                </a:lnTo>
                <a:lnTo>
                  <a:pt x="139" y="503"/>
                </a:lnTo>
                <a:lnTo>
                  <a:pt x="145" y="494"/>
                </a:lnTo>
                <a:lnTo>
                  <a:pt x="151" y="482"/>
                </a:lnTo>
                <a:lnTo>
                  <a:pt x="156" y="473"/>
                </a:lnTo>
                <a:lnTo>
                  <a:pt x="160" y="461"/>
                </a:lnTo>
                <a:lnTo>
                  <a:pt x="162" y="448"/>
                </a:lnTo>
                <a:lnTo>
                  <a:pt x="164" y="435"/>
                </a:lnTo>
                <a:lnTo>
                  <a:pt x="164" y="421"/>
                </a:lnTo>
                <a:lnTo>
                  <a:pt x="164" y="421"/>
                </a:lnTo>
                <a:lnTo>
                  <a:pt x="164" y="410"/>
                </a:lnTo>
                <a:lnTo>
                  <a:pt x="162" y="398"/>
                </a:lnTo>
                <a:lnTo>
                  <a:pt x="160" y="387"/>
                </a:lnTo>
                <a:lnTo>
                  <a:pt x="156" y="378"/>
                </a:lnTo>
                <a:lnTo>
                  <a:pt x="151" y="368"/>
                </a:lnTo>
                <a:lnTo>
                  <a:pt x="147" y="358"/>
                </a:lnTo>
                <a:lnTo>
                  <a:pt x="141" y="351"/>
                </a:lnTo>
                <a:lnTo>
                  <a:pt x="135" y="341"/>
                </a:lnTo>
                <a:lnTo>
                  <a:pt x="130" y="332"/>
                </a:lnTo>
                <a:lnTo>
                  <a:pt x="124" y="324"/>
                </a:lnTo>
                <a:lnTo>
                  <a:pt x="120" y="315"/>
                </a:lnTo>
                <a:lnTo>
                  <a:pt x="114" y="307"/>
                </a:lnTo>
                <a:lnTo>
                  <a:pt x="111" y="297"/>
                </a:lnTo>
                <a:lnTo>
                  <a:pt x="109" y="286"/>
                </a:lnTo>
                <a:lnTo>
                  <a:pt x="107" y="276"/>
                </a:lnTo>
                <a:lnTo>
                  <a:pt x="105" y="265"/>
                </a:lnTo>
                <a:lnTo>
                  <a:pt x="105" y="265"/>
                </a:lnTo>
                <a:lnTo>
                  <a:pt x="107" y="257"/>
                </a:lnTo>
                <a:lnTo>
                  <a:pt x="111" y="250"/>
                </a:lnTo>
                <a:lnTo>
                  <a:pt x="114" y="244"/>
                </a:lnTo>
                <a:lnTo>
                  <a:pt x="120" y="236"/>
                </a:lnTo>
                <a:lnTo>
                  <a:pt x="124" y="229"/>
                </a:lnTo>
                <a:lnTo>
                  <a:pt x="128" y="223"/>
                </a:lnTo>
                <a:lnTo>
                  <a:pt x="130" y="215"/>
                </a:lnTo>
                <a:lnTo>
                  <a:pt x="130" y="206"/>
                </a:lnTo>
                <a:lnTo>
                  <a:pt x="130" y="206"/>
                </a:lnTo>
                <a:lnTo>
                  <a:pt x="128" y="196"/>
                </a:lnTo>
                <a:lnTo>
                  <a:pt x="124" y="189"/>
                </a:lnTo>
                <a:lnTo>
                  <a:pt x="122" y="179"/>
                </a:lnTo>
                <a:lnTo>
                  <a:pt x="118" y="170"/>
                </a:lnTo>
                <a:lnTo>
                  <a:pt x="114" y="160"/>
                </a:lnTo>
                <a:lnTo>
                  <a:pt x="109" y="150"/>
                </a:lnTo>
                <a:lnTo>
                  <a:pt x="105" y="141"/>
                </a:lnTo>
                <a:lnTo>
                  <a:pt x="99" y="131"/>
                </a:lnTo>
                <a:lnTo>
                  <a:pt x="95" y="122"/>
                </a:lnTo>
                <a:lnTo>
                  <a:pt x="90" y="112"/>
                </a:lnTo>
                <a:lnTo>
                  <a:pt x="84" y="103"/>
                </a:lnTo>
                <a:lnTo>
                  <a:pt x="80" y="91"/>
                </a:lnTo>
                <a:lnTo>
                  <a:pt x="74" y="82"/>
                </a:lnTo>
                <a:lnTo>
                  <a:pt x="71" y="70"/>
                </a:lnTo>
                <a:lnTo>
                  <a:pt x="65" y="59"/>
                </a:lnTo>
                <a:lnTo>
                  <a:pt x="61" y="47"/>
                </a:lnTo>
                <a:lnTo>
                  <a:pt x="44" y="32"/>
                </a:lnTo>
                <a:lnTo>
                  <a:pt x="40" y="3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49" name="Freeform 21"/>
          <p:cNvSpPr>
            <a:spLocks/>
          </p:cNvSpPr>
          <p:nvPr>
            <p:custDataLst>
              <p:tags r:id="rId21"/>
            </p:custDataLst>
          </p:nvPr>
        </p:nvSpPr>
        <p:spPr bwMode="gray">
          <a:xfrm>
            <a:off x="4694305" y="3913312"/>
            <a:ext cx="134447" cy="150637"/>
          </a:xfrm>
          <a:custGeom>
            <a:avLst/>
            <a:gdLst/>
            <a:ahLst/>
            <a:cxnLst>
              <a:cxn ang="0">
                <a:pos x="21" y="126"/>
              </a:cxn>
              <a:cxn ang="0">
                <a:pos x="20" y="122"/>
              </a:cxn>
              <a:cxn ang="0">
                <a:pos x="18" y="116"/>
              </a:cxn>
              <a:cxn ang="0">
                <a:pos x="18" y="110"/>
              </a:cxn>
              <a:cxn ang="0">
                <a:pos x="18" y="103"/>
              </a:cxn>
              <a:cxn ang="0">
                <a:pos x="18" y="99"/>
              </a:cxn>
              <a:cxn ang="0">
                <a:pos x="18" y="87"/>
              </a:cxn>
              <a:cxn ang="0">
                <a:pos x="18" y="78"/>
              </a:cxn>
              <a:cxn ang="0">
                <a:pos x="18" y="68"/>
              </a:cxn>
              <a:cxn ang="0">
                <a:pos x="16" y="63"/>
              </a:cxn>
              <a:cxn ang="0">
                <a:pos x="12" y="57"/>
              </a:cxn>
              <a:cxn ang="0">
                <a:pos x="8" y="49"/>
              </a:cxn>
              <a:cxn ang="0">
                <a:pos x="2" y="44"/>
              </a:cxn>
              <a:cxn ang="0">
                <a:pos x="0" y="36"/>
              </a:cxn>
              <a:cxn ang="0">
                <a:pos x="0" y="34"/>
              </a:cxn>
              <a:cxn ang="0">
                <a:pos x="2" y="30"/>
              </a:cxn>
              <a:cxn ang="0">
                <a:pos x="6" y="26"/>
              </a:cxn>
              <a:cxn ang="0">
                <a:pos x="12" y="25"/>
              </a:cxn>
              <a:cxn ang="0">
                <a:pos x="14" y="25"/>
              </a:cxn>
              <a:cxn ang="0">
                <a:pos x="23" y="26"/>
              </a:cxn>
              <a:cxn ang="0">
                <a:pos x="29" y="32"/>
              </a:cxn>
              <a:cxn ang="0">
                <a:pos x="37" y="38"/>
              </a:cxn>
              <a:cxn ang="0">
                <a:pos x="46" y="40"/>
              </a:cxn>
              <a:cxn ang="0">
                <a:pos x="58" y="40"/>
              </a:cxn>
              <a:cxn ang="0">
                <a:pos x="73" y="28"/>
              </a:cxn>
              <a:cxn ang="0">
                <a:pos x="82" y="13"/>
              </a:cxn>
              <a:cxn ang="0">
                <a:pos x="96" y="2"/>
              </a:cxn>
              <a:cxn ang="0">
                <a:pos x="107" y="0"/>
              </a:cxn>
              <a:cxn ang="0">
                <a:pos x="123" y="9"/>
              </a:cxn>
              <a:cxn ang="0">
                <a:pos x="124" y="26"/>
              </a:cxn>
              <a:cxn ang="0">
                <a:pos x="128" y="44"/>
              </a:cxn>
              <a:cxn ang="0">
                <a:pos x="147" y="53"/>
              </a:cxn>
              <a:cxn ang="0">
                <a:pos x="147" y="53"/>
              </a:cxn>
              <a:cxn ang="0">
                <a:pos x="147" y="57"/>
              </a:cxn>
              <a:cxn ang="0">
                <a:pos x="144" y="53"/>
              </a:cxn>
              <a:cxn ang="0">
                <a:pos x="145" y="57"/>
              </a:cxn>
              <a:cxn ang="0">
                <a:pos x="147" y="61"/>
              </a:cxn>
              <a:cxn ang="0">
                <a:pos x="147" y="63"/>
              </a:cxn>
              <a:cxn ang="0">
                <a:pos x="142" y="78"/>
              </a:cxn>
              <a:cxn ang="0">
                <a:pos x="128" y="91"/>
              </a:cxn>
              <a:cxn ang="0">
                <a:pos x="113" y="105"/>
              </a:cxn>
              <a:cxn ang="0">
                <a:pos x="103" y="118"/>
              </a:cxn>
              <a:cxn ang="0">
                <a:pos x="102" y="126"/>
              </a:cxn>
              <a:cxn ang="0">
                <a:pos x="94" y="141"/>
              </a:cxn>
              <a:cxn ang="0">
                <a:pos x="82" y="158"/>
              </a:cxn>
              <a:cxn ang="0">
                <a:pos x="69" y="168"/>
              </a:cxn>
              <a:cxn ang="0">
                <a:pos x="61" y="169"/>
              </a:cxn>
              <a:cxn ang="0">
                <a:pos x="54" y="169"/>
              </a:cxn>
              <a:cxn ang="0">
                <a:pos x="50" y="169"/>
              </a:cxn>
              <a:cxn ang="0">
                <a:pos x="48" y="166"/>
              </a:cxn>
              <a:cxn ang="0">
                <a:pos x="42" y="156"/>
              </a:cxn>
              <a:cxn ang="0">
                <a:pos x="39" y="147"/>
              </a:cxn>
              <a:cxn ang="0">
                <a:pos x="31" y="139"/>
              </a:cxn>
              <a:cxn ang="0">
                <a:pos x="27" y="137"/>
              </a:cxn>
              <a:cxn ang="0">
                <a:pos x="27" y="135"/>
              </a:cxn>
              <a:cxn ang="0">
                <a:pos x="25" y="131"/>
              </a:cxn>
              <a:cxn ang="0">
                <a:pos x="21" y="126"/>
              </a:cxn>
              <a:cxn ang="0">
                <a:pos x="20" y="122"/>
              </a:cxn>
              <a:cxn ang="0">
                <a:pos x="12" y="122"/>
              </a:cxn>
              <a:cxn ang="0">
                <a:pos x="12" y="124"/>
              </a:cxn>
              <a:cxn ang="0">
                <a:pos x="12" y="124"/>
              </a:cxn>
            </a:cxnLst>
            <a:rect l="0" t="0" r="r" b="b"/>
            <a:pathLst>
              <a:path w="147" h="169">
                <a:moveTo>
                  <a:pt x="21" y="126"/>
                </a:moveTo>
                <a:lnTo>
                  <a:pt x="21" y="126"/>
                </a:lnTo>
                <a:lnTo>
                  <a:pt x="21" y="124"/>
                </a:lnTo>
                <a:lnTo>
                  <a:pt x="20" y="122"/>
                </a:lnTo>
                <a:lnTo>
                  <a:pt x="20" y="118"/>
                </a:lnTo>
                <a:lnTo>
                  <a:pt x="18" y="116"/>
                </a:lnTo>
                <a:lnTo>
                  <a:pt x="18" y="114"/>
                </a:lnTo>
                <a:lnTo>
                  <a:pt x="18" y="110"/>
                </a:lnTo>
                <a:lnTo>
                  <a:pt x="18" y="107"/>
                </a:lnTo>
                <a:lnTo>
                  <a:pt x="18" y="103"/>
                </a:lnTo>
                <a:lnTo>
                  <a:pt x="18" y="103"/>
                </a:lnTo>
                <a:lnTo>
                  <a:pt x="18" y="99"/>
                </a:lnTo>
                <a:lnTo>
                  <a:pt x="18" y="93"/>
                </a:lnTo>
                <a:lnTo>
                  <a:pt x="18" y="87"/>
                </a:lnTo>
                <a:lnTo>
                  <a:pt x="18" y="84"/>
                </a:lnTo>
                <a:lnTo>
                  <a:pt x="18" y="78"/>
                </a:lnTo>
                <a:lnTo>
                  <a:pt x="18" y="74"/>
                </a:lnTo>
                <a:lnTo>
                  <a:pt x="18" y="68"/>
                </a:lnTo>
                <a:lnTo>
                  <a:pt x="16" y="63"/>
                </a:lnTo>
                <a:lnTo>
                  <a:pt x="16" y="63"/>
                </a:lnTo>
                <a:lnTo>
                  <a:pt x="14" y="59"/>
                </a:lnTo>
                <a:lnTo>
                  <a:pt x="12" y="57"/>
                </a:lnTo>
                <a:lnTo>
                  <a:pt x="10" y="53"/>
                </a:lnTo>
                <a:lnTo>
                  <a:pt x="8" y="49"/>
                </a:lnTo>
                <a:lnTo>
                  <a:pt x="4" y="47"/>
                </a:lnTo>
                <a:lnTo>
                  <a:pt x="2" y="44"/>
                </a:lnTo>
                <a:lnTo>
                  <a:pt x="0" y="40"/>
                </a:lnTo>
                <a:lnTo>
                  <a:pt x="0" y="36"/>
                </a:lnTo>
                <a:lnTo>
                  <a:pt x="0" y="36"/>
                </a:lnTo>
                <a:lnTo>
                  <a:pt x="0" y="34"/>
                </a:lnTo>
                <a:lnTo>
                  <a:pt x="2" y="32"/>
                </a:lnTo>
                <a:lnTo>
                  <a:pt x="2" y="30"/>
                </a:lnTo>
                <a:lnTo>
                  <a:pt x="4" y="28"/>
                </a:lnTo>
                <a:lnTo>
                  <a:pt x="6" y="26"/>
                </a:lnTo>
                <a:lnTo>
                  <a:pt x="8" y="25"/>
                </a:lnTo>
                <a:lnTo>
                  <a:pt x="12" y="25"/>
                </a:lnTo>
                <a:lnTo>
                  <a:pt x="14" y="25"/>
                </a:lnTo>
                <a:lnTo>
                  <a:pt x="14" y="25"/>
                </a:lnTo>
                <a:lnTo>
                  <a:pt x="18" y="25"/>
                </a:lnTo>
                <a:lnTo>
                  <a:pt x="23" y="26"/>
                </a:lnTo>
                <a:lnTo>
                  <a:pt x="27" y="30"/>
                </a:lnTo>
                <a:lnTo>
                  <a:pt x="29" y="32"/>
                </a:lnTo>
                <a:lnTo>
                  <a:pt x="33" y="36"/>
                </a:lnTo>
                <a:lnTo>
                  <a:pt x="37" y="38"/>
                </a:lnTo>
                <a:lnTo>
                  <a:pt x="42" y="40"/>
                </a:lnTo>
                <a:lnTo>
                  <a:pt x="46" y="40"/>
                </a:lnTo>
                <a:lnTo>
                  <a:pt x="46" y="40"/>
                </a:lnTo>
                <a:lnTo>
                  <a:pt x="58" y="40"/>
                </a:lnTo>
                <a:lnTo>
                  <a:pt x="67" y="34"/>
                </a:lnTo>
                <a:lnTo>
                  <a:pt x="73" y="28"/>
                </a:lnTo>
                <a:lnTo>
                  <a:pt x="77" y="21"/>
                </a:lnTo>
                <a:lnTo>
                  <a:pt x="82" y="13"/>
                </a:lnTo>
                <a:lnTo>
                  <a:pt x="88" y="7"/>
                </a:lnTo>
                <a:lnTo>
                  <a:pt x="96" y="2"/>
                </a:lnTo>
                <a:lnTo>
                  <a:pt x="107" y="0"/>
                </a:lnTo>
                <a:lnTo>
                  <a:pt x="107" y="0"/>
                </a:lnTo>
                <a:lnTo>
                  <a:pt x="117" y="4"/>
                </a:lnTo>
                <a:lnTo>
                  <a:pt x="123" y="9"/>
                </a:lnTo>
                <a:lnTo>
                  <a:pt x="124" y="17"/>
                </a:lnTo>
                <a:lnTo>
                  <a:pt x="124" y="26"/>
                </a:lnTo>
                <a:lnTo>
                  <a:pt x="126" y="36"/>
                </a:lnTo>
                <a:lnTo>
                  <a:pt x="128" y="44"/>
                </a:lnTo>
                <a:lnTo>
                  <a:pt x="136" y="51"/>
                </a:lnTo>
                <a:lnTo>
                  <a:pt x="147" y="53"/>
                </a:lnTo>
                <a:lnTo>
                  <a:pt x="147" y="53"/>
                </a:lnTo>
                <a:lnTo>
                  <a:pt x="147" y="53"/>
                </a:lnTo>
                <a:lnTo>
                  <a:pt x="147" y="55"/>
                </a:lnTo>
                <a:lnTo>
                  <a:pt x="147" y="57"/>
                </a:lnTo>
                <a:lnTo>
                  <a:pt x="147" y="59"/>
                </a:lnTo>
                <a:lnTo>
                  <a:pt x="144" y="53"/>
                </a:lnTo>
                <a:lnTo>
                  <a:pt x="144" y="53"/>
                </a:lnTo>
                <a:lnTo>
                  <a:pt x="145" y="57"/>
                </a:lnTo>
                <a:lnTo>
                  <a:pt x="145" y="59"/>
                </a:lnTo>
                <a:lnTo>
                  <a:pt x="147" y="61"/>
                </a:lnTo>
                <a:lnTo>
                  <a:pt x="147" y="63"/>
                </a:lnTo>
                <a:lnTo>
                  <a:pt x="147" y="63"/>
                </a:lnTo>
                <a:lnTo>
                  <a:pt x="147" y="70"/>
                </a:lnTo>
                <a:lnTo>
                  <a:pt x="142" y="78"/>
                </a:lnTo>
                <a:lnTo>
                  <a:pt x="136" y="84"/>
                </a:lnTo>
                <a:lnTo>
                  <a:pt x="128" y="91"/>
                </a:lnTo>
                <a:lnTo>
                  <a:pt x="121" y="97"/>
                </a:lnTo>
                <a:lnTo>
                  <a:pt x="113" y="105"/>
                </a:lnTo>
                <a:lnTo>
                  <a:pt x="107" y="112"/>
                </a:lnTo>
                <a:lnTo>
                  <a:pt x="103" y="118"/>
                </a:lnTo>
                <a:lnTo>
                  <a:pt x="103" y="118"/>
                </a:lnTo>
                <a:lnTo>
                  <a:pt x="102" y="126"/>
                </a:lnTo>
                <a:lnTo>
                  <a:pt x="98" y="133"/>
                </a:lnTo>
                <a:lnTo>
                  <a:pt x="94" y="141"/>
                </a:lnTo>
                <a:lnTo>
                  <a:pt x="88" y="150"/>
                </a:lnTo>
                <a:lnTo>
                  <a:pt x="82" y="158"/>
                </a:lnTo>
                <a:lnTo>
                  <a:pt x="77" y="164"/>
                </a:lnTo>
                <a:lnTo>
                  <a:pt x="69" y="168"/>
                </a:lnTo>
                <a:lnTo>
                  <a:pt x="61" y="169"/>
                </a:lnTo>
                <a:lnTo>
                  <a:pt x="61" y="169"/>
                </a:lnTo>
                <a:lnTo>
                  <a:pt x="58" y="169"/>
                </a:lnTo>
                <a:lnTo>
                  <a:pt x="54" y="169"/>
                </a:lnTo>
                <a:lnTo>
                  <a:pt x="52" y="169"/>
                </a:lnTo>
                <a:lnTo>
                  <a:pt x="50" y="169"/>
                </a:lnTo>
                <a:lnTo>
                  <a:pt x="50" y="169"/>
                </a:lnTo>
                <a:lnTo>
                  <a:pt x="48" y="166"/>
                </a:lnTo>
                <a:lnTo>
                  <a:pt x="46" y="160"/>
                </a:lnTo>
                <a:lnTo>
                  <a:pt x="42" y="156"/>
                </a:lnTo>
                <a:lnTo>
                  <a:pt x="41" y="150"/>
                </a:lnTo>
                <a:lnTo>
                  <a:pt x="39" y="147"/>
                </a:lnTo>
                <a:lnTo>
                  <a:pt x="35" y="143"/>
                </a:lnTo>
                <a:lnTo>
                  <a:pt x="31" y="139"/>
                </a:lnTo>
                <a:lnTo>
                  <a:pt x="27" y="137"/>
                </a:lnTo>
                <a:lnTo>
                  <a:pt x="27" y="137"/>
                </a:lnTo>
                <a:lnTo>
                  <a:pt x="27" y="137"/>
                </a:lnTo>
                <a:lnTo>
                  <a:pt x="27" y="135"/>
                </a:lnTo>
                <a:lnTo>
                  <a:pt x="25" y="133"/>
                </a:lnTo>
                <a:lnTo>
                  <a:pt x="25" y="131"/>
                </a:lnTo>
                <a:lnTo>
                  <a:pt x="23" y="128"/>
                </a:lnTo>
                <a:lnTo>
                  <a:pt x="21" y="126"/>
                </a:lnTo>
                <a:lnTo>
                  <a:pt x="21" y="124"/>
                </a:lnTo>
                <a:lnTo>
                  <a:pt x="20" y="122"/>
                </a:lnTo>
                <a:lnTo>
                  <a:pt x="12" y="122"/>
                </a:lnTo>
                <a:lnTo>
                  <a:pt x="12" y="122"/>
                </a:lnTo>
                <a:lnTo>
                  <a:pt x="12" y="122"/>
                </a:lnTo>
                <a:lnTo>
                  <a:pt x="12" y="124"/>
                </a:lnTo>
                <a:lnTo>
                  <a:pt x="12" y="124"/>
                </a:lnTo>
                <a:lnTo>
                  <a:pt x="12" y="124"/>
                </a:lnTo>
                <a:lnTo>
                  <a:pt x="21" y="126"/>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50" name="Freeform 22"/>
          <p:cNvSpPr>
            <a:spLocks/>
          </p:cNvSpPr>
          <p:nvPr>
            <p:custDataLst>
              <p:tags r:id="rId22"/>
            </p:custDataLst>
          </p:nvPr>
        </p:nvSpPr>
        <p:spPr bwMode="gray">
          <a:xfrm>
            <a:off x="3471319" y="3372317"/>
            <a:ext cx="1375244" cy="1328191"/>
          </a:xfrm>
          <a:custGeom>
            <a:avLst/>
            <a:gdLst/>
            <a:ahLst/>
            <a:cxnLst>
              <a:cxn ang="0">
                <a:pos x="511" y="170"/>
              </a:cxn>
              <a:cxn ang="0">
                <a:pos x="513" y="80"/>
              </a:cxn>
              <a:cxn ang="0">
                <a:pos x="612" y="27"/>
              </a:cxn>
              <a:cxn ang="0">
                <a:pos x="734" y="92"/>
              </a:cxn>
              <a:cxn ang="0">
                <a:pos x="828" y="67"/>
              </a:cxn>
              <a:cxn ang="0">
                <a:pos x="883" y="55"/>
              </a:cxn>
              <a:cxn ang="0">
                <a:pos x="965" y="23"/>
              </a:cxn>
              <a:cxn ang="0">
                <a:pos x="1030" y="21"/>
              </a:cxn>
              <a:cxn ang="0">
                <a:pos x="1116" y="19"/>
              </a:cxn>
              <a:cxn ang="0">
                <a:pos x="1188" y="4"/>
              </a:cxn>
              <a:cxn ang="0">
                <a:pos x="1242" y="57"/>
              </a:cxn>
              <a:cxn ang="0">
                <a:pos x="1312" y="65"/>
              </a:cxn>
              <a:cxn ang="0">
                <a:pos x="1375" y="52"/>
              </a:cxn>
              <a:cxn ang="0">
                <a:pos x="1450" y="107"/>
              </a:cxn>
              <a:cxn ang="0">
                <a:pos x="1471" y="147"/>
              </a:cxn>
              <a:cxn ang="0">
                <a:pos x="1473" y="199"/>
              </a:cxn>
              <a:cxn ang="0">
                <a:pos x="1499" y="248"/>
              </a:cxn>
              <a:cxn ang="0">
                <a:pos x="1431" y="326"/>
              </a:cxn>
              <a:cxn ang="0">
                <a:pos x="1396" y="395"/>
              </a:cxn>
              <a:cxn ang="0">
                <a:pos x="1375" y="521"/>
              </a:cxn>
              <a:cxn ang="0">
                <a:pos x="1347" y="578"/>
              </a:cxn>
              <a:cxn ang="0">
                <a:pos x="1322" y="624"/>
              </a:cxn>
              <a:cxn ang="0">
                <a:pos x="1345" y="666"/>
              </a:cxn>
              <a:cxn ang="0">
                <a:pos x="1351" y="719"/>
              </a:cxn>
              <a:cxn ang="0">
                <a:pos x="1345" y="733"/>
              </a:cxn>
              <a:cxn ang="0">
                <a:pos x="1351" y="775"/>
              </a:cxn>
              <a:cxn ang="0">
                <a:pos x="1349" y="843"/>
              </a:cxn>
              <a:cxn ang="0">
                <a:pos x="1358" y="893"/>
              </a:cxn>
              <a:cxn ang="0">
                <a:pos x="1377" y="964"/>
              </a:cxn>
              <a:cxn ang="0">
                <a:pos x="1433" y="1028"/>
              </a:cxn>
              <a:cxn ang="0">
                <a:pos x="1375" y="1089"/>
              </a:cxn>
              <a:cxn ang="0">
                <a:pos x="1314" y="1131"/>
              </a:cxn>
              <a:cxn ang="0">
                <a:pos x="1286" y="1181"/>
              </a:cxn>
              <a:cxn ang="0">
                <a:pos x="1291" y="1257"/>
              </a:cxn>
              <a:cxn ang="0">
                <a:pos x="1274" y="1341"/>
              </a:cxn>
              <a:cxn ang="0">
                <a:pos x="1360" y="1419"/>
              </a:cxn>
              <a:cxn ang="0">
                <a:pos x="1368" y="1484"/>
              </a:cxn>
              <a:cxn ang="0">
                <a:pos x="1316" y="1488"/>
              </a:cxn>
              <a:cxn ang="0">
                <a:pos x="1261" y="1416"/>
              </a:cxn>
              <a:cxn ang="0">
                <a:pos x="1171" y="1351"/>
              </a:cxn>
              <a:cxn ang="0">
                <a:pos x="1074" y="1370"/>
              </a:cxn>
              <a:cxn ang="0">
                <a:pos x="1015" y="1322"/>
              </a:cxn>
              <a:cxn ang="0">
                <a:pos x="954" y="1324"/>
              </a:cxn>
              <a:cxn ang="0">
                <a:pos x="870" y="1307"/>
              </a:cxn>
              <a:cxn ang="0">
                <a:pos x="796" y="1324"/>
              </a:cxn>
              <a:cxn ang="0">
                <a:pos x="797" y="1250"/>
              </a:cxn>
              <a:cxn ang="0">
                <a:pos x="761" y="1175"/>
              </a:cxn>
              <a:cxn ang="0">
                <a:pos x="654" y="1009"/>
              </a:cxn>
              <a:cxn ang="0">
                <a:pos x="576" y="1009"/>
              </a:cxn>
              <a:cxn ang="0">
                <a:pos x="494" y="1068"/>
              </a:cxn>
              <a:cxn ang="0">
                <a:pos x="372" y="1011"/>
              </a:cxn>
              <a:cxn ang="0">
                <a:pos x="342" y="904"/>
              </a:cxn>
              <a:cxn ang="0">
                <a:pos x="38" y="901"/>
              </a:cxn>
              <a:cxn ang="0">
                <a:pos x="15" y="864"/>
              </a:cxn>
              <a:cxn ang="0">
                <a:pos x="59" y="803"/>
              </a:cxn>
              <a:cxn ang="0">
                <a:pos x="164" y="778"/>
              </a:cxn>
              <a:cxn ang="0">
                <a:pos x="172" y="824"/>
              </a:cxn>
              <a:cxn ang="0">
                <a:pos x="263" y="758"/>
              </a:cxn>
              <a:cxn ang="0">
                <a:pos x="317" y="664"/>
              </a:cxn>
              <a:cxn ang="0">
                <a:pos x="368" y="538"/>
              </a:cxn>
              <a:cxn ang="0">
                <a:pos x="433" y="445"/>
              </a:cxn>
              <a:cxn ang="0">
                <a:pos x="460" y="303"/>
              </a:cxn>
            </a:cxnLst>
            <a:rect l="0" t="0" r="r" b="b"/>
            <a:pathLst>
              <a:path w="1499" h="1494">
                <a:moveTo>
                  <a:pt x="466" y="261"/>
                </a:moveTo>
                <a:lnTo>
                  <a:pt x="466" y="261"/>
                </a:lnTo>
                <a:lnTo>
                  <a:pt x="471" y="250"/>
                </a:lnTo>
                <a:lnTo>
                  <a:pt x="475" y="242"/>
                </a:lnTo>
                <a:lnTo>
                  <a:pt x="481" y="235"/>
                </a:lnTo>
                <a:lnTo>
                  <a:pt x="487" y="229"/>
                </a:lnTo>
                <a:lnTo>
                  <a:pt x="492" y="221"/>
                </a:lnTo>
                <a:lnTo>
                  <a:pt x="498" y="214"/>
                </a:lnTo>
                <a:lnTo>
                  <a:pt x="502" y="206"/>
                </a:lnTo>
                <a:lnTo>
                  <a:pt x="507" y="197"/>
                </a:lnTo>
                <a:lnTo>
                  <a:pt x="507" y="197"/>
                </a:lnTo>
                <a:lnTo>
                  <a:pt x="507" y="191"/>
                </a:lnTo>
                <a:lnTo>
                  <a:pt x="509" y="185"/>
                </a:lnTo>
                <a:lnTo>
                  <a:pt x="511" y="179"/>
                </a:lnTo>
                <a:lnTo>
                  <a:pt x="511" y="176"/>
                </a:lnTo>
                <a:lnTo>
                  <a:pt x="511" y="170"/>
                </a:lnTo>
                <a:lnTo>
                  <a:pt x="511" y="164"/>
                </a:lnTo>
                <a:lnTo>
                  <a:pt x="511" y="160"/>
                </a:lnTo>
                <a:lnTo>
                  <a:pt x="511" y="155"/>
                </a:lnTo>
                <a:lnTo>
                  <a:pt x="509" y="149"/>
                </a:lnTo>
                <a:lnTo>
                  <a:pt x="509" y="143"/>
                </a:lnTo>
                <a:lnTo>
                  <a:pt x="509" y="139"/>
                </a:lnTo>
                <a:lnTo>
                  <a:pt x="507" y="134"/>
                </a:lnTo>
                <a:lnTo>
                  <a:pt x="507" y="128"/>
                </a:lnTo>
                <a:lnTo>
                  <a:pt x="507" y="124"/>
                </a:lnTo>
                <a:lnTo>
                  <a:pt x="507" y="118"/>
                </a:lnTo>
                <a:lnTo>
                  <a:pt x="507" y="113"/>
                </a:lnTo>
                <a:lnTo>
                  <a:pt x="507" y="113"/>
                </a:lnTo>
                <a:lnTo>
                  <a:pt x="507" y="105"/>
                </a:lnTo>
                <a:lnTo>
                  <a:pt x="507" y="97"/>
                </a:lnTo>
                <a:lnTo>
                  <a:pt x="511" y="90"/>
                </a:lnTo>
                <a:lnTo>
                  <a:pt x="513" y="80"/>
                </a:lnTo>
                <a:lnTo>
                  <a:pt x="517" y="73"/>
                </a:lnTo>
                <a:lnTo>
                  <a:pt x="521" y="63"/>
                </a:lnTo>
                <a:lnTo>
                  <a:pt x="525" y="55"/>
                </a:lnTo>
                <a:lnTo>
                  <a:pt x="530" y="48"/>
                </a:lnTo>
                <a:lnTo>
                  <a:pt x="536" y="40"/>
                </a:lnTo>
                <a:lnTo>
                  <a:pt x="542" y="34"/>
                </a:lnTo>
                <a:lnTo>
                  <a:pt x="549" y="29"/>
                </a:lnTo>
                <a:lnTo>
                  <a:pt x="555" y="23"/>
                </a:lnTo>
                <a:lnTo>
                  <a:pt x="563" y="19"/>
                </a:lnTo>
                <a:lnTo>
                  <a:pt x="569" y="15"/>
                </a:lnTo>
                <a:lnTo>
                  <a:pt x="576" y="13"/>
                </a:lnTo>
                <a:lnTo>
                  <a:pt x="584" y="13"/>
                </a:lnTo>
                <a:lnTo>
                  <a:pt x="584" y="13"/>
                </a:lnTo>
                <a:lnTo>
                  <a:pt x="595" y="15"/>
                </a:lnTo>
                <a:lnTo>
                  <a:pt x="605" y="21"/>
                </a:lnTo>
                <a:lnTo>
                  <a:pt x="612" y="27"/>
                </a:lnTo>
                <a:lnTo>
                  <a:pt x="620" y="36"/>
                </a:lnTo>
                <a:lnTo>
                  <a:pt x="628" y="46"/>
                </a:lnTo>
                <a:lnTo>
                  <a:pt x="635" y="54"/>
                </a:lnTo>
                <a:lnTo>
                  <a:pt x="641" y="61"/>
                </a:lnTo>
                <a:lnTo>
                  <a:pt x="649" y="67"/>
                </a:lnTo>
                <a:lnTo>
                  <a:pt x="649" y="67"/>
                </a:lnTo>
                <a:lnTo>
                  <a:pt x="654" y="69"/>
                </a:lnTo>
                <a:lnTo>
                  <a:pt x="662" y="73"/>
                </a:lnTo>
                <a:lnTo>
                  <a:pt x="670" y="76"/>
                </a:lnTo>
                <a:lnTo>
                  <a:pt x="679" y="78"/>
                </a:lnTo>
                <a:lnTo>
                  <a:pt x="689" y="82"/>
                </a:lnTo>
                <a:lnTo>
                  <a:pt x="696" y="84"/>
                </a:lnTo>
                <a:lnTo>
                  <a:pt x="706" y="86"/>
                </a:lnTo>
                <a:lnTo>
                  <a:pt x="715" y="88"/>
                </a:lnTo>
                <a:lnTo>
                  <a:pt x="725" y="90"/>
                </a:lnTo>
                <a:lnTo>
                  <a:pt x="734" y="92"/>
                </a:lnTo>
                <a:lnTo>
                  <a:pt x="744" y="94"/>
                </a:lnTo>
                <a:lnTo>
                  <a:pt x="754" y="94"/>
                </a:lnTo>
                <a:lnTo>
                  <a:pt x="763" y="96"/>
                </a:lnTo>
                <a:lnTo>
                  <a:pt x="773" y="96"/>
                </a:lnTo>
                <a:lnTo>
                  <a:pt x="780" y="96"/>
                </a:lnTo>
                <a:lnTo>
                  <a:pt x="788" y="96"/>
                </a:lnTo>
                <a:lnTo>
                  <a:pt x="788" y="96"/>
                </a:lnTo>
                <a:lnTo>
                  <a:pt x="796" y="96"/>
                </a:lnTo>
                <a:lnTo>
                  <a:pt x="801" y="94"/>
                </a:lnTo>
                <a:lnTo>
                  <a:pt x="807" y="92"/>
                </a:lnTo>
                <a:lnTo>
                  <a:pt x="811" y="88"/>
                </a:lnTo>
                <a:lnTo>
                  <a:pt x="815" y="84"/>
                </a:lnTo>
                <a:lnTo>
                  <a:pt x="818" y="80"/>
                </a:lnTo>
                <a:lnTo>
                  <a:pt x="822" y="76"/>
                </a:lnTo>
                <a:lnTo>
                  <a:pt x="824" y="71"/>
                </a:lnTo>
                <a:lnTo>
                  <a:pt x="828" y="67"/>
                </a:lnTo>
                <a:lnTo>
                  <a:pt x="832" y="63"/>
                </a:lnTo>
                <a:lnTo>
                  <a:pt x="834" y="57"/>
                </a:lnTo>
                <a:lnTo>
                  <a:pt x="837" y="55"/>
                </a:lnTo>
                <a:lnTo>
                  <a:pt x="843" y="52"/>
                </a:lnTo>
                <a:lnTo>
                  <a:pt x="849" y="48"/>
                </a:lnTo>
                <a:lnTo>
                  <a:pt x="855" y="48"/>
                </a:lnTo>
                <a:lnTo>
                  <a:pt x="860" y="46"/>
                </a:lnTo>
                <a:lnTo>
                  <a:pt x="860" y="46"/>
                </a:lnTo>
                <a:lnTo>
                  <a:pt x="862" y="48"/>
                </a:lnTo>
                <a:lnTo>
                  <a:pt x="866" y="48"/>
                </a:lnTo>
                <a:lnTo>
                  <a:pt x="868" y="50"/>
                </a:lnTo>
                <a:lnTo>
                  <a:pt x="872" y="52"/>
                </a:lnTo>
                <a:lnTo>
                  <a:pt x="874" y="52"/>
                </a:lnTo>
                <a:lnTo>
                  <a:pt x="876" y="54"/>
                </a:lnTo>
                <a:lnTo>
                  <a:pt x="879" y="55"/>
                </a:lnTo>
                <a:lnTo>
                  <a:pt x="883" y="55"/>
                </a:lnTo>
                <a:lnTo>
                  <a:pt x="883" y="55"/>
                </a:lnTo>
                <a:lnTo>
                  <a:pt x="889" y="55"/>
                </a:lnTo>
                <a:lnTo>
                  <a:pt x="895" y="54"/>
                </a:lnTo>
                <a:lnTo>
                  <a:pt x="900" y="52"/>
                </a:lnTo>
                <a:lnTo>
                  <a:pt x="906" y="50"/>
                </a:lnTo>
                <a:lnTo>
                  <a:pt x="912" y="48"/>
                </a:lnTo>
                <a:lnTo>
                  <a:pt x="918" y="46"/>
                </a:lnTo>
                <a:lnTo>
                  <a:pt x="923" y="42"/>
                </a:lnTo>
                <a:lnTo>
                  <a:pt x="929" y="40"/>
                </a:lnTo>
                <a:lnTo>
                  <a:pt x="935" y="36"/>
                </a:lnTo>
                <a:lnTo>
                  <a:pt x="939" y="34"/>
                </a:lnTo>
                <a:lnTo>
                  <a:pt x="944" y="33"/>
                </a:lnTo>
                <a:lnTo>
                  <a:pt x="950" y="29"/>
                </a:lnTo>
                <a:lnTo>
                  <a:pt x="954" y="27"/>
                </a:lnTo>
                <a:lnTo>
                  <a:pt x="960" y="25"/>
                </a:lnTo>
                <a:lnTo>
                  <a:pt x="965" y="23"/>
                </a:lnTo>
                <a:lnTo>
                  <a:pt x="971" y="23"/>
                </a:lnTo>
                <a:lnTo>
                  <a:pt x="971" y="23"/>
                </a:lnTo>
                <a:lnTo>
                  <a:pt x="973" y="27"/>
                </a:lnTo>
                <a:lnTo>
                  <a:pt x="975" y="31"/>
                </a:lnTo>
                <a:lnTo>
                  <a:pt x="979" y="33"/>
                </a:lnTo>
                <a:lnTo>
                  <a:pt x="981" y="33"/>
                </a:lnTo>
                <a:lnTo>
                  <a:pt x="984" y="33"/>
                </a:lnTo>
                <a:lnTo>
                  <a:pt x="988" y="33"/>
                </a:lnTo>
                <a:lnTo>
                  <a:pt x="992" y="31"/>
                </a:lnTo>
                <a:lnTo>
                  <a:pt x="998" y="31"/>
                </a:lnTo>
                <a:lnTo>
                  <a:pt x="998" y="31"/>
                </a:lnTo>
                <a:lnTo>
                  <a:pt x="1007" y="31"/>
                </a:lnTo>
                <a:lnTo>
                  <a:pt x="1015" y="31"/>
                </a:lnTo>
                <a:lnTo>
                  <a:pt x="1023" y="29"/>
                </a:lnTo>
                <a:lnTo>
                  <a:pt x="1026" y="25"/>
                </a:lnTo>
                <a:lnTo>
                  <a:pt x="1030" y="21"/>
                </a:lnTo>
                <a:lnTo>
                  <a:pt x="1034" y="17"/>
                </a:lnTo>
                <a:lnTo>
                  <a:pt x="1036" y="10"/>
                </a:lnTo>
                <a:lnTo>
                  <a:pt x="1036" y="2"/>
                </a:lnTo>
                <a:lnTo>
                  <a:pt x="1036" y="2"/>
                </a:lnTo>
                <a:lnTo>
                  <a:pt x="1044" y="0"/>
                </a:lnTo>
                <a:lnTo>
                  <a:pt x="1051" y="0"/>
                </a:lnTo>
                <a:lnTo>
                  <a:pt x="1059" y="2"/>
                </a:lnTo>
                <a:lnTo>
                  <a:pt x="1064" y="2"/>
                </a:lnTo>
                <a:lnTo>
                  <a:pt x="1072" y="4"/>
                </a:lnTo>
                <a:lnTo>
                  <a:pt x="1078" y="6"/>
                </a:lnTo>
                <a:lnTo>
                  <a:pt x="1084" y="8"/>
                </a:lnTo>
                <a:lnTo>
                  <a:pt x="1091" y="10"/>
                </a:lnTo>
                <a:lnTo>
                  <a:pt x="1097" y="12"/>
                </a:lnTo>
                <a:lnTo>
                  <a:pt x="1103" y="13"/>
                </a:lnTo>
                <a:lnTo>
                  <a:pt x="1108" y="17"/>
                </a:lnTo>
                <a:lnTo>
                  <a:pt x="1116" y="19"/>
                </a:lnTo>
                <a:lnTo>
                  <a:pt x="1122" y="21"/>
                </a:lnTo>
                <a:lnTo>
                  <a:pt x="1129" y="21"/>
                </a:lnTo>
                <a:lnTo>
                  <a:pt x="1137" y="23"/>
                </a:lnTo>
                <a:lnTo>
                  <a:pt x="1145" y="23"/>
                </a:lnTo>
                <a:lnTo>
                  <a:pt x="1145" y="23"/>
                </a:lnTo>
                <a:lnTo>
                  <a:pt x="1152" y="23"/>
                </a:lnTo>
                <a:lnTo>
                  <a:pt x="1160" y="21"/>
                </a:lnTo>
                <a:lnTo>
                  <a:pt x="1166" y="21"/>
                </a:lnTo>
                <a:lnTo>
                  <a:pt x="1171" y="19"/>
                </a:lnTo>
                <a:lnTo>
                  <a:pt x="1175" y="17"/>
                </a:lnTo>
                <a:lnTo>
                  <a:pt x="1181" y="15"/>
                </a:lnTo>
                <a:lnTo>
                  <a:pt x="1187" y="15"/>
                </a:lnTo>
                <a:lnTo>
                  <a:pt x="1194" y="13"/>
                </a:lnTo>
                <a:lnTo>
                  <a:pt x="1188" y="2"/>
                </a:lnTo>
                <a:lnTo>
                  <a:pt x="1188" y="2"/>
                </a:lnTo>
                <a:lnTo>
                  <a:pt x="1188" y="4"/>
                </a:lnTo>
                <a:lnTo>
                  <a:pt x="1188" y="8"/>
                </a:lnTo>
                <a:lnTo>
                  <a:pt x="1190" y="12"/>
                </a:lnTo>
                <a:lnTo>
                  <a:pt x="1192" y="13"/>
                </a:lnTo>
                <a:lnTo>
                  <a:pt x="1192" y="13"/>
                </a:lnTo>
                <a:lnTo>
                  <a:pt x="1196" y="17"/>
                </a:lnTo>
                <a:lnTo>
                  <a:pt x="1200" y="19"/>
                </a:lnTo>
                <a:lnTo>
                  <a:pt x="1206" y="21"/>
                </a:lnTo>
                <a:lnTo>
                  <a:pt x="1209" y="25"/>
                </a:lnTo>
                <a:lnTo>
                  <a:pt x="1217" y="29"/>
                </a:lnTo>
                <a:lnTo>
                  <a:pt x="1221" y="31"/>
                </a:lnTo>
                <a:lnTo>
                  <a:pt x="1227" y="36"/>
                </a:lnTo>
                <a:lnTo>
                  <a:pt x="1230" y="40"/>
                </a:lnTo>
                <a:lnTo>
                  <a:pt x="1230" y="40"/>
                </a:lnTo>
                <a:lnTo>
                  <a:pt x="1234" y="46"/>
                </a:lnTo>
                <a:lnTo>
                  <a:pt x="1238" y="52"/>
                </a:lnTo>
                <a:lnTo>
                  <a:pt x="1242" y="57"/>
                </a:lnTo>
                <a:lnTo>
                  <a:pt x="1246" y="65"/>
                </a:lnTo>
                <a:lnTo>
                  <a:pt x="1251" y="71"/>
                </a:lnTo>
                <a:lnTo>
                  <a:pt x="1257" y="75"/>
                </a:lnTo>
                <a:lnTo>
                  <a:pt x="1265" y="76"/>
                </a:lnTo>
                <a:lnTo>
                  <a:pt x="1274" y="78"/>
                </a:lnTo>
                <a:lnTo>
                  <a:pt x="1274" y="78"/>
                </a:lnTo>
                <a:lnTo>
                  <a:pt x="1280" y="78"/>
                </a:lnTo>
                <a:lnTo>
                  <a:pt x="1284" y="76"/>
                </a:lnTo>
                <a:lnTo>
                  <a:pt x="1288" y="73"/>
                </a:lnTo>
                <a:lnTo>
                  <a:pt x="1290" y="71"/>
                </a:lnTo>
                <a:lnTo>
                  <a:pt x="1293" y="69"/>
                </a:lnTo>
                <a:lnTo>
                  <a:pt x="1297" y="67"/>
                </a:lnTo>
                <a:lnTo>
                  <a:pt x="1301" y="65"/>
                </a:lnTo>
                <a:lnTo>
                  <a:pt x="1307" y="65"/>
                </a:lnTo>
                <a:lnTo>
                  <a:pt x="1307" y="65"/>
                </a:lnTo>
                <a:lnTo>
                  <a:pt x="1312" y="65"/>
                </a:lnTo>
                <a:lnTo>
                  <a:pt x="1318" y="65"/>
                </a:lnTo>
                <a:lnTo>
                  <a:pt x="1324" y="67"/>
                </a:lnTo>
                <a:lnTo>
                  <a:pt x="1330" y="67"/>
                </a:lnTo>
                <a:lnTo>
                  <a:pt x="1335" y="69"/>
                </a:lnTo>
                <a:lnTo>
                  <a:pt x="1339" y="71"/>
                </a:lnTo>
                <a:lnTo>
                  <a:pt x="1345" y="71"/>
                </a:lnTo>
                <a:lnTo>
                  <a:pt x="1351" y="73"/>
                </a:lnTo>
                <a:lnTo>
                  <a:pt x="1351" y="73"/>
                </a:lnTo>
                <a:lnTo>
                  <a:pt x="1354" y="71"/>
                </a:lnTo>
                <a:lnTo>
                  <a:pt x="1358" y="69"/>
                </a:lnTo>
                <a:lnTo>
                  <a:pt x="1360" y="65"/>
                </a:lnTo>
                <a:lnTo>
                  <a:pt x="1362" y="61"/>
                </a:lnTo>
                <a:lnTo>
                  <a:pt x="1366" y="59"/>
                </a:lnTo>
                <a:lnTo>
                  <a:pt x="1368" y="55"/>
                </a:lnTo>
                <a:lnTo>
                  <a:pt x="1372" y="54"/>
                </a:lnTo>
                <a:lnTo>
                  <a:pt x="1375" y="52"/>
                </a:lnTo>
                <a:lnTo>
                  <a:pt x="1375" y="52"/>
                </a:lnTo>
                <a:lnTo>
                  <a:pt x="1385" y="55"/>
                </a:lnTo>
                <a:lnTo>
                  <a:pt x="1393" y="59"/>
                </a:lnTo>
                <a:lnTo>
                  <a:pt x="1400" y="67"/>
                </a:lnTo>
                <a:lnTo>
                  <a:pt x="1406" y="75"/>
                </a:lnTo>
                <a:lnTo>
                  <a:pt x="1412" y="84"/>
                </a:lnTo>
                <a:lnTo>
                  <a:pt x="1417" y="94"/>
                </a:lnTo>
                <a:lnTo>
                  <a:pt x="1423" y="99"/>
                </a:lnTo>
                <a:lnTo>
                  <a:pt x="1431" y="105"/>
                </a:lnTo>
                <a:lnTo>
                  <a:pt x="1431" y="105"/>
                </a:lnTo>
                <a:lnTo>
                  <a:pt x="1435" y="105"/>
                </a:lnTo>
                <a:lnTo>
                  <a:pt x="1438" y="105"/>
                </a:lnTo>
                <a:lnTo>
                  <a:pt x="1442" y="107"/>
                </a:lnTo>
                <a:lnTo>
                  <a:pt x="1444" y="107"/>
                </a:lnTo>
                <a:lnTo>
                  <a:pt x="1448" y="107"/>
                </a:lnTo>
                <a:lnTo>
                  <a:pt x="1450" y="107"/>
                </a:lnTo>
                <a:lnTo>
                  <a:pt x="1454" y="109"/>
                </a:lnTo>
                <a:lnTo>
                  <a:pt x="1456" y="111"/>
                </a:lnTo>
                <a:lnTo>
                  <a:pt x="1456" y="111"/>
                </a:lnTo>
                <a:lnTo>
                  <a:pt x="1456" y="115"/>
                </a:lnTo>
                <a:lnTo>
                  <a:pt x="1456" y="117"/>
                </a:lnTo>
                <a:lnTo>
                  <a:pt x="1456" y="120"/>
                </a:lnTo>
                <a:lnTo>
                  <a:pt x="1456" y="124"/>
                </a:lnTo>
                <a:lnTo>
                  <a:pt x="1457" y="128"/>
                </a:lnTo>
                <a:lnTo>
                  <a:pt x="1459" y="132"/>
                </a:lnTo>
                <a:lnTo>
                  <a:pt x="1461" y="134"/>
                </a:lnTo>
                <a:lnTo>
                  <a:pt x="1467" y="136"/>
                </a:lnTo>
                <a:lnTo>
                  <a:pt x="1469" y="134"/>
                </a:lnTo>
                <a:lnTo>
                  <a:pt x="1469" y="134"/>
                </a:lnTo>
                <a:lnTo>
                  <a:pt x="1471" y="139"/>
                </a:lnTo>
                <a:lnTo>
                  <a:pt x="1471" y="143"/>
                </a:lnTo>
                <a:lnTo>
                  <a:pt x="1471" y="147"/>
                </a:lnTo>
                <a:lnTo>
                  <a:pt x="1471" y="151"/>
                </a:lnTo>
                <a:lnTo>
                  <a:pt x="1471" y="157"/>
                </a:lnTo>
                <a:lnTo>
                  <a:pt x="1469" y="160"/>
                </a:lnTo>
                <a:lnTo>
                  <a:pt x="1469" y="166"/>
                </a:lnTo>
                <a:lnTo>
                  <a:pt x="1469" y="172"/>
                </a:lnTo>
                <a:lnTo>
                  <a:pt x="1469" y="172"/>
                </a:lnTo>
                <a:lnTo>
                  <a:pt x="1469" y="176"/>
                </a:lnTo>
                <a:lnTo>
                  <a:pt x="1469" y="179"/>
                </a:lnTo>
                <a:lnTo>
                  <a:pt x="1469" y="181"/>
                </a:lnTo>
                <a:lnTo>
                  <a:pt x="1471" y="183"/>
                </a:lnTo>
                <a:lnTo>
                  <a:pt x="1471" y="185"/>
                </a:lnTo>
                <a:lnTo>
                  <a:pt x="1473" y="187"/>
                </a:lnTo>
                <a:lnTo>
                  <a:pt x="1473" y="191"/>
                </a:lnTo>
                <a:lnTo>
                  <a:pt x="1473" y="195"/>
                </a:lnTo>
                <a:lnTo>
                  <a:pt x="1473" y="195"/>
                </a:lnTo>
                <a:lnTo>
                  <a:pt x="1473" y="199"/>
                </a:lnTo>
                <a:lnTo>
                  <a:pt x="1471" y="200"/>
                </a:lnTo>
                <a:lnTo>
                  <a:pt x="1471" y="202"/>
                </a:lnTo>
                <a:lnTo>
                  <a:pt x="1469" y="204"/>
                </a:lnTo>
                <a:lnTo>
                  <a:pt x="1467" y="208"/>
                </a:lnTo>
                <a:lnTo>
                  <a:pt x="1465" y="210"/>
                </a:lnTo>
                <a:lnTo>
                  <a:pt x="1465" y="214"/>
                </a:lnTo>
                <a:lnTo>
                  <a:pt x="1465" y="220"/>
                </a:lnTo>
                <a:lnTo>
                  <a:pt x="1465" y="220"/>
                </a:lnTo>
                <a:lnTo>
                  <a:pt x="1467" y="225"/>
                </a:lnTo>
                <a:lnTo>
                  <a:pt x="1471" y="229"/>
                </a:lnTo>
                <a:lnTo>
                  <a:pt x="1477" y="231"/>
                </a:lnTo>
                <a:lnTo>
                  <a:pt x="1482" y="233"/>
                </a:lnTo>
                <a:lnTo>
                  <a:pt x="1490" y="235"/>
                </a:lnTo>
                <a:lnTo>
                  <a:pt x="1496" y="239"/>
                </a:lnTo>
                <a:lnTo>
                  <a:pt x="1499" y="242"/>
                </a:lnTo>
                <a:lnTo>
                  <a:pt x="1499" y="248"/>
                </a:lnTo>
                <a:lnTo>
                  <a:pt x="1499" y="248"/>
                </a:lnTo>
                <a:lnTo>
                  <a:pt x="1499" y="254"/>
                </a:lnTo>
                <a:lnTo>
                  <a:pt x="1498" y="260"/>
                </a:lnTo>
                <a:lnTo>
                  <a:pt x="1494" y="263"/>
                </a:lnTo>
                <a:lnTo>
                  <a:pt x="1490" y="269"/>
                </a:lnTo>
                <a:lnTo>
                  <a:pt x="1486" y="273"/>
                </a:lnTo>
                <a:lnTo>
                  <a:pt x="1480" y="277"/>
                </a:lnTo>
                <a:lnTo>
                  <a:pt x="1475" y="281"/>
                </a:lnTo>
                <a:lnTo>
                  <a:pt x="1471" y="284"/>
                </a:lnTo>
                <a:lnTo>
                  <a:pt x="1471" y="284"/>
                </a:lnTo>
                <a:lnTo>
                  <a:pt x="1463" y="292"/>
                </a:lnTo>
                <a:lnTo>
                  <a:pt x="1457" y="298"/>
                </a:lnTo>
                <a:lnTo>
                  <a:pt x="1450" y="305"/>
                </a:lnTo>
                <a:lnTo>
                  <a:pt x="1444" y="313"/>
                </a:lnTo>
                <a:lnTo>
                  <a:pt x="1436" y="319"/>
                </a:lnTo>
                <a:lnTo>
                  <a:pt x="1431" y="326"/>
                </a:lnTo>
                <a:lnTo>
                  <a:pt x="1423" y="334"/>
                </a:lnTo>
                <a:lnTo>
                  <a:pt x="1415" y="340"/>
                </a:lnTo>
                <a:lnTo>
                  <a:pt x="1415" y="340"/>
                </a:lnTo>
                <a:lnTo>
                  <a:pt x="1414" y="342"/>
                </a:lnTo>
                <a:lnTo>
                  <a:pt x="1412" y="345"/>
                </a:lnTo>
                <a:lnTo>
                  <a:pt x="1408" y="347"/>
                </a:lnTo>
                <a:lnTo>
                  <a:pt x="1406" y="349"/>
                </a:lnTo>
                <a:lnTo>
                  <a:pt x="1404" y="351"/>
                </a:lnTo>
                <a:lnTo>
                  <a:pt x="1402" y="355"/>
                </a:lnTo>
                <a:lnTo>
                  <a:pt x="1400" y="359"/>
                </a:lnTo>
                <a:lnTo>
                  <a:pt x="1400" y="361"/>
                </a:lnTo>
                <a:lnTo>
                  <a:pt x="1400" y="361"/>
                </a:lnTo>
                <a:lnTo>
                  <a:pt x="1400" y="370"/>
                </a:lnTo>
                <a:lnTo>
                  <a:pt x="1398" y="378"/>
                </a:lnTo>
                <a:lnTo>
                  <a:pt x="1398" y="387"/>
                </a:lnTo>
                <a:lnTo>
                  <a:pt x="1396" y="395"/>
                </a:lnTo>
                <a:lnTo>
                  <a:pt x="1394" y="405"/>
                </a:lnTo>
                <a:lnTo>
                  <a:pt x="1393" y="412"/>
                </a:lnTo>
                <a:lnTo>
                  <a:pt x="1391" y="422"/>
                </a:lnTo>
                <a:lnTo>
                  <a:pt x="1389" y="431"/>
                </a:lnTo>
                <a:lnTo>
                  <a:pt x="1385" y="441"/>
                </a:lnTo>
                <a:lnTo>
                  <a:pt x="1383" y="450"/>
                </a:lnTo>
                <a:lnTo>
                  <a:pt x="1381" y="460"/>
                </a:lnTo>
                <a:lnTo>
                  <a:pt x="1379" y="469"/>
                </a:lnTo>
                <a:lnTo>
                  <a:pt x="1377" y="479"/>
                </a:lnTo>
                <a:lnTo>
                  <a:pt x="1377" y="490"/>
                </a:lnTo>
                <a:lnTo>
                  <a:pt x="1377" y="502"/>
                </a:lnTo>
                <a:lnTo>
                  <a:pt x="1375" y="513"/>
                </a:lnTo>
                <a:lnTo>
                  <a:pt x="1375" y="513"/>
                </a:lnTo>
                <a:lnTo>
                  <a:pt x="1375" y="515"/>
                </a:lnTo>
                <a:lnTo>
                  <a:pt x="1375" y="519"/>
                </a:lnTo>
                <a:lnTo>
                  <a:pt x="1375" y="521"/>
                </a:lnTo>
                <a:lnTo>
                  <a:pt x="1375" y="525"/>
                </a:lnTo>
                <a:lnTo>
                  <a:pt x="1377" y="527"/>
                </a:lnTo>
                <a:lnTo>
                  <a:pt x="1377" y="530"/>
                </a:lnTo>
                <a:lnTo>
                  <a:pt x="1377" y="532"/>
                </a:lnTo>
                <a:lnTo>
                  <a:pt x="1377" y="536"/>
                </a:lnTo>
                <a:lnTo>
                  <a:pt x="1377" y="536"/>
                </a:lnTo>
                <a:lnTo>
                  <a:pt x="1372" y="540"/>
                </a:lnTo>
                <a:lnTo>
                  <a:pt x="1366" y="544"/>
                </a:lnTo>
                <a:lnTo>
                  <a:pt x="1360" y="548"/>
                </a:lnTo>
                <a:lnTo>
                  <a:pt x="1356" y="553"/>
                </a:lnTo>
                <a:lnTo>
                  <a:pt x="1353" y="559"/>
                </a:lnTo>
                <a:lnTo>
                  <a:pt x="1349" y="563"/>
                </a:lnTo>
                <a:lnTo>
                  <a:pt x="1347" y="569"/>
                </a:lnTo>
                <a:lnTo>
                  <a:pt x="1347" y="574"/>
                </a:lnTo>
                <a:lnTo>
                  <a:pt x="1347" y="574"/>
                </a:lnTo>
                <a:lnTo>
                  <a:pt x="1347" y="578"/>
                </a:lnTo>
                <a:lnTo>
                  <a:pt x="1347" y="580"/>
                </a:lnTo>
                <a:lnTo>
                  <a:pt x="1349" y="584"/>
                </a:lnTo>
                <a:lnTo>
                  <a:pt x="1349" y="588"/>
                </a:lnTo>
                <a:lnTo>
                  <a:pt x="1349" y="590"/>
                </a:lnTo>
                <a:lnTo>
                  <a:pt x="1349" y="593"/>
                </a:lnTo>
                <a:lnTo>
                  <a:pt x="1347" y="595"/>
                </a:lnTo>
                <a:lnTo>
                  <a:pt x="1345" y="597"/>
                </a:lnTo>
                <a:lnTo>
                  <a:pt x="1345" y="597"/>
                </a:lnTo>
                <a:lnTo>
                  <a:pt x="1341" y="599"/>
                </a:lnTo>
                <a:lnTo>
                  <a:pt x="1337" y="601"/>
                </a:lnTo>
                <a:lnTo>
                  <a:pt x="1333" y="603"/>
                </a:lnTo>
                <a:lnTo>
                  <a:pt x="1330" y="605"/>
                </a:lnTo>
                <a:lnTo>
                  <a:pt x="1328" y="609"/>
                </a:lnTo>
                <a:lnTo>
                  <a:pt x="1326" y="613"/>
                </a:lnTo>
                <a:lnTo>
                  <a:pt x="1324" y="618"/>
                </a:lnTo>
                <a:lnTo>
                  <a:pt x="1322" y="624"/>
                </a:lnTo>
                <a:lnTo>
                  <a:pt x="1322" y="624"/>
                </a:lnTo>
                <a:lnTo>
                  <a:pt x="1324" y="628"/>
                </a:lnTo>
                <a:lnTo>
                  <a:pt x="1324" y="630"/>
                </a:lnTo>
                <a:lnTo>
                  <a:pt x="1326" y="634"/>
                </a:lnTo>
                <a:lnTo>
                  <a:pt x="1326" y="635"/>
                </a:lnTo>
                <a:lnTo>
                  <a:pt x="1328" y="637"/>
                </a:lnTo>
                <a:lnTo>
                  <a:pt x="1330" y="641"/>
                </a:lnTo>
                <a:lnTo>
                  <a:pt x="1332" y="643"/>
                </a:lnTo>
                <a:lnTo>
                  <a:pt x="1333" y="645"/>
                </a:lnTo>
                <a:lnTo>
                  <a:pt x="1333" y="645"/>
                </a:lnTo>
                <a:lnTo>
                  <a:pt x="1333" y="649"/>
                </a:lnTo>
                <a:lnTo>
                  <a:pt x="1335" y="653"/>
                </a:lnTo>
                <a:lnTo>
                  <a:pt x="1337" y="656"/>
                </a:lnTo>
                <a:lnTo>
                  <a:pt x="1341" y="658"/>
                </a:lnTo>
                <a:lnTo>
                  <a:pt x="1343" y="662"/>
                </a:lnTo>
                <a:lnTo>
                  <a:pt x="1345" y="666"/>
                </a:lnTo>
                <a:lnTo>
                  <a:pt x="1347" y="668"/>
                </a:lnTo>
                <a:lnTo>
                  <a:pt x="1349" y="672"/>
                </a:lnTo>
                <a:lnTo>
                  <a:pt x="1349" y="672"/>
                </a:lnTo>
                <a:lnTo>
                  <a:pt x="1351" y="677"/>
                </a:lnTo>
                <a:lnTo>
                  <a:pt x="1351" y="683"/>
                </a:lnTo>
                <a:lnTo>
                  <a:pt x="1351" y="687"/>
                </a:lnTo>
                <a:lnTo>
                  <a:pt x="1351" y="693"/>
                </a:lnTo>
                <a:lnTo>
                  <a:pt x="1351" y="696"/>
                </a:lnTo>
                <a:lnTo>
                  <a:pt x="1351" y="702"/>
                </a:lnTo>
                <a:lnTo>
                  <a:pt x="1351" y="708"/>
                </a:lnTo>
                <a:lnTo>
                  <a:pt x="1351" y="712"/>
                </a:lnTo>
                <a:lnTo>
                  <a:pt x="1351" y="712"/>
                </a:lnTo>
                <a:lnTo>
                  <a:pt x="1351" y="714"/>
                </a:lnTo>
                <a:lnTo>
                  <a:pt x="1351" y="716"/>
                </a:lnTo>
                <a:lnTo>
                  <a:pt x="1351" y="717"/>
                </a:lnTo>
                <a:lnTo>
                  <a:pt x="1351" y="719"/>
                </a:lnTo>
                <a:lnTo>
                  <a:pt x="1351" y="721"/>
                </a:lnTo>
                <a:lnTo>
                  <a:pt x="1351" y="723"/>
                </a:lnTo>
                <a:lnTo>
                  <a:pt x="1351" y="725"/>
                </a:lnTo>
                <a:lnTo>
                  <a:pt x="1351" y="725"/>
                </a:lnTo>
                <a:lnTo>
                  <a:pt x="1351" y="725"/>
                </a:lnTo>
                <a:lnTo>
                  <a:pt x="1351" y="727"/>
                </a:lnTo>
                <a:lnTo>
                  <a:pt x="1353" y="729"/>
                </a:lnTo>
                <a:lnTo>
                  <a:pt x="1353" y="731"/>
                </a:lnTo>
                <a:lnTo>
                  <a:pt x="1353" y="733"/>
                </a:lnTo>
                <a:lnTo>
                  <a:pt x="1353" y="733"/>
                </a:lnTo>
                <a:lnTo>
                  <a:pt x="1351" y="733"/>
                </a:lnTo>
                <a:lnTo>
                  <a:pt x="1349" y="733"/>
                </a:lnTo>
                <a:lnTo>
                  <a:pt x="1347" y="731"/>
                </a:lnTo>
                <a:lnTo>
                  <a:pt x="1345" y="731"/>
                </a:lnTo>
                <a:lnTo>
                  <a:pt x="1345" y="731"/>
                </a:lnTo>
                <a:lnTo>
                  <a:pt x="1345" y="733"/>
                </a:lnTo>
                <a:lnTo>
                  <a:pt x="1345" y="735"/>
                </a:lnTo>
                <a:lnTo>
                  <a:pt x="1345" y="735"/>
                </a:lnTo>
                <a:lnTo>
                  <a:pt x="1345" y="737"/>
                </a:lnTo>
                <a:lnTo>
                  <a:pt x="1345" y="738"/>
                </a:lnTo>
                <a:lnTo>
                  <a:pt x="1345" y="740"/>
                </a:lnTo>
                <a:lnTo>
                  <a:pt x="1345" y="742"/>
                </a:lnTo>
                <a:lnTo>
                  <a:pt x="1345" y="744"/>
                </a:lnTo>
                <a:lnTo>
                  <a:pt x="1345" y="744"/>
                </a:lnTo>
                <a:lnTo>
                  <a:pt x="1345" y="748"/>
                </a:lnTo>
                <a:lnTo>
                  <a:pt x="1345" y="752"/>
                </a:lnTo>
                <a:lnTo>
                  <a:pt x="1347" y="756"/>
                </a:lnTo>
                <a:lnTo>
                  <a:pt x="1347" y="759"/>
                </a:lnTo>
                <a:lnTo>
                  <a:pt x="1349" y="761"/>
                </a:lnTo>
                <a:lnTo>
                  <a:pt x="1349" y="765"/>
                </a:lnTo>
                <a:lnTo>
                  <a:pt x="1351" y="771"/>
                </a:lnTo>
                <a:lnTo>
                  <a:pt x="1351" y="775"/>
                </a:lnTo>
                <a:lnTo>
                  <a:pt x="1351" y="775"/>
                </a:lnTo>
                <a:lnTo>
                  <a:pt x="1351" y="780"/>
                </a:lnTo>
                <a:lnTo>
                  <a:pt x="1349" y="784"/>
                </a:lnTo>
                <a:lnTo>
                  <a:pt x="1349" y="790"/>
                </a:lnTo>
                <a:lnTo>
                  <a:pt x="1347" y="794"/>
                </a:lnTo>
                <a:lnTo>
                  <a:pt x="1347" y="798"/>
                </a:lnTo>
                <a:lnTo>
                  <a:pt x="1345" y="803"/>
                </a:lnTo>
                <a:lnTo>
                  <a:pt x="1345" y="809"/>
                </a:lnTo>
                <a:lnTo>
                  <a:pt x="1345" y="815"/>
                </a:lnTo>
                <a:lnTo>
                  <a:pt x="1345" y="815"/>
                </a:lnTo>
                <a:lnTo>
                  <a:pt x="1345" y="820"/>
                </a:lnTo>
                <a:lnTo>
                  <a:pt x="1345" y="824"/>
                </a:lnTo>
                <a:lnTo>
                  <a:pt x="1345" y="830"/>
                </a:lnTo>
                <a:lnTo>
                  <a:pt x="1347" y="834"/>
                </a:lnTo>
                <a:lnTo>
                  <a:pt x="1347" y="840"/>
                </a:lnTo>
                <a:lnTo>
                  <a:pt x="1349" y="843"/>
                </a:lnTo>
                <a:lnTo>
                  <a:pt x="1351" y="847"/>
                </a:lnTo>
                <a:lnTo>
                  <a:pt x="1351" y="851"/>
                </a:lnTo>
                <a:lnTo>
                  <a:pt x="1353" y="855"/>
                </a:lnTo>
                <a:lnTo>
                  <a:pt x="1354" y="859"/>
                </a:lnTo>
                <a:lnTo>
                  <a:pt x="1354" y="862"/>
                </a:lnTo>
                <a:lnTo>
                  <a:pt x="1356" y="866"/>
                </a:lnTo>
                <a:lnTo>
                  <a:pt x="1356" y="870"/>
                </a:lnTo>
                <a:lnTo>
                  <a:pt x="1358" y="874"/>
                </a:lnTo>
                <a:lnTo>
                  <a:pt x="1358" y="878"/>
                </a:lnTo>
                <a:lnTo>
                  <a:pt x="1358" y="880"/>
                </a:lnTo>
                <a:lnTo>
                  <a:pt x="1358" y="880"/>
                </a:lnTo>
                <a:lnTo>
                  <a:pt x="1358" y="883"/>
                </a:lnTo>
                <a:lnTo>
                  <a:pt x="1358" y="885"/>
                </a:lnTo>
                <a:lnTo>
                  <a:pt x="1358" y="887"/>
                </a:lnTo>
                <a:lnTo>
                  <a:pt x="1358" y="889"/>
                </a:lnTo>
                <a:lnTo>
                  <a:pt x="1358" y="893"/>
                </a:lnTo>
                <a:lnTo>
                  <a:pt x="1358" y="897"/>
                </a:lnTo>
                <a:lnTo>
                  <a:pt x="1358" y="901"/>
                </a:lnTo>
                <a:lnTo>
                  <a:pt x="1358" y="904"/>
                </a:lnTo>
                <a:lnTo>
                  <a:pt x="1358" y="904"/>
                </a:lnTo>
                <a:lnTo>
                  <a:pt x="1358" y="910"/>
                </a:lnTo>
                <a:lnTo>
                  <a:pt x="1360" y="914"/>
                </a:lnTo>
                <a:lnTo>
                  <a:pt x="1360" y="918"/>
                </a:lnTo>
                <a:lnTo>
                  <a:pt x="1362" y="923"/>
                </a:lnTo>
                <a:lnTo>
                  <a:pt x="1362" y="929"/>
                </a:lnTo>
                <a:lnTo>
                  <a:pt x="1364" y="933"/>
                </a:lnTo>
                <a:lnTo>
                  <a:pt x="1366" y="939"/>
                </a:lnTo>
                <a:lnTo>
                  <a:pt x="1370" y="944"/>
                </a:lnTo>
                <a:lnTo>
                  <a:pt x="1372" y="948"/>
                </a:lnTo>
                <a:lnTo>
                  <a:pt x="1374" y="954"/>
                </a:lnTo>
                <a:lnTo>
                  <a:pt x="1375" y="958"/>
                </a:lnTo>
                <a:lnTo>
                  <a:pt x="1377" y="964"/>
                </a:lnTo>
                <a:lnTo>
                  <a:pt x="1381" y="967"/>
                </a:lnTo>
                <a:lnTo>
                  <a:pt x="1383" y="971"/>
                </a:lnTo>
                <a:lnTo>
                  <a:pt x="1385" y="973"/>
                </a:lnTo>
                <a:lnTo>
                  <a:pt x="1387" y="977"/>
                </a:lnTo>
                <a:lnTo>
                  <a:pt x="1387" y="977"/>
                </a:lnTo>
                <a:lnTo>
                  <a:pt x="1391" y="981"/>
                </a:lnTo>
                <a:lnTo>
                  <a:pt x="1396" y="985"/>
                </a:lnTo>
                <a:lnTo>
                  <a:pt x="1402" y="988"/>
                </a:lnTo>
                <a:lnTo>
                  <a:pt x="1408" y="992"/>
                </a:lnTo>
                <a:lnTo>
                  <a:pt x="1414" y="996"/>
                </a:lnTo>
                <a:lnTo>
                  <a:pt x="1417" y="1002"/>
                </a:lnTo>
                <a:lnTo>
                  <a:pt x="1421" y="1006"/>
                </a:lnTo>
                <a:lnTo>
                  <a:pt x="1425" y="1011"/>
                </a:lnTo>
                <a:lnTo>
                  <a:pt x="1425" y="1011"/>
                </a:lnTo>
                <a:lnTo>
                  <a:pt x="1429" y="1021"/>
                </a:lnTo>
                <a:lnTo>
                  <a:pt x="1433" y="1028"/>
                </a:lnTo>
                <a:lnTo>
                  <a:pt x="1435" y="1038"/>
                </a:lnTo>
                <a:lnTo>
                  <a:pt x="1436" y="1046"/>
                </a:lnTo>
                <a:lnTo>
                  <a:pt x="1440" y="1051"/>
                </a:lnTo>
                <a:lnTo>
                  <a:pt x="1444" y="1059"/>
                </a:lnTo>
                <a:lnTo>
                  <a:pt x="1450" y="1065"/>
                </a:lnTo>
                <a:lnTo>
                  <a:pt x="1457" y="1070"/>
                </a:lnTo>
                <a:lnTo>
                  <a:pt x="1465" y="1078"/>
                </a:lnTo>
                <a:lnTo>
                  <a:pt x="1414" y="1082"/>
                </a:lnTo>
                <a:lnTo>
                  <a:pt x="1414" y="1082"/>
                </a:lnTo>
                <a:lnTo>
                  <a:pt x="1408" y="1086"/>
                </a:lnTo>
                <a:lnTo>
                  <a:pt x="1402" y="1086"/>
                </a:lnTo>
                <a:lnTo>
                  <a:pt x="1396" y="1088"/>
                </a:lnTo>
                <a:lnTo>
                  <a:pt x="1391" y="1088"/>
                </a:lnTo>
                <a:lnTo>
                  <a:pt x="1387" y="1088"/>
                </a:lnTo>
                <a:lnTo>
                  <a:pt x="1381" y="1089"/>
                </a:lnTo>
                <a:lnTo>
                  <a:pt x="1375" y="1089"/>
                </a:lnTo>
                <a:lnTo>
                  <a:pt x="1370" y="1089"/>
                </a:lnTo>
                <a:lnTo>
                  <a:pt x="1366" y="1089"/>
                </a:lnTo>
                <a:lnTo>
                  <a:pt x="1360" y="1089"/>
                </a:lnTo>
                <a:lnTo>
                  <a:pt x="1354" y="1091"/>
                </a:lnTo>
                <a:lnTo>
                  <a:pt x="1351" y="1091"/>
                </a:lnTo>
                <a:lnTo>
                  <a:pt x="1345" y="1093"/>
                </a:lnTo>
                <a:lnTo>
                  <a:pt x="1339" y="1095"/>
                </a:lnTo>
                <a:lnTo>
                  <a:pt x="1333" y="1097"/>
                </a:lnTo>
                <a:lnTo>
                  <a:pt x="1328" y="1101"/>
                </a:lnTo>
                <a:lnTo>
                  <a:pt x="1328" y="1101"/>
                </a:lnTo>
                <a:lnTo>
                  <a:pt x="1322" y="1105"/>
                </a:lnTo>
                <a:lnTo>
                  <a:pt x="1320" y="1109"/>
                </a:lnTo>
                <a:lnTo>
                  <a:pt x="1318" y="1114"/>
                </a:lnTo>
                <a:lnTo>
                  <a:pt x="1316" y="1120"/>
                </a:lnTo>
                <a:lnTo>
                  <a:pt x="1316" y="1126"/>
                </a:lnTo>
                <a:lnTo>
                  <a:pt x="1314" y="1131"/>
                </a:lnTo>
                <a:lnTo>
                  <a:pt x="1312" y="1135"/>
                </a:lnTo>
                <a:lnTo>
                  <a:pt x="1307" y="1141"/>
                </a:lnTo>
                <a:lnTo>
                  <a:pt x="1307" y="1141"/>
                </a:lnTo>
                <a:lnTo>
                  <a:pt x="1305" y="1143"/>
                </a:lnTo>
                <a:lnTo>
                  <a:pt x="1301" y="1145"/>
                </a:lnTo>
                <a:lnTo>
                  <a:pt x="1297" y="1149"/>
                </a:lnTo>
                <a:lnTo>
                  <a:pt x="1291" y="1151"/>
                </a:lnTo>
                <a:lnTo>
                  <a:pt x="1288" y="1154"/>
                </a:lnTo>
                <a:lnTo>
                  <a:pt x="1284" y="1158"/>
                </a:lnTo>
                <a:lnTo>
                  <a:pt x="1282" y="1164"/>
                </a:lnTo>
                <a:lnTo>
                  <a:pt x="1280" y="1170"/>
                </a:lnTo>
                <a:lnTo>
                  <a:pt x="1280" y="1170"/>
                </a:lnTo>
                <a:lnTo>
                  <a:pt x="1280" y="1173"/>
                </a:lnTo>
                <a:lnTo>
                  <a:pt x="1282" y="1175"/>
                </a:lnTo>
                <a:lnTo>
                  <a:pt x="1284" y="1179"/>
                </a:lnTo>
                <a:lnTo>
                  <a:pt x="1286" y="1181"/>
                </a:lnTo>
                <a:lnTo>
                  <a:pt x="1288" y="1185"/>
                </a:lnTo>
                <a:lnTo>
                  <a:pt x="1290" y="1187"/>
                </a:lnTo>
                <a:lnTo>
                  <a:pt x="1291" y="1191"/>
                </a:lnTo>
                <a:lnTo>
                  <a:pt x="1291" y="1194"/>
                </a:lnTo>
                <a:lnTo>
                  <a:pt x="1291" y="1194"/>
                </a:lnTo>
                <a:lnTo>
                  <a:pt x="1291" y="1198"/>
                </a:lnTo>
                <a:lnTo>
                  <a:pt x="1291" y="1202"/>
                </a:lnTo>
                <a:lnTo>
                  <a:pt x="1291" y="1208"/>
                </a:lnTo>
                <a:lnTo>
                  <a:pt x="1291" y="1213"/>
                </a:lnTo>
                <a:lnTo>
                  <a:pt x="1291" y="1217"/>
                </a:lnTo>
                <a:lnTo>
                  <a:pt x="1291" y="1223"/>
                </a:lnTo>
                <a:lnTo>
                  <a:pt x="1291" y="1231"/>
                </a:lnTo>
                <a:lnTo>
                  <a:pt x="1291" y="1236"/>
                </a:lnTo>
                <a:lnTo>
                  <a:pt x="1291" y="1244"/>
                </a:lnTo>
                <a:lnTo>
                  <a:pt x="1291" y="1250"/>
                </a:lnTo>
                <a:lnTo>
                  <a:pt x="1291" y="1257"/>
                </a:lnTo>
                <a:lnTo>
                  <a:pt x="1291" y="1263"/>
                </a:lnTo>
                <a:lnTo>
                  <a:pt x="1291" y="1271"/>
                </a:lnTo>
                <a:lnTo>
                  <a:pt x="1291" y="1278"/>
                </a:lnTo>
                <a:lnTo>
                  <a:pt x="1291" y="1286"/>
                </a:lnTo>
                <a:lnTo>
                  <a:pt x="1291" y="1294"/>
                </a:lnTo>
                <a:lnTo>
                  <a:pt x="1291" y="1294"/>
                </a:lnTo>
                <a:lnTo>
                  <a:pt x="1290" y="1297"/>
                </a:lnTo>
                <a:lnTo>
                  <a:pt x="1286" y="1301"/>
                </a:lnTo>
                <a:lnTo>
                  <a:pt x="1282" y="1305"/>
                </a:lnTo>
                <a:lnTo>
                  <a:pt x="1280" y="1309"/>
                </a:lnTo>
                <a:lnTo>
                  <a:pt x="1278" y="1315"/>
                </a:lnTo>
                <a:lnTo>
                  <a:pt x="1276" y="1320"/>
                </a:lnTo>
                <a:lnTo>
                  <a:pt x="1274" y="1328"/>
                </a:lnTo>
                <a:lnTo>
                  <a:pt x="1274" y="1334"/>
                </a:lnTo>
                <a:lnTo>
                  <a:pt x="1274" y="1334"/>
                </a:lnTo>
                <a:lnTo>
                  <a:pt x="1274" y="1341"/>
                </a:lnTo>
                <a:lnTo>
                  <a:pt x="1276" y="1347"/>
                </a:lnTo>
                <a:lnTo>
                  <a:pt x="1278" y="1353"/>
                </a:lnTo>
                <a:lnTo>
                  <a:pt x="1280" y="1360"/>
                </a:lnTo>
                <a:lnTo>
                  <a:pt x="1284" y="1366"/>
                </a:lnTo>
                <a:lnTo>
                  <a:pt x="1288" y="1372"/>
                </a:lnTo>
                <a:lnTo>
                  <a:pt x="1291" y="1378"/>
                </a:lnTo>
                <a:lnTo>
                  <a:pt x="1295" y="1385"/>
                </a:lnTo>
                <a:lnTo>
                  <a:pt x="1301" y="1391"/>
                </a:lnTo>
                <a:lnTo>
                  <a:pt x="1307" y="1395"/>
                </a:lnTo>
                <a:lnTo>
                  <a:pt x="1311" y="1400"/>
                </a:lnTo>
                <a:lnTo>
                  <a:pt x="1316" y="1404"/>
                </a:lnTo>
                <a:lnTo>
                  <a:pt x="1322" y="1410"/>
                </a:lnTo>
                <a:lnTo>
                  <a:pt x="1328" y="1414"/>
                </a:lnTo>
                <a:lnTo>
                  <a:pt x="1332" y="1416"/>
                </a:lnTo>
                <a:lnTo>
                  <a:pt x="1337" y="1419"/>
                </a:lnTo>
                <a:lnTo>
                  <a:pt x="1360" y="1419"/>
                </a:lnTo>
                <a:lnTo>
                  <a:pt x="1360" y="1419"/>
                </a:lnTo>
                <a:lnTo>
                  <a:pt x="1362" y="1416"/>
                </a:lnTo>
                <a:lnTo>
                  <a:pt x="1364" y="1412"/>
                </a:lnTo>
                <a:lnTo>
                  <a:pt x="1366" y="1410"/>
                </a:lnTo>
                <a:lnTo>
                  <a:pt x="1370" y="1406"/>
                </a:lnTo>
                <a:lnTo>
                  <a:pt x="1372" y="1404"/>
                </a:lnTo>
                <a:lnTo>
                  <a:pt x="1375" y="1402"/>
                </a:lnTo>
                <a:lnTo>
                  <a:pt x="1379" y="1400"/>
                </a:lnTo>
                <a:lnTo>
                  <a:pt x="1385" y="1399"/>
                </a:lnTo>
                <a:lnTo>
                  <a:pt x="1385" y="1484"/>
                </a:lnTo>
                <a:lnTo>
                  <a:pt x="1385" y="1484"/>
                </a:lnTo>
                <a:lnTo>
                  <a:pt x="1381" y="1484"/>
                </a:lnTo>
                <a:lnTo>
                  <a:pt x="1377" y="1484"/>
                </a:lnTo>
                <a:lnTo>
                  <a:pt x="1374" y="1484"/>
                </a:lnTo>
                <a:lnTo>
                  <a:pt x="1370" y="1484"/>
                </a:lnTo>
                <a:lnTo>
                  <a:pt x="1368" y="1484"/>
                </a:lnTo>
                <a:lnTo>
                  <a:pt x="1364" y="1484"/>
                </a:lnTo>
                <a:lnTo>
                  <a:pt x="1360" y="1484"/>
                </a:lnTo>
                <a:lnTo>
                  <a:pt x="1354" y="1484"/>
                </a:lnTo>
                <a:lnTo>
                  <a:pt x="1354" y="1484"/>
                </a:lnTo>
                <a:lnTo>
                  <a:pt x="1351" y="1484"/>
                </a:lnTo>
                <a:lnTo>
                  <a:pt x="1347" y="1486"/>
                </a:lnTo>
                <a:lnTo>
                  <a:pt x="1345" y="1486"/>
                </a:lnTo>
                <a:lnTo>
                  <a:pt x="1341" y="1488"/>
                </a:lnTo>
                <a:lnTo>
                  <a:pt x="1337" y="1490"/>
                </a:lnTo>
                <a:lnTo>
                  <a:pt x="1335" y="1492"/>
                </a:lnTo>
                <a:lnTo>
                  <a:pt x="1332" y="1494"/>
                </a:lnTo>
                <a:lnTo>
                  <a:pt x="1328" y="1494"/>
                </a:lnTo>
                <a:lnTo>
                  <a:pt x="1328" y="1494"/>
                </a:lnTo>
                <a:lnTo>
                  <a:pt x="1324" y="1494"/>
                </a:lnTo>
                <a:lnTo>
                  <a:pt x="1320" y="1492"/>
                </a:lnTo>
                <a:lnTo>
                  <a:pt x="1316" y="1488"/>
                </a:lnTo>
                <a:lnTo>
                  <a:pt x="1312" y="1484"/>
                </a:lnTo>
                <a:lnTo>
                  <a:pt x="1309" y="1481"/>
                </a:lnTo>
                <a:lnTo>
                  <a:pt x="1307" y="1477"/>
                </a:lnTo>
                <a:lnTo>
                  <a:pt x="1303" y="1471"/>
                </a:lnTo>
                <a:lnTo>
                  <a:pt x="1299" y="1465"/>
                </a:lnTo>
                <a:lnTo>
                  <a:pt x="1295" y="1460"/>
                </a:lnTo>
                <a:lnTo>
                  <a:pt x="1293" y="1454"/>
                </a:lnTo>
                <a:lnTo>
                  <a:pt x="1290" y="1448"/>
                </a:lnTo>
                <a:lnTo>
                  <a:pt x="1288" y="1442"/>
                </a:lnTo>
                <a:lnTo>
                  <a:pt x="1284" y="1437"/>
                </a:lnTo>
                <a:lnTo>
                  <a:pt x="1280" y="1433"/>
                </a:lnTo>
                <a:lnTo>
                  <a:pt x="1278" y="1429"/>
                </a:lnTo>
                <a:lnTo>
                  <a:pt x="1274" y="1425"/>
                </a:lnTo>
                <a:lnTo>
                  <a:pt x="1274" y="1425"/>
                </a:lnTo>
                <a:lnTo>
                  <a:pt x="1267" y="1419"/>
                </a:lnTo>
                <a:lnTo>
                  <a:pt x="1261" y="1416"/>
                </a:lnTo>
                <a:lnTo>
                  <a:pt x="1253" y="1414"/>
                </a:lnTo>
                <a:lnTo>
                  <a:pt x="1244" y="1412"/>
                </a:lnTo>
                <a:lnTo>
                  <a:pt x="1236" y="1410"/>
                </a:lnTo>
                <a:lnTo>
                  <a:pt x="1229" y="1408"/>
                </a:lnTo>
                <a:lnTo>
                  <a:pt x="1219" y="1404"/>
                </a:lnTo>
                <a:lnTo>
                  <a:pt x="1209" y="1399"/>
                </a:lnTo>
                <a:lnTo>
                  <a:pt x="1209" y="1399"/>
                </a:lnTo>
                <a:lnTo>
                  <a:pt x="1204" y="1395"/>
                </a:lnTo>
                <a:lnTo>
                  <a:pt x="1200" y="1387"/>
                </a:lnTo>
                <a:lnTo>
                  <a:pt x="1196" y="1381"/>
                </a:lnTo>
                <a:lnTo>
                  <a:pt x="1192" y="1376"/>
                </a:lnTo>
                <a:lnTo>
                  <a:pt x="1188" y="1368"/>
                </a:lnTo>
                <a:lnTo>
                  <a:pt x="1185" y="1362"/>
                </a:lnTo>
                <a:lnTo>
                  <a:pt x="1179" y="1357"/>
                </a:lnTo>
                <a:lnTo>
                  <a:pt x="1171" y="1351"/>
                </a:lnTo>
                <a:lnTo>
                  <a:pt x="1171" y="1351"/>
                </a:lnTo>
                <a:lnTo>
                  <a:pt x="1169" y="1357"/>
                </a:lnTo>
                <a:lnTo>
                  <a:pt x="1166" y="1362"/>
                </a:lnTo>
                <a:lnTo>
                  <a:pt x="1164" y="1366"/>
                </a:lnTo>
                <a:lnTo>
                  <a:pt x="1160" y="1372"/>
                </a:lnTo>
                <a:lnTo>
                  <a:pt x="1154" y="1376"/>
                </a:lnTo>
                <a:lnTo>
                  <a:pt x="1150" y="1378"/>
                </a:lnTo>
                <a:lnTo>
                  <a:pt x="1143" y="1381"/>
                </a:lnTo>
                <a:lnTo>
                  <a:pt x="1137" y="1381"/>
                </a:lnTo>
                <a:lnTo>
                  <a:pt x="1137" y="1381"/>
                </a:lnTo>
                <a:lnTo>
                  <a:pt x="1127" y="1381"/>
                </a:lnTo>
                <a:lnTo>
                  <a:pt x="1120" y="1381"/>
                </a:lnTo>
                <a:lnTo>
                  <a:pt x="1110" y="1379"/>
                </a:lnTo>
                <a:lnTo>
                  <a:pt x="1101" y="1378"/>
                </a:lnTo>
                <a:lnTo>
                  <a:pt x="1093" y="1376"/>
                </a:lnTo>
                <a:lnTo>
                  <a:pt x="1084" y="1374"/>
                </a:lnTo>
                <a:lnTo>
                  <a:pt x="1074" y="1370"/>
                </a:lnTo>
                <a:lnTo>
                  <a:pt x="1066" y="1368"/>
                </a:lnTo>
                <a:lnTo>
                  <a:pt x="1059" y="1364"/>
                </a:lnTo>
                <a:lnTo>
                  <a:pt x="1051" y="1358"/>
                </a:lnTo>
                <a:lnTo>
                  <a:pt x="1045" y="1355"/>
                </a:lnTo>
                <a:lnTo>
                  <a:pt x="1040" y="1349"/>
                </a:lnTo>
                <a:lnTo>
                  <a:pt x="1036" y="1343"/>
                </a:lnTo>
                <a:lnTo>
                  <a:pt x="1034" y="1337"/>
                </a:lnTo>
                <a:lnTo>
                  <a:pt x="1030" y="1330"/>
                </a:lnTo>
                <a:lnTo>
                  <a:pt x="1030" y="1322"/>
                </a:lnTo>
                <a:lnTo>
                  <a:pt x="1030" y="1322"/>
                </a:lnTo>
                <a:lnTo>
                  <a:pt x="1026" y="1322"/>
                </a:lnTo>
                <a:lnTo>
                  <a:pt x="1024" y="1324"/>
                </a:lnTo>
                <a:lnTo>
                  <a:pt x="1023" y="1324"/>
                </a:lnTo>
                <a:lnTo>
                  <a:pt x="1021" y="1322"/>
                </a:lnTo>
                <a:lnTo>
                  <a:pt x="1019" y="1322"/>
                </a:lnTo>
                <a:lnTo>
                  <a:pt x="1015" y="1322"/>
                </a:lnTo>
                <a:lnTo>
                  <a:pt x="1013" y="1322"/>
                </a:lnTo>
                <a:lnTo>
                  <a:pt x="1009" y="1322"/>
                </a:lnTo>
                <a:lnTo>
                  <a:pt x="1009" y="1322"/>
                </a:lnTo>
                <a:lnTo>
                  <a:pt x="1002" y="1322"/>
                </a:lnTo>
                <a:lnTo>
                  <a:pt x="996" y="1326"/>
                </a:lnTo>
                <a:lnTo>
                  <a:pt x="990" y="1328"/>
                </a:lnTo>
                <a:lnTo>
                  <a:pt x="984" y="1332"/>
                </a:lnTo>
                <a:lnTo>
                  <a:pt x="981" y="1334"/>
                </a:lnTo>
                <a:lnTo>
                  <a:pt x="975" y="1337"/>
                </a:lnTo>
                <a:lnTo>
                  <a:pt x="971" y="1339"/>
                </a:lnTo>
                <a:lnTo>
                  <a:pt x="965" y="1339"/>
                </a:lnTo>
                <a:lnTo>
                  <a:pt x="965" y="1339"/>
                </a:lnTo>
                <a:lnTo>
                  <a:pt x="960" y="1339"/>
                </a:lnTo>
                <a:lnTo>
                  <a:pt x="956" y="1336"/>
                </a:lnTo>
                <a:lnTo>
                  <a:pt x="954" y="1330"/>
                </a:lnTo>
                <a:lnTo>
                  <a:pt x="954" y="1324"/>
                </a:lnTo>
                <a:lnTo>
                  <a:pt x="954" y="1316"/>
                </a:lnTo>
                <a:lnTo>
                  <a:pt x="950" y="1313"/>
                </a:lnTo>
                <a:lnTo>
                  <a:pt x="942" y="1309"/>
                </a:lnTo>
                <a:lnTo>
                  <a:pt x="929" y="1307"/>
                </a:lnTo>
                <a:lnTo>
                  <a:pt x="929" y="1307"/>
                </a:lnTo>
                <a:lnTo>
                  <a:pt x="925" y="1309"/>
                </a:lnTo>
                <a:lnTo>
                  <a:pt x="920" y="1311"/>
                </a:lnTo>
                <a:lnTo>
                  <a:pt x="912" y="1311"/>
                </a:lnTo>
                <a:lnTo>
                  <a:pt x="906" y="1309"/>
                </a:lnTo>
                <a:lnTo>
                  <a:pt x="900" y="1309"/>
                </a:lnTo>
                <a:lnTo>
                  <a:pt x="893" y="1309"/>
                </a:lnTo>
                <a:lnTo>
                  <a:pt x="885" y="1307"/>
                </a:lnTo>
                <a:lnTo>
                  <a:pt x="879" y="1307"/>
                </a:lnTo>
                <a:lnTo>
                  <a:pt x="879" y="1307"/>
                </a:lnTo>
                <a:lnTo>
                  <a:pt x="876" y="1307"/>
                </a:lnTo>
                <a:lnTo>
                  <a:pt x="870" y="1307"/>
                </a:lnTo>
                <a:lnTo>
                  <a:pt x="866" y="1309"/>
                </a:lnTo>
                <a:lnTo>
                  <a:pt x="860" y="1309"/>
                </a:lnTo>
                <a:lnTo>
                  <a:pt x="855" y="1311"/>
                </a:lnTo>
                <a:lnTo>
                  <a:pt x="849" y="1313"/>
                </a:lnTo>
                <a:lnTo>
                  <a:pt x="843" y="1315"/>
                </a:lnTo>
                <a:lnTo>
                  <a:pt x="837" y="1316"/>
                </a:lnTo>
                <a:lnTo>
                  <a:pt x="832" y="1318"/>
                </a:lnTo>
                <a:lnTo>
                  <a:pt x="826" y="1318"/>
                </a:lnTo>
                <a:lnTo>
                  <a:pt x="820" y="1320"/>
                </a:lnTo>
                <a:lnTo>
                  <a:pt x="817" y="1322"/>
                </a:lnTo>
                <a:lnTo>
                  <a:pt x="811" y="1322"/>
                </a:lnTo>
                <a:lnTo>
                  <a:pt x="807" y="1324"/>
                </a:lnTo>
                <a:lnTo>
                  <a:pt x="803" y="1324"/>
                </a:lnTo>
                <a:lnTo>
                  <a:pt x="799" y="1324"/>
                </a:lnTo>
                <a:lnTo>
                  <a:pt x="799" y="1324"/>
                </a:lnTo>
                <a:lnTo>
                  <a:pt x="796" y="1324"/>
                </a:lnTo>
                <a:lnTo>
                  <a:pt x="792" y="1322"/>
                </a:lnTo>
                <a:lnTo>
                  <a:pt x="790" y="1320"/>
                </a:lnTo>
                <a:lnTo>
                  <a:pt x="788" y="1316"/>
                </a:lnTo>
                <a:lnTo>
                  <a:pt x="788" y="1316"/>
                </a:lnTo>
                <a:lnTo>
                  <a:pt x="788" y="1309"/>
                </a:lnTo>
                <a:lnTo>
                  <a:pt x="790" y="1303"/>
                </a:lnTo>
                <a:lnTo>
                  <a:pt x="792" y="1297"/>
                </a:lnTo>
                <a:lnTo>
                  <a:pt x="796" y="1292"/>
                </a:lnTo>
                <a:lnTo>
                  <a:pt x="797" y="1286"/>
                </a:lnTo>
                <a:lnTo>
                  <a:pt x="799" y="1280"/>
                </a:lnTo>
                <a:lnTo>
                  <a:pt x="801" y="1273"/>
                </a:lnTo>
                <a:lnTo>
                  <a:pt x="801" y="1265"/>
                </a:lnTo>
                <a:lnTo>
                  <a:pt x="801" y="1265"/>
                </a:lnTo>
                <a:lnTo>
                  <a:pt x="801" y="1259"/>
                </a:lnTo>
                <a:lnTo>
                  <a:pt x="799" y="1254"/>
                </a:lnTo>
                <a:lnTo>
                  <a:pt x="797" y="1250"/>
                </a:lnTo>
                <a:lnTo>
                  <a:pt x="796" y="1244"/>
                </a:lnTo>
                <a:lnTo>
                  <a:pt x="792" y="1240"/>
                </a:lnTo>
                <a:lnTo>
                  <a:pt x="790" y="1234"/>
                </a:lnTo>
                <a:lnTo>
                  <a:pt x="788" y="1229"/>
                </a:lnTo>
                <a:lnTo>
                  <a:pt x="788" y="1221"/>
                </a:lnTo>
                <a:lnTo>
                  <a:pt x="788" y="1221"/>
                </a:lnTo>
                <a:lnTo>
                  <a:pt x="782" y="1221"/>
                </a:lnTo>
                <a:lnTo>
                  <a:pt x="778" y="1217"/>
                </a:lnTo>
                <a:lnTo>
                  <a:pt x="773" y="1213"/>
                </a:lnTo>
                <a:lnTo>
                  <a:pt x="769" y="1210"/>
                </a:lnTo>
                <a:lnTo>
                  <a:pt x="767" y="1204"/>
                </a:lnTo>
                <a:lnTo>
                  <a:pt x="763" y="1198"/>
                </a:lnTo>
                <a:lnTo>
                  <a:pt x="761" y="1191"/>
                </a:lnTo>
                <a:lnTo>
                  <a:pt x="761" y="1187"/>
                </a:lnTo>
                <a:lnTo>
                  <a:pt x="761" y="1187"/>
                </a:lnTo>
                <a:lnTo>
                  <a:pt x="761" y="1175"/>
                </a:lnTo>
                <a:lnTo>
                  <a:pt x="761" y="1164"/>
                </a:lnTo>
                <a:lnTo>
                  <a:pt x="761" y="1152"/>
                </a:lnTo>
                <a:lnTo>
                  <a:pt x="761" y="1143"/>
                </a:lnTo>
                <a:lnTo>
                  <a:pt x="761" y="1131"/>
                </a:lnTo>
                <a:lnTo>
                  <a:pt x="761" y="1122"/>
                </a:lnTo>
                <a:lnTo>
                  <a:pt x="761" y="1110"/>
                </a:lnTo>
                <a:lnTo>
                  <a:pt x="761" y="1101"/>
                </a:lnTo>
                <a:lnTo>
                  <a:pt x="761" y="1089"/>
                </a:lnTo>
                <a:lnTo>
                  <a:pt x="761" y="1080"/>
                </a:lnTo>
                <a:lnTo>
                  <a:pt x="761" y="1068"/>
                </a:lnTo>
                <a:lnTo>
                  <a:pt x="761" y="1057"/>
                </a:lnTo>
                <a:lnTo>
                  <a:pt x="761" y="1046"/>
                </a:lnTo>
                <a:lnTo>
                  <a:pt x="761" y="1034"/>
                </a:lnTo>
                <a:lnTo>
                  <a:pt x="761" y="1023"/>
                </a:lnTo>
                <a:lnTo>
                  <a:pt x="761" y="1009"/>
                </a:lnTo>
                <a:lnTo>
                  <a:pt x="654" y="1009"/>
                </a:lnTo>
                <a:lnTo>
                  <a:pt x="654" y="992"/>
                </a:lnTo>
                <a:lnTo>
                  <a:pt x="654" y="992"/>
                </a:lnTo>
                <a:lnTo>
                  <a:pt x="647" y="990"/>
                </a:lnTo>
                <a:lnTo>
                  <a:pt x="639" y="990"/>
                </a:lnTo>
                <a:lnTo>
                  <a:pt x="633" y="990"/>
                </a:lnTo>
                <a:lnTo>
                  <a:pt x="628" y="988"/>
                </a:lnTo>
                <a:lnTo>
                  <a:pt x="622" y="986"/>
                </a:lnTo>
                <a:lnTo>
                  <a:pt x="614" y="986"/>
                </a:lnTo>
                <a:lnTo>
                  <a:pt x="607" y="986"/>
                </a:lnTo>
                <a:lnTo>
                  <a:pt x="599" y="986"/>
                </a:lnTo>
                <a:lnTo>
                  <a:pt x="599" y="986"/>
                </a:lnTo>
                <a:lnTo>
                  <a:pt x="588" y="986"/>
                </a:lnTo>
                <a:lnTo>
                  <a:pt x="580" y="990"/>
                </a:lnTo>
                <a:lnTo>
                  <a:pt x="578" y="996"/>
                </a:lnTo>
                <a:lnTo>
                  <a:pt x="576" y="1002"/>
                </a:lnTo>
                <a:lnTo>
                  <a:pt x="576" y="1009"/>
                </a:lnTo>
                <a:lnTo>
                  <a:pt x="578" y="1017"/>
                </a:lnTo>
                <a:lnTo>
                  <a:pt x="578" y="1025"/>
                </a:lnTo>
                <a:lnTo>
                  <a:pt x="576" y="1032"/>
                </a:lnTo>
                <a:lnTo>
                  <a:pt x="576" y="1032"/>
                </a:lnTo>
                <a:lnTo>
                  <a:pt x="572" y="1042"/>
                </a:lnTo>
                <a:lnTo>
                  <a:pt x="567" y="1049"/>
                </a:lnTo>
                <a:lnTo>
                  <a:pt x="563" y="1055"/>
                </a:lnTo>
                <a:lnTo>
                  <a:pt x="557" y="1059"/>
                </a:lnTo>
                <a:lnTo>
                  <a:pt x="549" y="1061"/>
                </a:lnTo>
                <a:lnTo>
                  <a:pt x="542" y="1063"/>
                </a:lnTo>
                <a:lnTo>
                  <a:pt x="530" y="1065"/>
                </a:lnTo>
                <a:lnTo>
                  <a:pt x="519" y="1065"/>
                </a:lnTo>
                <a:lnTo>
                  <a:pt x="519" y="1065"/>
                </a:lnTo>
                <a:lnTo>
                  <a:pt x="511" y="1065"/>
                </a:lnTo>
                <a:lnTo>
                  <a:pt x="502" y="1067"/>
                </a:lnTo>
                <a:lnTo>
                  <a:pt x="494" y="1068"/>
                </a:lnTo>
                <a:lnTo>
                  <a:pt x="487" y="1070"/>
                </a:lnTo>
                <a:lnTo>
                  <a:pt x="479" y="1070"/>
                </a:lnTo>
                <a:lnTo>
                  <a:pt x="471" y="1072"/>
                </a:lnTo>
                <a:lnTo>
                  <a:pt x="464" y="1074"/>
                </a:lnTo>
                <a:lnTo>
                  <a:pt x="454" y="1074"/>
                </a:lnTo>
                <a:lnTo>
                  <a:pt x="454" y="1074"/>
                </a:lnTo>
                <a:lnTo>
                  <a:pt x="445" y="1072"/>
                </a:lnTo>
                <a:lnTo>
                  <a:pt x="435" y="1070"/>
                </a:lnTo>
                <a:lnTo>
                  <a:pt x="425" y="1067"/>
                </a:lnTo>
                <a:lnTo>
                  <a:pt x="416" y="1061"/>
                </a:lnTo>
                <a:lnTo>
                  <a:pt x="408" y="1055"/>
                </a:lnTo>
                <a:lnTo>
                  <a:pt x="399" y="1047"/>
                </a:lnTo>
                <a:lnTo>
                  <a:pt x="393" y="1038"/>
                </a:lnTo>
                <a:lnTo>
                  <a:pt x="385" y="1030"/>
                </a:lnTo>
                <a:lnTo>
                  <a:pt x="378" y="1021"/>
                </a:lnTo>
                <a:lnTo>
                  <a:pt x="372" y="1011"/>
                </a:lnTo>
                <a:lnTo>
                  <a:pt x="366" y="1000"/>
                </a:lnTo>
                <a:lnTo>
                  <a:pt x="363" y="990"/>
                </a:lnTo>
                <a:lnTo>
                  <a:pt x="359" y="981"/>
                </a:lnTo>
                <a:lnTo>
                  <a:pt x="355" y="971"/>
                </a:lnTo>
                <a:lnTo>
                  <a:pt x="353" y="962"/>
                </a:lnTo>
                <a:lnTo>
                  <a:pt x="351" y="952"/>
                </a:lnTo>
                <a:lnTo>
                  <a:pt x="351" y="952"/>
                </a:lnTo>
                <a:lnTo>
                  <a:pt x="351" y="946"/>
                </a:lnTo>
                <a:lnTo>
                  <a:pt x="351" y="939"/>
                </a:lnTo>
                <a:lnTo>
                  <a:pt x="351" y="933"/>
                </a:lnTo>
                <a:lnTo>
                  <a:pt x="351" y="927"/>
                </a:lnTo>
                <a:lnTo>
                  <a:pt x="349" y="922"/>
                </a:lnTo>
                <a:lnTo>
                  <a:pt x="349" y="916"/>
                </a:lnTo>
                <a:lnTo>
                  <a:pt x="345" y="910"/>
                </a:lnTo>
                <a:lnTo>
                  <a:pt x="342" y="904"/>
                </a:lnTo>
                <a:lnTo>
                  <a:pt x="342" y="904"/>
                </a:lnTo>
                <a:lnTo>
                  <a:pt x="334" y="901"/>
                </a:lnTo>
                <a:lnTo>
                  <a:pt x="328" y="897"/>
                </a:lnTo>
                <a:lnTo>
                  <a:pt x="321" y="897"/>
                </a:lnTo>
                <a:lnTo>
                  <a:pt x="313" y="897"/>
                </a:lnTo>
                <a:lnTo>
                  <a:pt x="305" y="897"/>
                </a:lnTo>
                <a:lnTo>
                  <a:pt x="298" y="899"/>
                </a:lnTo>
                <a:lnTo>
                  <a:pt x="288" y="899"/>
                </a:lnTo>
                <a:lnTo>
                  <a:pt x="280" y="897"/>
                </a:lnTo>
                <a:lnTo>
                  <a:pt x="71" y="897"/>
                </a:lnTo>
                <a:lnTo>
                  <a:pt x="71" y="897"/>
                </a:lnTo>
                <a:lnTo>
                  <a:pt x="65" y="897"/>
                </a:lnTo>
                <a:lnTo>
                  <a:pt x="61" y="897"/>
                </a:lnTo>
                <a:lnTo>
                  <a:pt x="55" y="899"/>
                </a:lnTo>
                <a:lnTo>
                  <a:pt x="50" y="899"/>
                </a:lnTo>
                <a:lnTo>
                  <a:pt x="44" y="899"/>
                </a:lnTo>
                <a:lnTo>
                  <a:pt x="38" y="901"/>
                </a:lnTo>
                <a:lnTo>
                  <a:pt x="33" y="902"/>
                </a:lnTo>
                <a:lnTo>
                  <a:pt x="29" y="902"/>
                </a:lnTo>
                <a:lnTo>
                  <a:pt x="23" y="904"/>
                </a:lnTo>
                <a:lnTo>
                  <a:pt x="19" y="908"/>
                </a:lnTo>
                <a:lnTo>
                  <a:pt x="13" y="910"/>
                </a:lnTo>
                <a:lnTo>
                  <a:pt x="12" y="912"/>
                </a:lnTo>
                <a:lnTo>
                  <a:pt x="8" y="916"/>
                </a:lnTo>
                <a:lnTo>
                  <a:pt x="6" y="918"/>
                </a:lnTo>
                <a:lnTo>
                  <a:pt x="4" y="922"/>
                </a:lnTo>
                <a:lnTo>
                  <a:pt x="2" y="927"/>
                </a:lnTo>
                <a:lnTo>
                  <a:pt x="0" y="887"/>
                </a:lnTo>
                <a:lnTo>
                  <a:pt x="0" y="887"/>
                </a:lnTo>
                <a:lnTo>
                  <a:pt x="8" y="885"/>
                </a:lnTo>
                <a:lnTo>
                  <a:pt x="12" y="880"/>
                </a:lnTo>
                <a:lnTo>
                  <a:pt x="15" y="874"/>
                </a:lnTo>
                <a:lnTo>
                  <a:pt x="15" y="864"/>
                </a:lnTo>
                <a:lnTo>
                  <a:pt x="15" y="855"/>
                </a:lnTo>
                <a:lnTo>
                  <a:pt x="15" y="845"/>
                </a:lnTo>
                <a:lnTo>
                  <a:pt x="15" y="836"/>
                </a:lnTo>
                <a:lnTo>
                  <a:pt x="17" y="828"/>
                </a:lnTo>
                <a:lnTo>
                  <a:pt x="17" y="828"/>
                </a:lnTo>
                <a:lnTo>
                  <a:pt x="21" y="822"/>
                </a:lnTo>
                <a:lnTo>
                  <a:pt x="25" y="819"/>
                </a:lnTo>
                <a:lnTo>
                  <a:pt x="29" y="815"/>
                </a:lnTo>
                <a:lnTo>
                  <a:pt x="34" y="813"/>
                </a:lnTo>
                <a:lnTo>
                  <a:pt x="38" y="809"/>
                </a:lnTo>
                <a:lnTo>
                  <a:pt x="44" y="807"/>
                </a:lnTo>
                <a:lnTo>
                  <a:pt x="48" y="803"/>
                </a:lnTo>
                <a:lnTo>
                  <a:pt x="52" y="799"/>
                </a:lnTo>
                <a:lnTo>
                  <a:pt x="52" y="799"/>
                </a:lnTo>
                <a:lnTo>
                  <a:pt x="55" y="801"/>
                </a:lnTo>
                <a:lnTo>
                  <a:pt x="59" y="803"/>
                </a:lnTo>
                <a:lnTo>
                  <a:pt x="63" y="805"/>
                </a:lnTo>
                <a:lnTo>
                  <a:pt x="67" y="807"/>
                </a:lnTo>
                <a:lnTo>
                  <a:pt x="71" y="809"/>
                </a:lnTo>
                <a:lnTo>
                  <a:pt x="74" y="809"/>
                </a:lnTo>
                <a:lnTo>
                  <a:pt x="78" y="811"/>
                </a:lnTo>
                <a:lnTo>
                  <a:pt x="82" y="811"/>
                </a:lnTo>
                <a:lnTo>
                  <a:pt x="82" y="811"/>
                </a:lnTo>
                <a:lnTo>
                  <a:pt x="90" y="809"/>
                </a:lnTo>
                <a:lnTo>
                  <a:pt x="97" y="807"/>
                </a:lnTo>
                <a:lnTo>
                  <a:pt x="105" y="801"/>
                </a:lnTo>
                <a:lnTo>
                  <a:pt x="113" y="798"/>
                </a:lnTo>
                <a:lnTo>
                  <a:pt x="122" y="792"/>
                </a:lnTo>
                <a:lnTo>
                  <a:pt x="130" y="786"/>
                </a:lnTo>
                <a:lnTo>
                  <a:pt x="136" y="782"/>
                </a:lnTo>
                <a:lnTo>
                  <a:pt x="141" y="778"/>
                </a:lnTo>
                <a:lnTo>
                  <a:pt x="164" y="778"/>
                </a:lnTo>
                <a:lnTo>
                  <a:pt x="164" y="778"/>
                </a:lnTo>
                <a:lnTo>
                  <a:pt x="162" y="780"/>
                </a:lnTo>
                <a:lnTo>
                  <a:pt x="160" y="784"/>
                </a:lnTo>
                <a:lnTo>
                  <a:pt x="158" y="786"/>
                </a:lnTo>
                <a:lnTo>
                  <a:pt x="157" y="790"/>
                </a:lnTo>
                <a:lnTo>
                  <a:pt x="155" y="792"/>
                </a:lnTo>
                <a:lnTo>
                  <a:pt x="155" y="796"/>
                </a:lnTo>
                <a:lnTo>
                  <a:pt x="153" y="799"/>
                </a:lnTo>
                <a:lnTo>
                  <a:pt x="153" y="801"/>
                </a:lnTo>
                <a:lnTo>
                  <a:pt x="153" y="801"/>
                </a:lnTo>
                <a:lnTo>
                  <a:pt x="155" y="809"/>
                </a:lnTo>
                <a:lnTo>
                  <a:pt x="155" y="813"/>
                </a:lnTo>
                <a:lnTo>
                  <a:pt x="158" y="819"/>
                </a:lnTo>
                <a:lnTo>
                  <a:pt x="162" y="820"/>
                </a:lnTo>
                <a:lnTo>
                  <a:pt x="166" y="822"/>
                </a:lnTo>
                <a:lnTo>
                  <a:pt x="172" y="824"/>
                </a:lnTo>
                <a:lnTo>
                  <a:pt x="177" y="826"/>
                </a:lnTo>
                <a:lnTo>
                  <a:pt x="181" y="826"/>
                </a:lnTo>
                <a:lnTo>
                  <a:pt x="181" y="826"/>
                </a:lnTo>
                <a:lnTo>
                  <a:pt x="191" y="824"/>
                </a:lnTo>
                <a:lnTo>
                  <a:pt x="200" y="820"/>
                </a:lnTo>
                <a:lnTo>
                  <a:pt x="212" y="817"/>
                </a:lnTo>
                <a:lnTo>
                  <a:pt x="221" y="811"/>
                </a:lnTo>
                <a:lnTo>
                  <a:pt x="229" y="803"/>
                </a:lnTo>
                <a:lnTo>
                  <a:pt x="237" y="796"/>
                </a:lnTo>
                <a:lnTo>
                  <a:pt x="240" y="788"/>
                </a:lnTo>
                <a:lnTo>
                  <a:pt x="240" y="780"/>
                </a:lnTo>
                <a:lnTo>
                  <a:pt x="240" y="780"/>
                </a:lnTo>
                <a:lnTo>
                  <a:pt x="242" y="773"/>
                </a:lnTo>
                <a:lnTo>
                  <a:pt x="246" y="767"/>
                </a:lnTo>
                <a:lnTo>
                  <a:pt x="254" y="761"/>
                </a:lnTo>
                <a:lnTo>
                  <a:pt x="263" y="758"/>
                </a:lnTo>
                <a:lnTo>
                  <a:pt x="273" y="754"/>
                </a:lnTo>
                <a:lnTo>
                  <a:pt x="282" y="750"/>
                </a:lnTo>
                <a:lnTo>
                  <a:pt x="290" y="746"/>
                </a:lnTo>
                <a:lnTo>
                  <a:pt x="298" y="740"/>
                </a:lnTo>
                <a:lnTo>
                  <a:pt x="298" y="740"/>
                </a:lnTo>
                <a:lnTo>
                  <a:pt x="301" y="737"/>
                </a:lnTo>
                <a:lnTo>
                  <a:pt x="303" y="731"/>
                </a:lnTo>
                <a:lnTo>
                  <a:pt x="305" y="725"/>
                </a:lnTo>
                <a:lnTo>
                  <a:pt x="309" y="719"/>
                </a:lnTo>
                <a:lnTo>
                  <a:pt x="311" y="712"/>
                </a:lnTo>
                <a:lnTo>
                  <a:pt x="313" y="706"/>
                </a:lnTo>
                <a:lnTo>
                  <a:pt x="313" y="696"/>
                </a:lnTo>
                <a:lnTo>
                  <a:pt x="315" y="689"/>
                </a:lnTo>
                <a:lnTo>
                  <a:pt x="315" y="681"/>
                </a:lnTo>
                <a:lnTo>
                  <a:pt x="317" y="674"/>
                </a:lnTo>
                <a:lnTo>
                  <a:pt x="317" y="664"/>
                </a:lnTo>
                <a:lnTo>
                  <a:pt x="317" y="656"/>
                </a:lnTo>
                <a:lnTo>
                  <a:pt x="319" y="649"/>
                </a:lnTo>
                <a:lnTo>
                  <a:pt x="319" y="641"/>
                </a:lnTo>
                <a:lnTo>
                  <a:pt x="319" y="634"/>
                </a:lnTo>
                <a:lnTo>
                  <a:pt x="319" y="628"/>
                </a:lnTo>
                <a:lnTo>
                  <a:pt x="319" y="628"/>
                </a:lnTo>
                <a:lnTo>
                  <a:pt x="319" y="616"/>
                </a:lnTo>
                <a:lnTo>
                  <a:pt x="321" y="607"/>
                </a:lnTo>
                <a:lnTo>
                  <a:pt x="324" y="597"/>
                </a:lnTo>
                <a:lnTo>
                  <a:pt x="328" y="588"/>
                </a:lnTo>
                <a:lnTo>
                  <a:pt x="334" y="578"/>
                </a:lnTo>
                <a:lnTo>
                  <a:pt x="340" y="571"/>
                </a:lnTo>
                <a:lnTo>
                  <a:pt x="345" y="561"/>
                </a:lnTo>
                <a:lnTo>
                  <a:pt x="353" y="553"/>
                </a:lnTo>
                <a:lnTo>
                  <a:pt x="361" y="546"/>
                </a:lnTo>
                <a:lnTo>
                  <a:pt x="368" y="538"/>
                </a:lnTo>
                <a:lnTo>
                  <a:pt x="374" y="530"/>
                </a:lnTo>
                <a:lnTo>
                  <a:pt x="382" y="523"/>
                </a:lnTo>
                <a:lnTo>
                  <a:pt x="389" y="517"/>
                </a:lnTo>
                <a:lnTo>
                  <a:pt x="395" y="510"/>
                </a:lnTo>
                <a:lnTo>
                  <a:pt x="401" y="504"/>
                </a:lnTo>
                <a:lnTo>
                  <a:pt x="406" y="498"/>
                </a:lnTo>
                <a:lnTo>
                  <a:pt x="406" y="498"/>
                </a:lnTo>
                <a:lnTo>
                  <a:pt x="410" y="492"/>
                </a:lnTo>
                <a:lnTo>
                  <a:pt x="414" y="487"/>
                </a:lnTo>
                <a:lnTo>
                  <a:pt x="416" y="481"/>
                </a:lnTo>
                <a:lnTo>
                  <a:pt x="420" y="475"/>
                </a:lnTo>
                <a:lnTo>
                  <a:pt x="424" y="469"/>
                </a:lnTo>
                <a:lnTo>
                  <a:pt x="425" y="464"/>
                </a:lnTo>
                <a:lnTo>
                  <a:pt x="429" y="456"/>
                </a:lnTo>
                <a:lnTo>
                  <a:pt x="431" y="450"/>
                </a:lnTo>
                <a:lnTo>
                  <a:pt x="433" y="445"/>
                </a:lnTo>
                <a:lnTo>
                  <a:pt x="437" y="437"/>
                </a:lnTo>
                <a:lnTo>
                  <a:pt x="439" y="431"/>
                </a:lnTo>
                <a:lnTo>
                  <a:pt x="441" y="426"/>
                </a:lnTo>
                <a:lnTo>
                  <a:pt x="445" y="418"/>
                </a:lnTo>
                <a:lnTo>
                  <a:pt x="446" y="412"/>
                </a:lnTo>
                <a:lnTo>
                  <a:pt x="448" y="406"/>
                </a:lnTo>
                <a:lnTo>
                  <a:pt x="452" y="401"/>
                </a:lnTo>
                <a:lnTo>
                  <a:pt x="452" y="338"/>
                </a:lnTo>
                <a:lnTo>
                  <a:pt x="452" y="338"/>
                </a:lnTo>
                <a:lnTo>
                  <a:pt x="452" y="332"/>
                </a:lnTo>
                <a:lnTo>
                  <a:pt x="454" y="326"/>
                </a:lnTo>
                <a:lnTo>
                  <a:pt x="456" y="323"/>
                </a:lnTo>
                <a:lnTo>
                  <a:pt x="458" y="317"/>
                </a:lnTo>
                <a:lnTo>
                  <a:pt x="458" y="313"/>
                </a:lnTo>
                <a:lnTo>
                  <a:pt x="458" y="307"/>
                </a:lnTo>
                <a:lnTo>
                  <a:pt x="460" y="303"/>
                </a:lnTo>
                <a:lnTo>
                  <a:pt x="460" y="300"/>
                </a:lnTo>
                <a:lnTo>
                  <a:pt x="462" y="294"/>
                </a:lnTo>
                <a:lnTo>
                  <a:pt x="462" y="290"/>
                </a:lnTo>
                <a:lnTo>
                  <a:pt x="462" y="286"/>
                </a:lnTo>
                <a:lnTo>
                  <a:pt x="464" y="282"/>
                </a:lnTo>
                <a:lnTo>
                  <a:pt x="466" y="277"/>
                </a:lnTo>
                <a:lnTo>
                  <a:pt x="466" y="273"/>
                </a:lnTo>
                <a:lnTo>
                  <a:pt x="467" y="267"/>
                </a:lnTo>
                <a:lnTo>
                  <a:pt x="469" y="261"/>
                </a:lnTo>
                <a:lnTo>
                  <a:pt x="466" y="261"/>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51" name="Freeform 23"/>
          <p:cNvSpPr>
            <a:spLocks/>
          </p:cNvSpPr>
          <p:nvPr>
            <p:custDataLst>
              <p:tags r:id="rId23"/>
            </p:custDataLst>
          </p:nvPr>
        </p:nvSpPr>
        <p:spPr bwMode="gray">
          <a:xfrm>
            <a:off x="3625205" y="2973853"/>
            <a:ext cx="939507" cy="599306"/>
          </a:xfrm>
          <a:custGeom>
            <a:avLst/>
            <a:gdLst/>
            <a:ahLst/>
            <a:cxnLst>
              <a:cxn ang="0">
                <a:pos x="1022" y="431"/>
              </a:cxn>
              <a:cxn ang="0">
                <a:pos x="994" y="398"/>
              </a:cxn>
              <a:cxn ang="0">
                <a:pos x="958" y="375"/>
              </a:cxn>
              <a:cxn ang="0">
                <a:pos x="942" y="333"/>
              </a:cxn>
              <a:cxn ang="0">
                <a:pos x="916" y="307"/>
              </a:cxn>
              <a:cxn ang="0">
                <a:pos x="870" y="278"/>
              </a:cxn>
              <a:cxn ang="0">
                <a:pos x="856" y="253"/>
              </a:cxn>
              <a:cxn ang="0">
                <a:pos x="855" y="236"/>
              </a:cxn>
              <a:cxn ang="0">
                <a:pos x="803" y="215"/>
              </a:cxn>
              <a:cxn ang="0">
                <a:pos x="776" y="173"/>
              </a:cxn>
              <a:cxn ang="0">
                <a:pos x="748" y="173"/>
              </a:cxn>
              <a:cxn ang="0">
                <a:pos x="719" y="152"/>
              </a:cxn>
              <a:cxn ang="0">
                <a:pos x="729" y="116"/>
              </a:cxn>
              <a:cxn ang="0">
                <a:pos x="729" y="76"/>
              </a:cxn>
              <a:cxn ang="0">
                <a:pos x="692" y="34"/>
              </a:cxn>
              <a:cxn ang="0">
                <a:pos x="666" y="9"/>
              </a:cxn>
              <a:cxn ang="0">
                <a:pos x="624" y="3"/>
              </a:cxn>
              <a:cxn ang="0">
                <a:pos x="586" y="36"/>
              </a:cxn>
              <a:cxn ang="0">
                <a:pos x="540" y="85"/>
              </a:cxn>
              <a:cxn ang="0">
                <a:pos x="469" y="141"/>
              </a:cxn>
              <a:cxn ang="0">
                <a:pos x="368" y="162"/>
              </a:cxn>
              <a:cxn ang="0">
                <a:pos x="378" y="175"/>
              </a:cxn>
              <a:cxn ang="0">
                <a:pos x="353" y="219"/>
              </a:cxn>
              <a:cxn ang="0">
                <a:pos x="305" y="242"/>
              </a:cxn>
              <a:cxn ang="0">
                <a:pos x="242" y="250"/>
              </a:cxn>
              <a:cxn ang="0">
                <a:pos x="204" y="265"/>
              </a:cxn>
              <a:cxn ang="0">
                <a:pos x="175" y="269"/>
              </a:cxn>
              <a:cxn ang="0">
                <a:pos x="154" y="261"/>
              </a:cxn>
              <a:cxn ang="0">
                <a:pos x="101" y="278"/>
              </a:cxn>
              <a:cxn ang="0">
                <a:pos x="69" y="292"/>
              </a:cxn>
              <a:cxn ang="0">
                <a:pos x="32" y="347"/>
              </a:cxn>
              <a:cxn ang="0">
                <a:pos x="0" y="393"/>
              </a:cxn>
              <a:cxn ang="0">
                <a:pos x="13" y="408"/>
              </a:cxn>
              <a:cxn ang="0">
                <a:pos x="13" y="433"/>
              </a:cxn>
              <a:cxn ang="0">
                <a:pos x="29" y="505"/>
              </a:cxn>
              <a:cxn ang="0">
                <a:pos x="74" y="583"/>
              </a:cxn>
              <a:cxn ang="0">
                <a:pos x="107" y="618"/>
              </a:cxn>
              <a:cxn ang="0">
                <a:pos x="137" y="650"/>
              </a:cxn>
              <a:cxn ang="0">
                <a:pos x="154" y="635"/>
              </a:cxn>
              <a:cxn ang="0">
                <a:pos x="191" y="581"/>
              </a:cxn>
              <a:cxn ang="0">
                <a:pos x="254" y="574"/>
              </a:cxn>
              <a:cxn ang="0">
                <a:pos x="339" y="578"/>
              </a:cxn>
              <a:cxn ang="0">
                <a:pos x="339" y="557"/>
              </a:cxn>
              <a:cxn ang="0">
                <a:pos x="362" y="492"/>
              </a:cxn>
              <a:cxn ang="0">
                <a:pos x="416" y="457"/>
              </a:cxn>
              <a:cxn ang="0">
                <a:pos x="473" y="505"/>
              </a:cxn>
              <a:cxn ang="0">
                <a:pos x="528" y="528"/>
              </a:cxn>
              <a:cxn ang="0">
                <a:pos x="605" y="540"/>
              </a:cxn>
              <a:cxn ang="0">
                <a:pos x="647" y="528"/>
              </a:cxn>
              <a:cxn ang="0">
                <a:pos x="675" y="496"/>
              </a:cxn>
              <a:cxn ang="0">
                <a:pos x="704" y="496"/>
              </a:cxn>
              <a:cxn ang="0">
                <a:pos x="732" y="496"/>
              </a:cxn>
              <a:cxn ang="0">
                <a:pos x="776" y="477"/>
              </a:cxn>
              <a:cxn ang="0">
                <a:pos x="807" y="475"/>
              </a:cxn>
              <a:cxn ang="0">
                <a:pos x="839" y="475"/>
              </a:cxn>
              <a:cxn ang="0">
                <a:pos x="868" y="446"/>
              </a:cxn>
              <a:cxn ang="0">
                <a:pos x="923" y="454"/>
              </a:cxn>
              <a:cxn ang="0">
                <a:pos x="977" y="467"/>
              </a:cxn>
              <a:cxn ang="0">
                <a:pos x="1017" y="457"/>
              </a:cxn>
            </a:cxnLst>
            <a:rect l="0" t="0" r="r" b="b"/>
            <a:pathLst>
              <a:path w="1024" h="671">
                <a:moveTo>
                  <a:pt x="1024" y="457"/>
                </a:moveTo>
                <a:lnTo>
                  <a:pt x="1024" y="457"/>
                </a:lnTo>
                <a:lnTo>
                  <a:pt x="1020" y="454"/>
                </a:lnTo>
                <a:lnTo>
                  <a:pt x="1020" y="450"/>
                </a:lnTo>
                <a:lnTo>
                  <a:pt x="1020" y="444"/>
                </a:lnTo>
                <a:lnTo>
                  <a:pt x="1020" y="440"/>
                </a:lnTo>
                <a:lnTo>
                  <a:pt x="1020" y="435"/>
                </a:lnTo>
                <a:lnTo>
                  <a:pt x="1022" y="431"/>
                </a:lnTo>
                <a:lnTo>
                  <a:pt x="1022" y="425"/>
                </a:lnTo>
                <a:lnTo>
                  <a:pt x="1020" y="421"/>
                </a:lnTo>
                <a:lnTo>
                  <a:pt x="1020" y="421"/>
                </a:lnTo>
                <a:lnTo>
                  <a:pt x="1017" y="416"/>
                </a:lnTo>
                <a:lnTo>
                  <a:pt x="1013" y="410"/>
                </a:lnTo>
                <a:lnTo>
                  <a:pt x="1007" y="406"/>
                </a:lnTo>
                <a:lnTo>
                  <a:pt x="1001" y="402"/>
                </a:lnTo>
                <a:lnTo>
                  <a:pt x="994" y="398"/>
                </a:lnTo>
                <a:lnTo>
                  <a:pt x="988" y="395"/>
                </a:lnTo>
                <a:lnTo>
                  <a:pt x="980" y="393"/>
                </a:lnTo>
                <a:lnTo>
                  <a:pt x="975" y="391"/>
                </a:lnTo>
                <a:lnTo>
                  <a:pt x="975" y="391"/>
                </a:lnTo>
                <a:lnTo>
                  <a:pt x="969" y="387"/>
                </a:lnTo>
                <a:lnTo>
                  <a:pt x="965" y="385"/>
                </a:lnTo>
                <a:lnTo>
                  <a:pt x="961" y="381"/>
                </a:lnTo>
                <a:lnTo>
                  <a:pt x="958" y="375"/>
                </a:lnTo>
                <a:lnTo>
                  <a:pt x="956" y="372"/>
                </a:lnTo>
                <a:lnTo>
                  <a:pt x="954" y="366"/>
                </a:lnTo>
                <a:lnTo>
                  <a:pt x="952" y="360"/>
                </a:lnTo>
                <a:lnTo>
                  <a:pt x="950" y="354"/>
                </a:lnTo>
                <a:lnTo>
                  <a:pt x="948" y="349"/>
                </a:lnTo>
                <a:lnTo>
                  <a:pt x="946" y="343"/>
                </a:lnTo>
                <a:lnTo>
                  <a:pt x="944" y="339"/>
                </a:lnTo>
                <a:lnTo>
                  <a:pt x="942" y="333"/>
                </a:lnTo>
                <a:lnTo>
                  <a:pt x="940" y="328"/>
                </a:lnTo>
                <a:lnTo>
                  <a:pt x="937" y="324"/>
                </a:lnTo>
                <a:lnTo>
                  <a:pt x="933" y="320"/>
                </a:lnTo>
                <a:lnTo>
                  <a:pt x="929" y="316"/>
                </a:lnTo>
                <a:lnTo>
                  <a:pt x="929" y="316"/>
                </a:lnTo>
                <a:lnTo>
                  <a:pt x="925" y="313"/>
                </a:lnTo>
                <a:lnTo>
                  <a:pt x="921" y="311"/>
                </a:lnTo>
                <a:lnTo>
                  <a:pt x="916" y="307"/>
                </a:lnTo>
                <a:lnTo>
                  <a:pt x="910" y="303"/>
                </a:lnTo>
                <a:lnTo>
                  <a:pt x="904" y="299"/>
                </a:lnTo>
                <a:lnTo>
                  <a:pt x="898" y="297"/>
                </a:lnTo>
                <a:lnTo>
                  <a:pt x="891" y="293"/>
                </a:lnTo>
                <a:lnTo>
                  <a:pt x="885" y="290"/>
                </a:lnTo>
                <a:lnTo>
                  <a:pt x="879" y="286"/>
                </a:lnTo>
                <a:lnTo>
                  <a:pt x="874" y="282"/>
                </a:lnTo>
                <a:lnTo>
                  <a:pt x="870" y="278"/>
                </a:lnTo>
                <a:lnTo>
                  <a:pt x="864" y="274"/>
                </a:lnTo>
                <a:lnTo>
                  <a:pt x="860" y="271"/>
                </a:lnTo>
                <a:lnTo>
                  <a:pt x="858" y="267"/>
                </a:lnTo>
                <a:lnTo>
                  <a:pt x="856" y="263"/>
                </a:lnTo>
                <a:lnTo>
                  <a:pt x="856" y="259"/>
                </a:lnTo>
                <a:lnTo>
                  <a:pt x="856" y="259"/>
                </a:lnTo>
                <a:lnTo>
                  <a:pt x="856" y="255"/>
                </a:lnTo>
                <a:lnTo>
                  <a:pt x="856" y="253"/>
                </a:lnTo>
                <a:lnTo>
                  <a:pt x="856" y="251"/>
                </a:lnTo>
                <a:lnTo>
                  <a:pt x="856" y="250"/>
                </a:lnTo>
                <a:lnTo>
                  <a:pt x="856" y="248"/>
                </a:lnTo>
                <a:lnTo>
                  <a:pt x="856" y="248"/>
                </a:lnTo>
                <a:lnTo>
                  <a:pt x="856" y="246"/>
                </a:lnTo>
                <a:lnTo>
                  <a:pt x="856" y="242"/>
                </a:lnTo>
                <a:lnTo>
                  <a:pt x="856" y="242"/>
                </a:lnTo>
                <a:lnTo>
                  <a:pt x="855" y="236"/>
                </a:lnTo>
                <a:lnTo>
                  <a:pt x="853" y="232"/>
                </a:lnTo>
                <a:lnTo>
                  <a:pt x="847" y="229"/>
                </a:lnTo>
                <a:lnTo>
                  <a:pt x="841" y="225"/>
                </a:lnTo>
                <a:lnTo>
                  <a:pt x="835" y="223"/>
                </a:lnTo>
                <a:lnTo>
                  <a:pt x="828" y="221"/>
                </a:lnTo>
                <a:lnTo>
                  <a:pt x="818" y="219"/>
                </a:lnTo>
                <a:lnTo>
                  <a:pt x="811" y="217"/>
                </a:lnTo>
                <a:lnTo>
                  <a:pt x="803" y="215"/>
                </a:lnTo>
                <a:lnTo>
                  <a:pt x="795" y="211"/>
                </a:lnTo>
                <a:lnTo>
                  <a:pt x="788" y="209"/>
                </a:lnTo>
                <a:lnTo>
                  <a:pt x="782" y="208"/>
                </a:lnTo>
                <a:lnTo>
                  <a:pt x="778" y="204"/>
                </a:lnTo>
                <a:lnTo>
                  <a:pt x="774" y="200"/>
                </a:lnTo>
                <a:lnTo>
                  <a:pt x="774" y="194"/>
                </a:lnTo>
                <a:lnTo>
                  <a:pt x="776" y="188"/>
                </a:lnTo>
                <a:lnTo>
                  <a:pt x="776" y="173"/>
                </a:lnTo>
                <a:lnTo>
                  <a:pt x="776" y="173"/>
                </a:lnTo>
                <a:lnTo>
                  <a:pt x="771" y="173"/>
                </a:lnTo>
                <a:lnTo>
                  <a:pt x="765" y="173"/>
                </a:lnTo>
                <a:lnTo>
                  <a:pt x="761" y="173"/>
                </a:lnTo>
                <a:lnTo>
                  <a:pt x="757" y="173"/>
                </a:lnTo>
                <a:lnTo>
                  <a:pt x="753" y="173"/>
                </a:lnTo>
                <a:lnTo>
                  <a:pt x="750" y="173"/>
                </a:lnTo>
                <a:lnTo>
                  <a:pt x="748" y="173"/>
                </a:lnTo>
                <a:lnTo>
                  <a:pt x="744" y="173"/>
                </a:lnTo>
                <a:lnTo>
                  <a:pt x="744" y="173"/>
                </a:lnTo>
                <a:lnTo>
                  <a:pt x="738" y="173"/>
                </a:lnTo>
                <a:lnTo>
                  <a:pt x="734" y="171"/>
                </a:lnTo>
                <a:lnTo>
                  <a:pt x="729" y="168"/>
                </a:lnTo>
                <a:lnTo>
                  <a:pt x="725" y="164"/>
                </a:lnTo>
                <a:lnTo>
                  <a:pt x="723" y="158"/>
                </a:lnTo>
                <a:lnTo>
                  <a:pt x="719" y="152"/>
                </a:lnTo>
                <a:lnTo>
                  <a:pt x="717" y="147"/>
                </a:lnTo>
                <a:lnTo>
                  <a:pt x="717" y="139"/>
                </a:lnTo>
                <a:lnTo>
                  <a:pt x="717" y="139"/>
                </a:lnTo>
                <a:lnTo>
                  <a:pt x="717" y="133"/>
                </a:lnTo>
                <a:lnTo>
                  <a:pt x="719" y="127"/>
                </a:lnTo>
                <a:lnTo>
                  <a:pt x="723" y="124"/>
                </a:lnTo>
                <a:lnTo>
                  <a:pt x="725" y="120"/>
                </a:lnTo>
                <a:lnTo>
                  <a:pt x="729" y="116"/>
                </a:lnTo>
                <a:lnTo>
                  <a:pt x="732" y="110"/>
                </a:lnTo>
                <a:lnTo>
                  <a:pt x="734" y="106"/>
                </a:lnTo>
                <a:lnTo>
                  <a:pt x="734" y="101"/>
                </a:lnTo>
                <a:lnTo>
                  <a:pt x="734" y="101"/>
                </a:lnTo>
                <a:lnTo>
                  <a:pt x="734" y="95"/>
                </a:lnTo>
                <a:lnTo>
                  <a:pt x="732" y="87"/>
                </a:lnTo>
                <a:lnTo>
                  <a:pt x="731" y="82"/>
                </a:lnTo>
                <a:lnTo>
                  <a:pt x="729" y="76"/>
                </a:lnTo>
                <a:lnTo>
                  <a:pt x="725" y="70"/>
                </a:lnTo>
                <a:lnTo>
                  <a:pt x="721" y="64"/>
                </a:lnTo>
                <a:lnTo>
                  <a:pt x="717" y="59"/>
                </a:lnTo>
                <a:lnTo>
                  <a:pt x="711" y="53"/>
                </a:lnTo>
                <a:lnTo>
                  <a:pt x="708" y="49"/>
                </a:lnTo>
                <a:lnTo>
                  <a:pt x="702" y="44"/>
                </a:lnTo>
                <a:lnTo>
                  <a:pt x="698" y="38"/>
                </a:lnTo>
                <a:lnTo>
                  <a:pt x="692" y="34"/>
                </a:lnTo>
                <a:lnTo>
                  <a:pt x="689" y="28"/>
                </a:lnTo>
                <a:lnTo>
                  <a:pt x="685" y="23"/>
                </a:lnTo>
                <a:lnTo>
                  <a:pt x="681" y="19"/>
                </a:lnTo>
                <a:lnTo>
                  <a:pt x="677" y="13"/>
                </a:lnTo>
                <a:lnTo>
                  <a:pt x="677" y="13"/>
                </a:lnTo>
                <a:lnTo>
                  <a:pt x="673" y="13"/>
                </a:lnTo>
                <a:lnTo>
                  <a:pt x="669" y="11"/>
                </a:lnTo>
                <a:lnTo>
                  <a:pt x="666" y="9"/>
                </a:lnTo>
                <a:lnTo>
                  <a:pt x="660" y="5"/>
                </a:lnTo>
                <a:lnTo>
                  <a:pt x="654" y="3"/>
                </a:lnTo>
                <a:lnTo>
                  <a:pt x="649" y="2"/>
                </a:lnTo>
                <a:lnTo>
                  <a:pt x="643" y="0"/>
                </a:lnTo>
                <a:lnTo>
                  <a:pt x="637" y="0"/>
                </a:lnTo>
                <a:lnTo>
                  <a:pt x="637" y="0"/>
                </a:lnTo>
                <a:lnTo>
                  <a:pt x="629" y="2"/>
                </a:lnTo>
                <a:lnTo>
                  <a:pt x="624" y="3"/>
                </a:lnTo>
                <a:lnTo>
                  <a:pt x="616" y="7"/>
                </a:lnTo>
                <a:lnTo>
                  <a:pt x="610" y="11"/>
                </a:lnTo>
                <a:lnTo>
                  <a:pt x="605" y="15"/>
                </a:lnTo>
                <a:lnTo>
                  <a:pt x="599" y="19"/>
                </a:lnTo>
                <a:lnTo>
                  <a:pt x="591" y="23"/>
                </a:lnTo>
                <a:lnTo>
                  <a:pt x="584" y="24"/>
                </a:lnTo>
                <a:lnTo>
                  <a:pt x="584" y="24"/>
                </a:lnTo>
                <a:lnTo>
                  <a:pt x="586" y="36"/>
                </a:lnTo>
                <a:lnTo>
                  <a:pt x="582" y="45"/>
                </a:lnTo>
                <a:lnTo>
                  <a:pt x="578" y="55"/>
                </a:lnTo>
                <a:lnTo>
                  <a:pt x="570" y="61"/>
                </a:lnTo>
                <a:lnTo>
                  <a:pt x="563" y="68"/>
                </a:lnTo>
                <a:lnTo>
                  <a:pt x="555" y="74"/>
                </a:lnTo>
                <a:lnTo>
                  <a:pt x="547" y="80"/>
                </a:lnTo>
                <a:lnTo>
                  <a:pt x="540" y="85"/>
                </a:lnTo>
                <a:lnTo>
                  <a:pt x="540" y="85"/>
                </a:lnTo>
                <a:lnTo>
                  <a:pt x="530" y="93"/>
                </a:lnTo>
                <a:lnTo>
                  <a:pt x="523" y="103"/>
                </a:lnTo>
                <a:lnTo>
                  <a:pt x="513" y="110"/>
                </a:lnTo>
                <a:lnTo>
                  <a:pt x="505" y="118"/>
                </a:lnTo>
                <a:lnTo>
                  <a:pt x="496" y="126"/>
                </a:lnTo>
                <a:lnTo>
                  <a:pt x="488" y="131"/>
                </a:lnTo>
                <a:lnTo>
                  <a:pt x="479" y="137"/>
                </a:lnTo>
                <a:lnTo>
                  <a:pt x="469" y="141"/>
                </a:lnTo>
                <a:lnTo>
                  <a:pt x="460" y="147"/>
                </a:lnTo>
                <a:lnTo>
                  <a:pt x="450" y="150"/>
                </a:lnTo>
                <a:lnTo>
                  <a:pt x="439" y="154"/>
                </a:lnTo>
                <a:lnTo>
                  <a:pt x="427" y="156"/>
                </a:lnTo>
                <a:lnTo>
                  <a:pt x="414" y="160"/>
                </a:lnTo>
                <a:lnTo>
                  <a:pt x="399" y="160"/>
                </a:lnTo>
                <a:lnTo>
                  <a:pt x="385" y="162"/>
                </a:lnTo>
                <a:lnTo>
                  <a:pt x="368" y="162"/>
                </a:lnTo>
                <a:lnTo>
                  <a:pt x="368" y="162"/>
                </a:lnTo>
                <a:lnTo>
                  <a:pt x="370" y="164"/>
                </a:lnTo>
                <a:lnTo>
                  <a:pt x="370" y="166"/>
                </a:lnTo>
                <a:lnTo>
                  <a:pt x="372" y="168"/>
                </a:lnTo>
                <a:lnTo>
                  <a:pt x="374" y="169"/>
                </a:lnTo>
                <a:lnTo>
                  <a:pt x="374" y="171"/>
                </a:lnTo>
                <a:lnTo>
                  <a:pt x="376" y="173"/>
                </a:lnTo>
                <a:lnTo>
                  <a:pt x="378" y="175"/>
                </a:lnTo>
                <a:lnTo>
                  <a:pt x="380" y="177"/>
                </a:lnTo>
                <a:lnTo>
                  <a:pt x="380" y="177"/>
                </a:lnTo>
                <a:lnTo>
                  <a:pt x="374" y="185"/>
                </a:lnTo>
                <a:lnTo>
                  <a:pt x="370" y="190"/>
                </a:lnTo>
                <a:lnTo>
                  <a:pt x="366" y="198"/>
                </a:lnTo>
                <a:lnTo>
                  <a:pt x="362" y="206"/>
                </a:lnTo>
                <a:lnTo>
                  <a:pt x="359" y="211"/>
                </a:lnTo>
                <a:lnTo>
                  <a:pt x="353" y="219"/>
                </a:lnTo>
                <a:lnTo>
                  <a:pt x="347" y="225"/>
                </a:lnTo>
                <a:lnTo>
                  <a:pt x="339" y="230"/>
                </a:lnTo>
                <a:lnTo>
                  <a:pt x="339" y="230"/>
                </a:lnTo>
                <a:lnTo>
                  <a:pt x="332" y="234"/>
                </a:lnTo>
                <a:lnTo>
                  <a:pt x="326" y="236"/>
                </a:lnTo>
                <a:lnTo>
                  <a:pt x="319" y="238"/>
                </a:lnTo>
                <a:lnTo>
                  <a:pt x="311" y="240"/>
                </a:lnTo>
                <a:lnTo>
                  <a:pt x="305" y="242"/>
                </a:lnTo>
                <a:lnTo>
                  <a:pt x="298" y="244"/>
                </a:lnTo>
                <a:lnTo>
                  <a:pt x="290" y="244"/>
                </a:lnTo>
                <a:lnTo>
                  <a:pt x="280" y="244"/>
                </a:lnTo>
                <a:lnTo>
                  <a:pt x="273" y="246"/>
                </a:lnTo>
                <a:lnTo>
                  <a:pt x="265" y="246"/>
                </a:lnTo>
                <a:lnTo>
                  <a:pt x="257" y="246"/>
                </a:lnTo>
                <a:lnTo>
                  <a:pt x="250" y="248"/>
                </a:lnTo>
                <a:lnTo>
                  <a:pt x="242" y="250"/>
                </a:lnTo>
                <a:lnTo>
                  <a:pt x="235" y="250"/>
                </a:lnTo>
                <a:lnTo>
                  <a:pt x="225" y="251"/>
                </a:lnTo>
                <a:lnTo>
                  <a:pt x="219" y="253"/>
                </a:lnTo>
                <a:lnTo>
                  <a:pt x="219" y="253"/>
                </a:lnTo>
                <a:lnTo>
                  <a:pt x="214" y="255"/>
                </a:lnTo>
                <a:lnTo>
                  <a:pt x="210" y="259"/>
                </a:lnTo>
                <a:lnTo>
                  <a:pt x="206" y="263"/>
                </a:lnTo>
                <a:lnTo>
                  <a:pt x="204" y="265"/>
                </a:lnTo>
                <a:lnTo>
                  <a:pt x="200" y="269"/>
                </a:lnTo>
                <a:lnTo>
                  <a:pt x="196" y="271"/>
                </a:lnTo>
                <a:lnTo>
                  <a:pt x="191" y="271"/>
                </a:lnTo>
                <a:lnTo>
                  <a:pt x="185" y="272"/>
                </a:lnTo>
                <a:lnTo>
                  <a:pt x="185" y="272"/>
                </a:lnTo>
                <a:lnTo>
                  <a:pt x="181" y="271"/>
                </a:lnTo>
                <a:lnTo>
                  <a:pt x="179" y="271"/>
                </a:lnTo>
                <a:lnTo>
                  <a:pt x="175" y="269"/>
                </a:lnTo>
                <a:lnTo>
                  <a:pt x="174" y="265"/>
                </a:lnTo>
                <a:lnTo>
                  <a:pt x="172" y="263"/>
                </a:lnTo>
                <a:lnTo>
                  <a:pt x="170" y="259"/>
                </a:lnTo>
                <a:lnTo>
                  <a:pt x="166" y="257"/>
                </a:lnTo>
                <a:lnTo>
                  <a:pt x="164" y="253"/>
                </a:lnTo>
                <a:lnTo>
                  <a:pt x="164" y="253"/>
                </a:lnTo>
                <a:lnTo>
                  <a:pt x="160" y="257"/>
                </a:lnTo>
                <a:lnTo>
                  <a:pt x="154" y="261"/>
                </a:lnTo>
                <a:lnTo>
                  <a:pt x="149" y="265"/>
                </a:lnTo>
                <a:lnTo>
                  <a:pt x="141" y="267"/>
                </a:lnTo>
                <a:lnTo>
                  <a:pt x="135" y="269"/>
                </a:lnTo>
                <a:lnTo>
                  <a:pt x="128" y="271"/>
                </a:lnTo>
                <a:lnTo>
                  <a:pt x="120" y="272"/>
                </a:lnTo>
                <a:lnTo>
                  <a:pt x="114" y="274"/>
                </a:lnTo>
                <a:lnTo>
                  <a:pt x="107" y="276"/>
                </a:lnTo>
                <a:lnTo>
                  <a:pt x="101" y="278"/>
                </a:lnTo>
                <a:lnTo>
                  <a:pt x="93" y="278"/>
                </a:lnTo>
                <a:lnTo>
                  <a:pt x="88" y="280"/>
                </a:lnTo>
                <a:lnTo>
                  <a:pt x="84" y="282"/>
                </a:lnTo>
                <a:lnTo>
                  <a:pt x="80" y="282"/>
                </a:lnTo>
                <a:lnTo>
                  <a:pt x="76" y="284"/>
                </a:lnTo>
                <a:lnTo>
                  <a:pt x="72" y="286"/>
                </a:lnTo>
                <a:lnTo>
                  <a:pt x="72" y="286"/>
                </a:lnTo>
                <a:lnTo>
                  <a:pt x="69" y="292"/>
                </a:lnTo>
                <a:lnTo>
                  <a:pt x="63" y="299"/>
                </a:lnTo>
                <a:lnTo>
                  <a:pt x="57" y="305"/>
                </a:lnTo>
                <a:lnTo>
                  <a:pt x="53" y="313"/>
                </a:lnTo>
                <a:lnTo>
                  <a:pt x="50" y="318"/>
                </a:lnTo>
                <a:lnTo>
                  <a:pt x="46" y="326"/>
                </a:lnTo>
                <a:lnTo>
                  <a:pt x="42" y="333"/>
                </a:lnTo>
                <a:lnTo>
                  <a:pt x="38" y="339"/>
                </a:lnTo>
                <a:lnTo>
                  <a:pt x="32" y="347"/>
                </a:lnTo>
                <a:lnTo>
                  <a:pt x="29" y="353"/>
                </a:lnTo>
                <a:lnTo>
                  <a:pt x="25" y="360"/>
                </a:lnTo>
                <a:lnTo>
                  <a:pt x="21" y="368"/>
                </a:lnTo>
                <a:lnTo>
                  <a:pt x="17" y="374"/>
                </a:lnTo>
                <a:lnTo>
                  <a:pt x="11" y="379"/>
                </a:lnTo>
                <a:lnTo>
                  <a:pt x="6" y="387"/>
                </a:lnTo>
                <a:lnTo>
                  <a:pt x="0" y="393"/>
                </a:lnTo>
                <a:lnTo>
                  <a:pt x="0" y="393"/>
                </a:lnTo>
                <a:lnTo>
                  <a:pt x="2" y="395"/>
                </a:lnTo>
                <a:lnTo>
                  <a:pt x="4" y="396"/>
                </a:lnTo>
                <a:lnTo>
                  <a:pt x="8" y="398"/>
                </a:lnTo>
                <a:lnTo>
                  <a:pt x="9" y="400"/>
                </a:lnTo>
                <a:lnTo>
                  <a:pt x="11" y="402"/>
                </a:lnTo>
                <a:lnTo>
                  <a:pt x="13" y="404"/>
                </a:lnTo>
                <a:lnTo>
                  <a:pt x="13" y="406"/>
                </a:lnTo>
                <a:lnTo>
                  <a:pt x="13" y="408"/>
                </a:lnTo>
                <a:lnTo>
                  <a:pt x="13" y="408"/>
                </a:lnTo>
                <a:lnTo>
                  <a:pt x="15" y="412"/>
                </a:lnTo>
                <a:lnTo>
                  <a:pt x="15" y="414"/>
                </a:lnTo>
                <a:lnTo>
                  <a:pt x="15" y="417"/>
                </a:lnTo>
                <a:lnTo>
                  <a:pt x="15" y="419"/>
                </a:lnTo>
                <a:lnTo>
                  <a:pt x="15" y="423"/>
                </a:lnTo>
                <a:lnTo>
                  <a:pt x="15" y="427"/>
                </a:lnTo>
                <a:lnTo>
                  <a:pt x="13" y="433"/>
                </a:lnTo>
                <a:lnTo>
                  <a:pt x="13" y="437"/>
                </a:lnTo>
                <a:lnTo>
                  <a:pt x="13" y="437"/>
                </a:lnTo>
                <a:lnTo>
                  <a:pt x="15" y="448"/>
                </a:lnTo>
                <a:lnTo>
                  <a:pt x="17" y="459"/>
                </a:lnTo>
                <a:lnTo>
                  <a:pt x="19" y="471"/>
                </a:lnTo>
                <a:lnTo>
                  <a:pt x="21" y="482"/>
                </a:lnTo>
                <a:lnTo>
                  <a:pt x="25" y="494"/>
                </a:lnTo>
                <a:lnTo>
                  <a:pt x="29" y="505"/>
                </a:lnTo>
                <a:lnTo>
                  <a:pt x="34" y="517"/>
                </a:lnTo>
                <a:lnTo>
                  <a:pt x="40" y="526"/>
                </a:lnTo>
                <a:lnTo>
                  <a:pt x="46" y="538"/>
                </a:lnTo>
                <a:lnTo>
                  <a:pt x="51" y="547"/>
                </a:lnTo>
                <a:lnTo>
                  <a:pt x="57" y="557"/>
                </a:lnTo>
                <a:lnTo>
                  <a:pt x="63" y="566"/>
                </a:lnTo>
                <a:lnTo>
                  <a:pt x="69" y="576"/>
                </a:lnTo>
                <a:lnTo>
                  <a:pt x="74" y="583"/>
                </a:lnTo>
                <a:lnTo>
                  <a:pt x="80" y="591"/>
                </a:lnTo>
                <a:lnTo>
                  <a:pt x="86" y="599"/>
                </a:lnTo>
                <a:lnTo>
                  <a:pt x="86" y="599"/>
                </a:lnTo>
                <a:lnTo>
                  <a:pt x="90" y="602"/>
                </a:lnTo>
                <a:lnTo>
                  <a:pt x="93" y="606"/>
                </a:lnTo>
                <a:lnTo>
                  <a:pt x="97" y="610"/>
                </a:lnTo>
                <a:lnTo>
                  <a:pt x="101" y="614"/>
                </a:lnTo>
                <a:lnTo>
                  <a:pt x="107" y="618"/>
                </a:lnTo>
                <a:lnTo>
                  <a:pt x="111" y="620"/>
                </a:lnTo>
                <a:lnTo>
                  <a:pt x="116" y="623"/>
                </a:lnTo>
                <a:lnTo>
                  <a:pt x="120" y="627"/>
                </a:lnTo>
                <a:lnTo>
                  <a:pt x="124" y="631"/>
                </a:lnTo>
                <a:lnTo>
                  <a:pt x="130" y="635"/>
                </a:lnTo>
                <a:lnTo>
                  <a:pt x="132" y="639"/>
                </a:lnTo>
                <a:lnTo>
                  <a:pt x="135" y="644"/>
                </a:lnTo>
                <a:lnTo>
                  <a:pt x="137" y="650"/>
                </a:lnTo>
                <a:lnTo>
                  <a:pt x="141" y="656"/>
                </a:lnTo>
                <a:lnTo>
                  <a:pt x="141" y="664"/>
                </a:lnTo>
                <a:lnTo>
                  <a:pt x="141" y="671"/>
                </a:lnTo>
                <a:lnTo>
                  <a:pt x="141" y="671"/>
                </a:lnTo>
                <a:lnTo>
                  <a:pt x="145" y="662"/>
                </a:lnTo>
                <a:lnTo>
                  <a:pt x="149" y="654"/>
                </a:lnTo>
                <a:lnTo>
                  <a:pt x="151" y="644"/>
                </a:lnTo>
                <a:lnTo>
                  <a:pt x="154" y="635"/>
                </a:lnTo>
                <a:lnTo>
                  <a:pt x="156" y="627"/>
                </a:lnTo>
                <a:lnTo>
                  <a:pt x="160" y="620"/>
                </a:lnTo>
                <a:lnTo>
                  <a:pt x="164" y="612"/>
                </a:lnTo>
                <a:lnTo>
                  <a:pt x="168" y="604"/>
                </a:lnTo>
                <a:lnTo>
                  <a:pt x="172" y="597"/>
                </a:lnTo>
                <a:lnTo>
                  <a:pt x="177" y="591"/>
                </a:lnTo>
                <a:lnTo>
                  <a:pt x="183" y="585"/>
                </a:lnTo>
                <a:lnTo>
                  <a:pt x="191" y="581"/>
                </a:lnTo>
                <a:lnTo>
                  <a:pt x="198" y="578"/>
                </a:lnTo>
                <a:lnTo>
                  <a:pt x="210" y="576"/>
                </a:lnTo>
                <a:lnTo>
                  <a:pt x="219" y="574"/>
                </a:lnTo>
                <a:lnTo>
                  <a:pt x="233" y="574"/>
                </a:lnTo>
                <a:lnTo>
                  <a:pt x="233" y="574"/>
                </a:lnTo>
                <a:lnTo>
                  <a:pt x="240" y="574"/>
                </a:lnTo>
                <a:lnTo>
                  <a:pt x="246" y="574"/>
                </a:lnTo>
                <a:lnTo>
                  <a:pt x="254" y="574"/>
                </a:lnTo>
                <a:lnTo>
                  <a:pt x="259" y="574"/>
                </a:lnTo>
                <a:lnTo>
                  <a:pt x="265" y="576"/>
                </a:lnTo>
                <a:lnTo>
                  <a:pt x="271" y="578"/>
                </a:lnTo>
                <a:lnTo>
                  <a:pt x="277" y="580"/>
                </a:lnTo>
                <a:lnTo>
                  <a:pt x="284" y="581"/>
                </a:lnTo>
                <a:lnTo>
                  <a:pt x="339" y="581"/>
                </a:lnTo>
                <a:lnTo>
                  <a:pt x="339" y="581"/>
                </a:lnTo>
                <a:lnTo>
                  <a:pt x="339" y="578"/>
                </a:lnTo>
                <a:lnTo>
                  <a:pt x="339" y="576"/>
                </a:lnTo>
                <a:lnTo>
                  <a:pt x="339" y="572"/>
                </a:lnTo>
                <a:lnTo>
                  <a:pt x="339" y="570"/>
                </a:lnTo>
                <a:lnTo>
                  <a:pt x="339" y="566"/>
                </a:lnTo>
                <a:lnTo>
                  <a:pt x="339" y="564"/>
                </a:lnTo>
                <a:lnTo>
                  <a:pt x="339" y="561"/>
                </a:lnTo>
                <a:lnTo>
                  <a:pt x="339" y="557"/>
                </a:lnTo>
                <a:lnTo>
                  <a:pt x="339" y="557"/>
                </a:lnTo>
                <a:lnTo>
                  <a:pt x="339" y="549"/>
                </a:lnTo>
                <a:lnTo>
                  <a:pt x="339" y="541"/>
                </a:lnTo>
                <a:lnTo>
                  <a:pt x="343" y="534"/>
                </a:lnTo>
                <a:lnTo>
                  <a:pt x="345" y="524"/>
                </a:lnTo>
                <a:lnTo>
                  <a:pt x="349" y="517"/>
                </a:lnTo>
                <a:lnTo>
                  <a:pt x="353" y="507"/>
                </a:lnTo>
                <a:lnTo>
                  <a:pt x="357" y="499"/>
                </a:lnTo>
                <a:lnTo>
                  <a:pt x="362" y="492"/>
                </a:lnTo>
                <a:lnTo>
                  <a:pt x="368" y="484"/>
                </a:lnTo>
                <a:lnTo>
                  <a:pt x="374" y="478"/>
                </a:lnTo>
                <a:lnTo>
                  <a:pt x="381" y="473"/>
                </a:lnTo>
                <a:lnTo>
                  <a:pt x="387" y="467"/>
                </a:lnTo>
                <a:lnTo>
                  <a:pt x="395" y="463"/>
                </a:lnTo>
                <a:lnTo>
                  <a:pt x="401" y="459"/>
                </a:lnTo>
                <a:lnTo>
                  <a:pt x="408" y="457"/>
                </a:lnTo>
                <a:lnTo>
                  <a:pt x="416" y="457"/>
                </a:lnTo>
                <a:lnTo>
                  <a:pt x="416" y="457"/>
                </a:lnTo>
                <a:lnTo>
                  <a:pt x="427" y="459"/>
                </a:lnTo>
                <a:lnTo>
                  <a:pt x="437" y="465"/>
                </a:lnTo>
                <a:lnTo>
                  <a:pt x="444" y="471"/>
                </a:lnTo>
                <a:lnTo>
                  <a:pt x="452" y="480"/>
                </a:lnTo>
                <a:lnTo>
                  <a:pt x="460" y="490"/>
                </a:lnTo>
                <a:lnTo>
                  <a:pt x="467" y="498"/>
                </a:lnTo>
                <a:lnTo>
                  <a:pt x="473" y="505"/>
                </a:lnTo>
                <a:lnTo>
                  <a:pt x="481" y="511"/>
                </a:lnTo>
                <a:lnTo>
                  <a:pt x="481" y="511"/>
                </a:lnTo>
                <a:lnTo>
                  <a:pt x="486" y="513"/>
                </a:lnTo>
                <a:lnTo>
                  <a:pt x="494" y="517"/>
                </a:lnTo>
                <a:lnTo>
                  <a:pt x="502" y="520"/>
                </a:lnTo>
                <a:lnTo>
                  <a:pt x="511" y="522"/>
                </a:lnTo>
                <a:lnTo>
                  <a:pt x="521" y="526"/>
                </a:lnTo>
                <a:lnTo>
                  <a:pt x="528" y="528"/>
                </a:lnTo>
                <a:lnTo>
                  <a:pt x="538" y="530"/>
                </a:lnTo>
                <a:lnTo>
                  <a:pt x="547" y="532"/>
                </a:lnTo>
                <a:lnTo>
                  <a:pt x="557" y="534"/>
                </a:lnTo>
                <a:lnTo>
                  <a:pt x="566" y="536"/>
                </a:lnTo>
                <a:lnTo>
                  <a:pt x="576" y="538"/>
                </a:lnTo>
                <a:lnTo>
                  <a:pt x="586" y="538"/>
                </a:lnTo>
                <a:lnTo>
                  <a:pt x="595" y="540"/>
                </a:lnTo>
                <a:lnTo>
                  <a:pt x="605" y="540"/>
                </a:lnTo>
                <a:lnTo>
                  <a:pt x="612" y="540"/>
                </a:lnTo>
                <a:lnTo>
                  <a:pt x="620" y="540"/>
                </a:lnTo>
                <a:lnTo>
                  <a:pt x="620" y="540"/>
                </a:lnTo>
                <a:lnTo>
                  <a:pt x="628" y="540"/>
                </a:lnTo>
                <a:lnTo>
                  <a:pt x="633" y="538"/>
                </a:lnTo>
                <a:lnTo>
                  <a:pt x="639" y="536"/>
                </a:lnTo>
                <a:lnTo>
                  <a:pt x="643" y="532"/>
                </a:lnTo>
                <a:lnTo>
                  <a:pt x="647" y="528"/>
                </a:lnTo>
                <a:lnTo>
                  <a:pt x="650" y="524"/>
                </a:lnTo>
                <a:lnTo>
                  <a:pt x="654" y="520"/>
                </a:lnTo>
                <a:lnTo>
                  <a:pt x="656" y="515"/>
                </a:lnTo>
                <a:lnTo>
                  <a:pt x="660" y="511"/>
                </a:lnTo>
                <a:lnTo>
                  <a:pt x="664" y="507"/>
                </a:lnTo>
                <a:lnTo>
                  <a:pt x="666" y="501"/>
                </a:lnTo>
                <a:lnTo>
                  <a:pt x="669" y="499"/>
                </a:lnTo>
                <a:lnTo>
                  <a:pt x="675" y="496"/>
                </a:lnTo>
                <a:lnTo>
                  <a:pt x="681" y="492"/>
                </a:lnTo>
                <a:lnTo>
                  <a:pt x="687" y="492"/>
                </a:lnTo>
                <a:lnTo>
                  <a:pt x="692" y="490"/>
                </a:lnTo>
                <a:lnTo>
                  <a:pt x="692" y="490"/>
                </a:lnTo>
                <a:lnTo>
                  <a:pt x="694" y="492"/>
                </a:lnTo>
                <a:lnTo>
                  <a:pt x="698" y="492"/>
                </a:lnTo>
                <a:lnTo>
                  <a:pt x="700" y="494"/>
                </a:lnTo>
                <a:lnTo>
                  <a:pt x="704" y="496"/>
                </a:lnTo>
                <a:lnTo>
                  <a:pt x="706" y="496"/>
                </a:lnTo>
                <a:lnTo>
                  <a:pt x="708" y="498"/>
                </a:lnTo>
                <a:lnTo>
                  <a:pt x="711" y="499"/>
                </a:lnTo>
                <a:lnTo>
                  <a:pt x="715" y="499"/>
                </a:lnTo>
                <a:lnTo>
                  <a:pt x="715" y="499"/>
                </a:lnTo>
                <a:lnTo>
                  <a:pt x="721" y="499"/>
                </a:lnTo>
                <a:lnTo>
                  <a:pt x="727" y="498"/>
                </a:lnTo>
                <a:lnTo>
                  <a:pt x="732" y="496"/>
                </a:lnTo>
                <a:lnTo>
                  <a:pt x="738" y="494"/>
                </a:lnTo>
                <a:lnTo>
                  <a:pt x="744" y="492"/>
                </a:lnTo>
                <a:lnTo>
                  <a:pt x="750" y="490"/>
                </a:lnTo>
                <a:lnTo>
                  <a:pt x="755" y="486"/>
                </a:lnTo>
                <a:lnTo>
                  <a:pt x="761" y="484"/>
                </a:lnTo>
                <a:lnTo>
                  <a:pt x="767" y="480"/>
                </a:lnTo>
                <a:lnTo>
                  <a:pt x="771" y="478"/>
                </a:lnTo>
                <a:lnTo>
                  <a:pt x="776" y="477"/>
                </a:lnTo>
                <a:lnTo>
                  <a:pt x="782" y="473"/>
                </a:lnTo>
                <a:lnTo>
                  <a:pt x="786" y="471"/>
                </a:lnTo>
                <a:lnTo>
                  <a:pt x="792" y="469"/>
                </a:lnTo>
                <a:lnTo>
                  <a:pt x="797" y="467"/>
                </a:lnTo>
                <a:lnTo>
                  <a:pt x="803" y="467"/>
                </a:lnTo>
                <a:lnTo>
                  <a:pt x="803" y="467"/>
                </a:lnTo>
                <a:lnTo>
                  <a:pt x="805" y="471"/>
                </a:lnTo>
                <a:lnTo>
                  <a:pt x="807" y="475"/>
                </a:lnTo>
                <a:lnTo>
                  <a:pt x="811" y="477"/>
                </a:lnTo>
                <a:lnTo>
                  <a:pt x="813" y="477"/>
                </a:lnTo>
                <a:lnTo>
                  <a:pt x="816" y="477"/>
                </a:lnTo>
                <a:lnTo>
                  <a:pt x="820" y="477"/>
                </a:lnTo>
                <a:lnTo>
                  <a:pt x="824" y="475"/>
                </a:lnTo>
                <a:lnTo>
                  <a:pt x="830" y="475"/>
                </a:lnTo>
                <a:lnTo>
                  <a:pt x="830" y="475"/>
                </a:lnTo>
                <a:lnTo>
                  <a:pt x="839" y="475"/>
                </a:lnTo>
                <a:lnTo>
                  <a:pt x="847" y="475"/>
                </a:lnTo>
                <a:lnTo>
                  <a:pt x="855" y="473"/>
                </a:lnTo>
                <a:lnTo>
                  <a:pt x="858" y="469"/>
                </a:lnTo>
                <a:lnTo>
                  <a:pt x="862" y="465"/>
                </a:lnTo>
                <a:lnTo>
                  <a:pt x="866" y="461"/>
                </a:lnTo>
                <a:lnTo>
                  <a:pt x="868" y="454"/>
                </a:lnTo>
                <a:lnTo>
                  <a:pt x="868" y="446"/>
                </a:lnTo>
                <a:lnTo>
                  <a:pt x="868" y="446"/>
                </a:lnTo>
                <a:lnTo>
                  <a:pt x="876" y="444"/>
                </a:lnTo>
                <a:lnTo>
                  <a:pt x="883" y="444"/>
                </a:lnTo>
                <a:lnTo>
                  <a:pt x="891" y="446"/>
                </a:lnTo>
                <a:lnTo>
                  <a:pt x="896" y="446"/>
                </a:lnTo>
                <a:lnTo>
                  <a:pt x="904" y="448"/>
                </a:lnTo>
                <a:lnTo>
                  <a:pt x="910" y="450"/>
                </a:lnTo>
                <a:lnTo>
                  <a:pt x="916" y="452"/>
                </a:lnTo>
                <a:lnTo>
                  <a:pt x="923" y="454"/>
                </a:lnTo>
                <a:lnTo>
                  <a:pt x="929" y="456"/>
                </a:lnTo>
                <a:lnTo>
                  <a:pt x="935" y="457"/>
                </a:lnTo>
                <a:lnTo>
                  <a:pt x="940" y="461"/>
                </a:lnTo>
                <a:lnTo>
                  <a:pt x="948" y="463"/>
                </a:lnTo>
                <a:lnTo>
                  <a:pt x="954" y="465"/>
                </a:lnTo>
                <a:lnTo>
                  <a:pt x="961" y="465"/>
                </a:lnTo>
                <a:lnTo>
                  <a:pt x="969" y="467"/>
                </a:lnTo>
                <a:lnTo>
                  <a:pt x="977" y="467"/>
                </a:lnTo>
                <a:lnTo>
                  <a:pt x="977" y="467"/>
                </a:lnTo>
                <a:lnTo>
                  <a:pt x="984" y="467"/>
                </a:lnTo>
                <a:lnTo>
                  <a:pt x="992" y="465"/>
                </a:lnTo>
                <a:lnTo>
                  <a:pt x="996" y="465"/>
                </a:lnTo>
                <a:lnTo>
                  <a:pt x="1001" y="463"/>
                </a:lnTo>
                <a:lnTo>
                  <a:pt x="1007" y="461"/>
                </a:lnTo>
                <a:lnTo>
                  <a:pt x="1011" y="459"/>
                </a:lnTo>
                <a:lnTo>
                  <a:pt x="1017" y="457"/>
                </a:lnTo>
                <a:lnTo>
                  <a:pt x="1024" y="457"/>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52" name="Freeform 24"/>
          <p:cNvSpPr>
            <a:spLocks/>
          </p:cNvSpPr>
          <p:nvPr>
            <p:custDataLst>
              <p:tags r:id="rId24"/>
            </p:custDataLst>
          </p:nvPr>
        </p:nvSpPr>
        <p:spPr bwMode="gray">
          <a:xfrm>
            <a:off x="3372516" y="3485691"/>
            <a:ext cx="568565" cy="625222"/>
          </a:xfrm>
          <a:custGeom>
            <a:avLst/>
            <a:gdLst/>
            <a:ahLst/>
            <a:cxnLst>
              <a:cxn ang="0">
                <a:pos x="409" y="126"/>
              </a:cxn>
              <a:cxn ang="0">
                <a:pos x="391" y="143"/>
              </a:cxn>
              <a:cxn ang="0">
                <a:pos x="357" y="133"/>
              </a:cxn>
              <a:cxn ang="0">
                <a:pos x="306" y="120"/>
              </a:cxn>
              <a:cxn ang="0">
                <a:pos x="254" y="109"/>
              </a:cxn>
              <a:cxn ang="0">
                <a:pos x="206" y="111"/>
              </a:cxn>
              <a:cxn ang="0">
                <a:pos x="176" y="131"/>
              </a:cxn>
              <a:cxn ang="0">
                <a:pos x="170" y="168"/>
              </a:cxn>
              <a:cxn ang="0">
                <a:pos x="170" y="208"/>
              </a:cxn>
              <a:cxn ang="0">
                <a:pos x="201" y="200"/>
              </a:cxn>
              <a:cxn ang="0">
                <a:pos x="229" y="191"/>
              </a:cxn>
              <a:cxn ang="0">
                <a:pos x="262" y="204"/>
              </a:cxn>
              <a:cxn ang="0">
                <a:pos x="264" y="248"/>
              </a:cxn>
              <a:cxn ang="0">
                <a:pos x="224" y="294"/>
              </a:cxn>
              <a:cxn ang="0">
                <a:pos x="277" y="338"/>
              </a:cxn>
              <a:cxn ang="0">
                <a:pos x="275" y="385"/>
              </a:cxn>
              <a:cxn ang="0">
                <a:pos x="262" y="442"/>
              </a:cxn>
              <a:cxn ang="0">
                <a:pos x="252" y="473"/>
              </a:cxn>
              <a:cxn ang="0">
                <a:pos x="239" y="488"/>
              </a:cxn>
              <a:cxn ang="0">
                <a:pos x="225" y="469"/>
              </a:cxn>
              <a:cxn ang="0">
                <a:pos x="203" y="479"/>
              </a:cxn>
              <a:cxn ang="0">
                <a:pos x="163" y="471"/>
              </a:cxn>
              <a:cxn ang="0">
                <a:pos x="132" y="444"/>
              </a:cxn>
              <a:cxn ang="0">
                <a:pos x="105" y="477"/>
              </a:cxn>
              <a:cxn ang="0">
                <a:pos x="54" y="484"/>
              </a:cxn>
              <a:cxn ang="0">
                <a:pos x="46" y="524"/>
              </a:cxn>
              <a:cxn ang="0">
                <a:pos x="50" y="549"/>
              </a:cxn>
              <a:cxn ang="0">
                <a:pos x="73" y="566"/>
              </a:cxn>
              <a:cxn ang="0">
                <a:pos x="63" y="586"/>
              </a:cxn>
              <a:cxn ang="0">
                <a:pos x="50" y="578"/>
              </a:cxn>
              <a:cxn ang="0">
                <a:pos x="25" y="582"/>
              </a:cxn>
              <a:cxn ang="0">
                <a:pos x="2" y="607"/>
              </a:cxn>
              <a:cxn ang="0">
                <a:pos x="40" y="650"/>
              </a:cxn>
              <a:cxn ang="0">
                <a:pos x="84" y="694"/>
              </a:cxn>
              <a:cxn ang="0">
                <a:pos x="122" y="671"/>
              </a:cxn>
              <a:cxn ang="0">
                <a:pos x="149" y="662"/>
              </a:cxn>
              <a:cxn ang="0">
                <a:pos x="164" y="671"/>
              </a:cxn>
              <a:cxn ang="0">
                <a:pos x="191" y="681"/>
              </a:cxn>
              <a:cxn ang="0">
                <a:pos x="239" y="656"/>
              </a:cxn>
              <a:cxn ang="0">
                <a:pos x="267" y="656"/>
              </a:cxn>
              <a:cxn ang="0">
                <a:pos x="264" y="679"/>
              </a:cxn>
              <a:cxn ang="0">
                <a:pos x="290" y="696"/>
              </a:cxn>
              <a:cxn ang="0">
                <a:pos x="346" y="666"/>
              </a:cxn>
              <a:cxn ang="0">
                <a:pos x="372" y="628"/>
              </a:cxn>
              <a:cxn ang="0">
                <a:pos x="412" y="601"/>
              </a:cxn>
              <a:cxn ang="0">
                <a:pos x="424" y="551"/>
              </a:cxn>
              <a:cxn ang="0">
                <a:pos x="428" y="498"/>
              </a:cxn>
              <a:cxn ang="0">
                <a:pos x="449" y="441"/>
              </a:cxn>
              <a:cxn ang="0">
                <a:pos x="498" y="387"/>
              </a:cxn>
              <a:cxn ang="0">
                <a:pos x="525" y="351"/>
              </a:cxn>
              <a:cxn ang="0">
                <a:pos x="546" y="307"/>
              </a:cxn>
              <a:cxn ang="0">
                <a:pos x="561" y="208"/>
              </a:cxn>
              <a:cxn ang="0">
                <a:pos x="567" y="177"/>
              </a:cxn>
              <a:cxn ang="0">
                <a:pos x="575" y="147"/>
              </a:cxn>
              <a:cxn ang="0">
                <a:pos x="584" y="112"/>
              </a:cxn>
              <a:cxn ang="0">
                <a:pos x="616" y="67"/>
              </a:cxn>
              <a:cxn ang="0">
                <a:pos x="618" y="15"/>
              </a:cxn>
              <a:cxn ang="0">
                <a:pos x="536" y="0"/>
              </a:cxn>
              <a:cxn ang="0">
                <a:pos x="487" y="2"/>
              </a:cxn>
              <a:cxn ang="0">
                <a:pos x="441" y="38"/>
              </a:cxn>
              <a:cxn ang="0">
                <a:pos x="418" y="97"/>
              </a:cxn>
            </a:cxnLst>
            <a:rect l="0" t="0" r="r" b="b"/>
            <a:pathLst>
              <a:path w="620" h="702">
                <a:moveTo>
                  <a:pt x="418" y="90"/>
                </a:moveTo>
                <a:lnTo>
                  <a:pt x="418" y="90"/>
                </a:lnTo>
                <a:lnTo>
                  <a:pt x="414" y="97"/>
                </a:lnTo>
                <a:lnTo>
                  <a:pt x="412" y="103"/>
                </a:lnTo>
                <a:lnTo>
                  <a:pt x="410" y="111"/>
                </a:lnTo>
                <a:lnTo>
                  <a:pt x="409" y="118"/>
                </a:lnTo>
                <a:lnTo>
                  <a:pt x="409" y="126"/>
                </a:lnTo>
                <a:lnTo>
                  <a:pt x="407" y="133"/>
                </a:lnTo>
                <a:lnTo>
                  <a:pt x="405" y="141"/>
                </a:lnTo>
                <a:lnTo>
                  <a:pt x="401" y="149"/>
                </a:lnTo>
                <a:lnTo>
                  <a:pt x="401" y="149"/>
                </a:lnTo>
                <a:lnTo>
                  <a:pt x="399" y="147"/>
                </a:lnTo>
                <a:lnTo>
                  <a:pt x="395" y="145"/>
                </a:lnTo>
                <a:lnTo>
                  <a:pt x="391" y="143"/>
                </a:lnTo>
                <a:lnTo>
                  <a:pt x="388" y="139"/>
                </a:lnTo>
                <a:lnTo>
                  <a:pt x="382" y="137"/>
                </a:lnTo>
                <a:lnTo>
                  <a:pt x="376" y="137"/>
                </a:lnTo>
                <a:lnTo>
                  <a:pt x="370" y="135"/>
                </a:lnTo>
                <a:lnTo>
                  <a:pt x="365" y="135"/>
                </a:lnTo>
                <a:lnTo>
                  <a:pt x="365" y="135"/>
                </a:lnTo>
                <a:lnTo>
                  <a:pt x="357" y="133"/>
                </a:lnTo>
                <a:lnTo>
                  <a:pt x="348" y="133"/>
                </a:lnTo>
                <a:lnTo>
                  <a:pt x="340" y="131"/>
                </a:lnTo>
                <a:lnTo>
                  <a:pt x="332" y="130"/>
                </a:lnTo>
                <a:lnTo>
                  <a:pt x="325" y="128"/>
                </a:lnTo>
                <a:lnTo>
                  <a:pt x="319" y="126"/>
                </a:lnTo>
                <a:lnTo>
                  <a:pt x="313" y="124"/>
                </a:lnTo>
                <a:lnTo>
                  <a:pt x="306" y="120"/>
                </a:lnTo>
                <a:lnTo>
                  <a:pt x="300" y="118"/>
                </a:lnTo>
                <a:lnTo>
                  <a:pt x="292" y="116"/>
                </a:lnTo>
                <a:lnTo>
                  <a:pt x="286" y="114"/>
                </a:lnTo>
                <a:lnTo>
                  <a:pt x="279" y="112"/>
                </a:lnTo>
                <a:lnTo>
                  <a:pt x="271" y="111"/>
                </a:lnTo>
                <a:lnTo>
                  <a:pt x="264" y="109"/>
                </a:lnTo>
                <a:lnTo>
                  <a:pt x="254" y="109"/>
                </a:lnTo>
                <a:lnTo>
                  <a:pt x="245" y="107"/>
                </a:lnTo>
                <a:lnTo>
                  <a:pt x="245" y="107"/>
                </a:lnTo>
                <a:lnTo>
                  <a:pt x="235" y="107"/>
                </a:lnTo>
                <a:lnTo>
                  <a:pt x="227" y="109"/>
                </a:lnTo>
                <a:lnTo>
                  <a:pt x="220" y="109"/>
                </a:lnTo>
                <a:lnTo>
                  <a:pt x="214" y="109"/>
                </a:lnTo>
                <a:lnTo>
                  <a:pt x="206" y="111"/>
                </a:lnTo>
                <a:lnTo>
                  <a:pt x="201" y="112"/>
                </a:lnTo>
                <a:lnTo>
                  <a:pt x="195" y="114"/>
                </a:lnTo>
                <a:lnTo>
                  <a:pt x="191" y="116"/>
                </a:lnTo>
                <a:lnTo>
                  <a:pt x="185" y="120"/>
                </a:lnTo>
                <a:lnTo>
                  <a:pt x="182" y="124"/>
                </a:lnTo>
                <a:lnTo>
                  <a:pt x="180" y="128"/>
                </a:lnTo>
                <a:lnTo>
                  <a:pt x="176" y="131"/>
                </a:lnTo>
                <a:lnTo>
                  <a:pt x="174" y="137"/>
                </a:lnTo>
                <a:lnTo>
                  <a:pt x="172" y="143"/>
                </a:lnTo>
                <a:lnTo>
                  <a:pt x="172" y="151"/>
                </a:lnTo>
                <a:lnTo>
                  <a:pt x="170" y="158"/>
                </a:lnTo>
                <a:lnTo>
                  <a:pt x="170" y="158"/>
                </a:lnTo>
                <a:lnTo>
                  <a:pt x="170" y="162"/>
                </a:lnTo>
                <a:lnTo>
                  <a:pt x="170" y="168"/>
                </a:lnTo>
                <a:lnTo>
                  <a:pt x="170" y="173"/>
                </a:lnTo>
                <a:lnTo>
                  <a:pt x="170" y="179"/>
                </a:lnTo>
                <a:lnTo>
                  <a:pt x="170" y="187"/>
                </a:lnTo>
                <a:lnTo>
                  <a:pt x="170" y="193"/>
                </a:lnTo>
                <a:lnTo>
                  <a:pt x="170" y="200"/>
                </a:lnTo>
                <a:lnTo>
                  <a:pt x="170" y="208"/>
                </a:lnTo>
                <a:lnTo>
                  <a:pt x="170" y="208"/>
                </a:lnTo>
                <a:lnTo>
                  <a:pt x="176" y="208"/>
                </a:lnTo>
                <a:lnTo>
                  <a:pt x="180" y="208"/>
                </a:lnTo>
                <a:lnTo>
                  <a:pt x="185" y="206"/>
                </a:lnTo>
                <a:lnTo>
                  <a:pt x="189" y="206"/>
                </a:lnTo>
                <a:lnTo>
                  <a:pt x="193" y="204"/>
                </a:lnTo>
                <a:lnTo>
                  <a:pt x="197" y="202"/>
                </a:lnTo>
                <a:lnTo>
                  <a:pt x="201" y="200"/>
                </a:lnTo>
                <a:lnTo>
                  <a:pt x="204" y="198"/>
                </a:lnTo>
                <a:lnTo>
                  <a:pt x="208" y="196"/>
                </a:lnTo>
                <a:lnTo>
                  <a:pt x="212" y="196"/>
                </a:lnTo>
                <a:lnTo>
                  <a:pt x="216" y="194"/>
                </a:lnTo>
                <a:lnTo>
                  <a:pt x="220" y="193"/>
                </a:lnTo>
                <a:lnTo>
                  <a:pt x="225" y="193"/>
                </a:lnTo>
                <a:lnTo>
                  <a:pt x="229" y="191"/>
                </a:lnTo>
                <a:lnTo>
                  <a:pt x="233" y="191"/>
                </a:lnTo>
                <a:lnTo>
                  <a:pt x="239" y="191"/>
                </a:lnTo>
                <a:lnTo>
                  <a:pt x="239" y="191"/>
                </a:lnTo>
                <a:lnTo>
                  <a:pt x="245" y="191"/>
                </a:lnTo>
                <a:lnTo>
                  <a:pt x="252" y="194"/>
                </a:lnTo>
                <a:lnTo>
                  <a:pt x="258" y="198"/>
                </a:lnTo>
                <a:lnTo>
                  <a:pt x="262" y="204"/>
                </a:lnTo>
                <a:lnTo>
                  <a:pt x="266" y="210"/>
                </a:lnTo>
                <a:lnTo>
                  <a:pt x="269" y="217"/>
                </a:lnTo>
                <a:lnTo>
                  <a:pt x="271" y="223"/>
                </a:lnTo>
                <a:lnTo>
                  <a:pt x="271" y="231"/>
                </a:lnTo>
                <a:lnTo>
                  <a:pt x="271" y="231"/>
                </a:lnTo>
                <a:lnTo>
                  <a:pt x="269" y="240"/>
                </a:lnTo>
                <a:lnTo>
                  <a:pt x="264" y="248"/>
                </a:lnTo>
                <a:lnTo>
                  <a:pt x="256" y="254"/>
                </a:lnTo>
                <a:lnTo>
                  <a:pt x="248" y="259"/>
                </a:lnTo>
                <a:lnTo>
                  <a:pt x="239" y="265"/>
                </a:lnTo>
                <a:lnTo>
                  <a:pt x="231" y="273"/>
                </a:lnTo>
                <a:lnTo>
                  <a:pt x="225" y="282"/>
                </a:lnTo>
                <a:lnTo>
                  <a:pt x="224" y="294"/>
                </a:lnTo>
                <a:lnTo>
                  <a:pt x="224" y="294"/>
                </a:lnTo>
                <a:lnTo>
                  <a:pt x="227" y="303"/>
                </a:lnTo>
                <a:lnTo>
                  <a:pt x="233" y="309"/>
                </a:lnTo>
                <a:lnTo>
                  <a:pt x="241" y="315"/>
                </a:lnTo>
                <a:lnTo>
                  <a:pt x="252" y="320"/>
                </a:lnTo>
                <a:lnTo>
                  <a:pt x="262" y="324"/>
                </a:lnTo>
                <a:lnTo>
                  <a:pt x="271" y="330"/>
                </a:lnTo>
                <a:lnTo>
                  <a:pt x="277" y="338"/>
                </a:lnTo>
                <a:lnTo>
                  <a:pt x="279" y="347"/>
                </a:lnTo>
                <a:lnTo>
                  <a:pt x="279" y="347"/>
                </a:lnTo>
                <a:lnTo>
                  <a:pt x="279" y="355"/>
                </a:lnTo>
                <a:lnTo>
                  <a:pt x="279" y="362"/>
                </a:lnTo>
                <a:lnTo>
                  <a:pt x="279" y="370"/>
                </a:lnTo>
                <a:lnTo>
                  <a:pt x="277" y="378"/>
                </a:lnTo>
                <a:lnTo>
                  <a:pt x="275" y="385"/>
                </a:lnTo>
                <a:lnTo>
                  <a:pt x="273" y="393"/>
                </a:lnTo>
                <a:lnTo>
                  <a:pt x="271" y="402"/>
                </a:lnTo>
                <a:lnTo>
                  <a:pt x="269" y="410"/>
                </a:lnTo>
                <a:lnTo>
                  <a:pt x="267" y="420"/>
                </a:lnTo>
                <a:lnTo>
                  <a:pt x="266" y="427"/>
                </a:lnTo>
                <a:lnTo>
                  <a:pt x="264" y="435"/>
                </a:lnTo>
                <a:lnTo>
                  <a:pt x="262" y="442"/>
                </a:lnTo>
                <a:lnTo>
                  <a:pt x="260" y="448"/>
                </a:lnTo>
                <a:lnTo>
                  <a:pt x="256" y="454"/>
                </a:lnTo>
                <a:lnTo>
                  <a:pt x="256" y="460"/>
                </a:lnTo>
                <a:lnTo>
                  <a:pt x="254" y="465"/>
                </a:lnTo>
                <a:lnTo>
                  <a:pt x="254" y="465"/>
                </a:lnTo>
                <a:lnTo>
                  <a:pt x="252" y="469"/>
                </a:lnTo>
                <a:lnTo>
                  <a:pt x="252" y="473"/>
                </a:lnTo>
                <a:lnTo>
                  <a:pt x="252" y="477"/>
                </a:lnTo>
                <a:lnTo>
                  <a:pt x="250" y="481"/>
                </a:lnTo>
                <a:lnTo>
                  <a:pt x="248" y="483"/>
                </a:lnTo>
                <a:lnTo>
                  <a:pt x="246" y="486"/>
                </a:lnTo>
                <a:lnTo>
                  <a:pt x="243" y="488"/>
                </a:lnTo>
                <a:lnTo>
                  <a:pt x="239" y="488"/>
                </a:lnTo>
                <a:lnTo>
                  <a:pt x="239" y="488"/>
                </a:lnTo>
                <a:lnTo>
                  <a:pt x="239" y="488"/>
                </a:lnTo>
                <a:lnTo>
                  <a:pt x="237" y="486"/>
                </a:lnTo>
                <a:lnTo>
                  <a:pt x="233" y="483"/>
                </a:lnTo>
                <a:lnTo>
                  <a:pt x="231" y="479"/>
                </a:lnTo>
                <a:lnTo>
                  <a:pt x="229" y="475"/>
                </a:lnTo>
                <a:lnTo>
                  <a:pt x="225" y="473"/>
                </a:lnTo>
                <a:lnTo>
                  <a:pt x="225" y="469"/>
                </a:lnTo>
                <a:lnTo>
                  <a:pt x="224" y="467"/>
                </a:lnTo>
                <a:lnTo>
                  <a:pt x="224" y="467"/>
                </a:lnTo>
                <a:lnTo>
                  <a:pt x="218" y="469"/>
                </a:lnTo>
                <a:lnTo>
                  <a:pt x="214" y="471"/>
                </a:lnTo>
                <a:lnTo>
                  <a:pt x="210" y="473"/>
                </a:lnTo>
                <a:lnTo>
                  <a:pt x="206" y="477"/>
                </a:lnTo>
                <a:lnTo>
                  <a:pt x="203" y="479"/>
                </a:lnTo>
                <a:lnTo>
                  <a:pt x="199" y="481"/>
                </a:lnTo>
                <a:lnTo>
                  <a:pt x="193" y="483"/>
                </a:lnTo>
                <a:lnTo>
                  <a:pt x="185" y="483"/>
                </a:lnTo>
                <a:lnTo>
                  <a:pt x="185" y="483"/>
                </a:lnTo>
                <a:lnTo>
                  <a:pt x="176" y="483"/>
                </a:lnTo>
                <a:lnTo>
                  <a:pt x="168" y="477"/>
                </a:lnTo>
                <a:lnTo>
                  <a:pt x="163" y="471"/>
                </a:lnTo>
                <a:lnTo>
                  <a:pt x="159" y="463"/>
                </a:lnTo>
                <a:lnTo>
                  <a:pt x="153" y="458"/>
                </a:lnTo>
                <a:lnTo>
                  <a:pt x="149" y="450"/>
                </a:lnTo>
                <a:lnTo>
                  <a:pt x="143" y="446"/>
                </a:lnTo>
                <a:lnTo>
                  <a:pt x="138" y="444"/>
                </a:lnTo>
                <a:lnTo>
                  <a:pt x="138" y="444"/>
                </a:lnTo>
                <a:lnTo>
                  <a:pt x="132" y="444"/>
                </a:lnTo>
                <a:lnTo>
                  <a:pt x="126" y="448"/>
                </a:lnTo>
                <a:lnTo>
                  <a:pt x="122" y="452"/>
                </a:lnTo>
                <a:lnTo>
                  <a:pt x="119" y="456"/>
                </a:lnTo>
                <a:lnTo>
                  <a:pt x="117" y="462"/>
                </a:lnTo>
                <a:lnTo>
                  <a:pt x="113" y="467"/>
                </a:lnTo>
                <a:lnTo>
                  <a:pt x="109" y="473"/>
                </a:lnTo>
                <a:lnTo>
                  <a:pt x="105" y="477"/>
                </a:lnTo>
                <a:lnTo>
                  <a:pt x="105" y="477"/>
                </a:lnTo>
                <a:lnTo>
                  <a:pt x="98" y="483"/>
                </a:lnTo>
                <a:lnTo>
                  <a:pt x="90" y="484"/>
                </a:lnTo>
                <a:lnTo>
                  <a:pt x="80" y="483"/>
                </a:lnTo>
                <a:lnTo>
                  <a:pt x="71" y="481"/>
                </a:lnTo>
                <a:lnTo>
                  <a:pt x="61" y="481"/>
                </a:lnTo>
                <a:lnTo>
                  <a:pt x="54" y="484"/>
                </a:lnTo>
                <a:lnTo>
                  <a:pt x="48" y="494"/>
                </a:lnTo>
                <a:lnTo>
                  <a:pt x="46" y="513"/>
                </a:lnTo>
                <a:lnTo>
                  <a:pt x="46" y="513"/>
                </a:lnTo>
                <a:lnTo>
                  <a:pt x="46" y="515"/>
                </a:lnTo>
                <a:lnTo>
                  <a:pt x="46" y="519"/>
                </a:lnTo>
                <a:lnTo>
                  <a:pt x="46" y="523"/>
                </a:lnTo>
                <a:lnTo>
                  <a:pt x="46" y="524"/>
                </a:lnTo>
                <a:lnTo>
                  <a:pt x="46" y="528"/>
                </a:lnTo>
                <a:lnTo>
                  <a:pt x="46" y="532"/>
                </a:lnTo>
                <a:lnTo>
                  <a:pt x="46" y="538"/>
                </a:lnTo>
                <a:lnTo>
                  <a:pt x="46" y="542"/>
                </a:lnTo>
                <a:lnTo>
                  <a:pt x="46" y="542"/>
                </a:lnTo>
                <a:lnTo>
                  <a:pt x="48" y="545"/>
                </a:lnTo>
                <a:lnTo>
                  <a:pt x="50" y="549"/>
                </a:lnTo>
                <a:lnTo>
                  <a:pt x="54" y="553"/>
                </a:lnTo>
                <a:lnTo>
                  <a:pt x="58" y="557"/>
                </a:lnTo>
                <a:lnTo>
                  <a:pt x="61" y="561"/>
                </a:lnTo>
                <a:lnTo>
                  <a:pt x="65" y="563"/>
                </a:lnTo>
                <a:lnTo>
                  <a:pt x="69" y="565"/>
                </a:lnTo>
                <a:lnTo>
                  <a:pt x="73" y="566"/>
                </a:lnTo>
                <a:lnTo>
                  <a:pt x="73" y="566"/>
                </a:lnTo>
                <a:lnTo>
                  <a:pt x="71" y="568"/>
                </a:lnTo>
                <a:lnTo>
                  <a:pt x="71" y="570"/>
                </a:lnTo>
                <a:lnTo>
                  <a:pt x="69" y="572"/>
                </a:lnTo>
                <a:lnTo>
                  <a:pt x="67" y="576"/>
                </a:lnTo>
                <a:lnTo>
                  <a:pt x="65" y="578"/>
                </a:lnTo>
                <a:lnTo>
                  <a:pt x="65" y="582"/>
                </a:lnTo>
                <a:lnTo>
                  <a:pt x="63" y="586"/>
                </a:lnTo>
                <a:lnTo>
                  <a:pt x="61" y="589"/>
                </a:lnTo>
                <a:lnTo>
                  <a:pt x="61" y="589"/>
                </a:lnTo>
                <a:lnTo>
                  <a:pt x="61" y="589"/>
                </a:lnTo>
                <a:lnTo>
                  <a:pt x="59" y="587"/>
                </a:lnTo>
                <a:lnTo>
                  <a:pt x="56" y="584"/>
                </a:lnTo>
                <a:lnTo>
                  <a:pt x="54" y="582"/>
                </a:lnTo>
                <a:lnTo>
                  <a:pt x="50" y="578"/>
                </a:lnTo>
                <a:lnTo>
                  <a:pt x="46" y="576"/>
                </a:lnTo>
                <a:lnTo>
                  <a:pt x="44" y="574"/>
                </a:lnTo>
                <a:lnTo>
                  <a:pt x="40" y="574"/>
                </a:lnTo>
                <a:lnTo>
                  <a:pt x="40" y="574"/>
                </a:lnTo>
                <a:lnTo>
                  <a:pt x="35" y="576"/>
                </a:lnTo>
                <a:lnTo>
                  <a:pt x="29" y="578"/>
                </a:lnTo>
                <a:lnTo>
                  <a:pt x="25" y="582"/>
                </a:lnTo>
                <a:lnTo>
                  <a:pt x="21" y="586"/>
                </a:lnTo>
                <a:lnTo>
                  <a:pt x="16" y="591"/>
                </a:lnTo>
                <a:lnTo>
                  <a:pt x="12" y="595"/>
                </a:lnTo>
                <a:lnTo>
                  <a:pt x="6" y="597"/>
                </a:lnTo>
                <a:lnTo>
                  <a:pt x="0" y="597"/>
                </a:lnTo>
                <a:lnTo>
                  <a:pt x="0" y="597"/>
                </a:lnTo>
                <a:lnTo>
                  <a:pt x="2" y="607"/>
                </a:lnTo>
                <a:lnTo>
                  <a:pt x="6" y="612"/>
                </a:lnTo>
                <a:lnTo>
                  <a:pt x="12" y="620"/>
                </a:lnTo>
                <a:lnTo>
                  <a:pt x="16" y="626"/>
                </a:lnTo>
                <a:lnTo>
                  <a:pt x="21" y="633"/>
                </a:lnTo>
                <a:lnTo>
                  <a:pt x="27" y="639"/>
                </a:lnTo>
                <a:lnTo>
                  <a:pt x="35" y="645"/>
                </a:lnTo>
                <a:lnTo>
                  <a:pt x="40" y="650"/>
                </a:lnTo>
                <a:lnTo>
                  <a:pt x="46" y="656"/>
                </a:lnTo>
                <a:lnTo>
                  <a:pt x="54" y="662"/>
                </a:lnTo>
                <a:lnTo>
                  <a:pt x="59" y="669"/>
                </a:lnTo>
                <a:lnTo>
                  <a:pt x="67" y="675"/>
                </a:lnTo>
                <a:lnTo>
                  <a:pt x="73" y="681"/>
                </a:lnTo>
                <a:lnTo>
                  <a:pt x="79" y="689"/>
                </a:lnTo>
                <a:lnTo>
                  <a:pt x="84" y="694"/>
                </a:lnTo>
                <a:lnTo>
                  <a:pt x="88" y="702"/>
                </a:lnTo>
                <a:lnTo>
                  <a:pt x="88" y="702"/>
                </a:lnTo>
                <a:lnTo>
                  <a:pt x="92" y="696"/>
                </a:lnTo>
                <a:lnTo>
                  <a:pt x="98" y="690"/>
                </a:lnTo>
                <a:lnTo>
                  <a:pt x="105" y="685"/>
                </a:lnTo>
                <a:lnTo>
                  <a:pt x="113" y="677"/>
                </a:lnTo>
                <a:lnTo>
                  <a:pt x="122" y="671"/>
                </a:lnTo>
                <a:lnTo>
                  <a:pt x="130" y="666"/>
                </a:lnTo>
                <a:lnTo>
                  <a:pt x="136" y="662"/>
                </a:lnTo>
                <a:lnTo>
                  <a:pt x="142" y="660"/>
                </a:lnTo>
                <a:lnTo>
                  <a:pt x="142" y="660"/>
                </a:lnTo>
                <a:lnTo>
                  <a:pt x="143" y="660"/>
                </a:lnTo>
                <a:lnTo>
                  <a:pt x="145" y="662"/>
                </a:lnTo>
                <a:lnTo>
                  <a:pt x="149" y="662"/>
                </a:lnTo>
                <a:lnTo>
                  <a:pt x="153" y="664"/>
                </a:lnTo>
                <a:lnTo>
                  <a:pt x="155" y="666"/>
                </a:lnTo>
                <a:lnTo>
                  <a:pt x="159" y="668"/>
                </a:lnTo>
                <a:lnTo>
                  <a:pt x="161" y="668"/>
                </a:lnTo>
                <a:lnTo>
                  <a:pt x="161" y="669"/>
                </a:lnTo>
                <a:lnTo>
                  <a:pt x="161" y="669"/>
                </a:lnTo>
                <a:lnTo>
                  <a:pt x="164" y="671"/>
                </a:lnTo>
                <a:lnTo>
                  <a:pt x="168" y="673"/>
                </a:lnTo>
                <a:lnTo>
                  <a:pt x="172" y="675"/>
                </a:lnTo>
                <a:lnTo>
                  <a:pt x="176" y="677"/>
                </a:lnTo>
                <a:lnTo>
                  <a:pt x="180" y="679"/>
                </a:lnTo>
                <a:lnTo>
                  <a:pt x="183" y="679"/>
                </a:lnTo>
                <a:lnTo>
                  <a:pt x="187" y="681"/>
                </a:lnTo>
                <a:lnTo>
                  <a:pt x="191" y="681"/>
                </a:lnTo>
                <a:lnTo>
                  <a:pt x="191" y="681"/>
                </a:lnTo>
                <a:lnTo>
                  <a:pt x="199" y="679"/>
                </a:lnTo>
                <a:lnTo>
                  <a:pt x="206" y="677"/>
                </a:lnTo>
                <a:lnTo>
                  <a:pt x="214" y="671"/>
                </a:lnTo>
                <a:lnTo>
                  <a:pt x="222" y="668"/>
                </a:lnTo>
                <a:lnTo>
                  <a:pt x="231" y="662"/>
                </a:lnTo>
                <a:lnTo>
                  <a:pt x="239" y="656"/>
                </a:lnTo>
                <a:lnTo>
                  <a:pt x="245" y="652"/>
                </a:lnTo>
                <a:lnTo>
                  <a:pt x="250" y="648"/>
                </a:lnTo>
                <a:lnTo>
                  <a:pt x="273" y="648"/>
                </a:lnTo>
                <a:lnTo>
                  <a:pt x="273" y="648"/>
                </a:lnTo>
                <a:lnTo>
                  <a:pt x="271" y="650"/>
                </a:lnTo>
                <a:lnTo>
                  <a:pt x="269" y="654"/>
                </a:lnTo>
                <a:lnTo>
                  <a:pt x="267" y="656"/>
                </a:lnTo>
                <a:lnTo>
                  <a:pt x="266" y="660"/>
                </a:lnTo>
                <a:lnTo>
                  <a:pt x="264" y="662"/>
                </a:lnTo>
                <a:lnTo>
                  <a:pt x="264" y="666"/>
                </a:lnTo>
                <a:lnTo>
                  <a:pt x="262" y="669"/>
                </a:lnTo>
                <a:lnTo>
                  <a:pt x="262" y="671"/>
                </a:lnTo>
                <a:lnTo>
                  <a:pt x="262" y="671"/>
                </a:lnTo>
                <a:lnTo>
                  <a:pt x="264" y="679"/>
                </a:lnTo>
                <a:lnTo>
                  <a:pt x="264" y="683"/>
                </a:lnTo>
                <a:lnTo>
                  <a:pt x="267" y="689"/>
                </a:lnTo>
                <a:lnTo>
                  <a:pt x="271" y="690"/>
                </a:lnTo>
                <a:lnTo>
                  <a:pt x="275" y="692"/>
                </a:lnTo>
                <a:lnTo>
                  <a:pt x="281" y="694"/>
                </a:lnTo>
                <a:lnTo>
                  <a:pt x="286" y="696"/>
                </a:lnTo>
                <a:lnTo>
                  <a:pt x="290" y="696"/>
                </a:lnTo>
                <a:lnTo>
                  <a:pt x="290" y="696"/>
                </a:lnTo>
                <a:lnTo>
                  <a:pt x="300" y="694"/>
                </a:lnTo>
                <a:lnTo>
                  <a:pt x="309" y="690"/>
                </a:lnTo>
                <a:lnTo>
                  <a:pt x="321" y="687"/>
                </a:lnTo>
                <a:lnTo>
                  <a:pt x="330" y="681"/>
                </a:lnTo>
                <a:lnTo>
                  <a:pt x="338" y="673"/>
                </a:lnTo>
                <a:lnTo>
                  <a:pt x="346" y="666"/>
                </a:lnTo>
                <a:lnTo>
                  <a:pt x="349" y="658"/>
                </a:lnTo>
                <a:lnTo>
                  <a:pt x="349" y="650"/>
                </a:lnTo>
                <a:lnTo>
                  <a:pt x="349" y="650"/>
                </a:lnTo>
                <a:lnTo>
                  <a:pt x="351" y="643"/>
                </a:lnTo>
                <a:lnTo>
                  <a:pt x="355" y="637"/>
                </a:lnTo>
                <a:lnTo>
                  <a:pt x="363" y="631"/>
                </a:lnTo>
                <a:lnTo>
                  <a:pt x="372" y="628"/>
                </a:lnTo>
                <a:lnTo>
                  <a:pt x="382" y="624"/>
                </a:lnTo>
                <a:lnTo>
                  <a:pt x="391" y="620"/>
                </a:lnTo>
                <a:lnTo>
                  <a:pt x="399" y="616"/>
                </a:lnTo>
                <a:lnTo>
                  <a:pt x="407" y="610"/>
                </a:lnTo>
                <a:lnTo>
                  <a:pt x="407" y="610"/>
                </a:lnTo>
                <a:lnTo>
                  <a:pt x="410" y="607"/>
                </a:lnTo>
                <a:lnTo>
                  <a:pt x="412" y="601"/>
                </a:lnTo>
                <a:lnTo>
                  <a:pt x="414" y="595"/>
                </a:lnTo>
                <a:lnTo>
                  <a:pt x="418" y="589"/>
                </a:lnTo>
                <a:lnTo>
                  <a:pt x="420" y="582"/>
                </a:lnTo>
                <a:lnTo>
                  <a:pt x="422" y="576"/>
                </a:lnTo>
                <a:lnTo>
                  <a:pt x="422" y="566"/>
                </a:lnTo>
                <a:lnTo>
                  <a:pt x="424" y="559"/>
                </a:lnTo>
                <a:lnTo>
                  <a:pt x="424" y="551"/>
                </a:lnTo>
                <a:lnTo>
                  <a:pt x="426" y="544"/>
                </a:lnTo>
                <a:lnTo>
                  <a:pt x="426" y="534"/>
                </a:lnTo>
                <a:lnTo>
                  <a:pt x="426" y="526"/>
                </a:lnTo>
                <a:lnTo>
                  <a:pt x="428" y="519"/>
                </a:lnTo>
                <a:lnTo>
                  <a:pt x="428" y="511"/>
                </a:lnTo>
                <a:lnTo>
                  <a:pt x="428" y="504"/>
                </a:lnTo>
                <a:lnTo>
                  <a:pt x="428" y="498"/>
                </a:lnTo>
                <a:lnTo>
                  <a:pt x="428" y="498"/>
                </a:lnTo>
                <a:lnTo>
                  <a:pt x="428" y="486"/>
                </a:lnTo>
                <a:lnTo>
                  <a:pt x="430" y="477"/>
                </a:lnTo>
                <a:lnTo>
                  <a:pt x="433" y="467"/>
                </a:lnTo>
                <a:lnTo>
                  <a:pt x="437" y="458"/>
                </a:lnTo>
                <a:lnTo>
                  <a:pt x="443" y="448"/>
                </a:lnTo>
                <a:lnTo>
                  <a:pt x="449" y="441"/>
                </a:lnTo>
                <a:lnTo>
                  <a:pt x="454" y="431"/>
                </a:lnTo>
                <a:lnTo>
                  <a:pt x="462" y="423"/>
                </a:lnTo>
                <a:lnTo>
                  <a:pt x="470" y="416"/>
                </a:lnTo>
                <a:lnTo>
                  <a:pt x="477" y="408"/>
                </a:lnTo>
                <a:lnTo>
                  <a:pt x="483" y="400"/>
                </a:lnTo>
                <a:lnTo>
                  <a:pt x="491" y="393"/>
                </a:lnTo>
                <a:lnTo>
                  <a:pt x="498" y="387"/>
                </a:lnTo>
                <a:lnTo>
                  <a:pt x="504" y="380"/>
                </a:lnTo>
                <a:lnTo>
                  <a:pt x="510" y="374"/>
                </a:lnTo>
                <a:lnTo>
                  <a:pt x="515" y="368"/>
                </a:lnTo>
                <a:lnTo>
                  <a:pt x="515" y="368"/>
                </a:lnTo>
                <a:lnTo>
                  <a:pt x="519" y="362"/>
                </a:lnTo>
                <a:lnTo>
                  <a:pt x="523" y="357"/>
                </a:lnTo>
                <a:lnTo>
                  <a:pt x="525" y="351"/>
                </a:lnTo>
                <a:lnTo>
                  <a:pt x="529" y="345"/>
                </a:lnTo>
                <a:lnTo>
                  <a:pt x="533" y="339"/>
                </a:lnTo>
                <a:lnTo>
                  <a:pt x="534" y="334"/>
                </a:lnTo>
                <a:lnTo>
                  <a:pt x="538" y="326"/>
                </a:lnTo>
                <a:lnTo>
                  <a:pt x="540" y="320"/>
                </a:lnTo>
                <a:lnTo>
                  <a:pt x="542" y="315"/>
                </a:lnTo>
                <a:lnTo>
                  <a:pt x="546" y="307"/>
                </a:lnTo>
                <a:lnTo>
                  <a:pt x="548" y="301"/>
                </a:lnTo>
                <a:lnTo>
                  <a:pt x="550" y="296"/>
                </a:lnTo>
                <a:lnTo>
                  <a:pt x="554" y="288"/>
                </a:lnTo>
                <a:lnTo>
                  <a:pt x="555" y="282"/>
                </a:lnTo>
                <a:lnTo>
                  <a:pt x="557" y="276"/>
                </a:lnTo>
                <a:lnTo>
                  <a:pt x="561" y="271"/>
                </a:lnTo>
                <a:lnTo>
                  <a:pt x="561" y="208"/>
                </a:lnTo>
                <a:lnTo>
                  <a:pt x="561" y="208"/>
                </a:lnTo>
                <a:lnTo>
                  <a:pt x="561" y="202"/>
                </a:lnTo>
                <a:lnTo>
                  <a:pt x="563" y="196"/>
                </a:lnTo>
                <a:lnTo>
                  <a:pt x="565" y="193"/>
                </a:lnTo>
                <a:lnTo>
                  <a:pt x="567" y="187"/>
                </a:lnTo>
                <a:lnTo>
                  <a:pt x="567" y="183"/>
                </a:lnTo>
                <a:lnTo>
                  <a:pt x="567" y="177"/>
                </a:lnTo>
                <a:lnTo>
                  <a:pt x="569" y="173"/>
                </a:lnTo>
                <a:lnTo>
                  <a:pt x="569" y="170"/>
                </a:lnTo>
                <a:lnTo>
                  <a:pt x="571" y="164"/>
                </a:lnTo>
                <a:lnTo>
                  <a:pt x="571" y="160"/>
                </a:lnTo>
                <a:lnTo>
                  <a:pt x="571" y="156"/>
                </a:lnTo>
                <a:lnTo>
                  <a:pt x="573" y="152"/>
                </a:lnTo>
                <a:lnTo>
                  <a:pt x="575" y="147"/>
                </a:lnTo>
                <a:lnTo>
                  <a:pt x="575" y="143"/>
                </a:lnTo>
                <a:lnTo>
                  <a:pt x="576" y="137"/>
                </a:lnTo>
                <a:lnTo>
                  <a:pt x="578" y="131"/>
                </a:lnTo>
                <a:lnTo>
                  <a:pt x="575" y="131"/>
                </a:lnTo>
                <a:lnTo>
                  <a:pt x="575" y="131"/>
                </a:lnTo>
                <a:lnTo>
                  <a:pt x="580" y="120"/>
                </a:lnTo>
                <a:lnTo>
                  <a:pt x="584" y="112"/>
                </a:lnTo>
                <a:lnTo>
                  <a:pt x="590" y="105"/>
                </a:lnTo>
                <a:lnTo>
                  <a:pt x="596" y="99"/>
                </a:lnTo>
                <a:lnTo>
                  <a:pt x="601" y="91"/>
                </a:lnTo>
                <a:lnTo>
                  <a:pt x="607" y="84"/>
                </a:lnTo>
                <a:lnTo>
                  <a:pt x="611" y="76"/>
                </a:lnTo>
                <a:lnTo>
                  <a:pt x="616" y="67"/>
                </a:lnTo>
                <a:lnTo>
                  <a:pt x="616" y="67"/>
                </a:lnTo>
                <a:lnTo>
                  <a:pt x="618" y="59"/>
                </a:lnTo>
                <a:lnTo>
                  <a:pt x="618" y="51"/>
                </a:lnTo>
                <a:lnTo>
                  <a:pt x="620" y="44"/>
                </a:lnTo>
                <a:lnTo>
                  <a:pt x="620" y="36"/>
                </a:lnTo>
                <a:lnTo>
                  <a:pt x="620" y="28"/>
                </a:lnTo>
                <a:lnTo>
                  <a:pt x="618" y="21"/>
                </a:lnTo>
                <a:lnTo>
                  <a:pt x="618" y="15"/>
                </a:lnTo>
                <a:lnTo>
                  <a:pt x="616" y="7"/>
                </a:lnTo>
                <a:lnTo>
                  <a:pt x="561" y="7"/>
                </a:lnTo>
                <a:lnTo>
                  <a:pt x="561" y="7"/>
                </a:lnTo>
                <a:lnTo>
                  <a:pt x="554" y="6"/>
                </a:lnTo>
                <a:lnTo>
                  <a:pt x="548" y="4"/>
                </a:lnTo>
                <a:lnTo>
                  <a:pt x="542" y="2"/>
                </a:lnTo>
                <a:lnTo>
                  <a:pt x="536" y="0"/>
                </a:lnTo>
                <a:lnTo>
                  <a:pt x="531" y="0"/>
                </a:lnTo>
                <a:lnTo>
                  <a:pt x="523" y="0"/>
                </a:lnTo>
                <a:lnTo>
                  <a:pt x="517" y="0"/>
                </a:lnTo>
                <a:lnTo>
                  <a:pt x="510" y="0"/>
                </a:lnTo>
                <a:lnTo>
                  <a:pt x="510" y="0"/>
                </a:lnTo>
                <a:lnTo>
                  <a:pt x="496" y="0"/>
                </a:lnTo>
                <a:lnTo>
                  <a:pt x="487" y="2"/>
                </a:lnTo>
                <a:lnTo>
                  <a:pt x="475" y="4"/>
                </a:lnTo>
                <a:lnTo>
                  <a:pt x="468" y="7"/>
                </a:lnTo>
                <a:lnTo>
                  <a:pt x="460" y="11"/>
                </a:lnTo>
                <a:lnTo>
                  <a:pt x="454" y="17"/>
                </a:lnTo>
                <a:lnTo>
                  <a:pt x="449" y="23"/>
                </a:lnTo>
                <a:lnTo>
                  <a:pt x="445" y="30"/>
                </a:lnTo>
                <a:lnTo>
                  <a:pt x="441" y="38"/>
                </a:lnTo>
                <a:lnTo>
                  <a:pt x="437" y="46"/>
                </a:lnTo>
                <a:lnTo>
                  <a:pt x="433" y="53"/>
                </a:lnTo>
                <a:lnTo>
                  <a:pt x="431" y="61"/>
                </a:lnTo>
                <a:lnTo>
                  <a:pt x="428" y="70"/>
                </a:lnTo>
                <a:lnTo>
                  <a:pt x="426" y="80"/>
                </a:lnTo>
                <a:lnTo>
                  <a:pt x="422" y="88"/>
                </a:lnTo>
                <a:lnTo>
                  <a:pt x="418" y="97"/>
                </a:lnTo>
                <a:lnTo>
                  <a:pt x="418" y="9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53" name="Freeform 25"/>
          <p:cNvSpPr>
            <a:spLocks/>
          </p:cNvSpPr>
          <p:nvPr>
            <p:custDataLst>
              <p:tags r:id="rId25"/>
            </p:custDataLst>
          </p:nvPr>
        </p:nvSpPr>
        <p:spPr bwMode="gray">
          <a:xfrm>
            <a:off x="3453502" y="4073659"/>
            <a:ext cx="66414" cy="90706"/>
          </a:xfrm>
          <a:custGeom>
            <a:avLst/>
            <a:gdLst/>
            <a:ahLst/>
            <a:cxnLst>
              <a:cxn ang="0">
                <a:pos x="21" y="97"/>
              </a:cxn>
              <a:cxn ang="0">
                <a:pos x="29" y="95"/>
              </a:cxn>
              <a:cxn ang="0">
                <a:pos x="33" y="90"/>
              </a:cxn>
              <a:cxn ang="0">
                <a:pos x="36" y="84"/>
              </a:cxn>
              <a:cxn ang="0">
                <a:pos x="36" y="74"/>
              </a:cxn>
              <a:cxn ang="0">
                <a:pos x="36" y="65"/>
              </a:cxn>
              <a:cxn ang="0">
                <a:pos x="36" y="55"/>
              </a:cxn>
              <a:cxn ang="0">
                <a:pos x="36" y="46"/>
              </a:cxn>
              <a:cxn ang="0">
                <a:pos x="38" y="38"/>
              </a:cxn>
              <a:cxn ang="0">
                <a:pos x="42" y="32"/>
              </a:cxn>
              <a:cxn ang="0">
                <a:pos x="46" y="29"/>
              </a:cxn>
              <a:cxn ang="0">
                <a:pos x="50" y="25"/>
              </a:cxn>
              <a:cxn ang="0">
                <a:pos x="55" y="23"/>
              </a:cxn>
              <a:cxn ang="0">
                <a:pos x="59" y="19"/>
              </a:cxn>
              <a:cxn ang="0">
                <a:pos x="65" y="17"/>
              </a:cxn>
              <a:cxn ang="0">
                <a:pos x="69" y="13"/>
              </a:cxn>
              <a:cxn ang="0">
                <a:pos x="73" y="9"/>
              </a:cxn>
              <a:cxn ang="0">
                <a:pos x="73" y="8"/>
              </a:cxn>
              <a:cxn ang="0">
                <a:pos x="71" y="8"/>
              </a:cxn>
              <a:cxn ang="0">
                <a:pos x="67" y="6"/>
              </a:cxn>
              <a:cxn ang="0">
                <a:pos x="65" y="4"/>
              </a:cxn>
              <a:cxn ang="0">
                <a:pos x="61" y="2"/>
              </a:cxn>
              <a:cxn ang="0">
                <a:pos x="57" y="2"/>
              </a:cxn>
              <a:cxn ang="0">
                <a:pos x="55" y="0"/>
              </a:cxn>
              <a:cxn ang="0">
                <a:pos x="54" y="0"/>
              </a:cxn>
              <a:cxn ang="0">
                <a:pos x="48" y="2"/>
              </a:cxn>
              <a:cxn ang="0">
                <a:pos x="42" y="6"/>
              </a:cxn>
              <a:cxn ang="0">
                <a:pos x="34" y="11"/>
              </a:cxn>
              <a:cxn ang="0">
                <a:pos x="25" y="17"/>
              </a:cxn>
              <a:cxn ang="0">
                <a:pos x="17" y="25"/>
              </a:cxn>
              <a:cxn ang="0">
                <a:pos x="10" y="30"/>
              </a:cxn>
              <a:cxn ang="0">
                <a:pos x="4" y="36"/>
              </a:cxn>
              <a:cxn ang="0">
                <a:pos x="0" y="42"/>
              </a:cxn>
              <a:cxn ang="0">
                <a:pos x="2" y="42"/>
              </a:cxn>
              <a:cxn ang="0">
                <a:pos x="4" y="50"/>
              </a:cxn>
              <a:cxn ang="0">
                <a:pos x="6" y="55"/>
              </a:cxn>
              <a:cxn ang="0">
                <a:pos x="8" y="63"/>
              </a:cxn>
              <a:cxn ang="0">
                <a:pos x="10" y="69"/>
              </a:cxn>
              <a:cxn ang="0">
                <a:pos x="13" y="76"/>
              </a:cxn>
              <a:cxn ang="0">
                <a:pos x="15" y="82"/>
              </a:cxn>
              <a:cxn ang="0">
                <a:pos x="19" y="92"/>
              </a:cxn>
              <a:cxn ang="0">
                <a:pos x="21" y="101"/>
              </a:cxn>
              <a:cxn ang="0">
                <a:pos x="21" y="97"/>
              </a:cxn>
            </a:cxnLst>
            <a:rect l="0" t="0" r="r" b="b"/>
            <a:pathLst>
              <a:path w="73" h="101">
                <a:moveTo>
                  <a:pt x="21" y="97"/>
                </a:moveTo>
                <a:lnTo>
                  <a:pt x="29" y="95"/>
                </a:lnTo>
                <a:lnTo>
                  <a:pt x="33" y="90"/>
                </a:lnTo>
                <a:lnTo>
                  <a:pt x="36" y="84"/>
                </a:lnTo>
                <a:lnTo>
                  <a:pt x="36" y="74"/>
                </a:lnTo>
                <a:lnTo>
                  <a:pt x="36" y="65"/>
                </a:lnTo>
                <a:lnTo>
                  <a:pt x="36" y="55"/>
                </a:lnTo>
                <a:lnTo>
                  <a:pt x="36" y="46"/>
                </a:lnTo>
                <a:lnTo>
                  <a:pt x="38" y="38"/>
                </a:lnTo>
                <a:lnTo>
                  <a:pt x="42" y="32"/>
                </a:lnTo>
                <a:lnTo>
                  <a:pt x="46" y="29"/>
                </a:lnTo>
                <a:lnTo>
                  <a:pt x="50" y="25"/>
                </a:lnTo>
                <a:lnTo>
                  <a:pt x="55" y="23"/>
                </a:lnTo>
                <a:lnTo>
                  <a:pt x="59" y="19"/>
                </a:lnTo>
                <a:lnTo>
                  <a:pt x="65" y="17"/>
                </a:lnTo>
                <a:lnTo>
                  <a:pt x="69" y="13"/>
                </a:lnTo>
                <a:lnTo>
                  <a:pt x="73" y="9"/>
                </a:lnTo>
                <a:lnTo>
                  <a:pt x="73" y="8"/>
                </a:lnTo>
                <a:lnTo>
                  <a:pt x="71" y="8"/>
                </a:lnTo>
                <a:lnTo>
                  <a:pt x="67" y="6"/>
                </a:lnTo>
                <a:lnTo>
                  <a:pt x="65" y="4"/>
                </a:lnTo>
                <a:lnTo>
                  <a:pt x="61" y="2"/>
                </a:lnTo>
                <a:lnTo>
                  <a:pt x="57" y="2"/>
                </a:lnTo>
                <a:lnTo>
                  <a:pt x="55" y="0"/>
                </a:lnTo>
                <a:lnTo>
                  <a:pt x="54" y="0"/>
                </a:lnTo>
                <a:lnTo>
                  <a:pt x="48" y="2"/>
                </a:lnTo>
                <a:lnTo>
                  <a:pt x="42" y="6"/>
                </a:lnTo>
                <a:lnTo>
                  <a:pt x="34" y="11"/>
                </a:lnTo>
                <a:lnTo>
                  <a:pt x="25" y="17"/>
                </a:lnTo>
                <a:lnTo>
                  <a:pt x="17" y="25"/>
                </a:lnTo>
                <a:lnTo>
                  <a:pt x="10" y="30"/>
                </a:lnTo>
                <a:lnTo>
                  <a:pt x="4" y="36"/>
                </a:lnTo>
                <a:lnTo>
                  <a:pt x="0" y="42"/>
                </a:lnTo>
                <a:lnTo>
                  <a:pt x="2" y="42"/>
                </a:lnTo>
                <a:lnTo>
                  <a:pt x="4" y="50"/>
                </a:lnTo>
                <a:lnTo>
                  <a:pt x="6" y="55"/>
                </a:lnTo>
                <a:lnTo>
                  <a:pt x="8" y="63"/>
                </a:lnTo>
                <a:lnTo>
                  <a:pt x="10" y="69"/>
                </a:lnTo>
                <a:lnTo>
                  <a:pt x="13" y="76"/>
                </a:lnTo>
                <a:lnTo>
                  <a:pt x="15" y="82"/>
                </a:lnTo>
                <a:lnTo>
                  <a:pt x="19" y="92"/>
                </a:lnTo>
                <a:lnTo>
                  <a:pt x="21" y="101"/>
                </a:lnTo>
                <a:lnTo>
                  <a:pt x="21" y="97"/>
                </a:lnTo>
                <a:close/>
              </a:path>
            </a:pathLst>
          </a:custGeom>
          <a:solidFill>
            <a:srgbClr val="F8F8F8"/>
          </a:solidFill>
          <a:ln w="9525" cmpd="sng">
            <a:solidFill>
              <a:schemeClr val="tx1"/>
            </a:solidFill>
            <a:round/>
            <a:headEnd/>
            <a:tailEnd/>
          </a:ln>
        </p:spPr>
        <p:txBody>
          <a:bodyPr lIns="93222" tIns="46612" rIns="93222" bIns="46612"/>
          <a:lstStyle/>
          <a:p>
            <a:endParaRPr lang="en-US" dirty="0">
              <a:solidFill>
                <a:srgbClr val="000000"/>
              </a:solidFill>
              <a:latin typeface="Arial" charset="0"/>
            </a:endParaRPr>
          </a:p>
        </p:txBody>
      </p:sp>
      <p:sp>
        <p:nvSpPr>
          <p:cNvPr id="636954" name="Freeform 26"/>
          <p:cNvSpPr>
            <a:spLocks/>
          </p:cNvSpPr>
          <p:nvPr>
            <p:custDataLst>
              <p:tags r:id="rId26"/>
            </p:custDataLst>
          </p:nvPr>
        </p:nvSpPr>
        <p:spPr bwMode="gray">
          <a:xfrm>
            <a:off x="3453502" y="4073659"/>
            <a:ext cx="66414" cy="90706"/>
          </a:xfrm>
          <a:custGeom>
            <a:avLst/>
            <a:gdLst/>
            <a:ahLst/>
            <a:cxnLst>
              <a:cxn ang="0">
                <a:pos x="21" y="97"/>
              </a:cxn>
              <a:cxn ang="0">
                <a:pos x="21" y="97"/>
              </a:cxn>
              <a:cxn ang="0">
                <a:pos x="29" y="95"/>
              </a:cxn>
              <a:cxn ang="0">
                <a:pos x="33" y="90"/>
              </a:cxn>
              <a:cxn ang="0">
                <a:pos x="36" y="84"/>
              </a:cxn>
              <a:cxn ang="0">
                <a:pos x="36" y="74"/>
              </a:cxn>
              <a:cxn ang="0">
                <a:pos x="36" y="65"/>
              </a:cxn>
              <a:cxn ang="0">
                <a:pos x="36" y="55"/>
              </a:cxn>
              <a:cxn ang="0">
                <a:pos x="36" y="46"/>
              </a:cxn>
              <a:cxn ang="0">
                <a:pos x="38" y="38"/>
              </a:cxn>
              <a:cxn ang="0">
                <a:pos x="38" y="38"/>
              </a:cxn>
              <a:cxn ang="0">
                <a:pos x="42" y="32"/>
              </a:cxn>
              <a:cxn ang="0">
                <a:pos x="46" y="29"/>
              </a:cxn>
              <a:cxn ang="0">
                <a:pos x="50" y="25"/>
              </a:cxn>
              <a:cxn ang="0">
                <a:pos x="55" y="23"/>
              </a:cxn>
              <a:cxn ang="0">
                <a:pos x="59" y="19"/>
              </a:cxn>
              <a:cxn ang="0">
                <a:pos x="65" y="17"/>
              </a:cxn>
              <a:cxn ang="0">
                <a:pos x="69" y="13"/>
              </a:cxn>
              <a:cxn ang="0">
                <a:pos x="73" y="9"/>
              </a:cxn>
              <a:cxn ang="0">
                <a:pos x="73" y="9"/>
              </a:cxn>
              <a:cxn ang="0">
                <a:pos x="73" y="8"/>
              </a:cxn>
              <a:cxn ang="0">
                <a:pos x="71" y="8"/>
              </a:cxn>
              <a:cxn ang="0">
                <a:pos x="67" y="6"/>
              </a:cxn>
              <a:cxn ang="0">
                <a:pos x="65" y="4"/>
              </a:cxn>
              <a:cxn ang="0">
                <a:pos x="61" y="2"/>
              </a:cxn>
              <a:cxn ang="0">
                <a:pos x="57" y="2"/>
              </a:cxn>
              <a:cxn ang="0">
                <a:pos x="55" y="0"/>
              </a:cxn>
              <a:cxn ang="0">
                <a:pos x="54" y="0"/>
              </a:cxn>
              <a:cxn ang="0">
                <a:pos x="54" y="0"/>
              </a:cxn>
              <a:cxn ang="0">
                <a:pos x="48" y="2"/>
              </a:cxn>
              <a:cxn ang="0">
                <a:pos x="42" y="6"/>
              </a:cxn>
              <a:cxn ang="0">
                <a:pos x="34" y="11"/>
              </a:cxn>
              <a:cxn ang="0">
                <a:pos x="25" y="17"/>
              </a:cxn>
              <a:cxn ang="0">
                <a:pos x="17" y="25"/>
              </a:cxn>
              <a:cxn ang="0">
                <a:pos x="10" y="30"/>
              </a:cxn>
              <a:cxn ang="0">
                <a:pos x="4" y="36"/>
              </a:cxn>
              <a:cxn ang="0">
                <a:pos x="0" y="42"/>
              </a:cxn>
              <a:cxn ang="0">
                <a:pos x="2" y="42"/>
              </a:cxn>
              <a:cxn ang="0">
                <a:pos x="2" y="42"/>
              </a:cxn>
              <a:cxn ang="0">
                <a:pos x="4" y="50"/>
              </a:cxn>
              <a:cxn ang="0">
                <a:pos x="6" y="55"/>
              </a:cxn>
              <a:cxn ang="0">
                <a:pos x="8" y="63"/>
              </a:cxn>
              <a:cxn ang="0">
                <a:pos x="10" y="69"/>
              </a:cxn>
              <a:cxn ang="0">
                <a:pos x="13" y="76"/>
              </a:cxn>
              <a:cxn ang="0">
                <a:pos x="15" y="82"/>
              </a:cxn>
              <a:cxn ang="0">
                <a:pos x="19" y="92"/>
              </a:cxn>
              <a:cxn ang="0">
                <a:pos x="21" y="101"/>
              </a:cxn>
              <a:cxn ang="0">
                <a:pos x="21" y="97"/>
              </a:cxn>
            </a:cxnLst>
            <a:rect l="0" t="0" r="r" b="b"/>
            <a:pathLst>
              <a:path w="73" h="101">
                <a:moveTo>
                  <a:pt x="21" y="97"/>
                </a:moveTo>
                <a:lnTo>
                  <a:pt x="21" y="97"/>
                </a:lnTo>
                <a:lnTo>
                  <a:pt x="29" y="95"/>
                </a:lnTo>
                <a:lnTo>
                  <a:pt x="33" y="90"/>
                </a:lnTo>
                <a:lnTo>
                  <a:pt x="36" y="84"/>
                </a:lnTo>
                <a:lnTo>
                  <a:pt x="36" y="74"/>
                </a:lnTo>
                <a:lnTo>
                  <a:pt x="36" y="65"/>
                </a:lnTo>
                <a:lnTo>
                  <a:pt x="36" y="55"/>
                </a:lnTo>
                <a:lnTo>
                  <a:pt x="36" y="46"/>
                </a:lnTo>
                <a:lnTo>
                  <a:pt x="38" y="38"/>
                </a:lnTo>
                <a:lnTo>
                  <a:pt x="38" y="38"/>
                </a:lnTo>
                <a:lnTo>
                  <a:pt x="42" y="32"/>
                </a:lnTo>
                <a:lnTo>
                  <a:pt x="46" y="29"/>
                </a:lnTo>
                <a:lnTo>
                  <a:pt x="50" y="25"/>
                </a:lnTo>
                <a:lnTo>
                  <a:pt x="55" y="23"/>
                </a:lnTo>
                <a:lnTo>
                  <a:pt x="59" y="19"/>
                </a:lnTo>
                <a:lnTo>
                  <a:pt x="65" y="17"/>
                </a:lnTo>
                <a:lnTo>
                  <a:pt x="69" y="13"/>
                </a:lnTo>
                <a:lnTo>
                  <a:pt x="73" y="9"/>
                </a:lnTo>
                <a:lnTo>
                  <a:pt x="73" y="9"/>
                </a:lnTo>
                <a:lnTo>
                  <a:pt x="73" y="8"/>
                </a:lnTo>
                <a:lnTo>
                  <a:pt x="71" y="8"/>
                </a:lnTo>
                <a:lnTo>
                  <a:pt x="67" y="6"/>
                </a:lnTo>
                <a:lnTo>
                  <a:pt x="65" y="4"/>
                </a:lnTo>
                <a:lnTo>
                  <a:pt x="61" y="2"/>
                </a:lnTo>
                <a:lnTo>
                  <a:pt x="57" y="2"/>
                </a:lnTo>
                <a:lnTo>
                  <a:pt x="55" y="0"/>
                </a:lnTo>
                <a:lnTo>
                  <a:pt x="54" y="0"/>
                </a:lnTo>
                <a:lnTo>
                  <a:pt x="54" y="0"/>
                </a:lnTo>
                <a:lnTo>
                  <a:pt x="48" y="2"/>
                </a:lnTo>
                <a:lnTo>
                  <a:pt x="42" y="6"/>
                </a:lnTo>
                <a:lnTo>
                  <a:pt x="34" y="11"/>
                </a:lnTo>
                <a:lnTo>
                  <a:pt x="25" y="17"/>
                </a:lnTo>
                <a:lnTo>
                  <a:pt x="17" y="25"/>
                </a:lnTo>
                <a:lnTo>
                  <a:pt x="10" y="30"/>
                </a:lnTo>
                <a:lnTo>
                  <a:pt x="4" y="36"/>
                </a:lnTo>
                <a:lnTo>
                  <a:pt x="0" y="42"/>
                </a:lnTo>
                <a:lnTo>
                  <a:pt x="2" y="42"/>
                </a:lnTo>
                <a:lnTo>
                  <a:pt x="2" y="42"/>
                </a:lnTo>
                <a:lnTo>
                  <a:pt x="4" y="50"/>
                </a:lnTo>
                <a:lnTo>
                  <a:pt x="6" y="55"/>
                </a:lnTo>
                <a:lnTo>
                  <a:pt x="8" y="63"/>
                </a:lnTo>
                <a:lnTo>
                  <a:pt x="10" y="69"/>
                </a:lnTo>
                <a:lnTo>
                  <a:pt x="13" y="76"/>
                </a:lnTo>
                <a:lnTo>
                  <a:pt x="15" y="82"/>
                </a:lnTo>
                <a:lnTo>
                  <a:pt x="19" y="92"/>
                </a:lnTo>
                <a:lnTo>
                  <a:pt x="21" y="101"/>
                </a:lnTo>
                <a:lnTo>
                  <a:pt x="21" y="97"/>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55" name="Freeform 27"/>
          <p:cNvSpPr>
            <a:spLocks/>
          </p:cNvSpPr>
          <p:nvPr>
            <p:custDataLst>
              <p:tags r:id="rId27"/>
            </p:custDataLst>
          </p:nvPr>
        </p:nvSpPr>
        <p:spPr bwMode="gray">
          <a:xfrm>
            <a:off x="3210525" y="3594223"/>
            <a:ext cx="416300" cy="424373"/>
          </a:xfrm>
          <a:custGeom>
            <a:avLst/>
            <a:gdLst/>
            <a:ahLst/>
            <a:cxnLst>
              <a:cxn ang="0">
                <a:pos x="351" y="11"/>
              </a:cxn>
              <a:cxn ang="0">
                <a:pos x="347" y="27"/>
              </a:cxn>
              <a:cxn ang="0">
                <a:pos x="345" y="42"/>
              </a:cxn>
              <a:cxn ang="0">
                <a:pos x="345" y="67"/>
              </a:cxn>
              <a:cxn ang="0">
                <a:pos x="345" y="88"/>
              </a:cxn>
              <a:cxn ang="0">
                <a:pos x="364" y="86"/>
              </a:cxn>
              <a:cxn ang="0">
                <a:pos x="379" y="78"/>
              </a:cxn>
              <a:cxn ang="0">
                <a:pos x="395" y="73"/>
              </a:cxn>
              <a:cxn ang="0">
                <a:pos x="414" y="71"/>
              </a:cxn>
              <a:cxn ang="0">
                <a:pos x="433" y="78"/>
              </a:cxn>
              <a:cxn ang="0">
                <a:pos x="446" y="103"/>
              </a:cxn>
              <a:cxn ang="0">
                <a:pos x="439" y="128"/>
              </a:cxn>
              <a:cxn ang="0">
                <a:pos x="406" y="153"/>
              </a:cxn>
              <a:cxn ang="0">
                <a:pos x="402" y="183"/>
              </a:cxn>
              <a:cxn ang="0">
                <a:pos x="437" y="204"/>
              </a:cxn>
              <a:cxn ang="0">
                <a:pos x="454" y="227"/>
              </a:cxn>
              <a:cxn ang="0">
                <a:pos x="452" y="258"/>
              </a:cxn>
              <a:cxn ang="0">
                <a:pos x="444" y="290"/>
              </a:cxn>
              <a:cxn ang="0">
                <a:pos x="437" y="322"/>
              </a:cxn>
              <a:cxn ang="0">
                <a:pos x="429" y="345"/>
              </a:cxn>
              <a:cxn ang="0">
                <a:pos x="427" y="357"/>
              </a:cxn>
              <a:cxn ang="0">
                <a:pos x="418" y="368"/>
              </a:cxn>
              <a:cxn ang="0">
                <a:pos x="412" y="366"/>
              </a:cxn>
              <a:cxn ang="0">
                <a:pos x="400" y="353"/>
              </a:cxn>
              <a:cxn ang="0">
                <a:pos x="393" y="349"/>
              </a:cxn>
              <a:cxn ang="0">
                <a:pos x="378" y="359"/>
              </a:cxn>
              <a:cxn ang="0">
                <a:pos x="360" y="363"/>
              </a:cxn>
              <a:cxn ang="0">
                <a:pos x="334" y="343"/>
              </a:cxn>
              <a:cxn ang="0">
                <a:pos x="313" y="324"/>
              </a:cxn>
              <a:cxn ang="0">
                <a:pos x="297" y="332"/>
              </a:cxn>
              <a:cxn ang="0">
                <a:pos x="284" y="353"/>
              </a:cxn>
              <a:cxn ang="0">
                <a:pos x="265" y="364"/>
              </a:cxn>
              <a:cxn ang="0">
                <a:pos x="229" y="364"/>
              </a:cxn>
              <a:cxn ang="0">
                <a:pos x="221" y="395"/>
              </a:cxn>
              <a:cxn ang="0">
                <a:pos x="221" y="408"/>
              </a:cxn>
              <a:cxn ang="0">
                <a:pos x="221" y="422"/>
              </a:cxn>
              <a:cxn ang="0">
                <a:pos x="233" y="437"/>
              </a:cxn>
              <a:cxn ang="0">
                <a:pos x="248" y="446"/>
              </a:cxn>
              <a:cxn ang="0">
                <a:pos x="244" y="452"/>
              </a:cxn>
              <a:cxn ang="0">
                <a:pos x="238" y="466"/>
              </a:cxn>
              <a:cxn ang="0">
                <a:pos x="234" y="467"/>
              </a:cxn>
              <a:cxn ang="0">
                <a:pos x="221" y="456"/>
              </a:cxn>
              <a:cxn ang="0">
                <a:pos x="210" y="456"/>
              </a:cxn>
              <a:cxn ang="0">
                <a:pos x="191" y="471"/>
              </a:cxn>
              <a:cxn ang="0">
                <a:pos x="175" y="477"/>
              </a:cxn>
              <a:cxn ang="0">
                <a:pos x="158" y="452"/>
              </a:cxn>
              <a:cxn ang="0">
                <a:pos x="139" y="431"/>
              </a:cxn>
              <a:cxn ang="0">
                <a:pos x="118" y="414"/>
              </a:cxn>
              <a:cxn ang="0">
                <a:pos x="95" y="393"/>
              </a:cxn>
              <a:cxn ang="0">
                <a:pos x="78" y="368"/>
              </a:cxn>
              <a:cxn ang="0">
                <a:pos x="63" y="336"/>
              </a:cxn>
              <a:cxn ang="0">
                <a:pos x="49" y="319"/>
              </a:cxn>
              <a:cxn ang="0">
                <a:pos x="30" y="296"/>
              </a:cxn>
              <a:cxn ang="0">
                <a:pos x="13" y="269"/>
              </a:cxn>
              <a:cxn ang="0">
                <a:pos x="2" y="242"/>
              </a:cxn>
              <a:cxn ang="0">
                <a:pos x="6" y="231"/>
              </a:cxn>
              <a:cxn ang="0">
                <a:pos x="27" y="208"/>
              </a:cxn>
              <a:cxn ang="0">
                <a:pos x="46" y="160"/>
              </a:cxn>
              <a:cxn ang="0">
                <a:pos x="61" y="113"/>
              </a:cxn>
              <a:cxn ang="0">
                <a:pos x="204" y="94"/>
              </a:cxn>
              <a:cxn ang="0">
                <a:pos x="360" y="4"/>
              </a:cxn>
            </a:cxnLst>
            <a:rect l="0" t="0" r="r" b="b"/>
            <a:pathLst>
              <a:path w="454" h="477">
                <a:moveTo>
                  <a:pt x="357" y="4"/>
                </a:moveTo>
                <a:lnTo>
                  <a:pt x="357" y="4"/>
                </a:lnTo>
                <a:lnTo>
                  <a:pt x="355" y="8"/>
                </a:lnTo>
                <a:lnTo>
                  <a:pt x="351" y="11"/>
                </a:lnTo>
                <a:lnTo>
                  <a:pt x="351" y="15"/>
                </a:lnTo>
                <a:lnTo>
                  <a:pt x="349" y="19"/>
                </a:lnTo>
                <a:lnTo>
                  <a:pt x="347" y="23"/>
                </a:lnTo>
                <a:lnTo>
                  <a:pt x="347" y="27"/>
                </a:lnTo>
                <a:lnTo>
                  <a:pt x="345" y="32"/>
                </a:lnTo>
                <a:lnTo>
                  <a:pt x="345" y="38"/>
                </a:lnTo>
                <a:lnTo>
                  <a:pt x="345" y="38"/>
                </a:lnTo>
                <a:lnTo>
                  <a:pt x="345" y="42"/>
                </a:lnTo>
                <a:lnTo>
                  <a:pt x="345" y="48"/>
                </a:lnTo>
                <a:lnTo>
                  <a:pt x="345" y="53"/>
                </a:lnTo>
                <a:lnTo>
                  <a:pt x="345" y="59"/>
                </a:lnTo>
                <a:lnTo>
                  <a:pt x="345" y="67"/>
                </a:lnTo>
                <a:lnTo>
                  <a:pt x="345" y="73"/>
                </a:lnTo>
                <a:lnTo>
                  <a:pt x="345" y="80"/>
                </a:lnTo>
                <a:lnTo>
                  <a:pt x="345" y="88"/>
                </a:lnTo>
                <a:lnTo>
                  <a:pt x="345" y="88"/>
                </a:lnTo>
                <a:lnTo>
                  <a:pt x="351" y="88"/>
                </a:lnTo>
                <a:lnTo>
                  <a:pt x="355" y="88"/>
                </a:lnTo>
                <a:lnTo>
                  <a:pt x="360" y="86"/>
                </a:lnTo>
                <a:lnTo>
                  <a:pt x="364" y="86"/>
                </a:lnTo>
                <a:lnTo>
                  <a:pt x="368" y="84"/>
                </a:lnTo>
                <a:lnTo>
                  <a:pt x="372" y="82"/>
                </a:lnTo>
                <a:lnTo>
                  <a:pt x="376" y="80"/>
                </a:lnTo>
                <a:lnTo>
                  <a:pt x="379" y="78"/>
                </a:lnTo>
                <a:lnTo>
                  <a:pt x="383" y="76"/>
                </a:lnTo>
                <a:lnTo>
                  <a:pt x="387" y="76"/>
                </a:lnTo>
                <a:lnTo>
                  <a:pt x="391" y="74"/>
                </a:lnTo>
                <a:lnTo>
                  <a:pt x="395" y="73"/>
                </a:lnTo>
                <a:lnTo>
                  <a:pt x="400" y="73"/>
                </a:lnTo>
                <a:lnTo>
                  <a:pt x="404" y="71"/>
                </a:lnTo>
                <a:lnTo>
                  <a:pt x="408" y="71"/>
                </a:lnTo>
                <a:lnTo>
                  <a:pt x="414" y="71"/>
                </a:lnTo>
                <a:lnTo>
                  <a:pt x="414" y="71"/>
                </a:lnTo>
                <a:lnTo>
                  <a:pt x="420" y="71"/>
                </a:lnTo>
                <a:lnTo>
                  <a:pt x="427" y="74"/>
                </a:lnTo>
                <a:lnTo>
                  <a:pt x="433" y="78"/>
                </a:lnTo>
                <a:lnTo>
                  <a:pt x="437" y="84"/>
                </a:lnTo>
                <a:lnTo>
                  <a:pt x="441" y="90"/>
                </a:lnTo>
                <a:lnTo>
                  <a:pt x="444" y="97"/>
                </a:lnTo>
                <a:lnTo>
                  <a:pt x="446" y="103"/>
                </a:lnTo>
                <a:lnTo>
                  <a:pt x="446" y="111"/>
                </a:lnTo>
                <a:lnTo>
                  <a:pt x="446" y="111"/>
                </a:lnTo>
                <a:lnTo>
                  <a:pt x="444" y="120"/>
                </a:lnTo>
                <a:lnTo>
                  <a:pt x="439" y="128"/>
                </a:lnTo>
                <a:lnTo>
                  <a:pt x="431" y="134"/>
                </a:lnTo>
                <a:lnTo>
                  <a:pt x="423" y="139"/>
                </a:lnTo>
                <a:lnTo>
                  <a:pt x="414" y="145"/>
                </a:lnTo>
                <a:lnTo>
                  <a:pt x="406" y="153"/>
                </a:lnTo>
                <a:lnTo>
                  <a:pt x="400" y="162"/>
                </a:lnTo>
                <a:lnTo>
                  <a:pt x="399" y="174"/>
                </a:lnTo>
                <a:lnTo>
                  <a:pt x="399" y="174"/>
                </a:lnTo>
                <a:lnTo>
                  <a:pt x="402" y="183"/>
                </a:lnTo>
                <a:lnTo>
                  <a:pt x="408" y="189"/>
                </a:lnTo>
                <a:lnTo>
                  <a:pt x="416" y="195"/>
                </a:lnTo>
                <a:lnTo>
                  <a:pt x="427" y="200"/>
                </a:lnTo>
                <a:lnTo>
                  <a:pt x="437" y="204"/>
                </a:lnTo>
                <a:lnTo>
                  <a:pt x="446" y="210"/>
                </a:lnTo>
                <a:lnTo>
                  <a:pt x="452" y="218"/>
                </a:lnTo>
                <a:lnTo>
                  <a:pt x="454" y="227"/>
                </a:lnTo>
                <a:lnTo>
                  <a:pt x="454" y="227"/>
                </a:lnTo>
                <a:lnTo>
                  <a:pt x="454" y="235"/>
                </a:lnTo>
                <a:lnTo>
                  <a:pt x="454" y="242"/>
                </a:lnTo>
                <a:lnTo>
                  <a:pt x="454" y="250"/>
                </a:lnTo>
                <a:lnTo>
                  <a:pt x="452" y="258"/>
                </a:lnTo>
                <a:lnTo>
                  <a:pt x="450" y="265"/>
                </a:lnTo>
                <a:lnTo>
                  <a:pt x="448" y="273"/>
                </a:lnTo>
                <a:lnTo>
                  <a:pt x="446" y="282"/>
                </a:lnTo>
                <a:lnTo>
                  <a:pt x="444" y="290"/>
                </a:lnTo>
                <a:lnTo>
                  <a:pt x="442" y="300"/>
                </a:lnTo>
                <a:lnTo>
                  <a:pt x="441" y="307"/>
                </a:lnTo>
                <a:lnTo>
                  <a:pt x="439" y="315"/>
                </a:lnTo>
                <a:lnTo>
                  <a:pt x="437" y="322"/>
                </a:lnTo>
                <a:lnTo>
                  <a:pt x="435" y="328"/>
                </a:lnTo>
                <a:lnTo>
                  <a:pt x="431" y="334"/>
                </a:lnTo>
                <a:lnTo>
                  <a:pt x="431" y="340"/>
                </a:lnTo>
                <a:lnTo>
                  <a:pt x="429" y="345"/>
                </a:lnTo>
                <a:lnTo>
                  <a:pt x="429" y="345"/>
                </a:lnTo>
                <a:lnTo>
                  <a:pt x="427" y="349"/>
                </a:lnTo>
                <a:lnTo>
                  <a:pt x="427" y="353"/>
                </a:lnTo>
                <a:lnTo>
                  <a:pt x="427" y="357"/>
                </a:lnTo>
                <a:lnTo>
                  <a:pt x="425" y="361"/>
                </a:lnTo>
                <a:lnTo>
                  <a:pt x="423" y="363"/>
                </a:lnTo>
                <a:lnTo>
                  <a:pt x="421" y="366"/>
                </a:lnTo>
                <a:lnTo>
                  <a:pt x="418" y="368"/>
                </a:lnTo>
                <a:lnTo>
                  <a:pt x="414" y="368"/>
                </a:lnTo>
                <a:lnTo>
                  <a:pt x="414" y="368"/>
                </a:lnTo>
                <a:lnTo>
                  <a:pt x="414" y="368"/>
                </a:lnTo>
                <a:lnTo>
                  <a:pt x="412" y="366"/>
                </a:lnTo>
                <a:lnTo>
                  <a:pt x="408" y="363"/>
                </a:lnTo>
                <a:lnTo>
                  <a:pt x="406" y="359"/>
                </a:lnTo>
                <a:lnTo>
                  <a:pt x="404" y="355"/>
                </a:lnTo>
                <a:lnTo>
                  <a:pt x="400" y="353"/>
                </a:lnTo>
                <a:lnTo>
                  <a:pt x="400" y="349"/>
                </a:lnTo>
                <a:lnTo>
                  <a:pt x="399" y="347"/>
                </a:lnTo>
                <a:lnTo>
                  <a:pt x="399" y="347"/>
                </a:lnTo>
                <a:lnTo>
                  <a:pt x="393" y="349"/>
                </a:lnTo>
                <a:lnTo>
                  <a:pt x="389" y="351"/>
                </a:lnTo>
                <a:lnTo>
                  <a:pt x="385" y="353"/>
                </a:lnTo>
                <a:lnTo>
                  <a:pt x="381" y="357"/>
                </a:lnTo>
                <a:lnTo>
                  <a:pt x="378" y="359"/>
                </a:lnTo>
                <a:lnTo>
                  <a:pt x="374" y="361"/>
                </a:lnTo>
                <a:lnTo>
                  <a:pt x="368" y="363"/>
                </a:lnTo>
                <a:lnTo>
                  <a:pt x="360" y="363"/>
                </a:lnTo>
                <a:lnTo>
                  <a:pt x="360" y="363"/>
                </a:lnTo>
                <a:lnTo>
                  <a:pt x="351" y="363"/>
                </a:lnTo>
                <a:lnTo>
                  <a:pt x="343" y="357"/>
                </a:lnTo>
                <a:lnTo>
                  <a:pt x="338" y="351"/>
                </a:lnTo>
                <a:lnTo>
                  <a:pt x="334" y="343"/>
                </a:lnTo>
                <a:lnTo>
                  <a:pt x="328" y="338"/>
                </a:lnTo>
                <a:lnTo>
                  <a:pt x="324" y="330"/>
                </a:lnTo>
                <a:lnTo>
                  <a:pt x="318" y="326"/>
                </a:lnTo>
                <a:lnTo>
                  <a:pt x="313" y="324"/>
                </a:lnTo>
                <a:lnTo>
                  <a:pt x="313" y="324"/>
                </a:lnTo>
                <a:lnTo>
                  <a:pt x="307" y="324"/>
                </a:lnTo>
                <a:lnTo>
                  <a:pt x="301" y="328"/>
                </a:lnTo>
                <a:lnTo>
                  <a:pt x="297" y="332"/>
                </a:lnTo>
                <a:lnTo>
                  <a:pt x="294" y="336"/>
                </a:lnTo>
                <a:lnTo>
                  <a:pt x="292" y="342"/>
                </a:lnTo>
                <a:lnTo>
                  <a:pt x="288" y="347"/>
                </a:lnTo>
                <a:lnTo>
                  <a:pt x="284" y="353"/>
                </a:lnTo>
                <a:lnTo>
                  <a:pt x="280" y="357"/>
                </a:lnTo>
                <a:lnTo>
                  <a:pt x="280" y="357"/>
                </a:lnTo>
                <a:lnTo>
                  <a:pt x="273" y="363"/>
                </a:lnTo>
                <a:lnTo>
                  <a:pt x="265" y="364"/>
                </a:lnTo>
                <a:lnTo>
                  <a:pt x="255" y="363"/>
                </a:lnTo>
                <a:lnTo>
                  <a:pt x="246" y="361"/>
                </a:lnTo>
                <a:lnTo>
                  <a:pt x="236" y="361"/>
                </a:lnTo>
                <a:lnTo>
                  <a:pt x="229" y="364"/>
                </a:lnTo>
                <a:lnTo>
                  <a:pt x="223" y="374"/>
                </a:lnTo>
                <a:lnTo>
                  <a:pt x="221" y="393"/>
                </a:lnTo>
                <a:lnTo>
                  <a:pt x="221" y="393"/>
                </a:lnTo>
                <a:lnTo>
                  <a:pt x="221" y="395"/>
                </a:lnTo>
                <a:lnTo>
                  <a:pt x="221" y="399"/>
                </a:lnTo>
                <a:lnTo>
                  <a:pt x="221" y="403"/>
                </a:lnTo>
                <a:lnTo>
                  <a:pt x="221" y="404"/>
                </a:lnTo>
                <a:lnTo>
                  <a:pt x="221" y="408"/>
                </a:lnTo>
                <a:lnTo>
                  <a:pt x="221" y="412"/>
                </a:lnTo>
                <a:lnTo>
                  <a:pt x="221" y="418"/>
                </a:lnTo>
                <a:lnTo>
                  <a:pt x="221" y="422"/>
                </a:lnTo>
                <a:lnTo>
                  <a:pt x="221" y="422"/>
                </a:lnTo>
                <a:lnTo>
                  <a:pt x="223" y="425"/>
                </a:lnTo>
                <a:lnTo>
                  <a:pt x="225" y="429"/>
                </a:lnTo>
                <a:lnTo>
                  <a:pt x="229" y="433"/>
                </a:lnTo>
                <a:lnTo>
                  <a:pt x="233" y="437"/>
                </a:lnTo>
                <a:lnTo>
                  <a:pt x="236" y="441"/>
                </a:lnTo>
                <a:lnTo>
                  <a:pt x="240" y="443"/>
                </a:lnTo>
                <a:lnTo>
                  <a:pt x="244" y="445"/>
                </a:lnTo>
                <a:lnTo>
                  <a:pt x="248" y="446"/>
                </a:lnTo>
                <a:lnTo>
                  <a:pt x="248" y="446"/>
                </a:lnTo>
                <a:lnTo>
                  <a:pt x="246" y="448"/>
                </a:lnTo>
                <a:lnTo>
                  <a:pt x="246" y="450"/>
                </a:lnTo>
                <a:lnTo>
                  <a:pt x="244" y="452"/>
                </a:lnTo>
                <a:lnTo>
                  <a:pt x="242" y="456"/>
                </a:lnTo>
                <a:lnTo>
                  <a:pt x="240" y="458"/>
                </a:lnTo>
                <a:lnTo>
                  <a:pt x="240" y="462"/>
                </a:lnTo>
                <a:lnTo>
                  <a:pt x="238" y="466"/>
                </a:lnTo>
                <a:lnTo>
                  <a:pt x="236" y="469"/>
                </a:lnTo>
                <a:lnTo>
                  <a:pt x="236" y="469"/>
                </a:lnTo>
                <a:lnTo>
                  <a:pt x="236" y="469"/>
                </a:lnTo>
                <a:lnTo>
                  <a:pt x="234" y="467"/>
                </a:lnTo>
                <a:lnTo>
                  <a:pt x="231" y="464"/>
                </a:lnTo>
                <a:lnTo>
                  <a:pt x="229" y="462"/>
                </a:lnTo>
                <a:lnTo>
                  <a:pt x="225" y="458"/>
                </a:lnTo>
                <a:lnTo>
                  <a:pt x="221" y="456"/>
                </a:lnTo>
                <a:lnTo>
                  <a:pt x="219" y="454"/>
                </a:lnTo>
                <a:lnTo>
                  <a:pt x="215" y="454"/>
                </a:lnTo>
                <a:lnTo>
                  <a:pt x="215" y="454"/>
                </a:lnTo>
                <a:lnTo>
                  <a:pt x="210" y="456"/>
                </a:lnTo>
                <a:lnTo>
                  <a:pt x="204" y="458"/>
                </a:lnTo>
                <a:lnTo>
                  <a:pt x="200" y="462"/>
                </a:lnTo>
                <a:lnTo>
                  <a:pt x="196" y="466"/>
                </a:lnTo>
                <a:lnTo>
                  <a:pt x="191" y="471"/>
                </a:lnTo>
                <a:lnTo>
                  <a:pt x="187" y="475"/>
                </a:lnTo>
                <a:lnTo>
                  <a:pt x="181" y="477"/>
                </a:lnTo>
                <a:lnTo>
                  <a:pt x="175" y="477"/>
                </a:lnTo>
                <a:lnTo>
                  <a:pt x="175" y="477"/>
                </a:lnTo>
                <a:lnTo>
                  <a:pt x="172" y="471"/>
                </a:lnTo>
                <a:lnTo>
                  <a:pt x="168" y="464"/>
                </a:lnTo>
                <a:lnTo>
                  <a:pt x="162" y="458"/>
                </a:lnTo>
                <a:lnTo>
                  <a:pt x="158" y="452"/>
                </a:lnTo>
                <a:lnTo>
                  <a:pt x="152" y="446"/>
                </a:lnTo>
                <a:lnTo>
                  <a:pt x="149" y="441"/>
                </a:lnTo>
                <a:lnTo>
                  <a:pt x="143" y="437"/>
                </a:lnTo>
                <a:lnTo>
                  <a:pt x="139" y="431"/>
                </a:lnTo>
                <a:lnTo>
                  <a:pt x="133" y="427"/>
                </a:lnTo>
                <a:lnTo>
                  <a:pt x="128" y="422"/>
                </a:lnTo>
                <a:lnTo>
                  <a:pt x="122" y="418"/>
                </a:lnTo>
                <a:lnTo>
                  <a:pt x="118" y="414"/>
                </a:lnTo>
                <a:lnTo>
                  <a:pt x="112" y="408"/>
                </a:lnTo>
                <a:lnTo>
                  <a:pt x="107" y="403"/>
                </a:lnTo>
                <a:lnTo>
                  <a:pt x="101" y="399"/>
                </a:lnTo>
                <a:lnTo>
                  <a:pt x="95" y="393"/>
                </a:lnTo>
                <a:lnTo>
                  <a:pt x="95" y="393"/>
                </a:lnTo>
                <a:lnTo>
                  <a:pt x="88" y="385"/>
                </a:lnTo>
                <a:lnTo>
                  <a:pt x="82" y="378"/>
                </a:lnTo>
                <a:lnTo>
                  <a:pt x="78" y="368"/>
                </a:lnTo>
                <a:lnTo>
                  <a:pt x="74" y="361"/>
                </a:lnTo>
                <a:lnTo>
                  <a:pt x="70" y="353"/>
                </a:lnTo>
                <a:lnTo>
                  <a:pt x="67" y="345"/>
                </a:lnTo>
                <a:lnTo>
                  <a:pt x="63" y="336"/>
                </a:lnTo>
                <a:lnTo>
                  <a:pt x="57" y="328"/>
                </a:lnTo>
                <a:lnTo>
                  <a:pt x="57" y="328"/>
                </a:lnTo>
                <a:lnTo>
                  <a:pt x="53" y="322"/>
                </a:lnTo>
                <a:lnTo>
                  <a:pt x="49" y="319"/>
                </a:lnTo>
                <a:lnTo>
                  <a:pt x="44" y="313"/>
                </a:lnTo>
                <a:lnTo>
                  <a:pt x="40" y="307"/>
                </a:lnTo>
                <a:lnTo>
                  <a:pt x="36" y="301"/>
                </a:lnTo>
                <a:lnTo>
                  <a:pt x="30" y="296"/>
                </a:lnTo>
                <a:lnTo>
                  <a:pt x="27" y="288"/>
                </a:lnTo>
                <a:lnTo>
                  <a:pt x="21" y="282"/>
                </a:lnTo>
                <a:lnTo>
                  <a:pt x="17" y="275"/>
                </a:lnTo>
                <a:lnTo>
                  <a:pt x="13" y="269"/>
                </a:lnTo>
                <a:lnTo>
                  <a:pt x="9" y="261"/>
                </a:lnTo>
                <a:lnTo>
                  <a:pt x="6" y="256"/>
                </a:lnTo>
                <a:lnTo>
                  <a:pt x="4" y="248"/>
                </a:lnTo>
                <a:lnTo>
                  <a:pt x="2" y="242"/>
                </a:lnTo>
                <a:lnTo>
                  <a:pt x="0" y="235"/>
                </a:lnTo>
                <a:lnTo>
                  <a:pt x="0" y="229"/>
                </a:lnTo>
                <a:lnTo>
                  <a:pt x="0" y="229"/>
                </a:lnTo>
                <a:lnTo>
                  <a:pt x="6" y="231"/>
                </a:lnTo>
                <a:lnTo>
                  <a:pt x="9" y="229"/>
                </a:lnTo>
                <a:lnTo>
                  <a:pt x="15" y="225"/>
                </a:lnTo>
                <a:lnTo>
                  <a:pt x="21" y="218"/>
                </a:lnTo>
                <a:lnTo>
                  <a:pt x="27" y="208"/>
                </a:lnTo>
                <a:lnTo>
                  <a:pt x="32" y="198"/>
                </a:lnTo>
                <a:lnTo>
                  <a:pt x="36" y="187"/>
                </a:lnTo>
                <a:lnTo>
                  <a:pt x="42" y="174"/>
                </a:lnTo>
                <a:lnTo>
                  <a:pt x="46" y="160"/>
                </a:lnTo>
                <a:lnTo>
                  <a:pt x="51" y="147"/>
                </a:lnTo>
                <a:lnTo>
                  <a:pt x="55" y="136"/>
                </a:lnTo>
                <a:lnTo>
                  <a:pt x="57" y="124"/>
                </a:lnTo>
                <a:lnTo>
                  <a:pt x="61" y="113"/>
                </a:lnTo>
                <a:lnTo>
                  <a:pt x="63" y="105"/>
                </a:lnTo>
                <a:lnTo>
                  <a:pt x="65" y="97"/>
                </a:lnTo>
                <a:lnTo>
                  <a:pt x="65" y="94"/>
                </a:lnTo>
                <a:lnTo>
                  <a:pt x="204" y="94"/>
                </a:lnTo>
                <a:lnTo>
                  <a:pt x="204" y="0"/>
                </a:lnTo>
                <a:lnTo>
                  <a:pt x="349" y="0"/>
                </a:lnTo>
                <a:lnTo>
                  <a:pt x="360" y="6"/>
                </a:lnTo>
                <a:lnTo>
                  <a:pt x="360" y="4"/>
                </a:lnTo>
                <a:lnTo>
                  <a:pt x="357" y="4"/>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56" name="Freeform 28"/>
          <p:cNvSpPr>
            <a:spLocks/>
          </p:cNvSpPr>
          <p:nvPr>
            <p:custDataLst>
              <p:tags r:id="rId28"/>
            </p:custDataLst>
          </p:nvPr>
        </p:nvSpPr>
        <p:spPr bwMode="gray">
          <a:xfrm>
            <a:off x="3263979" y="3594215"/>
            <a:ext cx="134446" cy="82606"/>
          </a:xfrm>
          <a:custGeom>
            <a:avLst/>
            <a:gdLst/>
            <a:ahLst/>
            <a:cxnLst>
              <a:cxn ang="0">
                <a:pos x="147" y="0"/>
              </a:cxn>
              <a:cxn ang="0">
                <a:pos x="25" y="0"/>
              </a:cxn>
              <a:cxn ang="0">
                <a:pos x="25" y="0"/>
              </a:cxn>
              <a:cxn ang="0">
                <a:pos x="25" y="4"/>
              </a:cxn>
              <a:cxn ang="0">
                <a:pos x="23" y="10"/>
              </a:cxn>
              <a:cxn ang="0">
                <a:pos x="23" y="15"/>
              </a:cxn>
              <a:cxn ang="0">
                <a:pos x="21" y="19"/>
              </a:cxn>
              <a:cxn ang="0">
                <a:pos x="19" y="23"/>
              </a:cxn>
              <a:cxn ang="0">
                <a:pos x="15" y="27"/>
              </a:cxn>
              <a:cxn ang="0">
                <a:pos x="13" y="31"/>
              </a:cxn>
              <a:cxn ang="0">
                <a:pos x="12" y="34"/>
              </a:cxn>
              <a:cxn ang="0">
                <a:pos x="10" y="38"/>
              </a:cxn>
              <a:cxn ang="0">
                <a:pos x="8" y="42"/>
              </a:cxn>
              <a:cxn ang="0">
                <a:pos x="6" y="46"/>
              </a:cxn>
              <a:cxn ang="0">
                <a:pos x="4" y="50"/>
              </a:cxn>
              <a:cxn ang="0">
                <a:pos x="2" y="53"/>
              </a:cxn>
              <a:cxn ang="0">
                <a:pos x="0" y="59"/>
              </a:cxn>
              <a:cxn ang="0">
                <a:pos x="0" y="63"/>
              </a:cxn>
              <a:cxn ang="0">
                <a:pos x="0" y="69"/>
              </a:cxn>
              <a:cxn ang="0">
                <a:pos x="0" y="69"/>
              </a:cxn>
              <a:cxn ang="0">
                <a:pos x="0" y="71"/>
              </a:cxn>
              <a:cxn ang="0">
                <a:pos x="0" y="74"/>
              </a:cxn>
              <a:cxn ang="0">
                <a:pos x="2" y="78"/>
              </a:cxn>
              <a:cxn ang="0">
                <a:pos x="2" y="82"/>
              </a:cxn>
              <a:cxn ang="0">
                <a:pos x="4" y="84"/>
              </a:cxn>
              <a:cxn ang="0">
                <a:pos x="6" y="88"/>
              </a:cxn>
              <a:cxn ang="0">
                <a:pos x="6" y="90"/>
              </a:cxn>
              <a:cxn ang="0">
                <a:pos x="8" y="94"/>
              </a:cxn>
              <a:cxn ang="0">
                <a:pos x="147" y="94"/>
              </a:cxn>
              <a:cxn ang="0">
                <a:pos x="147" y="0"/>
              </a:cxn>
              <a:cxn ang="0">
                <a:pos x="147" y="0"/>
              </a:cxn>
            </a:cxnLst>
            <a:rect l="0" t="0" r="r" b="b"/>
            <a:pathLst>
              <a:path w="147" h="94">
                <a:moveTo>
                  <a:pt x="147" y="0"/>
                </a:moveTo>
                <a:lnTo>
                  <a:pt x="25" y="0"/>
                </a:lnTo>
                <a:lnTo>
                  <a:pt x="25" y="0"/>
                </a:lnTo>
                <a:lnTo>
                  <a:pt x="25" y="4"/>
                </a:lnTo>
                <a:lnTo>
                  <a:pt x="23" y="10"/>
                </a:lnTo>
                <a:lnTo>
                  <a:pt x="23" y="15"/>
                </a:lnTo>
                <a:lnTo>
                  <a:pt x="21" y="19"/>
                </a:lnTo>
                <a:lnTo>
                  <a:pt x="19" y="23"/>
                </a:lnTo>
                <a:lnTo>
                  <a:pt x="15" y="27"/>
                </a:lnTo>
                <a:lnTo>
                  <a:pt x="13" y="31"/>
                </a:lnTo>
                <a:lnTo>
                  <a:pt x="12" y="34"/>
                </a:lnTo>
                <a:lnTo>
                  <a:pt x="10" y="38"/>
                </a:lnTo>
                <a:lnTo>
                  <a:pt x="8" y="42"/>
                </a:lnTo>
                <a:lnTo>
                  <a:pt x="6" y="46"/>
                </a:lnTo>
                <a:lnTo>
                  <a:pt x="4" y="50"/>
                </a:lnTo>
                <a:lnTo>
                  <a:pt x="2" y="53"/>
                </a:lnTo>
                <a:lnTo>
                  <a:pt x="0" y="59"/>
                </a:lnTo>
                <a:lnTo>
                  <a:pt x="0" y="63"/>
                </a:lnTo>
                <a:lnTo>
                  <a:pt x="0" y="69"/>
                </a:lnTo>
                <a:lnTo>
                  <a:pt x="0" y="69"/>
                </a:lnTo>
                <a:lnTo>
                  <a:pt x="0" y="71"/>
                </a:lnTo>
                <a:lnTo>
                  <a:pt x="0" y="74"/>
                </a:lnTo>
                <a:lnTo>
                  <a:pt x="2" y="78"/>
                </a:lnTo>
                <a:lnTo>
                  <a:pt x="2" y="82"/>
                </a:lnTo>
                <a:lnTo>
                  <a:pt x="4" y="84"/>
                </a:lnTo>
                <a:lnTo>
                  <a:pt x="6" y="88"/>
                </a:lnTo>
                <a:lnTo>
                  <a:pt x="6" y="90"/>
                </a:lnTo>
                <a:lnTo>
                  <a:pt x="8" y="94"/>
                </a:lnTo>
                <a:lnTo>
                  <a:pt x="147" y="94"/>
                </a:lnTo>
                <a:lnTo>
                  <a:pt x="147" y="0"/>
                </a:lnTo>
                <a:lnTo>
                  <a:pt x="147" y="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57" name="Freeform 29"/>
          <p:cNvSpPr>
            <a:spLocks/>
          </p:cNvSpPr>
          <p:nvPr>
            <p:custDataLst>
              <p:tags r:id="rId29"/>
            </p:custDataLst>
          </p:nvPr>
        </p:nvSpPr>
        <p:spPr bwMode="gray">
          <a:xfrm>
            <a:off x="3194334" y="2821597"/>
            <a:ext cx="562085" cy="796915"/>
          </a:xfrm>
          <a:custGeom>
            <a:avLst/>
            <a:gdLst/>
            <a:ahLst/>
            <a:cxnLst>
              <a:cxn ang="0">
                <a:pos x="101" y="857"/>
              </a:cxn>
              <a:cxn ang="0">
                <a:pos x="107" y="826"/>
              </a:cxn>
              <a:cxn ang="0">
                <a:pos x="112" y="797"/>
              </a:cxn>
              <a:cxn ang="0">
                <a:pos x="93" y="755"/>
              </a:cxn>
              <a:cxn ang="0">
                <a:pos x="49" y="723"/>
              </a:cxn>
              <a:cxn ang="0">
                <a:pos x="21" y="698"/>
              </a:cxn>
              <a:cxn ang="0">
                <a:pos x="2" y="660"/>
              </a:cxn>
              <a:cxn ang="0">
                <a:pos x="13" y="628"/>
              </a:cxn>
              <a:cxn ang="0">
                <a:pos x="21" y="593"/>
              </a:cxn>
              <a:cxn ang="0">
                <a:pos x="49" y="549"/>
              </a:cxn>
              <a:cxn ang="0">
                <a:pos x="110" y="504"/>
              </a:cxn>
              <a:cxn ang="0">
                <a:pos x="150" y="494"/>
              </a:cxn>
              <a:cxn ang="0">
                <a:pos x="164" y="477"/>
              </a:cxn>
              <a:cxn ang="0">
                <a:pos x="208" y="527"/>
              </a:cxn>
              <a:cxn ang="0">
                <a:pos x="238" y="509"/>
              </a:cxn>
              <a:cxn ang="0">
                <a:pos x="272" y="450"/>
              </a:cxn>
              <a:cxn ang="0">
                <a:pos x="286" y="410"/>
              </a:cxn>
              <a:cxn ang="0">
                <a:pos x="305" y="374"/>
              </a:cxn>
              <a:cxn ang="0">
                <a:pos x="335" y="347"/>
              </a:cxn>
              <a:cxn ang="0">
                <a:pos x="343" y="321"/>
              </a:cxn>
              <a:cxn ang="0">
                <a:pos x="362" y="294"/>
              </a:cxn>
              <a:cxn ang="0">
                <a:pos x="379" y="273"/>
              </a:cxn>
              <a:cxn ang="0">
                <a:pos x="377" y="244"/>
              </a:cxn>
              <a:cxn ang="0">
                <a:pos x="398" y="206"/>
              </a:cxn>
              <a:cxn ang="0">
                <a:pos x="429" y="166"/>
              </a:cxn>
              <a:cxn ang="0">
                <a:pos x="477" y="132"/>
              </a:cxn>
              <a:cxn ang="0">
                <a:pos x="486" y="88"/>
              </a:cxn>
              <a:cxn ang="0">
                <a:pos x="486" y="65"/>
              </a:cxn>
              <a:cxn ang="0">
                <a:pos x="452" y="55"/>
              </a:cxn>
              <a:cxn ang="0">
                <a:pos x="477" y="31"/>
              </a:cxn>
              <a:cxn ang="0">
                <a:pos x="505" y="128"/>
              </a:cxn>
              <a:cxn ang="0">
                <a:pos x="522" y="179"/>
              </a:cxn>
              <a:cxn ang="0">
                <a:pos x="538" y="227"/>
              </a:cxn>
              <a:cxn ang="0">
                <a:pos x="498" y="235"/>
              </a:cxn>
              <a:cxn ang="0">
                <a:pos x="446" y="246"/>
              </a:cxn>
              <a:cxn ang="0">
                <a:pos x="438" y="286"/>
              </a:cxn>
              <a:cxn ang="0">
                <a:pos x="461" y="319"/>
              </a:cxn>
              <a:cxn ang="0">
                <a:pos x="492" y="342"/>
              </a:cxn>
              <a:cxn ang="0">
                <a:pos x="522" y="378"/>
              </a:cxn>
              <a:cxn ang="0">
                <a:pos x="549" y="427"/>
              </a:cxn>
              <a:cxn ang="0">
                <a:pos x="551" y="456"/>
              </a:cxn>
              <a:cxn ang="0">
                <a:pos x="536" y="466"/>
              </a:cxn>
              <a:cxn ang="0">
                <a:pos x="505" y="513"/>
              </a:cxn>
              <a:cxn ang="0">
                <a:pos x="475" y="561"/>
              </a:cxn>
              <a:cxn ang="0">
                <a:pos x="480" y="576"/>
              </a:cxn>
              <a:cxn ang="0">
                <a:pos x="484" y="591"/>
              </a:cxn>
              <a:cxn ang="0">
                <a:pos x="484" y="622"/>
              </a:cxn>
              <a:cxn ang="0">
                <a:pos x="509" y="700"/>
              </a:cxn>
              <a:cxn ang="0">
                <a:pos x="549" y="765"/>
              </a:cxn>
              <a:cxn ang="0">
                <a:pos x="576" y="792"/>
              </a:cxn>
              <a:cxn ang="0">
                <a:pos x="604" y="818"/>
              </a:cxn>
              <a:cxn ang="0">
                <a:pos x="610" y="845"/>
              </a:cxn>
              <a:cxn ang="0">
                <a:pos x="602" y="859"/>
              </a:cxn>
              <a:cxn ang="0">
                <a:pos x="591" y="895"/>
              </a:cxn>
              <a:cxn ang="0">
                <a:pos x="557" y="883"/>
              </a:cxn>
              <a:cxn ang="0">
                <a:pos x="511" y="874"/>
              </a:cxn>
              <a:cxn ang="0">
                <a:pos x="463" y="859"/>
              </a:cxn>
              <a:cxn ang="0">
                <a:pos x="406" y="857"/>
              </a:cxn>
            </a:cxnLst>
            <a:rect l="0" t="0" r="r" b="b"/>
            <a:pathLst>
              <a:path w="610" h="897">
                <a:moveTo>
                  <a:pt x="366" y="868"/>
                </a:moveTo>
                <a:lnTo>
                  <a:pt x="221" y="868"/>
                </a:lnTo>
                <a:lnTo>
                  <a:pt x="221" y="868"/>
                </a:lnTo>
                <a:lnTo>
                  <a:pt x="99" y="868"/>
                </a:lnTo>
                <a:lnTo>
                  <a:pt x="99" y="868"/>
                </a:lnTo>
                <a:lnTo>
                  <a:pt x="99" y="862"/>
                </a:lnTo>
                <a:lnTo>
                  <a:pt x="101" y="857"/>
                </a:lnTo>
                <a:lnTo>
                  <a:pt x="101" y="851"/>
                </a:lnTo>
                <a:lnTo>
                  <a:pt x="101" y="847"/>
                </a:lnTo>
                <a:lnTo>
                  <a:pt x="103" y="841"/>
                </a:lnTo>
                <a:lnTo>
                  <a:pt x="103" y="838"/>
                </a:lnTo>
                <a:lnTo>
                  <a:pt x="105" y="834"/>
                </a:lnTo>
                <a:lnTo>
                  <a:pt x="107" y="830"/>
                </a:lnTo>
                <a:lnTo>
                  <a:pt x="107" y="826"/>
                </a:lnTo>
                <a:lnTo>
                  <a:pt x="108" y="822"/>
                </a:lnTo>
                <a:lnTo>
                  <a:pt x="108" y="818"/>
                </a:lnTo>
                <a:lnTo>
                  <a:pt x="110" y="813"/>
                </a:lnTo>
                <a:lnTo>
                  <a:pt x="110" y="809"/>
                </a:lnTo>
                <a:lnTo>
                  <a:pt x="110" y="805"/>
                </a:lnTo>
                <a:lnTo>
                  <a:pt x="112" y="801"/>
                </a:lnTo>
                <a:lnTo>
                  <a:pt x="112" y="797"/>
                </a:lnTo>
                <a:lnTo>
                  <a:pt x="112" y="797"/>
                </a:lnTo>
                <a:lnTo>
                  <a:pt x="110" y="790"/>
                </a:lnTo>
                <a:lnTo>
                  <a:pt x="108" y="782"/>
                </a:lnTo>
                <a:lnTo>
                  <a:pt x="107" y="775"/>
                </a:lnTo>
                <a:lnTo>
                  <a:pt x="103" y="769"/>
                </a:lnTo>
                <a:lnTo>
                  <a:pt x="99" y="761"/>
                </a:lnTo>
                <a:lnTo>
                  <a:pt x="93" y="755"/>
                </a:lnTo>
                <a:lnTo>
                  <a:pt x="87" y="750"/>
                </a:lnTo>
                <a:lnTo>
                  <a:pt x="82" y="744"/>
                </a:lnTo>
                <a:lnTo>
                  <a:pt x="76" y="740"/>
                </a:lnTo>
                <a:lnTo>
                  <a:pt x="68" y="735"/>
                </a:lnTo>
                <a:lnTo>
                  <a:pt x="63" y="731"/>
                </a:lnTo>
                <a:lnTo>
                  <a:pt x="57" y="727"/>
                </a:lnTo>
                <a:lnTo>
                  <a:pt x="49" y="723"/>
                </a:lnTo>
                <a:lnTo>
                  <a:pt x="44" y="719"/>
                </a:lnTo>
                <a:lnTo>
                  <a:pt x="40" y="715"/>
                </a:lnTo>
                <a:lnTo>
                  <a:pt x="34" y="714"/>
                </a:lnTo>
                <a:lnTo>
                  <a:pt x="34" y="714"/>
                </a:lnTo>
                <a:lnTo>
                  <a:pt x="30" y="710"/>
                </a:lnTo>
                <a:lnTo>
                  <a:pt x="26" y="704"/>
                </a:lnTo>
                <a:lnTo>
                  <a:pt x="21" y="698"/>
                </a:lnTo>
                <a:lnTo>
                  <a:pt x="17" y="691"/>
                </a:lnTo>
                <a:lnTo>
                  <a:pt x="13" y="683"/>
                </a:lnTo>
                <a:lnTo>
                  <a:pt x="7" y="675"/>
                </a:lnTo>
                <a:lnTo>
                  <a:pt x="4" y="670"/>
                </a:lnTo>
                <a:lnTo>
                  <a:pt x="0" y="666"/>
                </a:lnTo>
                <a:lnTo>
                  <a:pt x="0" y="666"/>
                </a:lnTo>
                <a:lnTo>
                  <a:pt x="2" y="660"/>
                </a:lnTo>
                <a:lnTo>
                  <a:pt x="4" y="656"/>
                </a:lnTo>
                <a:lnTo>
                  <a:pt x="5" y="652"/>
                </a:lnTo>
                <a:lnTo>
                  <a:pt x="7" y="647"/>
                </a:lnTo>
                <a:lnTo>
                  <a:pt x="9" y="643"/>
                </a:lnTo>
                <a:lnTo>
                  <a:pt x="9" y="637"/>
                </a:lnTo>
                <a:lnTo>
                  <a:pt x="11" y="631"/>
                </a:lnTo>
                <a:lnTo>
                  <a:pt x="13" y="628"/>
                </a:lnTo>
                <a:lnTo>
                  <a:pt x="13" y="622"/>
                </a:lnTo>
                <a:lnTo>
                  <a:pt x="15" y="618"/>
                </a:lnTo>
                <a:lnTo>
                  <a:pt x="15" y="612"/>
                </a:lnTo>
                <a:lnTo>
                  <a:pt x="17" y="607"/>
                </a:lnTo>
                <a:lnTo>
                  <a:pt x="19" y="603"/>
                </a:lnTo>
                <a:lnTo>
                  <a:pt x="19" y="597"/>
                </a:lnTo>
                <a:lnTo>
                  <a:pt x="21" y="593"/>
                </a:lnTo>
                <a:lnTo>
                  <a:pt x="23" y="588"/>
                </a:lnTo>
                <a:lnTo>
                  <a:pt x="23" y="588"/>
                </a:lnTo>
                <a:lnTo>
                  <a:pt x="26" y="580"/>
                </a:lnTo>
                <a:lnTo>
                  <a:pt x="30" y="572"/>
                </a:lnTo>
                <a:lnTo>
                  <a:pt x="36" y="565"/>
                </a:lnTo>
                <a:lnTo>
                  <a:pt x="42" y="557"/>
                </a:lnTo>
                <a:lnTo>
                  <a:pt x="49" y="549"/>
                </a:lnTo>
                <a:lnTo>
                  <a:pt x="57" y="542"/>
                </a:lnTo>
                <a:lnTo>
                  <a:pt x="65" y="534"/>
                </a:lnTo>
                <a:lnTo>
                  <a:pt x="74" y="527"/>
                </a:lnTo>
                <a:lnTo>
                  <a:pt x="82" y="521"/>
                </a:lnTo>
                <a:lnTo>
                  <a:pt x="91" y="515"/>
                </a:lnTo>
                <a:lnTo>
                  <a:pt x="101" y="509"/>
                </a:lnTo>
                <a:lnTo>
                  <a:pt x="110" y="504"/>
                </a:lnTo>
                <a:lnTo>
                  <a:pt x="120" y="502"/>
                </a:lnTo>
                <a:lnTo>
                  <a:pt x="128" y="498"/>
                </a:lnTo>
                <a:lnTo>
                  <a:pt x="137" y="496"/>
                </a:lnTo>
                <a:lnTo>
                  <a:pt x="145" y="496"/>
                </a:lnTo>
                <a:lnTo>
                  <a:pt x="145" y="496"/>
                </a:lnTo>
                <a:lnTo>
                  <a:pt x="148" y="496"/>
                </a:lnTo>
                <a:lnTo>
                  <a:pt x="150" y="494"/>
                </a:lnTo>
                <a:lnTo>
                  <a:pt x="154" y="490"/>
                </a:lnTo>
                <a:lnTo>
                  <a:pt x="156" y="488"/>
                </a:lnTo>
                <a:lnTo>
                  <a:pt x="160" y="485"/>
                </a:lnTo>
                <a:lnTo>
                  <a:pt x="162" y="483"/>
                </a:lnTo>
                <a:lnTo>
                  <a:pt x="164" y="479"/>
                </a:lnTo>
                <a:lnTo>
                  <a:pt x="164" y="477"/>
                </a:lnTo>
                <a:lnTo>
                  <a:pt x="164" y="477"/>
                </a:lnTo>
                <a:lnTo>
                  <a:pt x="171" y="485"/>
                </a:lnTo>
                <a:lnTo>
                  <a:pt x="179" y="492"/>
                </a:lnTo>
                <a:lnTo>
                  <a:pt x="185" y="500"/>
                </a:lnTo>
                <a:lnTo>
                  <a:pt x="190" y="509"/>
                </a:lnTo>
                <a:lnTo>
                  <a:pt x="196" y="517"/>
                </a:lnTo>
                <a:lnTo>
                  <a:pt x="202" y="523"/>
                </a:lnTo>
                <a:lnTo>
                  <a:pt x="208" y="527"/>
                </a:lnTo>
                <a:lnTo>
                  <a:pt x="215" y="528"/>
                </a:lnTo>
                <a:lnTo>
                  <a:pt x="215" y="528"/>
                </a:lnTo>
                <a:lnTo>
                  <a:pt x="219" y="528"/>
                </a:lnTo>
                <a:lnTo>
                  <a:pt x="223" y="525"/>
                </a:lnTo>
                <a:lnTo>
                  <a:pt x="229" y="521"/>
                </a:lnTo>
                <a:lnTo>
                  <a:pt x="234" y="515"/>
                </a:lnTo>
                <a:lnTo>
                  <a:pt x="238" y="509"/>
                </a:lnTo>
                <a:lnTo>
                  <a:pt x="244" y="502"/>
                </a:lnTo>
                <a:lnTo>
                  <a:pt x="250" y="494"/>
                </a:lnTo>
                <a:lnTo>
                  <a:pt x="255" y="487"/>
                </a:lnTo>
                <a:lnTo>
                  <a:pt x="259" y="477"/>
                </a:lnTo>
                <a:lnTo>
                  <a:pt x="265" y="467"/>
                </a:lnTo>
                <a:lnTo>
                  <a:pt x="269" y="460"/>
                </a:lnTo>
                <a:lnTo>
                  <a:pt x="272" y="450"/>
                </a:lnTo>
                <a:lnTo>
                  <a:pt x="276" y="443"/>
                </a:lnTo>
                <a:lnTo>
                  <a:pt x="280" y="437"/>
                </a:lnTo>
                <a:lnTo>
                  <a:pt x="282" y="429"/>
                </a:lnTo>
                <a:lnTo>
                  <a:pt x="282" y="425"/>
                </a:lnTo>
                <a:lnTo>
                  <a:pt x="282" y="425"/>
                </a:lnTo>
                <a:lnTo>
                  <a:pt x="284" y="418"/>
                </a:lnTo>
                <a:lnTo>
                  <a:pt x="286" y="410"/>
                </a:lnTo>
                <a:lnTo>
                  <a:pt x="288" y="404"/>
                </a:lnTo>
                <a:lnTo>
                  <a:pt x="290" y="399"/>
                </a:lnTo>
                <a:lnTo>
                  <a:pt x="293" y="393"/>
                </a:lnTo>
                <a:lnTo>
                  <a:pt x="295" y="387"/>
                </a:lnTo>
                <a:lnTo>
                  <a:pt x="299" y="383"/>
                </a:lnTo>
                <a:lnTo>
                  <a:pt x="303" y="378"/>
                </a:lnTo>
                <a:lnTo>
                  <a:pt x="305" y="374"/>
                </a:lnTo>
                <a:lnTo>
                  <a:pt x="309" y="370"/>
                </a:lnTo>
                <a:lnTo>
                  <a:pt x="314" y="366"/>
                </a:lnTo>
                <a:lnTo>
                  <a:pt x="318" y="362"/>
                </a:lnTo>
                <a:lnTo>
                  <a:pt x="322" y="359"/>
                </a:lnTo>
                <a:lnTo>
                  <a:pt x="326" y="355"/>
                </a:lnTo>
                <a:lnTo>
                  <a:pt x="332" y="351"/>
                </a:lnTo>
                <a:lnTo>
                  <a:pt x="335" y="347"/>
                </a:lnTo>
                <a:lnTo>
                  <a:pt x="335" y="347"/>
                </a:lnTo>
                <a:lnTo>
                  <a:pt x="339" y="345"/>
                </a:lnTo>
                <a:lnTo>
                  <a:pt x="341" y="340"/>
                </a:lnTo>
                <a:lnTo>
                  <a:pt x="343" y="336"/>
                </a:lnTo>
                <a:lnTo>
                  <a:pt x="343" y="330"/>
                </a:lnTo>
                <a:lnTo>
                  <a:pt x="343" y="324"/>
                </a:lnTo>
                <a:lnTo>
                  <a:pt x="343" y="321"/>
                </a:lnTo>
                <a:lnTo>
                  <a:pt x="345" y="315"/>
                </a:lnTo>
                <a:lnTo>
                  <a:pt x="345" y="313"/>
                </a:lnTo>
                <a:lnTo>
                  <a:pt x="345" y="313"/>
                </a:lnTo>
                <a:lnTo>
                  <a:pt x="349" y="307"/>
                </a:lnTo>
                <a:lnTo>
                  <a:pt x="353" y="303"/>
                </a:lnTo>
                <a:lnTo>
                  <a:pt x="356" y="298"/>
                </a:lnTo>
                <a:lnTo>
                  <a:pt x="362" y="294"/>
                </a:lnTo>
                <a:lnTo>
                  <a:pt x="368" y="290"/>
                </a:lnTo>
                <a:lnTo>
                  <a:pt x="372" y="286"/>
                </a:lnTo>
                <a:lnTo>
                  <a:pt x="375" y="282"/>
                </a:lnTo>
                <a:lnTo>
                  <a:pt x="377" y="280"/>
                </a:lnTo>
                <a:lnTo>
                  <a:pt x="377" y="280"/>
                </a:lnTo>
                <a:lnTo>
                  <a:pt x="377" y="277"/>
                </a:lnTo>
                <a:lnTo>
                  <a:pt x="379" y="273"/>
                </a:lnTo>
                <a:lnTo>
                  <a:pt x="377" y="269"/>
                </a:lnTo>
                <a:lnTo>
                  <a:pt x="377" y="263"/>
                </a:lnTo>
                <a:lnTo>
                  <a:pt x="377" y="258"/>
                </a:lnTo>
                <a:lnTo>
                  <a:pt x="377" y="254"/>
                </a:lnTo>
                <a:lnTo>
                  <a:pt x="377" y="248"/>
                </a:lnTo>
                <a:lnTo>
                  <a:pt x="377" y="244"/>
                </a:lnTo>
                <a:lnTo>
                  <a:pt x="377" y="244"/>
                </a:lnTo>
                <a:lnTo>
                  <a:pt x="377" y="240"/>
                </a:lnTo>
                <a:lnTo>
                  <a:pt x="381" y="237"/>
                </a:lnTo>
                <a:lnTo>
                  <a:pt x="383" y="231"/>
                </a:lnTo>
                <a:lnTo>
                  <a:pt x="387" y="223"/>
                </a:lnTo>
                <a:lnTo>
                  <a:pt x="391" y="218"/>
                </a:lnTo>
                <a:lnTo>
                  <a:pt x="395" y="212"/>
                </a:lnTo>
                <a:lnTo>
                  <a:pt x="398" y="206"/>
                </a:lnTo>
                <a:lnTo>
                  <a:pt x="400" y="200"/>
                </a:lnTo>
                <a:lnTo>
                  <a:pt x="400" y="200"/>
                </a:lnTo>
                <a:lnTo>
                  <a:pt x="406" y="191"/>
                </a:lnTo>
                <a:lnTo>
                  <a:pt x="410" y="183"/>
                </a:lnTo>
                <a:lnTo>
                  <a:pt x="416" y="177"/>
                </a:lnTo>
                <a:lnTo>
                  <a:pt x="421" y="172"/>
                </a:lnTo>
                <a:lnTo>
                  <a:pt x="429" y="166"/>
                </a:lnTo>
                <a:lnTo>
                  <a:pt x="437" y="162"/>
                </a:lnTo>
                <a:lnTo>
                  <a:pt x="444" y="156"/>
                </a:lnTo>
                <a:lnTo>
                  <a:pt x="452" y="153"/>
                </a:lnTo>
                <a:lnTo>
                  <a:pt x="458" y="149"/>
                </a:lnTo>
                <a:lnTo>
                  <a:pt x="465" y="143"/>
                </a:lnTo>
                <a:lnTo>
                  <a:pt x="471" y="137"/>
                </a:lnTo>
                <a:lnTo>
                  <a:pt x="477" y="132"/>
                </a:lnTo>
                <a:lnTo>
                  <a:pt x="480" y="126"/>
                </a:lnTo>
                <a:lnTo>
                  <a:pt x="484" y="118"/>
                </a:lnTo>
                <a:lnTo>
                  <a:pt x="486" y="109"/>
                </a:lnTo>
                <a:lnTo>
                  <a:pt x="486" y="99"/>
                </a:lnTo>
                <a:lnTo>
                  <a:pt x="486" y="99"/>
                </a:lnTo>
                <a:lnTo>
                  <a:pt x="486" y="94"/>
                </a:lnTo>
                <a:lnTo>
                  <a:pt x="486" y="88"/>
                </a:lnTo>
                <a:lnTo>
                  <a:pt x="486" y="84"/>
                </a:lnTo>
                <a:lnTo>
                  <a:pt x="484" y="80"/>
                </a:lnTo>
                <a:lnTo>
                  <a:pt x="484" y="76"/>
                </a:lnTo>
                <a:lnTo>
                  <a:pt x="484" y="73"/>
                </a:lnTo>
                <a:lnTo>
                  <a:pt x="486" y="69"/>
                </a:lnTo>
                <a:lnTo>
                  <a:pt x="486" y="65"/>
                </a:lnTo>
                <a:lnTo>
                  <a:pt x="486" y="65"/>
                </a:lnTo>
                <a:lnTo>
                  <a:pt x="480" y="63"/>
                </a:lnTo>
                <a:lnTo>
                  <a:pt x="475" y="63"/>
                </a:lnTo>
                <a:lnTo>
                  <a:pt x="469" y="61"/>
                </a:lnTo>
                <a:lnTo>
                  <a:pt x="463" y="59"/>
                </a:lnTo>
                <a:lnTo>
                  <a:pt x="459" y="59"/>
                </a:lnTo>
                <a:lnTo>
                  <a:pt x="454" y="57"/>
                </a:lnTo>
                <a:lnTo>
                  <a:pt x="452" y="55"/>
                </a:lnTo>
                <a:lnTo>
                  <a:pt x="448" y="53"/>
                </a:lnTo>
                <a:lnTo>
                  <a:pt x="448" y="0"/>
                </a:lnTo>
                <a:lnTo>
                  <a:pt x="448" y="0"/>
                </a:lnTo>
                <a:lnTo>
                  <a:pt x="458" y="8"/>
                </a:lnTo>
                <a:lnTo>
                  <a:pt x="465" y="15"/>
                </a:lnTo>
                <a:lnTo>
                  <a:pt x="471" y="21"/>
                </a:lnTo>
                <a:lnTo>
                  <a:pt x="477" y="31"/>
                </a:lnTo>
                <a:lnTo>
                  <a:pt x="482" y="38"/>
                </a:lnTo>
                <a:lnTo>
                  <a:pt x="488" y="46"/>
                </a:lnTo>
                <a:lnTo>
                  <a:pt x="496" y="55"/>
                </a:lnTo>
                <a:lnTo>
                  <a:pt x="501" y="65"/>
                </a:lnTo>
                <a:lnTo>
                  <a:pt x="501" y="120"/>
                </a:lnTo>
                <a:lnTo>
                  <a:pt x="501" y="120"/>
                </a:lnTo>
                <a:lnTo>
                  <a:pt x="505" y="128"/>
                </a:lnTo>
                <a:lnTo>
                  <a:pt x="509" y="135"/>
                </a:lnTo>
                <a:lnTo>
                  <a:pt x="511" y="143"/>
                </a:lnTo>
                <a:lnTo>
                  <a:pt x="515" y="151"/>
                </a:lnTo>
                <a:lnTo>
                  <a:pt x="517" y="156"/>
                </a:lnTo>
                <a:lnTo>
                  <a:pt x="519" y="164"/>
                </a:lnTo>
                <a:lnTo>
                  <a:pt x="520" y="172"/>
                </a:lnTo>
                <a:lnTo>
                  <a:pt x="522" y="179"/>
                </a:lnTo>
                <a:lnTo>
                  <a:pt x="524" y="185"/>
                </a:lnTo>
                <a:lnTo>
                  <a:pt x="526" y="193"/>
                </a:lnTo>
                <a:lnTo>
                  <a:pt x="528" y="200"/>
                </a:lnTo>
                <a:lnTo>
                  <a:pt x="530" y="206"/>
                </a:lnTo>
                <a:lnTo>
                  <a:pt x="532" y="214"/>
                </a:lnTo>
                <a:lnTo>
                  <a:pt x="534" y="221"/>
                </a:lnTo>
                <a:lnTo>
                  <a:pt x="538" y="227"/>
                </a:lnTo>
                <a:lnTo>
                  <a:pt x="540" y="235"/>
                </a:lnTo>
                <a:lnTo>
                  <a:pt x="540" y="235"/>
                </a:lnTo>
                <a:lnTo>
                  <a:pt x="532" y="235"/>
                </a:lnTo>
                <a:lnTo>
                  <a:pt x="524" y="235"/>
                </a:lnTo>
                <a:lnTo>
                  <a:pt x="515" y="235"/>
                </a:lnTo>
                <a:lnTo>
                  <a:pt x="507" y="235"/>
                </a:lnTo>
                <a:lnTo>
                  <a:pt x="498" y="235"/>
                </a:lnTo>
                <a:lnTo>
                  <a:pt x="490" y="237"/>
                </a:lnTo>
                <a:lnTo>
                  <a:pt x="480" y="237"/>
                </a:lnTo>
                <a:lnTo>
                  <a:pt x="473" y="237"/>
                </a:lnTo>
                <a:lnTo>
                  <a:pt x="465" y="238"/>
                </a:lnTo>
                <a:lnTo>
                  <a:pt x="458" y="240"/>
                </a:lnTo>
                <a:lnTo>
                  <a:pt x="452" y="242"/>
                </a:lnTo>
                <a:lnTo>
                  <a:pt x="446" y="246"/>
                </a:lnTo>
                <a:lnTo>
                  <a:pt x="442" y="250"/>
                </a:lnTo>
                <a:lnTo>
                  <a:pt x="438" y="256"/>
                </a:lnTo>
                <a:lnTo>
                  <a:pt x="437" y="263"/>
                </a:lnTo>
                <a:lnTo>
                  <a:pt x="437" y="271"/>
                </a:lnTo>
                <a:lnTo>
                  <a:pt x="437" y="271"/>
                </a:lnTo>
                <a:lnTo>
                  <a:pt x="437" y="279"/>
                </a:lnTo>
                <a:lnTo>
                  <a:pt x="438" y="286"/>
                </a:lnTo>
                <a:lnTo>
                  <a:pt x="440" y="292"/>
                </a:lnTo>
                <a:lnTo>
                  <a:pt x="442" y="298"/>
                </a:lnTo>
                <a:lnTo>
                  <a:pt x="446" y="303"/>
                </a:lnTo>
                <a:lnTo>
                  <a:pt x="448" y="307"/>
                </a:lnTo>
                <a:lnTo>
                  <a:pt x="452" y="311"/>
                </a:lnTo>
                <a:lnTo>
                  <a:pt x="458" y="315"/>
                </a:lnTo>
                <a:lnTo>
                  <a:pt x="461" y="319"/>
                </a:lnTo>
                <a:lnTo>
                  <a:pt x="467" y="322"/>
                </a:lnTo>
                <a:lnTo>
                  <a:pt x="471" y="326"/>
                </a:lnTo>
                <a:lnTo>
                  <a:pt x="475" y="328"/>
                </a:lnTo>
                <a:lnTo>
                  <a:pt x="480" y="332"/>
                </a:lnTo>
                <a:lnTo>
                  <a:pt x="484" y="336"/>
                </a:lnTo>
                <a:lnTo>
                  <a:pt x="490" y="338"/>
                </a:lnTo>
                <a:lnTo>
                  <a:pt x="492" y="342"/>
                </a:lnTo>
                <a:lnTo>
                  <a:pt x="492" y="342"/>
                </a:lnTo>
                <a:lnTo>
                  <a:pt x="498" y="347"/>
                </a:lnTo>
                <a:lnTo>
                  <a:pt x="503" y="355"/>
                </a:lnTo>
                <a:lnTo>
                  <a:pt x="509" y="361"/>
                </a:lnTo>
                <a:lnTo>
                  <a:pt x="515" y="366"/>
                </a:lnTo>
                <a:lnTo>
                  <a:pt x="519" y="372"/>
                </a:lnTo>
                <a:lnTo>
                  <a:pt x="522" y="378"/>
                </a:lnTo>
                <a:lnTo>
                  <a:pt x="528" y="385"/>
                </a:lnTo>
                <a:lnTo>
                  <a:pt x="532" y="391"/>
                </a:lnTo>
                <a:lnTo>
                  <a:pt x="536" y="399"/>
                </a:lnTo>
                <a:lnTo>
                  <a:pt x="540" y="404"/>
                </a:lnTo>
                <a:lnTo>
                  <a:pt x="541" y="412"/>
                </a:lnTo>
                <a:lnTo>
                  <a:pt x="545" y="420"/>
                </a:lnTo>
                <a:lnTo>
                  <a:pt x="549" y="427"/>
                </a:lnTo>
                <a:lnTo>
                  <a:pt x="551" y="437"/>
                </a:lnTo>
                <a:lnTo>
                  <a:pt x="555" y="445"/>
                </a:lnTo>
                <a:lnTo>
                  <a:pt x="557" y="454"/>
                </a:lnTo>
                <a:lnTo>
                  <a:pt x="557" y="454"/>
                </a:lnTo>
                <a:lnTo>
                  <a:pt x="555" y="454"/>
                </a:lnTo>
                <a:lnTo>
                  <a:pt x="553" y="454"/>
                </a:lnTo>
                <a:lnTo>
                  <a:pt x="551" y="456"/>
                </a:lnTo>
                <a:lnTo>
                  <a:pt x="551" y="456"/>
                </a:lnTo>
                <a:lnTo>
                  <a:pt x="549" y="458"/>
                </a:lnTo>
                <a:lnTo>
                  <a:pt x="547" y="458"/>
                </a:lnTo>
                <a:lnTo>
                  <a:pt x="545" y="458"/>
                </a:lnTo>
                <a:lnTo>
                  <a:pt x="541" y="460"/>
                </a:lnTo>
                <a:lnTo>
                  <a:pt x="541" y="460"/>
                </a:lnTo>
                <a:lnTo>
                  <a:pt x="536" y="466"/>
                </a:lnTo>
                <a:lnTo>
                  <a:pt x="532" y="473"/>
                </a:lnTo>
                <a:lnTo>
                  <a:pt x="526" y="479"/>
                </a:lnTo>
                <a:lnTo>
                  <a:pt x="522" y="487"/>
                </a:lnTo>
                <a:lnTo>
                  <a:pt x="517" y="492"/>
                </a:lnTo>
                <a:lnTo>
                  <a:pt x="513" y="500"/>
                </a:lnTo>
                <a:lnTo>
                  <a:pt x="509" y="506"/>
                </a:lnTo>
                <a:lnTo>
                  <a:pt x="505" y="513"/>
                </a:lnTo>
                <a:lnTo>
                  <a:pt x="501" y="521"/>
                </a:lnTo>
                <a:lnTo>
                  <a:pt x="498" y="527"/>
                </a:lnTo>
                <a:lnTo>
                  <a:pt x="494" y="534"/>
                </a:lnTo>
                <a:lnTo>
                  <a:pt x="490" y="540"/>
                </a:lnTo>
                <a:lnTo>
                  <a:pt x="484" y="548"/>
                </a:lnTo>
                <a:lnTo>
                  <a:pt x="480" y="553"/>
                </a:lnTo>
                <a:lnTo>
                  <a:pt x="475" y="561"/>
                </a:lnTo>
                <a:lnTo>
                  <a:pt x="469" y="567"/>
                </a:lnTo>
                <a:lnTo>
                  <a:pt x="469" y="567"/>
                </a:lnTo>
                <a:lnTo>
                  <a:pt x="471" y="569"/>
                </a:lnTo>
                <a:lnTo>
                  <a:pt x="473" y="570"/>
                </a:lnTo>
                <a:lnTo>
                  <a:pt x="477" y="572"/>
                </a:lnTo>
                <a:lnTo>
                  <a:pt x="478" y="574"/>
                </a:lnTo>
                <a:lnTo>
                  <a:pt x="480" y="576"/>
                </a:lnTo>
                <a:lnTo>
                  <a:pt x="482" y="578"/>
                </a:lnTo>
                <a:lnTo>
                  <a:pt x="482" y="580"/>
                </a:lnTo>
                <a:lnTo>
                  <a:pt x="482" y="582"/>
                </a:lnTo>
                <a:lnTo>
                  <a:pt x="482" y="582"/>
                </a:lnTo>
                <a:lnTo>
                  <a:pt x="484" y="586"/>
                </a:lnTo>
                <a:lnTo>
                  <a:pt x="484" y="588"/>
                </a:lnTo>
                <a:lnTo>
                  <a:pt x="484" y="591"/>
                </a:lnTo>
                <a:lnTo>
                  <a:pt x="484" y="593"/>
                </a:lnTo>
                <a:lnTo>
                  <a:pt x="484" y="597"/>
                </a:lnTo>
                <a:lnTo>
                  <a:pt x="484" y="601"/>
                </a:lnTo>
                <a:lnTo>
                  <a:pt x="482" y="607"/>
                </a:lnTo>
                <a:lnTo>
                  <a:pt x="482" y="611"/>
                </a:lnTo>
                <a:lnTo>
                  <a:pt x="482" y="611"/>
                </a:lnTo>
                <a:lnTo>
                  <a:pt x="484" y="622"/>
                </a:lnTo>
                <a:lnTo>
                  <a:pt x="486" y="633"/>
                </a:lnTo>
                <a:lnTo>
                  <a:pt x="488" y="645"/>
                </a:lnTo>
                <a:lnTo>
                  <a:pt x="490" y="656"/>
                </a:lnTo>
                <a:lnTo>
                  <a:pt x="494" y="668"/>
                </a:lnTo>
                <a:lnTo>
                  <a:pt x="498" y="679"/>
                </a:lnTo>
                <a:lnTo>
                  <a:pt x="503" y="691"/>
                </a:lnTo>
                <a:lnTo>
                  <a:pt x="509" y="700"/>
                </a:lnTo>
                <a:lnTo>
                  <a:pt x="515" y="712"/>
                </a:lnTo>
                <a:lnTo>
                  <a:pt x="520" y="721"/>
                </a:lnTo>
                <a:lnTo>
                  <a:pt x="526" y="731"/>
                </a:lnTo>
                <a:lnTo>
                  <a:pt x="532" y="740"/>
                </a:lnTo>
                <a:lnTo>
                  <a:pt x="538" y="750"/>
                </a:lnTo>
                <a:lnTo>
                  <a:pt x="543" y="757"/>
                </a:lnTo>
                <a:lnTo>
                  <a:pt x="549" y="765"/>
                </a:lnTo>
                <a:lnTo>
                  <a:pt x="555" y="773"/>
                </a:lnTo>
                <a:lnTo>
                  <a:pt x="555" y="773"/>
                </a:lnTo>
                <a:lnTo>
                  <a:pt x="559" y="776"/>
                </a:lnTo>
                <a:lnTo>
                  <a:pt x="562" y="780"/>
                </a:lnTo>
                <a:lnTo>
                  <a:pt x="566" y="784"/>
                </a:lnTo>
                <a:lnTo>
                  <a:pt x="570" y="788"/>
                </a:lnTo>
                <a:lnTo>
                  <a:pt x="576" y="792"/>
                </a:lnTo>
                <a:lnTo>
                  <a:pt x="580" y="794"/>
                </a:lnTo>
                <a:lnTo>
                  <a:pt x="585" y="797"/>
                </a:lnTo>
                <a:lnTo>
                  <a:pt x="589" y="801"/>
                </a:lnTo>
                <a:lnTo>
                  <a:pt x="593" y="805"/>
                </a:lnTo>
                <a:lnTo>
                  <a:pt x="597" y="809"/>
                </a:lnTo>
                <a:lnTo>
                  <a:pt x="601" y="813"/>
                </a:lnTo>
                <a:lnTo>
                  <a:pt x="604" y="818"/>
                </a:lnTo>
                <a:lnTo>
                  <a:pt x="606" y="824"/>
                </a:lnTo>
                <a:lnTo>
                  <a:pt x="608" y="830"/>
                </a:lnTo>
                <a:lnTo>
                  <a:pt x="610" y="838"/>
                </a:lnTo>
                <a:lnTo>
                  <a:pt x="610" y="845"/>
                </a:lnTo>
                <a:lnTo>
                  <a:pt x="610" y="845"/>
                </a:lnTo>
                <a:lnTo>
                  <a:pt x="610" y="847"/>
                </a:lnTo>
                <a:lnTo>
                  <a:pt x="610" y="845"/>
                </a:lnTo>
                <a:lnTo>
                  <a:pt x="610" y="843"/>
                </a:lnTo>
                <a:lnTo>
                  <a:pt x="610" y="845"/>
                </a:lnTo>
                <a:lnTo>
                  <a:pt x="610" y="838"/>
                </a:lnTo>
                <a:lnTo>
                  <a:pt x="610" y="838"/>
                </a:lnTo>
                <a:lnTo>
                  <a:pt x="606" y="845"/>
                </a:lnTo>
                <a:lnTo>
                  <a:pt x="604" y="851"/>
                </a:lnTo>
                <a:lnTo>
                  <a:pt x="602" y="859"/>
                </a:lnTo>
                <a:lnTo>
                  <a:pt x="601" y="866"/>
                </a:lnTo>
                <a:lnTo>
                  <a:pt x="601" y="874"/>
                </a:lnTo>
                <a:lnTo>
                  <a:pt x="599" y="881"/>
                </a:lnTo>
                <a:lnTo>
                  <a:pt x="597" y="889"/>
                </a:lnTo>
                <a:lnTo>
                  <a:pt x="593" y="897"/>
                </a:lnTo>
                <a:lnTo>
                  <a:pt x="593" y="897"/>
                </a:lnTo>
                <a:lnTo>
                  <a:pt x="591" y="895"/>
                </a:lnTo>
                <a:lnTo>
                  <a:pt x="587" y="893"/>
                </a:lnTo>
                <a:lnTo>
                  <a:pt x="583" y="891"/>
                </a:lnTo>
                <a:lnTo>
                  <a:pt x="580" y="887"/>
                </a:lnTo>
                <a:lnTo>
                  <a:pt x="574" y="885"/>
                </a:lnTo>
                <a:lnTo>
                  <a:pt x="568" y="885"/>
                </a:lnTo>
                <a:lnTo>
                  <a:pt x="562" y="883"/>
                </a:lnTo>
                <a:lnTo>
                  <a:pt x="557" y="883"/>
                </a:lnTo>
                <a:lnTo>
                  <a:pt x="557" y="883"/>
                </a:lnTo>
                <a:lnTo>
                  <a:pt x="549" y="881"/>
                </a:lnTo>
                <a:lnTo>
                  <a:pt x="540" y="881"/>
                </a:lnTo>
                <a:lnTo>
                  <a:pt x="532" y="879"/>
                </a:lnTo>
                <a:lnTo>
                  <a:pt x="524" y="878"/>
                </a:lnTo>
                <a:lnTo>
                  <a:pt x="517" y="876"/>
                </a:lnTo>
                <a:lnTo>
                  <a:pt x="511" y="874"/>
                </a:lnTo>
                <a:lnTo>
                  <a:pt x="505" y="872"/>
                </a:lnTo>
                <a:lnTo>
                  <a:pt x="498" y="868"/>
                </a:lnTo>
                <a:lnTo>
                  <a:pt x="492" y="866"/>
                </a:lnTo>
                <a:lnTo>
                  <a:pt x="484" y="864"/>
                </a:lnTo>
                <a:lnTo>
                  <a:pt x="478" y="862"/>
                </a:lnTo>
                <a:lnTo>
                  <a:pt x="471" y="860"/>
                </a:lnTo>
                <a:lnTo>
                  <a:pt x="463" y="859"/>
                </a:lnTo>
                <a:lnTo>
                  <a:pt x="456" y="857"/>
                </a:lnTo>
                <a:lnTo>
                  <a:pt x="446" y="857"/>
                </a:lnTo>
                <a:lnTo>
                  <a:pt x="437" y="855"/>
                </a:lnTo>
                <a:lnTo>
                  <a:pt x="437" y="855"/>
                </a:lnTo>
                <a:lnTo>
                  <a:pt x="425" y="855"/>
                </a:lnTo>
                <a:lnTo>
                  <a:pt x="416" y="857"/>
                </a:lnTo>
                <a:lnTo>
                  <a:pt x="406" y="857"/>
                </a:lnTo>
                <a:lnTo>
                  <a:pt x="398" y="859"/>
                </a:lnTo>
                <a:lnTo>
                  <a:pt x="391" y="860"/>
                </a:lnTo>
                <a:lnTo>
                  <a:pt x="383" y="864"/>
                </a:lnTo>
                <a:lnTo>
                  <a:pt x="377" y="868"/>
                </a:lnTo>
                <a:lnTo>
                  <a:pt x="374" y="872"/>
                </a:lnTo>
                <a:lnTo>
                  <a:pt x="366" y="868"/>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58" name="Freeform 30"/>
          <p:cNvSpPr>
            <a:spLocks/>
          </p:cNvSpPr>
          <p:nvPr>
            <p:custDataLst>
              <p:tags r:id="rId30"/>
            </p:custDataLst>
          </p:nvPr>
        </p:nvSpPr>
        <p:spPr bwMode="gray">
          <a:xfrm>
            <a:off x="2774787" y="2755194"/>
            <a:ext cx="866614" cy="680293"/>
          </a:xfrm>
          <a:custGeom>
            <a:avLst/>
            <a:gdLst/>
            <a:ahLst/>
            <a:cxnLst>
              <a:cxn ang="0">
                <a:pos x="442" y="730"/>
              </a:cxn>
              <a:cxn ang="0">
                <a:pos x="421" y="738"/>
              </a:cxn>
              <a:cxn ang="0">
                <a:pos x="379" y="751"/>
              </a:cxn>
              <a:cxn ang="0">
                <a:pos x="339" y="755"/>
              </a:cxn>
              <a:cxn ang="0">
                <a:pos x="311" y="757"/>
              </a:cxn>
              <a:cxn ang="0">
                <a:pos x="280" y="761"/>
              </a:cxn>
              <a:cxn ang="0">
                <a:pos x="236" y="751"/>
              </a:cxn>
              <a:cxn ang="0">
                <a:pos x="208" y="703"/>
              </a:cxn>
              <a:cxn ang="0">
                <a:pos x="183" y="658"/>
              </a:cxn>
              <a:cxn ang="0">
                <a:pos x="141" y="608"/>
              </a:cxn>
              <a:cxn ang="0">
                <a:pos x="97" y="599"/>
              </a:cxn>
              <a:cxn ang="0">
                <a:pos x="4" y="595"/>
              </a:cxn>
              <a:cxn ang="0">
                <a:pos x="4" y="427"/>
              </a:cxn>
              <a:cxn ang="0">
                <a:pos x="23" y="394"/>
              </a:cxn>
              <a:cxn ang="0">
                <a:pos x="30" y="352"/>
              </a:cxn>
              <a:cxn ang="0">
                <a:pos x="61" y="312"/>
              </a:cxn>
              <a:cxn ang="0">
                <a:pos x="93" y="267"/>
              </a:cxn>
              <a:cxn ang="0">
                <a:pos x="88" y="215"/>
              </a:cxn>
              <a:cxn ang="0">
                <a:pos x="78" y="145"/>
              </a:cxn>
              <a:cxn ang="0">
                <a:pos x="99" y="89"/>
              </a:cxn>
              <a:cxn ang="0">
                <a:pos x="124" y="43"/>
              </a:cxn>
              <a:cxn ang="0">
                <a:pos x="147" y="13"/>
              </a:cxn>
              <a:cxn ang="0">
                <a:pos x="202" y="1"/>
              </a:cxn>
              <a:cxn ang="0">
                <a:pos x="242" y="1"/>
              </a:cxn>
              <a:cxn ang="0">
                <a:pos x="288" y="15"/>
              </a:cxn>
              <a:cxn ang="0">
                <a:pos x="313" y="30"/>
              </a:cxn>
              <a:cxn ang="0">
                <a:pos x="341" y="68"/>
              </a:cxn>
              <a:cxn ang="0">
                <a:pos x="372" y="62"/>
              </a:cxn>
              <a:cxn ang="0">
                <a:pos x="400" y="49"/>
              </a:cxn>
              <a:cxn ang="0">
                <a:pos x="435" y="47"/>
              </a:cxn>
              <a:cxn ang="0">
                <a:pos x="477" y="70"/>
              </a:cxn>
              <a:cxn ang="0">
                <a:pos x="528" y="87"/>
              </a:cxn>
              <a:cxn ang="0">
                <a:pos x="578" y="72"/>
              </a:cxn>
              <a:cxn ang="0">
                <a:pos x="627" y="45"/>
              </a:cxn>
              <a:cxn ang="0">
                <a:pos x="683" y="45"/>
              </a:cxn>
              <a:cxn ang="0">
                <a:pos x="723" y="64"/>
              </a:cxn>
              <a:cxn ang="0">
                <a:pos x="759" y="76"/>
              </a:cxn>
              <a:cxn ang="0">
                <a:pos x="799" y="55"/>
              </a:cxn>
              <a:cxn ang="0">
                <a:pos x="851" y="24"/>
              </a:cxn>
              <a:cxn ang="0">
                <a:pos x="879" y="38"/>
              </a:cxn>
              <a:cxn ang="0">
                <a:pos x="906" y="125"/>
              </a:cxn>
              <a:cxn ang="0">
                <a:pos x="938" y="135"/>
              </a:cxn>
              <a:cxn ang="0">
                <a:pos x="944" y="156"/>
              </a:cxn>
              <a:cxn ang="0">
                <a:pos x="938" y="198"/>
              </a:cxn>
              <a:cxn ang="0">
                <a:pos x="895" y="234"/>
              </a:cxn>
              <a:cxn ang="0">
                <a:pos x="858" y="272"/>
              </a:cxn>
              <a:cxn ang="0">
                <a:pos x="835" y="312"/>
              </a:cxn>
              <a:cxn ang="0">
                <a:pos x="835" y="341"/>
              </a:cxn>
              <a:cxn ang="0">
                <a:pos x="826" y="362"/>
              </a:cxn>
              <a:cxn ang="0">
                <a:pos x="803" y="387"/>
              </a:cxn>
              <a:cxn ang="0">
                <a:pos x="793" y="419"/>
              </a:cxn>
              <a:cxn ang="0">
                <a:pos x="767" y="442"/>
              </a:cxn>
              <a:cxn ang="0">
                <a:pos x="746" y="476"/>
              </a:cxn>
              <a:cxn ang="0">
                <a:pos x="734" y="515"/>
              </a:cxn>
              <a:cxn ang="0">
                <a:pos x="702" y="574"/>
              </a:cxn>
              <a:cxn ang="0">
                <a:pos x="673" y="600"/>
              </a:cxn>
              <a:cxn ang="0">
                <a:pos x="629" y="557"/>
              </a:cxn>
              <a:cxn ang="0">
                <a:pos x="612" y="562"/>
              </a:cxn>
              <a:cxn ang="0">
                <a:pos x="578" y="574"/>
              </a:cxn>
              <a:cxn ang="0">
                <a:pos x="515" y="614"/>
              </a:cxn>
              <a:cxn ang="0">
                <a:pos x="481" y="660"/>
              </a:cxn>
              <a:cxn ang="0">
                <a:pos x="471" y="694"/>
              </a:cxn>
              <a:cxn ang="0">
                <a:pos x="462" y="728"/>
              </a:cxn>
            </a:cxnLst>
            <a:rect l="0" t="0" r="r" b="b"/>
            <a:pathLst>
              <a:path w="944" h="763">
                <a:moveTo>
                  <a:pt x="454" y="736"/>
                </a:moveTo>
                <a:lnTo>
                  <a:pt x="454" y="736"/>
                </a:lnTo>
                <a:lnTo>
                  <a:pt x="452" y="736"/>
                </a:lnTo>
                <a:lnTo>
                  <a:pt x="450" y="734"/>
                </a:lnTo>
                <a:lnTo>
                  <a:pt x="446" y="732"/>
                </a:lnTo>
                <a:lnTo>
                  <a:pt x="444" y="732"/>
                </a:lnTo>
                <a:lnTo>
                  <a:pt x="442" y="730"/>
                </a:lnTo>
                <a:lnTo>
                  <a:pt x="441" y="730"/>
                </a:lnTo>
                <a:lnTo>
                  <a:pt x="439" y="728"/>
                </a:lnTo>
                <a:lnTo>
                  <a:pt x="437" y="726"/>
                </a:lnTo>
                <a:lnTo>
                  <a:pt x="437" y="726"/>
                </a:lnTo>
                <a:lnTo>
                  <a:pt x="431" y="732"/>
                </a:lnTo>
                <a:lnTo>
                  <a:pt x="427" y="736"/>
                </a:lnTo>
                <a:lnTo>
                  <a:pt x="421" y="738"/>
                </a:lnTo>
                <a:lnTo>
                  <a:pt x="418" y="742"/>
                </a:lnTo>
                <a:lnTo>
                  <a:pt x="412" y="745"/>
                </a:lnTo>
                <a:lnTo>
                  <a:pt x="406" y="747"/>
                </a:lnTo>
                <a:lnTo>
                  <a:pt x="399" y="747"/>
                </a:lnTo>
                <a:lnTo>
                  <a:pt x="393" y="749"/>
                </a:lnTo>
                <a:lnTo>
                  <a:pt x="385" y="751"/>
                </a:lnTo>
                <a:lnTo>
                  <a:pt x="379" y="751"/>
                </a:lnTo>
                <a:lnTo>
                  <a:pt x="372" y="753"/>
                </a:lnTo>
                <a:lnTo>
                  <a:pt x="366" y="753"/>
                </a:lnTo>
                <a:lnTo>
                  <a:pt x="359" y="753"/>
                </a:lnTo>
                <a:lnTo>
                  <a:pt x="353" y="755"/>
                </a:lnTo>
                <a:lnTo>
                  <a:pt x="345" y="755"/>
                </a:lnTo>
                <a:lnTo>
                  <a:pt x="339" y="755"/>
                </a:lnTo>
                <a:lnTo>
                  <a:pt x="339" y="755"/>
                </a:lnTo>
                <a:lnTo>
                  <a:pt x="336" y="755"/>
                </a:lnTo>
                <a:lnTo>
                  <a:pt x="330" y="755"/>
                </a:lnTo>
                <a:lnTo>
                  <a:pt x="326" y="755"/>
                </a:lnTo>
                <a:lnTo>
                  <a:pt x="322" y="755"/>
                </a:lnTo>
                <a:lnTo>
                  <a:pt x="318" y="755"/>
                </a:lnTo>
                <a:lnTo>
                  <a:pt x="315" y="757"/>
                </a:lnTo>
                <a:lnTo>
                  <a:pt x="311" y="757"/>
                </a:lnTo>
                <a:lnTo>
                  <a:pt x="305" y="757"/>
                </a:lnTo>
                <a:lnTo>
                  <a:pt x="301" y="759"/>
                </a:lnTo>
                <a:lnTo>
                  <a:pt x="297" y="759"/>
                </a:lnTo>
                <a:lnTo>
                  <a:pt x="294" y="761"/>
                </a:lnTo>
                <a:lnTo>
                  <a:pt x="290" y="761"/>
                </a:lnTo>
                <a:lnTo>
                  <a:pt x="284" y="761"/>
                </a:lnTo>
                <a:lnTo>
                  <a:pt x="280" y="761"/>
                </a:lnTo>
                <a:lnTo>
                  <a:pt x="276" y="763"/>
                </a:lnTo>
                <a:lnTo>
                  <a:pt x="273" y="763"/>
                </a:lnTo>
                <a:lnTo>
                  <a:pt x="273" y="763"/>
                </a:lnTo>
                <a:lnTo>
                  <a:pt x="261" y="761"/>
                </a:lnTo>
                <a:lnTo>
                  <a:pt x="252" y="759"/>
                </a:lnTo>
                <a:lnTo>
                  <a:pt x="242" y="757"/>
                </a:lnTo>
                <a:lnTo>
                  <a:pt x="236" y="751"/>
                </a:lnTo>
                <a:lnTo>
                  <a:pt x="229" y="747"/>
                </a:lnTo>
                <a:lnTo>
                  <a:pt x="225" y="742"/>
                </a:lnTo>
                <a:lnTo>
                  <a:pt x="219" y="734"/>
                </a:lnTo>
                <a:lnTo>
                  <a:pt x="217" y="728"/>
                </a:lnTo>
                <a:lnTo>
                  <a:pt x="214" y="721"/>
                </a:lnTo>
                <a:lnTo>
                  <a:pt x="210" y="713"/>
                </a:lnTo>
                <a:lnTo>
                  <a:pt x="208" y="703"/>
                </a:lnTo>
                <a:lnTo>
                  <a:pt x="204" y="696"/>
                </a:lnTo>
                <a:lnTo>
                  <a:pt x="202" y="688"/>
                </a:lnTo>
                <a:lnTo>
                  <a:pt x="198" y="681"/>
                </a:lnTo>
                <a:lnTo>
                  <a:pt x="194" y="673"/>
                </a:lnTo>
                <a:lnTo>
                  <a:pt x="189" y="665"/>
                </a:lnTo>
                <a:lnTo>
                  <a:pt x="189" y="665"/>
                </a:lnTo>
                <a:lnTo>
                  <a:pt x="183" y="658"/>
                </a:lnTo>
                <a:lnTo>
                  <a:pt x="177" y="650"/>
                </a:lnTo>
                <a:lnTo>
                  <a:pt x="173" y="642"/>
                </a:lnTo>
                <a:lnTo>
                  <a:pt x="168" y="635"/>
                </a:lnTo>
                <a:lnTo>
                  <a:pt x="162" y="629"/>
                </a:lnTo>
                <a:lnTo>
                  <a:pt x="156" y="621"/>
                </a:lnTo>
                <a:lnTo>
                  <a:pt x="149" y="616"/>
                </a:lnTo>
                <a:lnTo>
                  <a:pt x="141" y="608"/>
                </a:lnTo>
                <a:lnTo>
                  <a:pt x="141" y="608"/>
                </a:lnTo>
                <a:lnTo>
                  <a:pt x="133" y="604"/>
                </a:lnTo>
                <a:lnTo>
                  <a:pt x="128" y="602"/>
                </a:lnTo>
                <a:lnTo>
                  <a:pt x="120" y="600"/>
                </a:lnTo>
                <a:lnTo>
                  <a:pt x="112" y="600"/>
                </a:lnTo>
                <a:lnTo>
                  <a:pt x="105" y="599"/>
                </a:lnTo>
                <a:lnTo>
                  <a:pt x="97" y="599"/>
                </a:lnTo>
                <a:lnTo>
                  <a:pt x="90" y="595"/>
                </a:lnTo>
                <a:lnTo>
                  <a:pt x="84" y="591"/>
                </a:lnTo>
                <a:lnTo>
                  <a:pt x="6" y="591"/>
                </a:lnTo>
                <a:lnTo>
                  <a:pt x="6" y="591"/>
                </a:lnTo>
                <a:lnTo>
                  <a:pt x="6" y="591"/>
                </a:lnTo>
                <a:lnTo>
                  <a:pt x="6" y="593"/>
                </a:lnTo>
                <a:lnTo>
                  <a:pt x="4" y="595"/>
                </a:lnTo>
                <a:lnTo>
                  <a:pt x="2" y="595"/>
                </a:lnTo>
                <a:lnTo>
                  <a:pt x="2" y="459"/>
                </a:lnTo>
                <a:lnTo>
                  <a:pt x="2" y="459"/>
                </a:lnTo>
                <a:lnTo>
                  <a:pt x="0" y="450"/>
                </a:lnTo>
                <a:lnTo>
                  <a:pt x="0" y="440"/>
                </a:lnTo>
                <a:lnTo>
                  <a:pt x="2" y="433"/>
                </a:lnTo>
                <a:lnTo>
                  <a:pt x="4" y="427"/>
                </a:lnTo>
                <a:lnTo>
                  <a:pt x="8" y="421"/>
                </a:lnTo>
                <a:lnTo>
                  <a:pt x="11" y="415"/>
                </a:lnTo>
                <a:lnTo>
                  <a:pt x="13" y="412"/>
                </a:lnTo>
                <a:lnTo>
                  <a:pt x="17" y="406"/>
                </a:lnTo>
                <a:lnTo>
                  <a:pt x="17" y="406"/>
                </a:lnTo>
                <a:lnTo>
                  <a:pt x="21" y="400"/>
                </a:lnTo>
                <a:lnTo>
                  <a:pt x="23" y="394"/>
                </a:lnTo>
                <a:lnTo>
                  <a:pt x="25" y="387"/>
                </a:lnTo>
                <a:lnTo>
                  <a:pt x="25" y="381"/>
                </a:lnTo>
                <a:lnTo>
                  <a:pt x="25" y="373"/>
                </a:lnTo>
                <a:lnTo>
                  <a:pt x="27" y="368"/>
                </a:lnTo>
                <a:lnTo>
                  <a:pt x="27" y="360"/>
                </a:lnTo>
                <a:lnTo>
                  <a:pt x="30" y="352"/>
                </a:lnTo>
                <a:lnTo>
                  <a:pt x="30" y="352"/>
                </a:lnTo>
                <a:lnTo>
                  <a:pt x="32" y="347"/>
                </a:lnTo>
                <a:lnTo>
                  <a:pt x="36" y="339"/>
                </a:lnTo>
                <a:lnTo>
                  <a:pt x="40" y="333"/>
                </a:lnTo>
                <a:lnTo>
                  <a:pt x="46" y="330"/>
                </a:lnTo>
                <a:lnTo>
                  <a:pt x="51" y="324"/>
                </a:lnTo>
                <a:lnTo>
                  <a:pt x="57" y="318"/>
                </a:lnTo>
                <a:lnTo>
                  <a:pt x="61" y="312"/>
                </a:lnTo>
                <a:lnTo>
                  <a:pt x="67" y="307"/>
                </a:lnTo>
                <a:lnTo>
                  <a:pt x="72" y="303"/>
                </a:lnTo>
                <a:lnTo>
                  <a:pt x="78" y="295"/>
                </a:lnTo>
                <a:lnTo>
                  <a:pt x="82" y="290"/>
                </a:lnTo>
                <a:lnTo>
                  <a:pt x="86" y="282"/>
                </a:lnTo>
                <a:lnTo>
                  <a:pt x="90" y="274"/>
                </a:lnTo>
                <a:lnTo>
                  <a:pt x="93" y="267"/>
                </a:lnTo>
                <a:lnTo>
                  <a:pt x="93" y="259"/>
                </a:lnTo>
                <a:lnTo>
                  <a:pt x="95" y="249"/>
                </a:lnTo>
                <a:lnTo>
                  <a:pt x="95" y="249"/>
                </a:lnTo>
                <a:lnTo>
                  <a:pt x="93" y="238"/>
                </a:lnTo>
                <a:lnTo>
                  <a:pt x="93" y="228"/>
                </a:lnTo>
                <a:lnTo>
                  <a:pt x="90" y="221"/>
                </a:lnTo>
                <a:lnTo>
                  <a:pt x="88" y="215"/>
                </a:lnTo>
                <a:lnTo>
                  <a:pt x="86" y="207"/>
                </a:lnTo>
                <a:lnTo>
                  <a:pt x="82" y="200"/>
                </a:lnTo>
                <a:lnTo>
                  <a:pt x="80" y="192"/>
                </a:lnTo>
                <a:lnTo>
                  <a:pt x="80" y="185"/>
                </a:lnTo>
                <a:lnTo>
                  <a:pt x="80" y="185"/>
                </a:lnTo>
                <a:lnTo>
                  <a:pt x="78" y="162"/>
                </a:lnTo>
                <a:lnTo>
                  <a:pt x="78" y="145"/>
                </a:lnTo>
                <a:lnTo>
                  <a:pt x="78" y="131"/>
                </a:lnTo>
                <a:lnTo>
                  <a:pt x="80" y="120"/>
                </a:lnTo>
                <a:lnTo>
                  <a:pt x="82" y="110"/>
                </a:lnTo>
                <a:lnTo>
                  <a:pt x="86" y="103"/>
                </a:lnTo>
                <a:lnTo>
                  <a:pt x="90" y="97"/>
                </a:lnTo>
                <a:lnTo>
                  <a:pt x="93" y="93"/>
                </a:lnTo>
                <a:lnTo>
                  <a:pt x="99" y="89"/>
                </a:lnTo>
                <a:lnTo>
                  <a:pt x="103" y="85"/>
                </a:lnTo>
                <a:lnTo>
                  <a:pt x="107" y="82"/>
                </a:lnTo>
                <a:lnTo>
                  <a:pt x="112" y="76"/>
                </a:lnTo>
                <a:lnTo>
                  <a:pt x="116" y="72"/>
                </a:lnTo>
                <a:lnTo>
                  <a:pt x="120" y="64"/>
                </a:lnTo>
                <a:lnTo>
                  <a:pt x="122" y="55"/>
                </a:lnTo>
                <a:lnTo>
                  <a:pt x="124" y="43"/>
                </a:lnTo>
                <a:lnTo>
                  <a:pt x="124" y="43"/>
                </a:lnTo>
                <a:lnTo>
                  <a:pt x="126" y="36"/>
                </a:lnTo>
                <a:lnTo>
                  <a:pt x="130" y="30"/>
                </a:lnTo>
                <a:lnTo>
                  <a:pt x="132" y="26"/>
                </a:lnTo>
                <a:lnTo>
                  <a:pt x="137" y="21"/>
                </a:lnTo>
                <a:lnTo>
                  <a:pt x="141" y="17"/>
                </a:lnTo>
                <a:lnTo>
                  <a:pt x="147" y="13"/>
                </a:lnTo>
                <a:lnTo>
                  <a:pt x="154" y="11"/>
                </a:lnTo>
                <a:lnTo>
                  <a:pt x="160" y="9"/>
                </a:lnTo>
                <a:lnTo>
                  <a:pt x="168" y="7"/>
                </a:lnTo>
                <a:lnTo>
                  <a:pt x="177" y="5"/>
                </a:lnTo>
                <a:lnTo>
                  <a:pt x="185" y="3"/>
                </a:lnTo>
                <a:lnTo>
                  <a:pt x="193" y="1"/>
                </a:lnTo>
                <a:lnTo>
                  <a:pt x="202" y="1"/>
                </a:lnTo>
                <a:lnTo>
                  <a:pt x="210" y="1"/>
                </a:lnTo>
                <a:lnTo>
                  <a:pt x="219" y="0"/>
                </a:lnTo>
                <a:lnTo>
                  <a:pt x="227" y="0"/>
                </a:lnTo>
                <a:lnTo>
                  <a:pt x="227" y="0"/>
                </a:lnTo>
                <a:lnTo>
                  <a:pt x="231" y="0"/>
                </a:lnTo>
                <a:lnTo>
                  <a:pt x="236" y="1"/>
                </a:lnTo>
                <a:lnTo>
                  <a:pt x="242" y="1"/>
                </a:lnTo>
                <a:lnTo>
                  <a:pt x="248" y="3"/>
                </a:lnTo>
                <a:lnTo>
                  <a:pt x="256" y="5"/>
                </a:lnTo>
                <a:lnTo>
                  <a:pt x="261" y="7"/>
                </a:lnTo>
                <a:lnTo>
                  <a:pt x="269" y="9"/>
                </a:lnTo>
                <a:lnTo>
                  <a:pt x="275" y="11"/>
                </a:lnTo>
                <a:lnTo>
                  <a:pt x="282" y="13"/>
                </a:lnTo>
                <a:lnTo>
                  <a:pt x="288" y="15"/>
                </a:lnTo>
                <a:lnTo>
                  <a:pt x="294" y="17"/>
                </a:lnTo>
                <a:lnTo>
                  <a:pt x="299" y="21"/>
                </a:lnTo>
                <a:lnTo>
                  <a:pt x="303" y="22"/>
                </a:lnTo>
                <a:lnTo>
                  <a:pt x="307" y="24"/>
                </a:lnTo>
                <a:lnTo>
                  <a:pt x="311" y="28"/>
                </a:lnTo>
                <a:lnTo>
                  <a:pt x="313" y="30"/>
                </a:lnTo>
                <a:lnTo>
                  <a:pt x="313" y="30"/>
                </a:lnTo>
                <a:lnTo>
                  <a:pt x="317" y="36"/>
                </a:lnTo>
                <a:lnTo>
                  <a:pt x="320" y="42"/>
                </a:lnTo>
                <a:lnTo>
                  <a:pt x="324" y="47"/>
                </a:lnTo>
                <a:lnTo>
                  <a:pt x="328" y="55"/>
                </a:lnTo>
                <a:lnTo>
                  <a:pt x="332" y="61"/>
                </a:lnTo>
                <a:lnTo>
                  <a:pt x="338" y="64"/>
                </a:lnTo>
                <a:lnTo>
                  <a:pt x="341" y="68"/>
                </a:lnTo>
                <a:lnTo>
                  <a:pt x="349" y="68"/>
                </a:lnTo>
                <a:lnTo>
                  <a:pt x="349" y="68"/>
                </a:lnTo>
                <a:lnTo>
                  <a:pt x="353" y="68"/>
                </a:lnTo>
                <a:lnTo>
                  <a:pt x="359" y="68"/>
                </a:lnTo>
                <a:lnTo>
                  <a:pt x="362" y="66"/>
                </a:lnTo>
                <a:lnTo>
                  <a:pt x="368" y="64"/>
                </a:lnTo>
                <a:lnTo>
                  <a:pt x="372" y="62"/>
                </a:lnTo>
                <a:lnTo>
                  <a:pt x="376" y="61"/>
                </a:lnTo>
                <a:lnTo>
                  <a:pt x="379" y="59"/>
                </a:lnTo>
                <a:lnTo>
                  <a:pt x="383" y="57"/>
                </a:lnTo>
                <a:lnTo>
                  <a:pt x="387" y="55"/>
                </a:lnTo>
                <a:lnTo>
                  <a:pt x="391" y="53"/>
                </a:lnTo>
                <a:lnTo>
                  <a:pt x="397" y="51"/>
                </a:lnTo>
                <a:lnTo>
                  <a:pt x="400" y="49"/>
                </a:lnTo>
                <a:lnTo>
                  <a:pt x="404" y="47"/>
                </a:lnTo>
                <a:lnTo>
                  <a:pt x="410" y="45"/>
                </a:lnTo>
                <a:lnTo>
                  <a:pt x="414" y="45"/>
                </a:lnTo>
                <a:lnTo>
                  <a:pt x="420" y="45"/>
                </a:lnTo>
                <a:lnTo>
                  <a:pt x="420" y="45"/>
                </a:lnTo>
                <a:lnTo>
                  <a:pt x="427" y="45"/>
                </a:lnTo>
                <a:lnTo>
                  <a:pt x="435" y="47"/>
                </a:lnTo>
                <a:lnTo>
                  <a:pt x="441" y="49"/>
                </a:lnTo>
                <a:lnTo>
                  <a:pt x="448" y="51"/>
                </a:lnTo>
                <a:lnTo>
                  <a:pt x="454" y="55"/>
                </a:lnTo>
                <a:lnTo>
                  <a:pt x="460" y="59"/>
                </a:lnTo>
                <a:lnTo>
                  <a:pt x="465" y="62"/>
                </a:lnTo>
                <a:lnTo>
                  <a:pt x="471" y="66"/>
                </a:lnTo>
                <a:lnTo>
                  <a:pt x="477" y="70"/>
                </a:lnTo>
                <a:lnTo>
                  <a:pt x="482" y="74"/>
                </a:lnTo>
                <a:lnTo>
                  <a:pt x="490" y="78"/>
                </a:lnTo>
                <a:lnTo>
                  <a:pt x="496" y="80"/>
                </a:lnTo>
                <a:lnTo>
                  <a:pt x="503" y="83"/>
                </a:lnTo>
                <a:lnTo>
                  <a:pt x="511" y="85"/>
                </a:lnTo>
                <a:lnTo>
                  <a:pt x="519" y="85"/>
                </a:lnTo>
                <a:lnTo>
                  <a:pt x="528" y="87"/>
                </a:lnTo>
                <a:lnTo>
                  <a:pt x="528" y="87"/>
                </a:lnTo>
                <a:lnTo>
                  <a:pt x="538" y="85"/>
                </a:lnTo>
                <a:lnTo>
                  <a:pt x="547" y="85"/>
                </a:lnTo>
                <a:lnTo>
                  <a:pt x="557" y="82"/>
                </a:lnTo>
                <a:lnTo>
                  <a:pt x="565" y="80"/>
                </a:lnTo>
                <a:lnTo>
                  <a:pt x="570" y="76"/>
                </a:lnTo>
                <a:lnTo>
                  <a:pt x="578" y="72"/>
                </a:lnTo>
                <a:lnTo>
                  <a:pt x="586" y="68"/>
                </a:lnTo>
                <a:lnTo>
                  <a:pt x="591" y="64"/>
                </a:lnTo>
                <a:lnTo>
                  <a:pt x="597" y="61"/>
                </a:lnTo>
                <a:lnTo>
                  <a:pt x="605" y="57"/>
                </a:lnTo>
                <a:lnTo>
                  <a:pt x="612" y="53"/>
                </a:lnTo>
                <a:lnTo>
                  <a:pt x="620" y="49"/>
                </a:lnTo>
                <a:lnTo>
                  <a:pt x="627" y="45"/>
                </a:lnTo>
                <a:lnTo>
                  <a:pt x="637" y="43"/>
                </a:lnTo>
                <a:lnTo>
                  <a:pt x="647" y="42"/>
                </a:lnTo>
                <a:lnTo>
                  <a:pt x="658" y="42"/>
                </a:lnTo>
                <a:lnTo>
                  <a:pt x="658" y="42"/>
                </a:lnTo>
                <a:lnTo>
                  <a:pt x="668" y="42"/>
                </a:lnTo>
                <a:lnTo>
                  <a:pt x="675" y="43"/>
                </a:lnTo>
                <a:lnTo>
                  <a:pt x="683" y="45"/>
                </a:lnTo>
                <a:lnTo>
                  <a:pt x="689" y="47"/>
                </a:lnTo>
                <a:lnTo>
                  <a:pt x="696" y="49"/>
                </a:lnTo>
                <a:lnTo>
                  <a:pt x="702" y="53"/>
                </a:lnTo>
                <a:lnTo>
                  <a:pt x="706" y="55"/>
                </a:lnTo>
                <a:lnTo>
                  <a:pt x="711" y="59"/>
                </a:lnTo>
                <a:lnTo>
                  <a:pt x="717" y="61"/>
                </a:lnTo>
                <a:lnTo>
                  <a:pt x="723" y="64"/>
                </a:lnTo>
                <a:lnTo>
                  <a:pt x="727" y="66"/>
                </a:lnTo>
                <a:lnTo>
                  <a:pt x="732" y="70"/>
                </a:lnTo>
                <a:lnTo>
                  <a:pt x="738" y="72"/>
                </a:lnTo>
                <a:lnTo>
                  <a:pt x="746" y="74"/>
                </a:lnTo>
                <a:lnTo>
                  <a:pt x="751" y="74"/>
                </a:lnTo>
                <a:lnTo>
                  <a:pt x="759" y="76"/>
                </a:lnTo>
                <a:lnTo>
                  <a:pt x="759" y="76"/>
                </a:lnTo>
                <a:lnTo>
                  <a:pt x="763" y="74"/>
                </a:lnTo>
                <a:lnTo>
                  <a:pt x="769" y="72"/>
                </a:lnTo>
                <a:lnTo>
                  <a:pt x="774" y="70"/>
                </a:lnTo>
                <a:lnTo>
                  <a:pt x="780" y="66"/>
                </a:lnTo>
                <a:lnTo>
                  <a:pt x="788" y="62"/>
                </a:lnTo>
                <a:lnTo>
                  <a:pt x="793" y="59"/>
                </a:lnTo>
                <a:lnTo>
                  <a:pt x="799" y="55"/>
                </a:lnTo>
                <a:lnTo>
                  <a:pt x="807" y="49"/>
                </a:lnTo>
                <a:lnTo>
                  <a:pt x="814" y="45"/>
                </a:lnTo>
                <a:lnTo>
                  <a:pt x="820" y="40"/>
                </a:lnTo>
                <a:lnTo>
                  <a:pt x="828" y="36"/>
                </a:lnTo>
                <a:lnTo>
                  <a:pt x="835" y="32"/>
                </a:lnTo>
                <a:lnTo>
                  <a:pt x="843" y="28"/>
                </a:lnTo>
                <a:lnTo>
                  <a:pt x="851" y="24"/>
                </a:lnTo>
                <a:lnTo>
                  <a:pt x="856" y="22"/>
                </a:lnTo>
                <a:lnTo>
                  <a:pt x="864" y="22"/>
                </a:lnTo>
                <a:lnTo>
                  <a:pt x="864" y="17"/>
                </a:lnTo>
                <a:lnTo>
                  <a:pt x="864" y="17"/>
                </a:lnTo>
                <a:lnTo>
                  <a:pt x="868" y="24"/>
                </a:lnTo>
                <a:lnTo>
                  <a:pt x="874" y="32"/>
                </a:lnTo>
                <a:lnTo>
                  <a:pt x="879" y="38"/>
                </a:lnTo>
                <a:lnTo>
                  <a:pt x="885" y="43"/>
                </a:lnTo>
                <a:lnTo>
                  <a:pt x="889" y="51"/>
                </a:lnTo>
                <a:lnTo>
                  <a:pt x="895" y="57"/>
                </a:lnTo>
                <a:lnTo>
                  <a:pt x="900" y="64"/>
                </a:lnTo>
                <a:lnTo>
                  <a:pt x="906" y="72"/>
                </a:lnTo>
                <a:lnTo>
                  <a:pt x="906" y="125"/>
                </a:lnTo>
                <a:lnTo>
                  <a:pt x="906" y="125"/>
                </a:lnTo>
                <a:lnTo>
                  <a:pt x="910" y="127"/>
                </a:lnTo>
                <a:lnTo>
                  <a:pt x="912" y="129"/>
                </a:lnTo>
                <a:lnTo>
                  <a:pt x="917" y="131"/>
                </a:lnTo>
                <a:lnTo>
                  <a:pt x="921" y="131"/>
                </a:lnTo>
                <a:lnTo>
                  <a:pt x="927" y="133"/>
                </a:lnTo>
                <a:lnTo>
                  <a:pt x="933" y="135"/>
                </a:lnTo>
                <a:lnTo>
                  <a:pt x="938" y="135"/>
                </a:lnTo>
                <a:lnTo>
                  <a:pt x="944" y="137"/>
                </a:lnTo>
                <a:lnTo>
                  <a:pt x="944" y="137"/>
                </a:lnTo>
                <a:lnTo>
                  <a:pt x="944" y="141"/>
                </a:lnTo>
                <a:lnTo>
                  <a:pt x="942" y="145"/>
                </a:lnTo>
                <a:lnTo>
                  <a:pt x="942" y="148"/>
                </a:lnTo>
                <a:lnTo>
                  <a:pt x="942" y="152"/>
                </a:lnTo>
                <a:lnTo>
                  <a:pt x="944" y="156"/>
                </a:lnTo>
                <a:lnTo>
                  <a:pt x="944" y="160"/>
                </a:lnTo>
                <a:lnTo>
                  <a:pt x="944" y="166"/>
                </a:lnTo>
                <a:lnTo>
                  <a:pt x="944" y="171"/>
                </a:lnTo>
                <a:lnTo>
                  <a:pt x="944" y="171"/>
                </a:lnTo>
                <a:lnTo>
                  <a:pt x="944" y="181"/>
                </a:lnTo>
                <a:lnTo>
                  <a:pt x="942" y="190"/>
                </a:lnTo>
                <a:lnTo>
                  <a:pt x="938" y="198"/>
                </a:lnTo>
                <a:lnTo>
                  <a:pt x="935" y="204"/>
                </a:lnTo>
                <a:lnTo>
                  <a:pt x="929" y="209"/>
                </a:lnTo>
                <a:lnTo>
                  <a:pt x="923" y="215"/>
                </a:lnTo>
                <a:lnTo>
                  <a:pt x="916" y="221"/>
                </a:lnTo>
                <a:lnTo>
                  <a:pt x="910" y="225"/>
                </a:lnTo>
                <a:lnTo>
                  <a:pt x="902" y="228"/>
                </a:lnTo>
                <a:lnTo>
                  <a:pt x="895" y="234"/>
                </a:lnTo>
                <a:lnTo>
                  <a:pt x="887" y="238"/>
                </a:lnTo>
                <a:lnTo>
                  <a:pt x="879" y="244"/>
                </a:lnTo>
                <a:lnTo>
                  <a:pt x="874" y="249"/>
                </a:lnTo>
                <a:lnTo>
                  <a:pt x="868" y="255"/>
                </a:lnTo>
                <a:lnTo>
                  <a:pt x="864" y="263"/>
                </a:lnTo>
                <a:lnTo>
                  <a:pt x="858" y="272"/>
                </a:lnTo>
                <a:lnTo>
                  <a:pt x="858" y="272"/>
                </a:lnTo>
                <a:lnTo>
                  <a:pt x="856" y="278"/>
                </a:lnTo>
                <a:lnTo>
                  <a:pt x="853" y="284"/>
                </a:lnTo>
                <a:lnTo>
                  <a:pt x="849" y="290"/>
                </a:lnTo>
                <a:lnTo>
                  <a:pt x="845" y="295"/>
                </a:lnTo>
                <a:lnTo>
                  <a:pt x="841" y="303"/>
                </a:lnTo>
                <a:lnTo>
                  <a:pt x="839" y="309"/>
                </a:lnTo>
                <a:lnTo>
                  <a:pt x="835" y="312"/>
                </a:lnTo>
                <a:lnTo>
                  <a:pt x="835" y="316"/>
                </a:lnTo>
                <a:lnTo>
                  <a:pt x="835" y="316"/>
                </a:lnTo>
                <a:lnTo>
                  <a:pt x="835" y="320"/>
                </a:lnTo>
                <a:lnTo>
                  <a:pt x="835" y="326"/>
                </a:lnTo>
                <a:lnTo>
                  <a:pt x="835" y="330"/>
                </a:lnTo>
                <a:lnTo>
                  <a:pt x="835" y="335"/>
                </a:lnTo>
                <a:lnTo>
                  <a:pt x="835" y="341"/>
                </a:lnTo>
                <a:lnTo>
                  <a:pt x="837" y="345"/>
                </a:lnTo>
                <a:lnTo>
                  <a:pt x="835" y="349"/>
                </a:lnTo>
                <a:lnTo>
                  <a:pt x="835" y="352"/>
                </a:lnTo>
                <a:lnTo>
                  <a:pt x="835" y="352"/>
                </a:lnTo>
                <a:lnTo>
                  <a:pt x="833" y="354"/>
                </a:lnTo>
                <a:lnTo>
                  <a:pt x="830" y="358"/>
                </a:lnTo>
                <a:lnTo>
                  <a:pt x="826" y="362"/>
                </a:lnTo>
                <a:lnTo>
                  <a:pt x="820" y="366"/>
                </a:lnTo>
                <a:lnTo>
                  <a:pt x="814" y="370"/>
                </a:lnTo>
                <a:lnTo>
                  <a:pt x="811" y="375"/>
                </a:lnTo>
                <a:lnTo>
                  <a:pt x="807" y="379"/>
                </a:lnTo>
                <a:lnTo>
                  <a:pt x="803" y="385"/>
                </a:lnTo>
                <a:lnTo>
                  <a:pt x="803" y="385"/>
                </a:lnTo>
                <a:lnTo>
                  <a:pt x="803" y="387"/>
                </a:lnTo>
                <a:lnTo>
                  <a:pt x="801" y="393"/>
                </a:lnTo>
                <a:lnTo>
                  <a:pt x="801" y="396"/>
                </a:lnTo>
                <a:lnTo>
                  <a:pt x="801" y="402"/>
                </a:lnTo>
                <a:lnTo>
                  <a:pt x="801" y="408"/>
                </a:lnTo>
                <a:lnTo>
                  <a:pt x="799" y="412"/>
                </a:lnTo>
                <a:lnTo>
                  <a:pt x="797" y="417"/>
                </a:lnTo>
                <a:lnTo>
                  <a:pt x="793" y="419"/>
                </a:lnTo>
                <a:lnTo>
                  <a:pt x="793" y="419"/>
                </a:lnTo>
                <a:lnTo>
                  <a:pt x="790" y="423"/>
                </a:lnTo>
                <a:lnTo>
                  <a:pt x="784" y="427"/>
                </a:lnTo>
                <a:lnTo>
                  <a:pt x="780" y="431"/>
                </a:lnTo>
                <a:lnTo>
                  <a:pt x="776" y="434"/>
                </a:lnTo>
                <a:lnTo>
                  <a:pt x="772" y="438"/>
                </a:lnTo>
                <a:lnTo>
                  <a:pt x="767" y="442"/>
                </a:lnTo>
                <a:lnTo>
                  <a:pt x="763" y="446"/>
                </a:lnTo>
                <a:lnTo>
                  <a:pt x="761" y="450"/>
                </a:lnTo>
                <a:lnTo>
                  <a:pt x="757" y="455"/>
                </a:lnTo>
                <a:lnTo>
                  <a:pt x="753" y="459"/>
                </a:lnTo>
                <a:lnTo>
                  <a:pt x="751" y="465"/>
                </a:lnTo>
                <a:lnTo>
                  <a:pt x="748" y="471"/>
                </a:lnTo>
                <a:lnTo>
                  <a:pt x="746" y="476"/>
                </a:lnTo>
                <a:lnTo>
                  <a:pt x="744" y="482"/>
                </a:lnTo>
                <a:lnTo>
                  <a:pt x="742" y="490"/>
                </a:lnTo>
                <a:lnTo>
                  <a:pt x="740" y="497"/>
                </a:lnTo>
                <a:lnTo>
                  <a:pt x="740" y="497"/>
                </a:lnTo>
                <a:lnTo>
                  <a:pt x="740" y="501"/>
                </a:lnTo>
                <a:lnTo>
                  <a:pt x="738" y="509"/>
                </a:lnTo>
                <a:lnTo>
                  <a:pt x="734" y="515"/>
                </a:lnTo>
                <a:lnTo>
                  <a:pt x="730" y="522"/>
                </a:lnTo>
                <a:lnTo>
                  <a:pt x="727" y="532"/>
                </a:lnTo>
                <a:lnTo>
                  <a:pt x="723" y="539"/>
                </a:lnTo>
                <a:lnTo>
                  <a:pt x="717" y="549"/>
                </a:lnTo>
                <a:lnTo>
                  <a:pt x="713" y="559"/>
                </a:lnTo>
                <a:lnTo>
                  <a:pt x="708" y="566"/>
                </a:lnTo>
                <a:lnTo>
                  <a:pt x="702" y="574"/>
                </a:lnTo>
                <a:lnTo>
                  <a:pt x="696" y="581"/>
                </a:lnTo>
                <a:lnTo>
                  <a:pt x="692" y="587"/>
                </a:lnTo>
                <a:lnTo>
                  <a:pt x="687" y="593"/>
                </a:lnTo>
                <a:lnTo>
                  <a:pt x="681" y="597"/>
                </a:lnTo>
                <a:lnTo>
                  <a:pt x="677" y="600"/>
                </a:lnTo>
                <a:lnTo>
                  <a:pt x="673" y="600"/>
                </a:lnTo>
                <a:lnTo>
                  <a:pt x="673" y="600"/>
                </a:lnTo>
                <a:lnTo>
                  <a:pt x="666" y="599"/>
                </a:lnTo>
                <a:lnTo>
                  <a:pt x="660" y="595"/>
                </a:lnTo>
                <a:lnTo>
                  <a:pt x="654" y="589"/>
                </a:lnTo>
                <a:lnTo>
                  <a:pt x="648" y="581"/>
                </a:lnTo>
                <a:lnTo>
                  <a:pt x="643" y="572"/>
                </a:lnTo>
                <a:lnTo>
                  <a:pt x="637" y="564"/>
                </a:lnTo>
                <a:lnTo>
                  <a:pt x="629" y="557"/>
                </a:lnTo>
                <a:lnTo>
                  <a:pt x="622" y="549"/>
                </a:lnTo>
                <a:lnTo>
                  <a:pt x="622" y="549"/>
                </a:lnTo>
                <a:lnTo>
                  <a:pt x="622" y="551"/>
                </a:lnTo>
                <a:lnTo>
                  <a:pt x="620" y="555"/>
                </a:lnTo>
                <a:lnTo>
                  <a:pt x="618" y="557"/>
                </a:lnTo>
                <a:lnTo>
                  <a:pt x="614" y="560"/>
                </a:lnTo>
                <a:lnTo>
                  <a:pt x="612" y="562"/>
                </a:lnTo>
                <a:lnTo>
                  <a:pt x="608" y="566"/>
                </a:lnTo>
                <a:lnTo>
                  <a:pt x="606" y="568"/>
                </a:lnTo>
                <a:lnTo>
                  <a:pt x="603" y="568"/>
                </a:lnTo>
                <a:lnTo>
                  <a:pt x="603" y="568"/>
                </a:lnTo>
                <a:lnTo>
                  <a:pt x="595" y="568"/>
                </a:lnTo>
                <a:lnTo>
                  <a:pt x="586" y="570"/>
                </a:lnTo>
                <a:lnTo>
                  <a:pt x="578" y="574"/>
                </a:lnTo>
                <a:lnTo>
                  <a:pt x="568" y="576"/>
                </a:lnTo>
                <a:lnTo>
                  <a:pt x="559" y="581"/>
                </a:lnTo>
                <a:lnTo>
                  <a:pt x="549" y="587"/>
                </a:lnTo>
                <a:lnTo>
                  <a:pt x="540" y="593"/>
                </a:lnTo>
                <a:lnTo>
                  <a:pt x="532" y="599"/>
                </a:lnTo>
                <a:lnTo>
                  <a:pt x="523" y="606"/>
                </a:lnTo>
                <a:lnTo>
                  <a:pt x="515" y="614"/>
                </a:lnTo>
                <a:lnTo>
                  <a:pt x="507" y="621"/>
                </a:lnTo>
                <a:lnTo>
                  <a:pt x="500" y="629"/>
                </a:lnTo>
                <a:lnTo>
                  <a:pt x="494" y="637"/>
                </a:lnTo>
                <a:lnTo>
                  <a:pt x="488" y="644"/>
                </a:lnTo>
                <a:lnTo>
                  <a:pt x="484" y="652"/>
                </a:lnTo>
                <a:lnTo>
                  <a:pt x="481" y="660"/>
                </a:lnTo>
                <a:lnTo>
                  <a:pt x="481" y="660"/>
                </a:lnTo>
                <a:lnTo>
                  <a:pt x="479" y="665"/>
                </a:lnTo>
                <a:lnTo>
                  <a:pt x="477" y="669"/>
                </a:lnTo>
                <a:lnTo>
                  <a:pt x="477" y="675"/>
                </a:lnTo>
                <a:lnTo>
                  <a:pt x="475" y="679"/>
                </a:lnTo>
                <a:lnTo>
                  <a:pt x="473" y="684"/>
                </a:lnTo>
                <a:lnTo>
                  <a:pt x="473" y="690"/>
                </a:lnTo>
                <a:lnTo>
                  <a:pt x="471" y="694"/>
                </a:lnTo>
                <a:lnTo>
                  <a:pt x="471" y="700"/>
                </a:lnTo>
                <a:lnTo>
                  <a:pt x="469" y="703"/>
                </a:lnTo>
                <a:lnTo>
                  <a:pt x="467" y="709"/>
                </a:lnTo>
                <a:lnTo>
                  <a:pt x="467" y="715"/>
                </a:lnTo>
                <a:lnTo>
                  <a:pt x="465" y="719"/>
                </a:lnTo>
                <a:lnTo>
                  <a:pt x="463" y="724"/>
                </a:lnTo>
                <a:lnTo>
                  <a:pt x="462" y="728"/>
                </a:lnTo>
                <a:lnTo>
                  <a:pt x="460" y="732"/>
                </a:lnTo>
                <a:lnTo>
                  <a:pt x="458" y="738"/>
                </a:lnTo>
                <a:lnTo>
                  <a:pt x="454" y="736"/>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59" name="Freeform 31"/>
          <p:cNvSpPr>
            <a:spLocks/>
          </p:cNvSpPr>
          <p:nvPr>
            <p:custDataLst>
              <p:tags r:id="rId31"/>
            </p:custDataLst>
          </p:nvPr>
        </p:nvSpPr>
        <p:spPr bwMode="gray">
          <a:xfrm>
            <a:off x="2645208" y="2852372"/>
            <a:ext cx="217059" cy="438950"/>
          </a:xfrm>
          <a:custGeom>
            <a:avLst/>
            <a:gdLst/>
            <a:ahLst/>
            <a:cxnLst>
              <a:cxn ang="0">
                <a:pos x="147" y="485"/>
              </a:cxn>
              <a:cxn ang="0">
                <a:pos x="143" y="489"/>
              </a:cxn>
              <a:cxn ang="0">
                <a:pos x="141" y="344"/>
              </a:cxn>
              <a:cxn ang="0">
                <a:pos x="145" y="321"/>
              </a:cxn>
              <a:cxn ang="0">
                <a:pos x="154" y="306"/>
              </a:cxn>
              <a:cxn ang="0">
                <a:pos x="162" y="294"/>
              </a:cxn>
              <a:cxn ang="0">
                <a:pos x="166" y="275"/>
              </a:cxn>
              <a:cxn ang="0">
                <a:pos x="168" y="254"/>
              </a:cxn>
              <a:cxn ang="0">
                <a:pos x="173" y="241"/>
              </a:cxn>
              <a:cxn ang="0">
                <a:pos x="187" y="224"/>
              </a:cxn>
              <a:cxn ang="0">
                <a:pos x="202" y="206"/>
              </a:cxn>
              <a:cxn ang="0">
                <a:pos x="219" y="189"/>
              </a:cxn>
              <a:cxn ang="0">
                <a:pos x="231" y="168"/>
              </a:cxn>
              <a:cxn ang="0">
                <a:pos x="236" y="143"/>
              </a:cxn>
              <a:cxn ang="0">
                <a:pos x="232" y="122"/>
              </a:cxn>
              <a:cxn ang="0">
                <a:pos x="225" y="101"/>
              </a:cxn>
              <a:cxn ang="0">
                <a:pos x="221" y="79"/>
              </a:cxn>
              <a:cxn ang="0">
                <a:pos x="221" y="71"/>
              </a:cxn>
              <a:cxn ang="0">
                <a:pos x="221" y="61"/>
              </a:cxn>
              <a:cxn ang="0">
                <a:pos x="221" y="50"/>
              </a:cxn>
              <a:cxn ang="0">
                <a:pos x="217" y="52"/>
              </a:cxn>
              <a:cxn ang="0">
                <a:pos x="194" y="25"/>
              </a:cxn>
              <a:cxn ang="0">
                <a:pos x="168" y="2"/>
              </a:cxn>
              <a:cxn ang="0">
                <a:pos x="158" y="2"/>
              </a:cxn>
              <a:cxn ang="0">
                <a:pos x="137" y="14"/>
              </a:cxn>
              <a:cxn ang="0">
                <a:pos x="122" y="25"/>
              </a:cxn>
              <a:cxn ang="0">
                <a:pos x="120" y="37"/>
              </a:cxn>
              <a:cxn ang="0">
                <a:pos x="110" y="61"/>
              </a:cxn>
              <a:cxn ang="0">
                <a:pos x="87" y="77"/>
              </a:cxn>
              <a:cxn ang="0">
                <a:pos x="68" y="79"/>
              </a:cxn>
              <a:cxn ang="0">
                <a:pos x="47" y="80"/>
              </a:cxn>
              <a:cxn ang="0">
                <a:pos x="28" y="90"/>
              </a:cxn>
              <a:cxn ang="0">
                <a:pos x="13" y="103"/>
              </a:cxn>
              <a:cxn ang="0">
                <a:pos x="4" y="122"/>
              </a:cxn>
              <a:cxn ang="0">
                <a:pos x="0" y="145"/>
              </a:cxn>
              <a:cxn ang="0">
                <a:pos x="2" y="166"/>
              </a:cxn>
              <a:cxn ang="0">
                <a:pos x="15" y="191"/>
              </a:cxn>
              <a:cxn ang="0">
                <a:pos x="32" y="214"/>
              </a:cxn>
              <a:cxn ang="0">
                <a:pos x="49" y="237"/>
              </a:cxn>
              <a:cxn ang="0">
                <a:pos x="61" y="262"/>
              </a:cxn>
              <a:cxn ang="0">
                <a:pos x="65" y="283"/>
              </a:cxn>
              <a:cxn ang="0">
                <a:pos x="63" y="315"/>
              </a:cxn>
              <a:cxn ang="0">
                <a:pos x="57" y="348"/>
              </a:cxn>
              <a:cxn ang="0">
                <a:pos x="51" y="378"/>
              </a:cxn>
              <a:cxn ang="0">
                <a:pos x="46" y="411"/>
              </a:cxn>
              <a:cxn ang="0">
                <a:pos x="44" y="447"/>
              </a:cxn>
              <a:cxn ang="0">
                <a:pos x="44" y="464"/>
              </a:cxn>
              <a:cxn ang="0">
                <a:pos x="51" y="481"/>
              </a:cxn>
              <a:cxn ang="0">
                <a:pos x="61" y="493"/>
              </a:cxn>
              <a:cxn ang="0">
                <a:pos x="68" y="494"/>
              </a:cxn>
              <a:cxn ang="0">
                <a:pos x="84" y="493"/>
              </a:cxn>
              <a:cxn ang="0">
                <a:pos x="97" y="491"/>
              </a:cxn>
              <a:cxn ang="0">
                <a:pos x="112" y="489"/>
              </a:cxn>
              <a:cxn ang="0">
                <a:pos x="128" y="485"/>
              </a:cxn>
              <a:cxn ang="0">
                <a:pos x="143" y="483"/>
              </a:cxn>
            </a:cxnLst>
            <a:rect l="0" t="0" r="r" b="b"/>
            <a:pathLst>
              <a:path w="236" h="494">
                <a:moveTo>
                  <a:pt x="147" y="485"/>
                </a:moveTo>
                <a:lnTo>
                  <a:pt x="147" y="485"/>
                </a:lnTo>
                <a:lnTo>
                  <a:pt x="147" y="485"/>
                </a:lnTo>
                <a:lnTo>
                  <a:pt x="147" y="487"/>
                </a:lnTo>
                <a:lnTo>
                  <a:pt x="145" y="489"/>
                </a:lnTo>
                <a:lnTo>
                  <a:pt x="143" y="489"/>
                </a:lnTo>
                <a:lnTo>
                  <a:pt x="143" y="353"/>
                </a:lnTo>
                <a:lnTo>
                  <a:pt x="143" y="353"/>
                </a:lnTo>
                <a:lnTo>
                  <a:pt x="141" y="344"/>
                </a:lnTo>
                <a:lnTo>
                  <a:pt x="141" y="334"/>
                </a:lnTo>
                <a:lnTo>
                  <a:pt x="143" y="327"/>
                </a:lnTo>
                <a:lnTo>
                  <a:pt x="145" y="321"/>
                </a:lnTo>
                <a:lnTo>
                  <a:pt x="149" y="315"/>
                </a:lnTo>
                <a:lnTo>
                  <a:pt x="152" y="309"/>
                </a:lnTo>
                <a:lnTo>
                  <a:pt x="154" y="306"/>
                </a:lnTo>
                <a:lnTo>
                  <a:pt x="158" y="300"/>
                </a:lnTo>
                <a:lnTo>
                  <a:pt x="158" y="300"/>
                </a:lnTo>
                <a:lnTo>
                  <a:pt x="162" y="294"/>
                </a:lnTo>
                <a:lnTo>
                  <a:pt x="164" y="288"/>
                </a:lnTo>
                <a:lnTo>
                  <a:pt x="166" y="281"/>
                </a:lnTo>
                <a:lnTo>
                  <a:pt x="166" y="275"/>
                </a:lnTo>
                <a:lnTo>
                  <a:pt x="166" y="267"/>
                </a:lnTo>
                <a:lnTo>
                  <a:pt x="168" y="262"/>
                </a:lnTo>
                <a:lnTo>
                  <a:pt x="168" y="254"/>
                </a:lnTo>
                <a:lnTo>
                  <a:pt x="171" y="246"/>
                </a:lnTo>
                <a:lnTo>
                  <a:pt x="171" y="246"/>
                </a:lnTo>
                <a:lnTo>
                  <a:pt x="173" y="241"/>
                </a:lnTo>
                <a:lnTo>
                  <a:pt x="177" y="233"/>
                </a:lnTo>
                <a:lnTo>
                  <a:pt x="181" y="227"/>
                </a:lnTo>
                <a:lnTo>
                  <a:pt x="187" y="224"/>
                </a:lnTo>
                <a:lnTo>
                  <a:pt x="192" y="218"/>
                </a:lnTo>
                <a:lnTo>
                  <a:pt x="198" y="212"/>
                </a:lnTo>
                <a:lnTo>
                  <a:pt x="202" y="206"/>
                </a:lnTo>
                <a:lnTo>
                  <a:pt x="208" y="201"/>
                </a:lnTo>
                <a:lnTo>
                  <a:pt x="213" y="197"/>
                </a:lnTo>
                <a:lnTo>
                  <a:pt x="219" y="189"/>
                </a:lnTo>
                <a:lnTo>
                  <a:pt x="223" y="184"/>
                </a:lnTo>
                <a:lnTo>
                  <a:pt x="227" y="176"/>
                </a:lnTo>
                <a:lnTo>
                  <a:pt x="231" y="168"/>
                </a:lnTo>
                <a:lnTo>
                  <a:pt x="234" y="161"/>
                </a:lnTo>
                <a:lnTo>
                  <a:pt x="234" y="153"/>
                </a:lnTo>
                <a:lnTo>
                  <a:pt x="236" y="143"/>
                </a:lnTo>
                <a:lnTo>
                  <a:pt x="236" y="143"/>
                </a:lnTo>
                <a:lnTo>
                  <a:pt x="234" y="132"/>
                </a:lnTo>
                <a:lnTo>
                  <a:pt x="232" y="122"/>
                </a:lnTo>
                <a:lnTo>
                  <a:pt x="231" y="115"/>
                </a:lnTo>
                <a:lnTo>
                  <a:pt x="229" y="109"/>
                </a:lnTo>
                <a:lnTo>
                  <a:pt x="225" y="101"/>
                </a:lnTo>
                <a:lnTo>
                  <a:pt x="223" y="94"/>
                </a:lnTo>
                <a:lnTo>
                  <a:pt x="221" y="86"/>
                </a:lnTo>
                <a:lnTo>
                  <a:pt x="221" y="79"/>
                </a:lnTo>
                <a:lnTo>
                  <a:pt x="221" y="79"/>
                </a:lnTo>
                <a:lnTo>
                  <a:pt x="221" y="75"/>
                </a:lnTo>
                <a:lnTo>
                  <a:pt x="221" y="71"/>
                </a:lnTo>
                <a:lnTo>
                  <a:pt x="221" y="67"/>
                </a:lnTo>
                <a:lnTo>
                  <a:pt x="221" y="63"/>
                </a:lnTo>
                <a:lnTo>
                  <a:pt x="221" y="61"/>
                </a:lnTo>
                <a:lnTo>
                  <a:pt x="221" y="58"/>
                </a:lnTo>
                <a:lnTo>
                  <a:pt x="221" y="54"/>
                </a:lnTo>
                <a:lnTo>
                  <a:pt x="221" y="50"/>
                </a:lnTo>
                <a:lnTo>
                  <a:pt x="225" y="58"/>
                </a:lnTo>
                <a:lnTo>
                  <a:pt x="225" y="58"/>
                </a:lnTo>
                <a:lnTo>
                  <a:pt x="217" y="52"/>
                </a:lnTo>
                <a:lnTo>
                  <a:pt x="211" y="44"/>
                </a:lnTo>
                <a:lnTo>
                  <a:pt x="202" y="37"/>
                </a:lnTo>
                <a:lnTo>
                  <a:pt x="194" y="25"/>
                </a:lnTo>
                <a:lnTo>
                  <a:pt x="185" y="16"/>
                </a:lnTo>
                <a:lnTo>
                  <a:pt x="177" y="8"/>
                </a:lnTo>
                <a:lnTo>
                  <a:pt x="168" y="2"/>
                </a:lnTo>
                <a:lnTo>
                  <a:pt x="162" y="0"/>
                </a:lnTo>
                <a:lnTo>
                  <a:pt x="162" y="0"/>
                </a:lnTo>
                <a:lnTo>
                  <a:pt x="158" y="2"/>
                </a:lnTo>
                <a:lnTo>
                  <a:pt x="152" y="4"/>
                </a:lnTo>
                <a:lnTo>
                  <a:pt x="145" y="8"/>
                </a:lnTo>
                <a:lnTo>
                  <a:pt x="137" y="14"/>
                </a:lnTo>
                <a:lnTo>
                  <a:pt x="131" y="18"/>
                </a:lnTo>
                <a:lnTo>
                  <a:pt x="126" y="21"/>
                </a:lnTo>
                <a:lnTo>
                  <a:pt x="122" y="25"/>
                </a:lnTo>
                <a:lnTo>
                  <a:pt x="120" y="29"/>
                </a:lnTo>
                <a:lnTo>
                  <a:pt x="120" y="29"/>
                </a:lnTo>
                <a:lnTo>
                  <a:pt x="120" y="37"/>
                </a:lnTo>
                <a:lnTo>
                  <a:pt x="118" y="46"/>
                </a:lnTo>
                <a:lnTo>
                  <a:pt x="114" y="54"/>
                </a:lnTo>
                <a:lnTo>
                  <a:pt x="110" y="61"/>
                </a:lnTo>
                <a:lnTo>
                  <a:pt x="105" y="67"/>
                </a:lnTo>
                <a:lnTo>
                  <a:pt x="97" y="73"/>
                </a:lnTo>
                <a:lnTo>
                  <a:pt x="87" y="77"/>
                </a:lnTo>
                <a:lnTo>
                  <a:pt x="76" y="79"/>
                </a:lnTo>
                <a:lnTo>
                  <a:pt x="76" y="79"/>
                </a:lnTo>
                <a:lnTo>
                  <a:pt x="68" y="79"/>
                </a:lnTo>
                <a:lnTo>
                  <a:pt x="61" y="79"/>
                </a:lnTo>
                <a:lnTo>
                  <a:pt x="55" y="80"/>
                </a:lnTo>
                <a:lnTo>
                  <a:pt x="47" y="80"/>
                </a:lnTo>
                <a:lnTo>
                  <a:pt x="42" y="84"/>
                </a:lnTo>
                <a:lnTo>
                  <a:pt x="34" y="86"/>
                </a:lnTo>
                <a:lnTo>
                  <a:pt x="28" y="90"/>
                </a:lnTo>
                <a:lnTo>
                  <a:pt x="23" y="94"/>
                </a:lnTo>
                <a:lnTo>
                  <a:pt x="19" y="98"/>
                </a:lnTo>
                <a:lnTo>
                  <a:pt x="13" y="103"/>
                </a:lnTo>
                <a:lnTo>
                  <a:pt x="9" y="109"/>
                </a:lnTo>
                <a:lnTo>
                  <a:pt x="5" y="115"/>
                </a:lnTo>
                <a:lnTo>
                  <a:pt x="4" y="122"/>
                </a:lnTo>
                <a:lnTo>
                  <a:pt x="2" y="128"/>
                </a:lnTo>
                <a:lnTo>
                  <a:pt x="0" y="138"/>
                </a:lnTo>
                <a:lnTo>
                  <a:pt x="0" y="145"/>
                </a:lnTo>
                <a:lnTo>
                  <a:pt x="0" y="145"/>
                </a:lnTo>
                <a:lnTo>
                  <a:pt x="0" y="157"/>
                </a:lnTo>
                <a:lnTo>
                  <a:pt x="2" y="166"/>
                </a:lnTo>
                <a:lnTo>
                  <a:pt x="5" y="174"/>
                </a:lnTo>
                <a:lnTo>
                  <a:pt x="9" y="184"/>
                </a:lnTo>
                <a:lnTo>
                  <a:pt x="15" y="191"/>
                </a:lnTo>
                <a:lnTo>
                  <a:pt x="21" y="199"/>
                </a:lnTo>
                <a:lnTo>
                  <a:pt x="26" y="206"/>
                </a:lnTo>
                <a:lnTo>
                  <a:pt x="32" y="214"/>
                </a:lnTo>
                <a:lnTo>
                  <a:pt x="38" y="222"/>
                </a:lnTo>
                <a:lnTo>
                  <a:pt x="44" y="229"/>
                </a:lnTo>
                <a:lnTo>
                  <a:pt x="49" y="237"/>
                </a:lnTo>
                <a:lnTo>
                  <a:pt x="53" y="245"/>
                </a:lnTo>
                <a:lnTo>
                  <a:pt x="59" y="252"/>
                </a:lnTo>
                <a:lnTo>
                  <a:pt x="61" y="262"/>
                </a:lnTo>
                <a:lnTo>
                  <a:pt x="63" y="271"/>
                </a:lnTo>
                <a:lnTo>
                  <a:pt x="65" y="283"/>
                </a:lnTo>
                <a:lnTo>
                  <a:pt x="65" y="283"/>
                </a:lnTo>
                <a:lnTo>
                  <a:pt x="65" y="292"/>
                </a:lnTo>
                <a:lnTo>
                  <a:pt x="63" y="304"/>
                </a:lnTo>
                <a:lnTo>
                  <a:pt x="63" y="315"/>
                </a:lnTo>
                <a:lnTo>
                  <a:pt x="61" y="327"/>
                </a:lnTo>
                <a:lnTo>
                  <a:pt x="59" y="336"/>
                </a:lnTo>
                <a:lnTo>
                  <a:pt x="57" y="348"/>
                </a:lnTo>
                <a:lnTo>
                  <a:pt x="55" y="357"/>
                </a:lnTo>
                <a:lnTo>
                  <a:pt x="53" y="369"/>
                </a:lnTo>
                <a:lnTo>
                  <a:pt x="51" y="378"/>
                </a:lnTo>
                <a:lnTo>
                  <a:pt x="49" y="390"/>
                </a:lnTo>
                <a:lnTo>
                  <a:pt x="47" y="399"/>
                </a:lnTo>
                <a:lnTo>
                  <a:pt x="46" y="411"/>
                </a:lnTo>
                <a:lnTo>
                  <a:pt x="46" y="422"/>
                </a:lnTo>
                <a:lnTo>
                  <a:pt x="44" y="433"/>
                </a:lnTo>
                <a:lnTo>
                  <a:pt x="44" y="447"/>
                </a:lnTo>
                <a:lnTo>
                  <a:pt x="44" y="458"/>
                </a:lnTo>
                <a:lnTo>
                  <a:pt x="44" y="458"/>
                </a:lnTo>
                <a:lnTo>
                  <a:pt x="44" y="464"/>
                </a:lnTo>
                <a:lnTo>
                  <a:pt x="46" y="470"/>
                </a:lnTo>
                <a:lnTo>
                  <a:pt x="47" y="475"/>
                </a:lnTo>
                <a:lnTo>
                  <a:pt x="51" y="481"/>
                </a:lnTo>
                <a:lnTo>
                  <a:pt x="53" y="487"/>
                </a:lnTo>
                <a:lnTo>
                  <a:pt x="57" y="491"/>
                </a:lnTo>
                <a:lnTo>
                  <a:pt x="61" y="493"/>
                </a:lnTo>
                <a:lnTo>
                  <a:pt x="65" y="494"/>
                </a:lnTo>
                <a:lnTo>
                  <a:pt x="65" y="494"/>
                </a:lnTo>
                <a:lnTo>
                  <a:pt x="68" y="494"/>
                </a:lnTo>
                <a:lnTo>
                  <a:pt x="74" y="494"/>
                </a:lnTo>
                <a:lnTo>
                  <a:pt x="78" y="494"/>
                </a:lnTo>
                <a:lnTo>
                  <a:pt x="84" y="493"/>
                </a:lnTo>
                <a:lnTo>
                  <a:pt x="87" y="493"/>
                </a:lnTo>
                <a:lnTo>
                  <a:pt x="93" y="493"/>
                </a:lnTo>
                <a:lnTo>
                  <a:pt x="97" y="491"/>
                </a:lnTo>
                <a:lnTo>
                  <a:pt x="103" y="491"/>
                </a:lnTo>
                <a:lnTo>
                  <a:pt x="108" y="489"/>
                </a:lnTo>
                <a:lnTo>
                  <a:pt x="112" y="489"/>
                </a:lnTo>
                <a:lnTo>
                  <a:pt x="118" y="487"/>
                </a:lnTo>
                <a:lnTo>
                  <a:pt x="124" y="487"/>
                </a:lnTo>
                <a:lnTo>
                  <a:pt x="128" y="485"/>
                </a:lnTo>
                <a:lnTo>
                  <a:pt x="133" y="485"/>
                </a:lnTo>
                <a:lnTo>
                  <a:pt x="139" y="483"/>
                </a:lnTo>
                <a:lnTo>
                  <a:pt x="143" y="483"/>
                </a:lnTo>
                <a:lnTo>
                  <a:pt x="147" y="485"/>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0" name="Freeform 32"/>
          <p:cNvSpPr>
            <a:spLocks/>
          </p:cNvSpPr>
          <p:nvPr>
            <p:custDataLst>
              <p:tags r:id="rId32"/>
            </p:custDataLst>
          </p:nvPr>
        </p:nvSpPr>
        <p:spPr bwMode="gray">
          <a:xfrm>
            <a:off x="2585267" y="2941457"/>
            <a:ext cx="119868" cy="361204"/>
          </a:xfrm>
          <a:custGeom>
            <a:avLst/>
            <a:gdLst/>
            <a:ahLst/>
            <a:cxnLst>
              <a:cxn ang="0">
                <a:pos x="67" y="27"/>
              </a:cxn>
              <a:cxn ang="0">
                <a:pos x="65" y="35"/>
              </a:cxn>
              <a:cxn ang="0">
                <a:pos x="65" y="42"/>
              </a:cxn>
              <a:cxn ang="0">
                <a:pos x="65" y="56"/>
              </a:cxn>
              <a:cxn ang="0">
                <a:pos x="74" y="83"/>
              </a:cxn>
              <a:cxn ang="0">
                <a:pos x="91" y="105"/>
              </a:cxn>
              <a:cxn ang="0">
                <a:pos x="109" y="128"/>
              </a:cxn>
              <a:cxn ang="0">
                <a:pos x="124" y="151"/>
              </a:cxn>
              <a:cxn ang="0">
                <a:pos x="130" y="182"/>
              </a:cxn>
              <a:cxn ang="0">
                <a:pos x="128" y="203"/>
              </a:cxn>
              <a:cxn ang="0">
                <a:pos x="124" y="235"/>
              </a:cxn>
              <a:cxn ang="0">
                <a:pos x="118" y="268"/>
              </a:cxn>
              <a:cxn ang="0">
                <a:pos x="112" y="298"/>
              </a:cxn>
              <a:cxn ang="0">
                <a:pos x="109" y="332"/>
              </a:cxn>
              <a:cxn ang="0">
                <a:pos x="109" y="357"/>
              </a:cxn>
              <a:cxn ang="0">
                <a:pos x="112" y="374"/>
              </a:cxn>
              <a:cxn ang="0">
                <a:pos x="122" y="390"/>
              </a:cxn>
              <a:cxn ang="0">
                <a:pos x="130" y="393"/>
              </a:cxn>
              <a:cxn ang="0">
                <a:pos x="109" y="401"/>
              </a:cxn>
              <a:cxn ang="0">
                <a:pos x="91" y="407"/>
              </a:cxn>
              <a:cxn ang="0">
                <a:pos x="78" y="407"/>
              </a:cxn>
              <a:cxn ang="0">
                <a:pos x="55" y="393"/>
              </a:cxn>
              <a:cxn ang="0">
                <a:pos x="36" y="363"/>
              </a:cxn>
              <a:cxn ang="0">
                <a:pos x="32" y="342"/>
              </a:cxn>
              <a:cxn ang="0">
                <a:pos x="34" y="329"/>
              </a:cxn>
              <a:cxn ang="0">
                <a:pos x="40" y="317"/>
              </a:cxn>
              <a:cxn ang="0">
                <a:pos x="40" y="311"/>
              </a:cxn>
              <a:cxn ang="0">
                <a:pos x="40" y="302"/>
              </a:cxn>
              <a:cxn ang="0">
                <a:pos x="40" y="298"/>
              </a:cxn>
              <a:cxn ang="0">
                <a:pos x="40" y="292"/>
              </a:cxn>
              <a:cxn ang="0">
                <a:pos x="42" y="285"/>
              </a:cxn>
              <a:cxn ang="0">
                <a:pos x="44" y="271"/>
              </a:cxn>
              <a:cxn ang="0">
                <a:pos x="46" y="258"/>
              </a:cxn>
              <a:cxn ang="0">
                <a:pos x="48" y="243"/>
              </a:cxn>
              <a:cxn ang="0">
                <a:pos x="49" y="229"/>
              </a:cxn>
              <a:cxn ang="0">
                <a:pos x="48" y="218"/>
              </a:cxn>
              <a:cxn ang="0">
                <a:pos x="40" y="205"/>
              </a:cxn>
              <a:cxn ang="0">
                <a:pos x="30" y="195"/>
              </a:cxn>
              <a:cxn ang="0">
                <a:pos x="28" y="184"/>
              </a:cxn>
              <a:cxn ang="0">
                <a:pos x="34" y="168"/>
              </a:cxn>
              <a:cxn ang="0">
                <a:pos x="40" y="157"/>
              </a:cxn>
              <a:cxn ang="0">
                <a:pos x="40" y="147"/>
              </a:cxn>
              <a:cxn ang="0">
                <a:pos x="32" y="134"/>
              </a:cxn>
              <a:cxn ang="0">
                <a:pos x="25" y="119"/>
              </a:cxn>
              <a:cxn ang="0">
                <a:pos x="23" y="105"/>
              </a:cxn>
              <a:cxn ang="0">
                <a:pos x="23" y="92"/>
              </a:cxn>
              <a:cxn ang="0">
                <a:pos x="23" y="84"/>
              </a:cxn>
              <a:cxn ang="0">
                <a:pos x="23" y="75"/>
              </a:cxn>
              <a:cxn ang="0">
                <a:pos x="11" y="58"/>
              </a:cxn>
              <a:cxn ang="0">
                <a:pos x="0" y="37"/>
              </a:cxn>
              <a:cxn ang="0">
                <a:pos x="0" y="21"/>
              </a:cxn>
              <a:cxn ang="0">
                <a:pos x="2" y="8"/>
              </a:cxn>
              <a:cxn ang="0">
                <a:pos x="9" y="0"/>
              </a:cxn>
              <a:cxn ang="0">
                <a:pos x="21" y="0"/>
              </a:cxn>
              <a:cxn ang="0">
                <a:pos x="40" y="8"/>
              </a:cxn>
              <a:cxn ang="0">
                <a:pos x="61" y="18"/>
              </a:cxn>
            </a:cxnLst>
            <a:rect l="0" t="0" r="r" b="b"/>
            <a:pathLst>
              <a:path w="130" h="407">
                <a:moveTo>
                  <a:pt x="67" y="23"/>
                </a:moveTo>
                <a:lnTo>
                  <a:pt x="67" y="23"/>
                </a:lnTo>
                <a:lnTo>
                  <a:pt x="67" y="27"/>
                </a:lnTo>
                <a:lnTo>
                  <a:pt x="65" y="29"/>
                </a:lnTo>
                <a:lnTo>
                  <a:pt x="65" y="31"/>
                </a:lnTo>
                <a:lnTo>
                  <a:pt x="65" y="35"/>
                </a:lnTo>
                <a:lnTo>
                  <a:pt x="65" y="37"/>
                </a:lnTo>
                <a:lnTo>
                  <a:pt x="65" y="39"/>
                </a:lnTo>
                <a:lnTo>
                  <a:pt x="65" y="42"/>
                </a:lnTo>
                <a:lnTo>
                  <a:pt x="65" y="44"/>
                </a:lnTo>
                <a:lnTo>
                  <a:pt x="65" y="44"/>
                </a:lnTo>
                <a:lnTo>
                  <a:pt x="65" y="56"/>
                </a:lnTo>
                <a:lnTo>
                  <a:pt x="67" y="65"/>
                </a:lnTo>
                <a:lnTo>
                  <a:pt x="70" y="73"/>
                </a:lnTo>
                <a:lnTo>
                  <a:pt x="74" y="83"/>
                </a:lnTo>
                <a:lnTo>
                  <a:pt x="80" y="90"/>
                </a:lnTo>
                <a:lnTo>
                  <a:pt x="86" y="98"/>
                </a:lnTo>
                <a:lnTo>
                  <a:pt x="91" y="105"/>
                </a:lnTo>
                <a:lnTo>
                  <a:pt x="97" y="113"/>
                </a:lnTo>
                <a:lnTo>
                  <a:pt x="103" y="121"/>
                </a:lnTo>
                <a:lnTo>
                  <a:pt x="109" y="128"/>
                </a:lnTo>
                <a:lnTo>
                  <a:pt x="114" y="136"/>
                </a:lnTo>
                <a:lnTo>
                  <a:pt x="118" y="144"/>
                </a:lnTo>
                <a:lnTo>
                  <a:pt x="124" y="151"/>
                </a:lnTo>
                <a:lnTo>
                  <a:pt x="126" y="161"/>
                </a:lnTo>
                <a:lnTo>
                  <a:pt x="128" y="170"/>
                </a:lnTo>
                <a:lnTo>
                  <a:pt x="130" y="182"/>
                </a:lnTo>
                <a:lnTo>
                  <a:pt x="130" y="182"/>
                </a:lnTo>
                <a:lnTo>
                  <a:pt x="130" y="191"/>
                </a:lnTo>
                <a:lnTo>
                  <a:pt x="128" y="203"/>
                </a:lnTo>
                <a:lnTo>
                  <a:pt x="128" y="214"/>
                </a:lnTo>
                <a:lnTo>
                  <a:pt x="126" y="226"/>
                </a:lnTo>
                <a:lnTo>
                  <a:pt x="124" y="235"/>
                </a:lnTo>
                <a:lnTo>
                  <a:pt x="122" y="247"/>
                </a:lnTo>
                <a:lnTo>
                  <a:pt x="120" y="256"/>
                </a:lnTo>
                <a:lnTo>
                  <a:pt x="118" y="268"/>
                </a:lnTo>
                <a:lnTo>
                  <a:pt x="116" y="277"/>
                </a:lnTo>
                <a:lnTo>
                  <a:pt x="114" y="289"/>
                </a:lnTo>
                <a:lnTo>
                  <a:pt x="112" y="298"/>
                </a:lnTo>
                <a:lnTo>
                  <a:pt x="111" y="310"/>
                </a:lnTo>
                <a:lnTo>
                  <a:pt x="111" y="321"/>
                </a:lnTo>
                <a:lnTo>
                  <a:pt x="109" y="332"/>
                </a:lnTo>
                <a:lnTo>
                  <a:pt x="109" y="346"/>
                </a:lnTo>
                <a:lnTo>
                  <a:pt x="109" y="357"/>
                </a:lnTo>
                <a:lnTo>
                  <a:pt x="109" y="357"/>
                </a:lnTo>
                <a:lnTo>
                  <a:pt x="109" y="363"/>
                </a:lnTo>
                <a:lnTo>
                  <a:pt x="111" y="369"/>
                </a:lnTo>
                <a:lnTo>
                  <a:pt x="112" y="374"/>
                </a:lnTo>
                <a:lnTo>
                  <a:pt x="116" y="380"/>
                </a:lnTo>
                <a:lnTo>
                  <a:pt x="118" y="386"/>
                </a:lnTo>
                <a:lnTo>
                  <a:pt x="122" y="390"/>
                </a:lnTo>
                <a:lnTo>
                  <a:pt x="126" y="392"/>
                </a:lnTo>
                <a:lnTo>
                  <a:pt x="130" y="393"/>
                </a:lnTo>
                <a:lnTo>
                  <a:pt x="130" y="393"/>
                </a:lnTo>
                <a:lnTo>
                  <a:pt x="122" y="395"/>
                </a:lnTo>
                <a:lnTo>
                  <a:pt x="116" y="397"/>
                </a:lnTo>
                <a:lnTo>
                  <a:pt x="109" y="401"/>
                </a:lnTo>
                <a:lnTo>
                  <a:pt x="105" y="403"/>
                </a:lnTo>
                <a:lnTo>
                  <a:pt x="99" y="405"/>
                </a:lnTo>
                <a:lnTo>
                  <a:pt x="91" y="407"/>
                </a:lnTo>
                <a:lnTo>
                  <a:pt x="86" y="407"/>
                </a:lnTo>
                <a:lnTo>
                  <a:pt x="78" y="407"/>
                </a:lnTo>
                <a:lnTo>
                  <a:pt x="78" y="407"/>
                </a:lnTo>
                <a:lnTo>
                  <a:pt x="70" y="405"/>
                </a:lnTo>
                <a:lnTo>
                  <a:pt x="63" y="401"/>
                </a:lnTo>
                <a:lnTo>
                  <a:pt x="55" y="393"/>
                </a:lnTo>
                <a:lnTo>
                  <a:pt x="48" y="384"/>
                </a:lnTo>
                <a:lnTo>
                  <a:pt x="42" y="372"/>
                </a:lnTo>
                <a:lnTo>
                  <a:pt x="36" y="363"/>
                </a:lnTo>
                <a:lnTo>
                  <a:pt x="32" y="352"/>
                </a:lnTo>
                <a:lnTo>
                  <a:pt x="32" y="342"/>
                </a:lnTo>
                <a:lnTo>
                  <a:pt x="32" y="342"/>
                </a:lnTo>
                <a:lnTo>
                  <a:pt x="32" y="336"/>
                </a:lnTo>
                <a:lnTo>
                  <a:pt x="32" y="332"/>
                </a:lnTo>
                <a:lnTo>
                  <a:pt x="34" y="329"/>
                </a:lnTo>
                <a:lnTo>
                  <a:pt x="36" y="325"/>
                </a:lnTo>
                <a:lnTo>
                  <a:pt x="38" y="321"/>
                </a:lnTo>
                <a:lnTo>
                  <a:pt x="40" y="317"/>
                </a:lnTo>
                <a:lnTo>
                  <a:pt x="40" y="313"/>
                </a:lnTo>
                <a:lnTo>
                  <a:pt x="40" y="311"/>
                </a:lnTo>
                <a:lnTo>
                  <a:pt x="40" y="311"/>
                </a:lnTo>
                <a:lnTo>
                  <a:pt x="40" y="308"/>
                </a:lnTo>
                <a:lnTo>
                  <a:pt x="40" y="304"/>
                </a:lnTo>
                <a:lnTo>
                  <a:pt x="40" y="302"/>
                </a:lnTo>
                <a:lnTo>
                  <a:pt x="40" y="302"/>
                </a:lnTo>
                <a:lnTo>
                  <a:pt x="40" y="300"/>
                </a:lnTo>
                <a:lnTo>
                  <a:pt x="40" y="298"/>
                </a:lnTo>
                <a:lnTo>
                  <a:pt x="40" y="296"/>
                </a:lnTo>
                <a:lnTo>
                  <a:pt x="40" y="292"/>
                </a:lnTo>
                <a:lnTo>
                  <a:pt x="40" y="292"/>
                </a:lnTo>
                <a:lnTo>
                  <a:pt x="40" y="290"/>
                </a:lnTo>
                <a:lnTo>
                  <a:pt x="42" y="287"/>
                </a:lnTo>
                <a:lnTo>
                  <a:pt x="42" y="285"/>
                </a:lnTo>
                <a:lnTo>
                  <a:pt x="42" y="279"/>
                </a:lnTo>
                <a:lnTo>
                  <a:pt x="44" y="275"/>
                </a:lnTo>
                <a:lnTo>
                  <a:pt x="44" y="271"/>
                </a:lnTo>
                <a:lnTo>
                  <a:pt x="44" y="268"/>
                </a:lnTo>
                <a:lnTo>
                  <a:pt x="46" y="262"/>
                </a:lnTo>
                <a:lnTo>
                  <a:pt x="46" y="258"/>
                </a:lnTo>
                <a:lnTo>
                  <a:pt x="48" y="252"/>
                </a:lnTo>
                <a:lnTo>
                  <a:pt x="48" y="247"/>
                </a:lnTo>
                <a:lnTo>
                  <a:pt x="48" y="243"/>
                </a:lnTo>
                <a:lnTo>
                  <a:pt x="48" y="237"/>
                </a:lnTo>
                <a:lnTo>
                  <a:pt x="49" y="233"/>
                </a:lnTo>
                <a:lnTo>
                  <a:pt x="49" y="229"/>
                </a:lnTo>
                <a:lnTo>
                  <a:pt x="49" y="224"/>
                </a:lnTo>
                <a:lnTo>
                  <a:pt x="49" y="224"/>
                </a:lnTo>
                <a:lnTo>
                  <a:pt x="48" y="218"/>
                </a:lnTo>
                <a:lnTo>
                  <a:pt x="46" y="212"/>
                </a:lnTo>
                <a:lnTo>
                  <a:pt x="42" y="208"/>
                </a:lnTo>
                <a:lnTo>
                  <a:pt x="40" y="205"/>
                </a:lnTo>
                <a:lnTo>
                  <a:pt x="36" y="203"/>
                </a:lnTo>
                <a:lnTo>
                  <a:pt x="32" y="199"/>
                </a:lnTo>
                <a:lnTo>
                  <a:pt x="30" y="195"/>
                </a:lnTo>
                <a:lnTo>
                  <a:pt x="28" y="189"/>
                </a:lnTo>
                <a:lnTo>
                  <a:pt x="28" y="189"/>
                </a:lnTo>
                <a:lnTo>
                  <a:pt x="28" y="184"/>
                </a:lnTo>
                <a:lnTo>
                  <a:pt x="30" y="178"/>
                </a:lnTo>
                <a:lnTo>
                  <a:pt x="32" y="174"/>
                </a:lnTo>
                <a:lnTo>
                  <a:pt x="34" y="168"/>
                </a:lnTo>
                <a:lnTo>
                  <a:pt x="38" y="165"/>
                </a:lnTo>
                <a:lnTo>
                  <a:pt x="38" y="161"/>
                </a:lnTo>
                <a:lnTo>
                  <a:pt x="40" y="157"/>
                </a:lnTo>
                <a:lnTo>
                  <a:pt x="40" y="151"/>
                </a:lnTo>
                <a:lnTo>
                  <a:pt x="40" y="151"/>
                </a:lnTo>
                <a:lnTo>
                  <a:pt x="40" y="147"/>
                </a:lnTo>
                <a:lnTo>
                  <a:pt x="38" y="142"/>
                </a:lnTo>
                <a:lnTo>
                  <a:pt x="34" y="140"/>
                </a:lnTo>
                <a:lnTo>
                  <a:pt x="32" y="134"/>
                </a:lnTo>
                <a:lnTo>
                  <a:pt x="28" y="130"/>
                </a:lnTo>
                <a:lnTo>
                  <a:pt x="27" y="124"/>
                </a:lnTo>
                <a:lnTo>
                  <a:pt x="25" y="119"/>
                </a:lnTo>
                <a:lnTo>
                  <a:pt x="23" y="113"/>
                </a:lnTo>
                <a:lnTo>
                  <a:pt x="23" y="113"/>
                </a:lnTo>
                <a:lnTo>
                  <a:pt x="23" y="105"/>
                </a:lnTo>
                <a:lnTo>
                  <a:pt x="23" y="100"/>
                </a:lnTo>
                <a:lnTo>
                  <a:pt x="23" y="96"/>
                </a:lnTo>
                <a:lnTo>
                  <a:pt x="23" y="92"/>
                </a:lnTo>
                <a:lnTo>
                  <a:pt x="23" y="90"/>
                </a:lnTo>
                <a:lnTo>
                  <a:pt x="23" y="88"/>
                </a:lnTo>
                <a:lnTo>
                  <a:pt x="23" y="84"/>
                </a:lnTo>
                <a:lnTo>
                  <a:pt x="23" y="81"/>
                </a:lnTo>
                <a:lnTo>
                  <a:pt x="23" y="81"/>
                </a:lnTo>
                <a:lnTo>
                  <a:pt x="23" y="75"/>
                </a:lnTo>
                <a:lnTo>
                  <a:pt x="19" y="69"/>
                </a:lnTo>
                <a:lnTo>
                  <a:pt x="15" y="63"/>
                </a:lnTo>
                <a:lnTo>
                  <a:pt x="11" y="58"/>
                </a:lnTo>
                <a:lnTo>
                  <a:pt x="8" y="52"/>
                </a:lnTo>
                <a:lnTo>
                  <a:pt x="4" y="44"/>
                </a:lnTo>
                <a:lnTo>
                  <a:pt x="0" y="37"/>
                </a:lnTo>
                <a:lnTo>
                  <a:pt x="0" y="27"/>
                </a:lnTo>
                <a:lnTo>
                  <a:pt x="0" y="27"/>
                </a:lnTo>
                <a:lnTo>
                  <a:pt x="0" y="21"/>
                </a:lnTo>
                <a:lnTo>
                  <a:pt x="0" y="18"/>
                </a:lnTo>
                <a:lnTo>
                  <a:pt x="2" y="14"/>
                </a:lnTo>
                <a:lnTo>
                  <a:pt x="2" y="8"/>
                </a:lnTo>
                <a:lnTo>
                  <a:pt x="4" y="4"/>
                </a:lnTo>
                <a:lnTo>
                  <a:pt x="8" y="2"/>
                </a:lnTo>
                <a:lnTo>
                  <a:pt x="9" y="0"/>
                </a:lnTo>
                <a:lnTo>
                  <a:pt x="13" y="0"/>
                </a:lnTo>
                <a:lnTo>
                  <a:pt x="13" y="0"/>
                </a:lnTo>
                <a:lnTo>
                  <a:pt x="21" y="0"/>
                </a:lnTo>
                <a:lnTo>
                  <a:pt x="28" y="2"/>
                </a:lnTo>
                <a:lnTo>
                  <a:pt x="34" y="6"/>
                </a:lnTo>
                <a:lnTo>
                  <a:pt x="40" y="8"/>
                </a:lnTo>
                <a:lnTo>
                  <a:pt x="48" y="12"/>
                </a:lnTo>
                <a:lnTo>
                  <a:pt x="53" y="16"/>
                </a:lnTo>
                <a:lnTo>
                  <a:pt x="61" y="18"/>
                </a:lnTo>
                <a:lnTo>
                  <a:pt x="70" y="18"/>
                </a:lnTo>
                <a:lnTo>
                  <a:pt x="67" y="23"/>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1" name="Freeform 33"/>
          <p:cNvSpPr>
            <a:spLocks/>
          </p:cNvSpPr>
          <p:nvPr>
            <p:custDataLst>
              <p:tags r:id="rId33"/>
            </p:custDataLst>
          </p:nvPr>
        </p:nvSpPr>
        <p:spPr bwMode="gray">
          <a:xfrm>
            <a:off x="2347157" y="2938219"/>
            <a:ext cx="311009" cy="455149"/>
          </a:xfrm>
          <a:custGeom>
            <a:avLst/>
            <a:gdLst/>
            <a:ahLst/>
            <a:cxnLst>
              <a:cxn ang="0">
                <a:pos x="246" y="7"/>
              </a:cxn>
              <a:cxn ang="0">
                <a:pos x="227" y="19"/>
              </a:cxn>
              <a:cxn ang="0">
                <a:pos x="202" y="15"/>
              </a:cxn>
              <a:cxn ang="0">
                <a:pos x="68" y="0"/>
              </a:cxn>
              <a:cxn ang="0">
                <a:pos x="47" y="9"/>
              </a:cxn>
              <a:cxn ang="0">
                <a:pos x="38" y="34"/>
              </a:cxn>
              <a:cxn ang="0">
                <a:pos x="38" y="57"/>
              </a:cxn>
              <a:cxn ang="0">
                <a:pos x="38" y="74"/>
              </a:cxn>
              <a:cxn ang="0">
                <a:pos x="38" y="97"/>
              </a:cxn>
              <a:cxn ang="0">
                <a:pos x="42" y="120"/>
              </a:cxn>
              <a:cxn ang="0">
                <a:pos x="49" y="150"/>
              </a:cxn>
              <a:cxn ang="0">
                <a:pos x="57" y="177"/>
              </a:cxn>
              <a:cxn ang="0">
                <a:pos x="59" y="202"/>
              </a:cxn>
              <a:cxn ang="0">
                <a:pos x="51" y="230"/>
              </a:cxn>
              <a:cxn ang="0">
                <a:pos x="36" y="253"/>
              </a:cxn>
              <a:cxn ang="0">
                <a:pos x="26" y="278"/>
              </a:cxn>
              <a:cxn ang="0">
                <a:pos x="28" y="303"/>
              </a:cxn>
              <a:cxn ang="0">
                <a:pos x="24" y="330"/>
              </a:cxn>
              <a:cxn ang="0">
                <a:pos x="5" y="349"/>
              </a:cxn>
              <a:cxn ang="0">
                <a:pos x="1" y="377"/>
              </a:cxn>
              <a:cxn ang="0">
                <a:pos x="7" y="406"/>
              </a:cxn>
              <a:cxn ang="0">
                <a:pos x="22" y="425"/>
              </a:cxn>
              <a:cxn ang="0">
                <a:pos x="36" y="444"/>
              </a:cxn>
              <a:cxn ang="0">
                <a:pos x="36" y="461"/>
              </a:cxn>
              <a:cxn ang="0">
                <a:pos x="38" y="482"/>
              </a:cxn>
              <a:cxn ang="0">
                <a:pos x="74" y="501"/>
              </a:cxn>
              <a:cxn ang="0">
                <a:pos x="101" y="509"/>
              </a:cxn>
              <a:cxn ang="0">
                <a:pos x="125" y="501"/>
              </a:cxn>
              <a:cxn ang="0">
                <a:pos x="145" y="486"/>
              </a:cxn>
              <a:cxn ang="0">
                <a:pos x="167" y="473"/>
              </a:cxn>
              <a:cxn ang="0">
                <a:pos x="196" y="471"/>
              </a:cxn>
              <a:cxn ang="0">
                <a:pos x="219" y="467"/>
              </a:cxn>
              <a:cxn ang="0">
                <a:pos x="246" y="444"/>
              </a:cxn>
              <a:cxn ang="0">
                <a:pos x="272" y="431"/>
              </a:cxn>
              <a:cxn ang="0">
                <a:pos x="299" y="429"/>
              </a:cxn>
              <a:cxn ang="0">
                <a:pos x="322" y="427"/>
              </a:cxn>
              <a:cxn ang="0">
                <a:pos x="339" y="408"/>
              </a:cxn>
              <a:cxn ang="0">
                <a:pos x="309" y="385"/>
              </a:cxn>
              <a:cxn ang="0">
                <a:pos x="293" y="343"/>
              </a:cxn>
              <a:cxn ang="0">
                <a:pos x="299" y="322"/>
              </a:cxn>
              <a:cxn ang="0">
                <a:pos x="301" y="309"/>
              </a:cxn>
              <a:cxn ang="0">
                <a:pos x="301" y="299"/>
              </a:cxn>
              <a:cxn ang="0">
                <a:pos x="303" y="288"/>
              </a:cxn>
              <a:cxn ang="0">
                <a:pos x="305" y="269"/>
              </a:cxn>
              <a:cxn ang="0">
                <a:pos x="309" y="244"/>
              </a:cxn>
              <a:cxn ang="0">
                <a:pos x="310" y="225"/>
              </a:cxn>
              <a:cxn ang="0">
                <a:pos x="297" y="204"/>
              </a:cxn>
              <a:cxn ang="0">
                <a:pos x="289" y="185"/>
              </a:cxn>
              <a:cxn ang="0">
                <a:pos x="299" y="162"/>
              </a:cxn>
              <a:cxn ang="0">
                <a:pos x="299" y="143"/>
              </a:cxn>
              <a:cxn ang="0">
                <a:pos x="286" y="120"/>
              </a:cxn>
              <a:cxn ang="0">
                <a:pos x="284" y="97"/>
              </a:cxn>
              <a:cxn ang="0">
                <a:pos x="284" y="82"/>
              </a:cxn>
              <a:cxn ang="0">
                <a:pos x="272" y="59"/>
              </a:cxn>
              <a:cxn ang="0">
                <a:pos x="261" y="28"/>
              </a:cxn>
              <a:cxn ang="0">
                <a:pos x="261" y="17"/>
              </a:cxn>
            </a:cxnLst>
            <a:rect l="0" t="0" r="r" b="b"/>
            <a:pathLst>
              <a:path w="339" h="509">
                <a:moveTo>
                  <a:pt x="267" y="13"/>
                </a:moveTo>
                <a:lnTo>
                  <a:pt x="267" y="13"/>
                </a:lnTo>
                <a:lnTo>
                  <a:pt x="259" y="7"/>
                </a:lnTo>
                <a:lnTo>
                  <a:pt x="251" y="5"/>
                </a:lnTo>
                <a:lnTo>
                  <a:pt x="246" y="7"/>
                </a:lnTo>
                <a:lnTo>
                  <a:pt x="240" y="9"/>
                </a:lnTo>
                <a:lnTo>
                  <a:pt x="236" y="13"/>
                </a:lnTo>
                <a:lnTo>
                  <a:pt x="232" y="15"/>
                </a:lnTo>
                <a:lnTo>
                  <a:pt x="228" y="19"/>
                </a:lnTo>
                <a:lnTo>
                  <a:pt x="227" y="19"/>
                </a:lnTo>
                <a:lnTo>
                  <a:pt x="227" y="19"/>
                </a:lnTo>
                <a:lnTo>
                  <a:pt x="221" y="19"/>
                </a:lnTo>
                <a:lnTo>
                  <a:pt x="215" y="19"/>
                </a:lnTo>
                <a:lnTo>
                  <a:pt x="209" y="17"/>
                </a:lnTo>
                <a:lnTo>
                  <a:pt x="202" y="15"/>
                </a:lnTo>
                <a:lnTo>
                  <a:pt x="196" y="15"/>
                </a:lnTo>
                <a:lnTo>
                  <a:pt x="188" y="13"/>
                </a:lnTo>
                <a:lnTo>
                  <a:pt x="179" y="13"/>
                </a:lnTo>
                <a:lnTo>
                  <a:pt x="167" y="13"/>
                </a:lnTo>
                <a:lnTo>
                  <a:pt x="68" y="0"/>
                </a:lnTo>
                <a:lnTo>
                  <a:pt x="68" y="0"/>
                </a:lnTo>
                <a:lnTo>
                  <a:pt x="62" y="0"/>
                </a:lnTo>
                <a:lnTo>
                  <a:pt x="57" y="3"/>
                </a:lnTo>
                <a:lnTo>
                  <a:pt x="51" y="5"/>
                </a:lnTo>
                <a:lnTo>
                  <a:pt x="47" y="9"/>
                </a:lnTo>
                <a:lnTo>
                  <a:pt x="43" y="15"/>
                </a:lnTo>
                <a:lnTo>
                  <a:pt x="42" y="21"/>
                </a:lnTo>
                <a:lnTo>
                  <a:pt x="40" y="26"/>
                </a:lnTo>
                <a:lnTo>
                  <a:pt x="38" y="34"/>
                </a:lnTo>
                <a:lnTo>
                  <a:pt x="38" y="34"/>
                </a:lnTo>
                <a:lnTo>
                  <a:pt x="38" y="40"/>
                </a:lnTo>
                <a:lnTo>
                  <a:pt x="38" y="45"/>
                </a:lnTo>
                <a:lnTo>
                  <a:pt x="38" y="49"/>
                </a:lnTo>
                <a:lnTo>
                  <a:pt x="38" y="53"/>
                </a:lnTo>
                <a:lnTo>
                  <a:pt x="38" y="57"/>
                </a:lnTo>
                <a:lnTo>
                  <a:pt x="38" y="61"/>
                </a:lnTo>
                <a:lnTo>
                  <a:pt x="38" y="64"/>
                </a:lnTo>
                <a:lnTo>
                  <a:pt x="38" y="68"/>
                </a:lnTo>
                <a:lnTo>
                  <a:pt x="38" y="70"/>
                </a:lnTo>
                <a:lnTo>
                  <a:pt x="38" y="74"/>
                </a:lnTo>
                <a:lnTo>
                  <a:pt x="38" y="78"/>
                </a:lnTo>
                <a:lnTo>
                  <a:pt x="38" y="82"/>
                </a:lnTo>
                <a:lnTo>
                  <a:pt x="38" y="85"/>
                </a:lnTo>
                <a:lnTo>
                  <a:pt x="38" y="91"/>
                </a:lnTo>
                <a:lnTo>
                  <a:pt x="38" y="97"/>
                </a:lnTo>
                <a:lnTo>
                  <a:pt x="38" y="103"/>
                </a:lnTo>
                <a:lnTo>
                  <a:pt x="38" y="103"/>
                </a:lnTo>
                <a:lnTo>
                  <a:pt x="40" y="108"/>
                </a:lnTo>
                <a:lnTo>
                  <a:pt x="40" y="114"/>
                </a:lnTo>
                <a:lnTo>
                  <a:pt x="42" y="120"/>
                </a:lnTo>
                <a:lnTo>
                  <a:pt x="42" y="127"/>
                </a:lnTo>
                <a:lnTo>
                  <a:pt x="43" y="133"/>
                </a:lnTo>
                <a:lnTo>
                  <a:pt x="45" y="139"/>
                </a:lnTo>
                <a:lnTo>
                  <a:pt x="47" y="143"/>
                </a:lnTo>
                <a:lnTo>
                  <a:pt x="49" y="150"/>
                </a:lnTo>
                <a:lnTo>
                  <a:pt x="51" y="154"/>
                </a:lnTo>
                <a:lnTo>
                  <a:pt x="53" y="160"/>
                </a:lnTo>
                <a:lnTo>
                  <a:pt x="55" y="166"/>
                </a:lnTo>
                <a:lnTo>
                  <a:pt x="57" y="171"/>
                </a:lnTo>
                <a:lnTo>
                  <a:pt x="57" y="177"/>
                </a:lnTo>
                <a:lnTo>
                  <a:pt x="59" y="185"/>
                </a:lnTo>
                <a:lnTo>
                  <a:pt x="59" y="190"/>
                </a:lnTo>
                <a:lnTo>
                  <a:pt x="59" y="196"/>
                </a:lnTo>
                <a:lnTo>
                  <a:pt x="59" y="196"/>
                </a:lnTo>
                <a:lnTo>
                  <a:pt x="59" y="202"/>
                </a:lnTo>
                <a:lnTo>
                  <a:pt x="59" y="209"/>
                </a:lnTo>
                <a:lnTo>
                  <a:pt x="57" y="215"/>
                </a:lnTo>
                <a:lnTo>
                  <a:pt x="55" y="221"/>
                </a:lnTo>
                <a:lnTo>
                  <a:pt x="53" y="225"/>
                </a:lnTo>
                <a:lnTo>
                  <a:pt x="51" y="230"/>
                </a:lnTo>
                <a:lnTo>
                  <a:pt x="47" y="236"/>
                </a:lnTo>
                <a:lnTo>
                  <a:pt x="45" y="240"/>
                </a:lnTo>
                <a:lnTo>
                  <a:pt x="42" y="246"/>
                </a:lnTo>
                <a:lnTo>
                  <a:pt x="40" y="249"/>
                </a:lnTo>
                <a:lnTo>
                  <a:pt x="36" y="253"/>
                </a:lnTo>
                <a:lnTo>
                  <a:pt x="34" y="259"/>
                </a:lnTo>
                <a:lnTo>
                  <a:pt x="32" y="263"/>
                </a:lnTo>
                <a:lnTo>
                  <a:pt x="30" y="269"/>
                </a:lnTo>
                <a:lnTo>
                  <a:pt x="28" y="274"/>
                </a:lnTo>
                <a:lnTo>
                  <a:pt x="26" y="278"/>
                </a:lnTo>
                <a:lnTo>
                  <a:pt x="26" y="278"/>
                </a:lnTo>
                <a:lnTo>
                  <a:pt x="26" y="284"/>
                </a:lnTo>
                <a:lnTo>
                  <a:pt x="26" y="290"/>
                </a:lnTo>
                <a:lnTo>
                  <a:pt x="26" y="297"/>
                </a:lnTo>
                <a:lnTo>
                  <a:pt x="28" y="303"/>
                </a:lnTo>
                <a:lnTo>
                  <a:pt x="28" y="311"/>
                </a:lnTo>
                <a:lnTo>
                  <a:pt x="28" y="318"/>
                </a:lnTo>
                <a:lnTo>
                  <a:pt x="26" y="324"/>
                </a:lnTo>
                <a:lnTo>
                  <a:pt x="24" y="330"/>
                </a:lnTo>
                <a:lnTo>
                  <a:pt x="24" y="330"/>
                </a:lnTo>
                <a:lnTo>
                  <a:pt x="21" y="335"/>
                </a:lnTo>
                <a:lnTo>
                  <a:pt x="17" y="339"/>
                </a:lnTo>
                <a:lnTo>
                  <a:pt x="13" y="343"/>
                </a:lnTo>
                <a:lnTo>
                  <a:pt x="9" y="345"/>
                </a:lnTo>
                <a:lnTo>
                  <a:pt x="5" y="349"/>
                </a:lnTo>
                <a:lnTo>
                  <a:pt x="3" y="354"/>
                </a:lnTo>
                <a:lnTo>
                  <a:pt x="1" y="360"/>
                </a:lnTo>
                <a:lnTo>
                  <a:pt x="0" y="372"/>
                </a:lnTo>
                <a:lnTo>
                  <a:pt x="0" y="372"/>
                </a:lnTo>
                <a:lnTo>
                  <a:pt x="1" y="377"/>
                </a:lnTo>
                <a:lnTo>
                  <a:pt x="1" y="385"/>
                </a:lnTo>
                <a:lnTo>
                  <a:pt x="3" y="391"/>
                </a:lnTo>
                <a:lnTo>
                  <a:pt x="3" y="396"/>
                </a:lnTo>
                <a:lnTo>
                  <a:pt x="5" y="402"/>
                </a:lnTo>
                <a:lnTo>
                  <a:pt x="7" y="406"/>
                </a:lnTo>
                <a:lnTo>
                  <a:pt x="11" y="410"/>
                </a:lnTo>
                <a:lnTo>
                  <a:pt x="13" y="414"/>
                </a:lnTo>
                <a:lnTo>
                  <a:pt x="17" y="417"/>
                </a:lnTo>
                <a:lnTo>
                  <a:pt x="19" y="421"/>
                </a:lnTo>
                <a:lnTo>
                  <a:pt x="22" y="425"/>
                </a:lnTo>
                <a:lnTo>
                  <a:pt x="24" y="429"/>
                </a:lnTo>
                <a:lnTo>
                  <a:pt x="28" y="433"/>
                </a:lnTo>
                <a:lnTo>
                  <a:pt x="30" y="436"/>
                </a:lnTo>
                <a:lnTo>
                  <a:pt x="34" y="440"/>
                </a:lnTo>
                <a:lnTo>
                  <a:pt x="36" y="444"/>
                </a:lnTo>
                <a:lnTo>
                  <a:pt x="36" y="444"/>
                </a:lnTo>
                <a:lnTo>
                  <a:pt x="36" y="446"/>
                </a:lnTo>
                <a:lnTo>
                  <a:pt x="36" y="450"/>
                </a:lnTo>
                <a:lnTo>
                  <a:pt x="36" y="456"/>
                </a:lnTo>
                <a:lnTo>
                  <a:pt x="36" y="461"/>
                </a:lnTo>
                <a:lnTo>
                  <a:pt x="36" y="467"/>
                </a:lnTo>
                <a:lnTo>
                  <a:pt x="36" y="473"/>
                </a:lnTo>
                <a:lnTo>
                  <a:pt x="38" y="478"/>
                </a:lnTo>
                <a:lnTo>
                  <a:pt x="38" y="482"/>
                </a:lnTo>
                <a:lnTo>
                  <a:pt x="38" y="482"/>
                </a:lnTo>
                <a:lnTo>
                  <a:pt x="42" y="484"/>
                </a:lnTo>
                <a:lnTo>
                  <a:pt x="47" y="488"/>
                </a:lnTo>
                <a:lnTo>
                  <a:pt x="55" y="492"/>
                </a:lnTo>
                <a:lnTo>
                  <a:pt x="64" y="497"/>
                </a:lnTo>
                <a:lnTo>
                  <a:pt x="74" y="501"/>
                </a:lnTo>
                <a:lnTo>
                  <a:pt x="83" y="505"/>
                </a:lnTo>
                <a:lnTo>
                  <a:pt x="91" y="507"/>
                </a:lnTo>
                <a:lnTo>
                  <a:pt x="95" y="509"/>
                </a:lnTo>
                <a:lnTo>
                  <a:pt x="95" y="509"/>
                </a:lnTo>
                <a:lnTo>
                  <a:pt x="101" y="509"/>
                </a:lnTo>
                <a:lnTo>
                  <a:pt x="106" y="507"/>
                </a:lnTo>
                <a:lnTo>
                  <a:pt x="112" y="507"/>
                </a:lnTo>
                <a:lnTo>
                  <a:pt x="116" y="505"/>
                </a:lnTo>
                <a:lnTo>
                  <a:pt x="122" y="503"/>
                </a:lnTo>
                <a:lnTo>
                  <a:pt x="125" y="501"/>
                </a:lnTo>
                <a:lnTo>
                  <a:pt x="129" y="497"/>
                </a:lnTo>
                <a:lnTo>
                  <a:pt x="133" y="496"/>
                </a:lnTo>
                <a:lnTo>
                  <a:pt x="137" y="492"/>
                </a:lnTo>
                <a:lnTo>
                  <a:pt x="141" y="488"/>
                </a:lnTo>
                <a:lnTo>
                  <a:pt x="145" y="486"/>
                </a:lnTo>
                <a:lnTo>
                  <a:pt x="148" y="482"/>
                </a:lnTo>
                <a:lnTo>
                  <a:pt x="154" y="480"/>
                </a:lnTo>
                <a:lnTo>
                  <a:pt x="158" y="478"/>
                </a:lnTo>
                <a:lnTo>
                  <a:pt x="164" y="477"/>
                </a:lnTo>
                <a:lnTo>
                  <a:pt x="167" y="473"/>
                </a:lnTo>
                <a:lnTo>
                  <a:pt x="167" y="473"/>
                </a:lnTo>
                <a:lnTo>
                  <a:pt x="177" y="471"/>
                </a:lnTo>
                <a:lnTo>
                  <a:pt x="183" y="471"/>
                </a:lnTo>
                <a:lnTo>
                  <a:pt x="190" y="471"/>
                </a:lnTo>
                <a:lnTo>
                  <a:pt x="196" y="471"/>
                </a:lnTo>
                <a:lnTo>
                  <a:pt x="202" y="473"/>
                </a:lnTo>
                <a:lnTo>
                  <a:pt x="207" y="471"/>
                </a:lnTo>
                <a:lnTo>
                  <a:pt x="213" y="471"/>
                </a:lnTo>
                <a:lnTo>
                  <a:pt x="219" y="467"/>
                </a:lnTo>
                <a:lnTo>
                  <a:pt x="219" y="467"/>
                </a:lnTo>
                <a:lnTo>
                  <a:pt x="225" y="463"/>
                </a:lnTo>
                <a:lnTo>
                  <a:pt x="230" y="459"/>
                </a:lnTo>
                <a:lnTo>
                  <a:pt x="234" y="456"/>
                </a:lnTo>
                <a:lnTo>
                  <a:pt x="240" y="450"/>
                </a:lnTo>
                <a:lnTo>
                  <a:pt x="246" y="444"/>
                </a:lnTo>
                <a:lnTo>
                  <a:pt x="251" y="440"/>
                </a:lnTo>
                <a:lnTo>
                  <a:pt x="259" y="436"/>
                </a:lnTo>
                <a:lnTo>
                  <a:pt x="267" y="433"/>
                </a:lnTo>
                <a:lnTo>
                  <a:pt x="267" y="433"/>
                </a:lnTo>
                <a:lnTo>
                  <a:pt x="272" y="431"/>
                </a:lnTo>
                <a:lnTo>
                  <a:pt x="278" y="429"/>
                </a:lnTo>
                <a:lnTo>
                  <a:pt x="284" y="429"/>
                </a:lnTo>
                <a:lnTo>
                  <a:pt x="289" y="429"/>
                </a:lnTo>
                <a:lnTo>
                  <a:pt x="295" y="429"/>
                </a:lnTo>
                <a:lnTo>
                  <a:pt x="299" y="429"/>
                </a:lnTo>
                <a:lnTo>
                  <a:pt x="305" y="429"/>
                </a:lnTo>
                <a:lnTo>
                  <a:pt x="309" y="429"/>
                </a:lnTo>
                <a:lnTo>
                  <a:pt x="314" y="429"/>
                </a:lnTo>
                <a:lnTo>
                  <a:pt x="318" y="429"/>
                </a:lnTo>
                <a:lnTo>
                  <a:pt x="322" y="427"/>
                </a:lnTo>
                <a:lnTo>
                  <a:pt x="326" y="427"/>
                </a:lnTo>
                <a:lnTo>
                  <a:pt x="330" y="423"/>
                </a:lnTo>
                <a:lnTo>
                  <a:pt x="333" y="419"/>
                </a:lnTo>
                <a:lnTo>
                  <a:pt x="335" y="415"/>
                </a:lnTo>
                <a:lnTo>
                  <a:pt x="339" y="408"/>
                </a:lnTo>
                <a:lnTo>
                  <a:pt x="339" y="408"/>
                </a:lnTo>
                <a:lnTo>
                  <a:pt x="331" y="406"/>
                </a:lnTo>
                <a:lnTo>
                  <a:pt x="324" y="402"/>
                </a:lnTo>
                <a:lnTo>
                  <a:pt x="316" y="394"/>
                </a:lnTo>
                <a:lnTo>
                  <a:pt x="309" y="385"/>
                </a:lnTo>
                <a:lnTo>
                  <a:pt x="303" y="373"/>
                </a:lnTo>
                <a:lnTo>
                  <a:pt x="297" y="364"/>
                </a:lnTo>
                <a:lnTo>
                  <a:pt x="293" y="353"/>
                </a:lnTo>
                <a:lnTo>
                  <a:pt x="293" y="343"/>
                </a:lnTo>
                <a:lnTo>
                  <a:pt x="293" y="343"/>
                </a:lnTo>
                <a:lnTo>
                  <a:pt x="293" y="337"/>
                </a:lnTo>
                <a:lnTo>
                  <a:pt x="293" y="333"/>
                </a:lnTo>
                <a:lnTo>
                  <a:pt x="295" y="330"/>
                </a:lnTo>
                <a:lnTo>
                  <a:pt x="297" y="326"/>
                </a:lnTo>
                <a:lnTo>
                  <a:pt x="299" y="322"/>
                </a:lnTo>
                <a:lnTo>
                  <a:pt x="301" y="318"/>
                </a:lnTo>
                <a:lnTo>
                  <a:pt x="301" y="314"/>
                </a:lnTo>
                <a:lnTo>
                  <a:pt x="301" y="312"/>
                </a:lnTo>
                <a:lnTo>
                  <a:pt x="301" y="312"/>
                </a:lnTo>
                <a:lnTo>
                  <a:pt x="301" y="309"/>
                </a:lnTo>
                <a:lnTo>
                  <a:pt x="301" y="305"/>
                </a:lnTo>
                <a:lnTo>
                  <a:pt x="301" y="303"/>
                </a:lnTo>
                <a:lnTo>
                  <a:pt x="301" y="303"/>
                </a:lnTo>
                <a:lnTo>
                  <a:pt x="301" y="301"/>
                </a:lnTo>
                <a:lnTo>
                  <a:pt x="301" y="299"/>
                </a:lnTo>
                <a:lnTo>
                  <a:pt x="301" y="297"/>
                </a:lnTo>
                <a:lnTo>
                  <a:pt x="301" y="293"/>
                </a:lnTo>
                <a:lnTo>
                  <a:pt x="301" y="293"/>
                </a:lnTo>
                <a:lnTo>
                  <a:pt x="301" y="291"/>
                </a:lnTo>
                <a:lnTo>
                  <a:pt x="303" y="288"/>
                </a:lnTo>
                <a:lnTo>
                  <a:pt x="303" y="286"/>
                </a:lnTo>
                <a:lnTo>
                  <a:pt x="303" y="280"/>
                </a:lnTo>
                <a:lnTo>
                  <a:pt x="305" y="276"/>
                </a:lnTo>
                <a:lnTo>
                  <a:pt x="305" y="272"/>
                </a:lnTo>
                <a:lnTo>
                  <a:pt x="305" y="269"/>
                </a:lnTo>
                <a:lnTo>
                  <a:pt x="307" y="263"/>
                </a:lnTo>
                <a:lnTo>
                  <a:pt x="307" y="259"/>
                </a:lnTo>
                <a:lnTo>
                  <a:pt x="309" y="253"/>
                </a:lnTo>
                <a:lnTo>
                  <a:pt x="309" y="248"/>
                </a:lnTo>
                <a:lnTo>
                  <a:pt x="309" y="244"/>
                </a:lnTo>
                <a:lnTo>
                  <a:pt x="309" y="238"/>
                </a:lnTo>
                <a:lnTo>
                  <a:pt x="310" y="234"/>
                </a:lnTo>
                <a:lnTo>
                  <a:pt x="310" y="230"/>
                </a:lnTo>
                <a:lnTo>
                  <a:pt x="310" y="225"/>
                </a:lnTo>
                <a:lnTo>
                  <a:pt x="310" y="225"/>
                </a:lnTo>
                <a:lnTo>
                  <a:pt x="309" y="219"/>
                </a:lnTo>
                <a:lnTo>
                  <a:pt x="307" y="213"/>
                </a:lnTo>
                <a:lnTo>
                  <a:pt x="303" y="209"/>
                </a:lnTo>
                <a:lnTo>
                  <a:pt x="301" y="206"/>
                </a:lnTo>
                <a:lnTo>
                  <a:pt x="297" y="204"/>
                </a:lnTo>
                <a:lnTo>
                  <a:pt x="293" y="200"/>
                </a:lnTo>
                <a:lnTo>
                  <a:pt x="291" y="196"/>
                </a:lnTo>
                <a:lnTo>
                  <a:pt x="289" y="190"/>
                </a:lnTo>
                <a:lnTo>
                  <a:pt x="289" y="190"/>
                </a:lnTo>
                <a:lnTo>
                  <a:pt x="289" y="185"/>
                </a:lnTo>
                <a:lnTo>
                  <a:pt x="291" y="179"/>
                </a:lnTo>
                <a:lnTo>
                  <a:pt x="293" y="175"/>
                </a:lnTo>
                <a:lnTo>
                  <a:pt x="295" y="169"/>
                </a:lnTo>
                <a:lnTo>
                  <a:pt x="299" y="166"/>
                </a:lnTo>
                <a:lnTo>
                  <a:pt x="299" y="162"/>
                </a:lnTo>
                <a:lnTo>
                  <a:pt x="301" y="158"/>
                </a:lnTo>
                <a:lnTo>
                  <a:pt x="301" y="152"/>
                </a:lnTo>
                <a:lnTo>
                  <a:pt x="301" y="152"/>
                </a:lnTo>
                <a:lnTo>
                  <a:pt x="301" y="148"/>
                </a:lnTo>
                <a:lnTo>
                  <a:pt x="299" y="143"/>
                </a:lnTo>
                <a:lnTo>
                  <a:pt x="295" y="141"/>
                </a:lnTo>
                <a:lnTo>
                  <a:pt x="293" y="135"/>
                </a:lnTo>
                <a:lnTo>
                  <a:pt x="289" y="131"/>
                </a:lnTo>
                <a:lnTo>
                  <a:pt x="288" y="125"/>
                </a:lnTo>
                <a:lnTo>
                  <a:pt x="286" y="120"/>
                </a:lnTo>
                <a:lnTo>
                  <a:pt x="284" y="114"/>
                </a:lnTo>
                <a:lnTo>
                  <a:pt x="284" y="114"/>
                </a:lnTo>
                <a:lnTo>
                  <a:pt x="284" y="106"/>
                </a:lnTo>
                <a:lnTo>
                  <a:pt x="284" y="101"/>
                </a:lnTo>
                <a:lnTo>
                  <a:pt x="284" y="97"/>
                </a:lnTo>
                <a:lnTo>
                  <a:pt x="284" y="93"/>
                </a:lnTo>
                <a:lnTo>
                  <a:pt x="284" y="91"/>
                </a:lnTo>
                <a:lnTo>
                  <a:pt x="284" y="89"/>
                </a:lnTo>
                <a:lnTo>
                  <a:pt x="284" y="85"/>
                </a:lnTo>
                <a:lnTo>
                  <a:pt x="284" y="82"/>
                </a:lnTo>
                <a:lnTo>
                  <a:pt x="284" y="82"/>
                </a:lnTo>
                <a:lnTo>
                  <a:pt x="284" y="76"/>
                </a:lnTo>
                <a:lnTo>
                  <a:pt x="280" y="70"/>
                </a:lnTo>
                <a:lnTo>
                  <a:pt x="276" y="64"/>
                </a:lnTo>
                <a:lnTo>
                  <a:pt x="272" y="59"/>
                </a:lnTo>
                <a:lnTo>
                  <a:pt x="269" y="53"/>
                </a:lnTo>
                <a:lnTo>
                  <a:pt x="265" y="45"/>
                </a:lnTo>
                <a:lnTo>
                  <a:pt x="261" y="38"/>
                </a:lnTo>
                <a:lnTo>
                  <a:pt x="261" y="28"/>
                </a:lnTo>
                <a:lnTo>
                  <a:pt x="261" y="28"/>
                </a:lnTo>
                <a:lnTo>
                  <a:pt x="261" y="26"/>
                </a:lnTo>
                <a:lnTo>
                  <a:pt x="261" y="24"/>
                </a:lnTo>
                <a:lnTo>
                  <a:pt x="261" y="21"/>
                </a:lnTo>
                <a:lnTo>
                  <a:pt x="261" y="19"/>
                </a:lnTo>
                <a:lnTo>
                  <a:pt x="261" y="17"/>
                </a:lnTo>
                <a:lnTo>
                  <a:pt x="263" y="15"/>
                </a:lnTo>
                <a:lnTo>
                  <a:pt x="263" y="13"/>
                </a:lnTo>
                <a:lnTo>
                  <a:pt x="263" y="11"/>
                </a:lnTo>
                <a:lnTo>
                  <a:pt x="267" y="13"/>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2" name="Freeform 34"/>
          <p:cNvSpPr>
            <a:spLocks/>
          </p:cNvSpPr>
          <p:nvPr>
            <p:custDataLst>
              <p:tags r:id="rId34"/>
            </p:custDataLst>
          </p:nvPr>
        </p:nvSpPr>
        <p:spPr bwMode="gray">
          <a:xfrm>
            <a:off x="1953528" y="2962523"/>
            <a:ext cx="447076" cy="450289"/>
          </a:xfrm>
          <a:custGeom>
            <a:avLst/>
            <a:gdLst/>
            <a:ahLst/>
            <a:cxnLst>
              <a:cxn ang="0">
                <a:pos x="470" y="96"/>
              </a:cxn>
              <a:cxn ang="0">
                <a:pos x="479" y="130"/>
              </a:cxn>
              <a:cxn ang="0">
                <a:pos x="487" y="166"/>
              </a:cxn>
              <a:cxn ang="0">
                <a:pos x="483" y="197"/>
              </a:cxn>
              <a:cxn ang="0">
                <a:pos x="468" y="225"/>
              </a:cxn>
              <a:cxn ang="0">
                <a:pos x="454" y="254"/>
              </a:cxn>
              <a:cxn ang="0">
                <a:pos x="456" y="287"/>
              </a:cxn>
              <a:cxn ang="0">
                <a:pos x="445" y="315"/>
              </a:cxn>
              <a:cxn ang="0">
                <a:pos x="428" y="348"/>
              </a:cxn>
              <a:cxn ang="0">
                <a:pos x="433" y="378"/>
              </a:cxn>
              <a:cxn ang="0">
                <a:pos x="450" y="401"/>
              </a:cxn>
              <a:cxn ang="0">
                <a:pos x="464" y="420"/>
              </a:cxn>
              <a:cxn ang="0">
                <a:pos x="464" y="449"/>
              </a:cxn>
              <a:cxn ang="0">
                <a:pos x="460" y="460"/>
              </a:cxn>
              <a:cxn ang="0">
                <a:pos x="449" y="458"/>
              </a:cxn>
              <a:cxn ang="0">
                <a:pos x="418" y="456"/>
              </a:cxn>
              <a:cxn ang="0">
                <a:pos x="380" y="451"/>
              </a:cxn>
              <a:cxn ang="0">
                <a:pos x="353" y="449"/>
              </a:cxn>
              <a:cxn ang="0">
                <a:pos x="321" y="449"/>
              </a:cxn>
              <a:cxn ang="0">
                <a:pos x="294" y="449"/>
              </a:cxn>
              <a:cxn ang="0">
                <a:pos x="265" y="451"/>
              </a:cxn>
              <a:cxn ang="0">
                <a:pos x="223" y="454"/>
              </a:cxn>
              <a:cxn ang="0">
                <a:pos x="187" y="464"/>
              </a:cxn>
              <a:cxn ang="0">
                <a:pos x="157" y="475"/>
              </a:cxn>
              <a:cxn ang="0">
                <a:pos x="122" y="496"/>
              </a:cxn>
              <a:cxn ang="0">
                <a:pos x="86" y="508"/>
              </a:cxn>
              <a:cxn ang="0">
                <a:pos x="73" y="494"/>
              </a:cxn>
              <a:cxn ang="0">
                <a:pos x="71" y="464"/>
              </a:cxn>
              <a:cxn ang="0">
                <a:pos x="84" y="433"/>
              </a:cxn>
              <a:cxn ang="0">
                <a:pos x="71" y="393"/>
              </a:cxn>
              <a:cxn ang="0">
                <a:pos x="56" y="370"/>
              </a:cxn>
              <a:cxn ang="0">
                <a:pos x="16" y="357"/>
              </a:cxn>
              <a:cxn ang="0">
                <a:pos x="2" y="353"/>
              </a:cxn>
              <a:cxn ang="0">
                <a:pos x="2" y="340"/>
              </a:cxn>
              <a:cxn ang="0">
                <a:pos x="4" y="330"/>
              </a:cxn>
              <a:cxn ang="0">
                <a:pos x="23" y="300"/>
              </a:cxn>
              <a:cxn ang="0">
                <a:pos x="19" y="267"/>
              </a:cxn>
              <a:cxn ang="0">
                <a:pos x="23" y="243"/>
              </a:cxn>
              <a:cxn ang="0">
                <a:pos x="50" y="212"/>
              </a:cxn>
              <a:cxn ang="0">
                <a:pos x="40" y="195"/>
              </a:cxn>
              <a:cxn ang="0">
                <a:pos x="37" y="178"/>
              </a:cxn>
              <a:cxn ang="0">
                <a:pos x="50" y="166"/>
              </a:cxn>
              <a:cxn ang="0">
                <a:pos x="67" y="172"/>
              </a:cxn>
              <a:cxn ang="0">
                <a:pos x="77" y="166"/>
              </a:cxn>
              <a:cxn ang="0">
                <a:pos x="63" y="142"/>
              </a:cxn>
              <a:cxn ang="0">
                <a:pos x="61" y="122"/>
              </a:cxn>
              <a:cxn ang="0">
                <a:pos x="61" y="113"/>
              </a:cxn>
              <a:cxn ang="0">
                <a:pos x="54" y="84"/>
              </a:cxn>
              <a:cxn ang="0">
                <a:pos x="69" y="37"/>
              </a:cxn>
              <a:cxn ang="0">
                <a:pos x="107" y="19"/>
              </a:cxn>
              <a:cxn ang="0">
                <a:pos x="134" y="33"/>
              </a:cxn>
              <a:cxn ang="0">
                <a:pos x="164" y="21"/>
              </a:cxn>
              <a:cxn ang="0">
                <a:pos x="178" y="2"/>
              </a:cxn>
              <a:cxn ang="0">
                <a:pos x="204" y="0"/>
              </a:cxn>
              <a:cxn ang="0">
                <a:pos x="210" y="23"/>
              </a:cxn>
              <a:cxn ang="0">
                <a:pos x="227" y="35"/>
              </a:cxn>
              <a:cxn ang="0">
                <a:pos x="262" y="19"/>
              </a:cxn>
              <a:cxn ang="0">
                <a:pos x="292" y="27"/>
              </a:cxn>
              <a:cxn ang="0">
                <a:pos x="313" y="58"/>
              </a:cxn>
              <a:cxn ang="0">
                <a:pos x="347" y="75"/>
              </a:cxn>
              <a:cxn ang="0">
                <a:pos x="387" y="65"/>
              </a:cxn>
              <a:cxn ang="0">
                <a:pos x="433" y="65"/>
              </a:cxn>
              <a:cxn ang="0">
                <a:pos x="470" y="101"/>
              </a:cxn>
            </a:cxnLst>
            <a:rect l="0" t="0" r="r" b="b"/>
            <a:pathLst>
              <a:path w="487" h="508">
                <a:moveTo>
                  <a:pt x="466" y="79"/>
                </a:moveTo>
                <a:lnTo>
                  <a:pt x="466" y="79"/>
                </a:lnTo>
                <a:lnTo>
                  <a:pt x="466" y="79"/>
                </a:lnTo>
                <a:lnTo>
                  <a:pt x="468" y="84"/>
                </a:lnTo>
                <a:lnTo>
                  <a:pt x="468" y="90"/>
                </a:lnTo>
                <a:lnTo>
                  <a:pt x="470" y="96"/>
                </a:lnTo>
                <a:lnTo>
                  <a:pt x="470" y="103"/>
                </a:lnTo>
                <a:lnTo>
                  <a:pt x="471" y="109"/>
                </a:lnTo>
                <a:lnTo>
                  <a:pt x="473" y="115"/>
                </a:lnTo>
                <a:lnTo>
                  <a:pt x="475" y="119"/>
                </a:lnTo>
                <a:lnTo>
                  <a:pt x="477" y="126"/>
                </a:lnTo>
                <a:lnTo>
                  <a:pt x="479" y="130"/>
                </a:lnTo>
                <a:lnTo>
                  <a:pt x="481" y="136"/>
                </a:lnTo>
                <a:lnTo>
                  <a:pt x="483" y="142"/>
                </a:lnTo>
                <a:lnTo>
                  <a:pt x="485" y="147"/>
                </a:lnTo>
                <a:lnTo>
                  <a:pt x="485" y="153"/>
                </a:lnTo>
                <a:lnTo>
                  <a:pt x="487" y="161"/>
                </a:lnTo>
                <a:lnTo>
                  <a:pt x="487" y="166"/>
                </a:lnTo>
                <a:lnTo>
                  <a:pt x="487" y="172"/>
                </a:lnTo>
                <a:lnTo>
                  <a:pt x="487" y="172"/>
                </a:lnTo>
                <a:lnTo>
                  <a:pt x="487" y="178"/>
                </a:lnTo>
                <a:lnTo>
                  <a:pt x="487" y="185"/>
                </a:lnTo>
                <a:lnTo>
                  <a:pt x="485" y="191"/>
                </a:lnTo>
                <a:lnTo>
                  <a:pt x="483" y="197"/>
                </a:lnTo>
                <a:lnTo>
                  <a:pt x="481" y="201"/>
                </a:lnTo>
                <a:lnTo>
                  <a:pt x="479" y="206"/>
                </a:lnTo>
                <a:lnTo>
                  <a:pt x="475" y="212"/>
                </a:lnTo>
                <a:lnTo>
                  <a:pt x="473" y="216"/>
                </a:lnTo>
                <a:lnTo>
                  <a:pt x="470" y="222"/>
                </a:lnTo>
                <a:lnTo>
                  <a:pt x="468" y="225"/>
                </a:lnTo>
                <a:lnTo>
                  <a:pt x="464" y="229"/>
                </a:lnTo>
                <a:lnTo>
                  <a:pt x="462" y="235"/>
                </a:lnTo>
                <a:lnTo>
                  <a:pt x="460" y="239"/>
                </a:lnTo>
                <a:lnTo>
                  <a:pt x="458" y="245"/>
                </a:lnTo>
                <a:lnTo>
                  <a:pt x="456" y="250"/>
                </a:lnTo>
                <a:lnTo>
                  <a:pt x="454" y="254"/>
                </a:lnTo>
                <a:lnTo>
                  <a:pt x="454" y="254"/>
                </a:lnTo>
                <a:lnTo>
                  <a:pt x="454" y="260"/>
                </a:lnTo>
                <a:lnTo>
                  <a:pt x="454" y="266"/>
                </a:lnTo>
                <a:lnTo>
                  <a:pt x="454" y="273"/>
                </a:lnTo>
                <a:lnTo>
                  <a:pt x="456" y="279"/>
                </a:lnTo>
                <a:lnTo>
                  <a:pt x="456" y="287"/>
                </a:lnTo>
                <a:lnTo>
                  <a:pt x="456" y="294"/>
                </a:lnTo>
                <a:lnTo>
                  <a:pt x="454" y="300"/>
                </a:lnTo>
                <a:lnTo>
                  <a:pt x="452" y="306"/>
                </a:lnTo>
                <a:lnTo>
                  <a:pt x="452" y="306"/>
                </a:lnTo>
                <a:lnTo>
                  <a:pt x="449" y="311"/>
                </a:lnTo>
                <a:lnTo>
                  <a:pt x="445" y="315"/>
                </a:lnTo>
                <a:lnTo>
                  <a:pt x="441" y="319"/>
                </a:lnTo>
                <a:lnTo>
                  <a:pt x="437" y="321"/>
                </a:lnTo>
                <a:lnTo>
                  <a:pt x="433" y="325"/>
                </a:lnTo>
                <a:lnTo>
                  <a:pt x="431" y="330"/>
                </a:lnTo>
                <a:lnTo>
                  <a:pt x="429" y="336"/>
                </a:lnTo>
                <a:lnTo>
                  <a:pt x="428" y="348"/>
                </a:lnTo>
                <a:lnTo>
                  <a:pt x="428" y="348"/>
                </a:lnTo>
                <a:lnTo>
                  <a:pt x="429" y="353"/>
                </a:lnTo>
                <a:lnTo>
                  <a:pt x="429" y="361"/>
                </a:lnTo>
                <a:lnTo>
                  <a:pt x="431" y="367"/>
                </a:lnTo>
                <a:lnTo>
                  <a:pt x="431" y="372"/>
                </a:lnTo>
                <a:lnTo>
                  <a:pt x="433" y="378"/>
                </a:lnTo>
                <a:lnTo>
                  <a:pt x="435" y="382"/>
                </a:lnTo>
                <a:lnTo>
                  <a:pt x="439" y="386"/>
                </a:lnTo>
                <a:lnTo>
                  <a:pt x="441" y="390"/>
                </a:lnTo>
                <a:lnTo>
                  <a:pt x="445" y="393"/>
                </a:lnTo>
                <a:lnTo>
                  <a:pt x="447" y="397"/>
                </a:lnTo>
                <a:lnTo>
                  <a:pt x="450" y="401"/>
                </a:lnTo>
                <a:lnTo>
                  <a:pt x="452" y="405"/>
                </a:lnTo>
                <a:lnTo>
                  <a:pt x="456" y="409"/>
                </a:lnTo>
                <a:lnTo>
                  <a:pt x="458" y="412"/>
                </a:lnTo>
                <a:lnTo>
                  <a:pt x="462" y="416"/>
                </a:lnTo>
                <a:lnTo>
                  <a:pt x="464" y="420"/>
                </a:lnTo>
                <a:lnTo>
                  <a:pt x="464" y="420"/>
                </a:lnTo>
                <a:lnTo>
                  <a:pt x="464" y="422"/>
                </a:lnTo>
                <a:lnTo>
                  <a:pt x="464" y="426"/>
                </a:lnTo>
                <a:lnTo>
                  <a:pt x="464" y="432"/>
                </a:lnTo>
                <a:lnTo>
                  <a:pt x="464" y="437"/>
                </a:lnTo>
                <a:lnTo>
                  <a:pt x="464" y="443"/>
                </a:lnTo>
                <a:lnTo>
                  <a:pt x="464" y="449"/>
                </a:lnTo>
                <a:lnTo>
                  <a:pt x="466" y="454"/>
                </a:lnTo>
                <a:lnTo>
                  <a:pt x="466" y="458"/>
                </a:lnTo>
                <a:lnTo>
                  <a:pt x="466" y="458"/>
                </a:lnTo>
                <a:lnTo>
                  <a:pt x="464" y="460"/>
                </a:lnTo>
                <a:lnTo>
                  <a:pt x="462" y="460"/>
                </a:lnTo>
                <a:lnTo>
                  <a:pt x="460" y="460"/>
                </a:lnTo>
                <a:lnTo>
                  <a:pt x="458" y="460"/>
                </a:lnTo>
                <a:lnTo>
                  <a:pt x="456" y="460"/>
                </a:lnTo>
                <a:lnTo>
                  <a:pt x="452" y="458"/>
                </a:lnTo>
                <a:lnTo>
                  <a:pt x="450" y="458"/>
                </a:lnTo>
                <a:lnTo>
                  <a:pt x="449" y="458"/>
                </a:lnTo>
                <a:lnTo>
                  <a:pt x="449" y="458"/>
                </a:lnTo>
                <a:lnTo>
                  <a:pt x="445" y="458"/>
                </a:lnTo>
                <a:lnTo>
                  <a:pt x="441" y="458"/>
                </a:lnTo>
                <a:lnTo>
                  <a:pt x="435" y="458"/>
                </a:lnTo>
                <a:lnTo>
                  <a:pt x="429" y="458"/>
                </a:lnTo>
                <a:lnTo>
                  <a:pt x="426" y="456"/>
                </a:lnTo>
                <a:lnTo>
                  <a:pt x="418" y="456"/>
                </a:lnTo>
                <a:lnTo>
                  <a:pt x="412" y="456"/>
                </a:lnTo>
                <a:lnTo>
                  <a:pt x="407" y="454"/>
                </a:lnTo>
                <a:lnTo>
                  <a:pt x="401" y="453"/>
                </a:lnTo>
                <a:lnTo>
                  <a:pt x="393" y="453"/>
                </a:lnTo>
                <a:lnTo>
                  <a:pt x="387" y="453"/>
                </a:lnTo>
                <a:lnTo>
                  <a:pt x="380" y="451"/>
                </a:lnTo>
                <a:lnTo>
                  <a:pt x="374" y="451"/>
                </a:lnTo>
                <a:lnTo>
                  <a:pt x="368" y="451"/>
                </a:lnTo>
                <a:lnTo>
                  <a:pt x="363" y="449"/>
                </a:lnTo>
                <a:lnTo>
                  <a:pt x="357" y="449"/>
                </a:lnTo>
                <a:lnTo>
                  <a:pt x="357" y="449"/>
                </a:lnTo>
                <a:lnTo>
                  <a:pt x="353" y="449"/>
                </a:lnTo>
                <a:lnTo>
                  <a:pt x="347" y="449"/>
                </a:lnTo>
                <a:lnTo>
                  <a:pt x="342" y="449"/>
                </a:lnTo>
                <a:lnTo>
                  <a:pt x="336" y="449"/>
                </a:lnTo>
                <a:lnTo>
                  <a:pt x="332" y="449"/>
                </a:lnTo>
                <a:lnTo>
                  <a:pt x="326" y="449"/>
                </a:lnTo>
                <a:lnTo>
                  <a:pt x="321" y="449"/>
                </a:lnTo>
                <a:lnTo>
                  <a:pt x="317" y="449"/>
                </a:lnTo>
                <a:lnTo>
                  <a:pt x="311" y="449"/>
                </a:lnTo>
                <a:lnTo>
                  <a:pt x="307" y="449"/>
                </a:lnTo>
                <a:lnTo>
                  <a:pt x="304" y="449"/>
                </a:lnTo>
                <a:lnTo>
                  <a:pt x="298" y="449"/>
                </a:lnTo>
                <a:lnTo>
                  <a:pt x="294" y="449"/>
                </a:lnTo>
                <a:lnTo>
                  <a:pt x="290" y="449"/>
                </a:lnTo>
                <a:lnTo>
                  <a:pt x="284" y="449"/>
                </a:lnTo>
                <a:lnTo>
                  <a:pt x="281" y="449"/>
                </a:lnTo>
                <a:lnTo>
                  <a:pt x="281" y="449"/>
                </a:lnTo>
                <a:lnTo>
                  <a:pt x="273" y="449"/>
                </a:lnTo>
                <a:lnTo>
                  <a:pt x="265" y="451"/>
                </a:lnTo>
                <a:lnTo>
                  <a:pt x="258" y="451"/>
                </a:lnTo>
                <a:lnTo>
                  <a:pt x="250" y="451"/>
                </a:lnTo>
                <a:lnTo>
                  <a:pt x="243" y="451"/>
                </a:lnTo>
                <a:lnTo>
                  <a:pt x="237" y="453"/>
                </a:lnTo>
                <a:lnTo>
                  <a:pt x="229" y="453"/>
                </a:lnTo>
                <a:lnTo>
                  <a:pt x="223" y="454"/>
                </a:lnTo>
                <a:lnTo>
                  <a:pt x="218" y="456"/>
                </a:lnTo>
                <a:lnTo>
                  <a:pt x="210" y="456"/>
                </a:lnTo>
                <a:lnTo>
                  <a:pt x="204" y="458"/>
                </a:lnTo>
                <a:lnTo>
                  <a:pt x="199" y="460"/>
                </a:lnTo>
                <a:lnTo>
                  <a:pt x="193" y="462"/>
                </a:lnTo>
                <a:lnTo>
                  <a:pt x="187" y="464"/>
                </a:lnTo>
                <a:lnTo>
                  <a:pt x="180" y="466"/>
                </a:lnTo>
                <a:lnTo>
                  <a:pt x="174" y="468"/>
                </a:lnTo>
                <a:lnTo>
                  <a:pt x="174" y="468"/>
                </a:lnTo>
                <a:lnTo>
                  <a:pt x="168" y="470"/>
                </a:lnTo>
                <a:lnTo>
                  <a:pt x="162" y="473"/>
                </a:lnTo>
                <a:lnTo>
                  <a:pt x="157" y="475"/>
                </a:lnTo>
                <a:lnTo>
                  <a:pt x="151" y="479"/>
                </a:lnTo>
                <a:lnTo>
                  <a:pt x="145" y="483"/>
                </a:lnTo>
                <a:lnTo>
                  <a:pt x="140" y="485"/>
                </a:lnTo>
                <a:lnTo>
                  <a:pt x="134" y="489"/>
                </a:lnTo>
                <a:lnTo>
                  <a:pt x="128" y="493"/>
                </a:lnTo>
                <a:lnTo>
                  <a:pt x="122" y="496"/>
                </a:lnTo>
                <a:lnTo>
                  <a:pt x="117" y="498"/>
                </a:lnTo>
                <a:lnTo>
                  <a:pt x="111" y="502"/>
                </a:lnTo>
                <a:lnTo>
                  <a:pt x="105" y="504"/>
                </a:lnTo>
                <a:lnTo>
                  <a:pt x="99" y="506"/>
                </a:lnTo>
                <a:lnTo>
                  <a:pt x="94" y="508"/>
                </a:lnTo>
                <a:lnTo>
                  <a:pt x="86" y="508"/>
                </a:lnTo>
                <a:lnTo>
                  <a:pt x="80" y="508"/>
                </a:lnTo>
                <a:lnTo>
                  <a:pt x="80" y="508"/>
                </a:lnTo>
                <a:lnTo>
                  <a:pt x="77" y="508"/>
                </a:lnTo>
                <a:lnTo>
                  <a:pt x="75" y="504"/>
                </a:lnTo>
                <a:lnTo>
                  <a:pt x="75" y="500"/>
                </a:lnTo>
                <a:lnTo>
                  <a:pt x="73" y="494"/>
                </a:lnTo>
                <a:lnTo>
                  <a:pt x="71" y="487"/>
                </a:lnTo>
                <a:lnTo>
                  <a:pt x="71" y="481"/>
                </a:lnTo>
                <a:lnTo>
                  <a:pt x="71" y="475"/>
                </a:lnTo>
                <a:lnTo>
                  <a:pt x="71" y="472"/>
                </a:lnTo>
                <a:lnTo>
                  <a:pt x="71" y="472"/>
                </a:lnTo>
                <a:lnTo>
                  <a:pt x="71" y="464"/>
                </a:lnTo>
                <a:lnTo>
                  <a:pt x="73" y="458"/>
                </a:lnTo>
                <a:lnTo>
                  <a:pt x="75" y="453"/>
                </a:lnTo>
                <a:lnTo>
                  <a:pt x="77" y="447"/>
                </a:lnTo>
                <a:lnTo>
                  <a:pt x="78" y="441"/>
                </a:lnTo>
                <a:lnTo>
                  <a:pt x="82" y="437"/>
                </a:lnTo>
                <a:lnTo>
                  <a:pt x="84" y="433"/>
                </a:lnTo>
                <a:lnTo>
                  <a:pt x="86" y="430"/>
                </a:lnTo>
                <a:lnTo>
                  <a:pt x="86" y="403"/>
                </a:lnTo>
                <a:lnTo>
                  <a:pt x="86" y="403"/>
                </a:lnTo>
                <a:lnTo>
                  <a:pt x="80" y="399"/>
                </a:lnTo>
                <a:lnTo>
                  <a:pt x="75" y="397"/>
                </a:lnTo>
                <a:lnTo>
                  <a:pt x="71" y="393"/>
                </a:lnTo>
                <a:lnTo>
                  <a:pt x="69" y="388"/>
                </a:lnTo>
                <a:lnTo>
                  <a:pt x="67" y="384"/>
                </a:lnTo>
                <a:lnTo>
                  <a:pt x="63" y="378"/>
                </a:lnTo>
                <a:lnTo>
                  <a:pt x="61" y="374"/>
                </a:lnTo>
                <a:lnTo>
                  <a:pt x="56" y="370"/>
                </a:lnTo>
                <a:lnTo>
                  <a:pt x="56" y="370"/>
                </a:lnTo>
                <a:lnTo>
                  <a:pt x="48" y="365"/>
                </a:lnTo>
                <a:lnTo>
                  <a:pt x="40" y="361"/>
                </a:lnTo>
                <a:lnTo>
                  <a:pt x="35" y="359"/>
                </a:lnTo>
                <a:lnTo>
                  <a:pt x="29" y="357"/>
                </a:lnTo>
                <a:lnTo>
                  <a:pt x="23" y="357"/>
                </a:lnTo>
                <a:lnTo>
                  <a:pt x="16" y="357"/>
                </a:lnTo>
                <a:lnTo>
                  <a:pt x="8" y="355"/>
                </a:lnTo>
                <a:lnTo>
                  <a:pt x="0" y="353"/>
                </a:lnTo>
                <a:lnTo>
                  <a:pt x="0" y="353"/>
                </a:lnTo>
                <a:lnTo>
                  <a:pt x="2" y="353"/>
                </a:lnTo>
                <a:lnTo>
                  <a:pt x="2" y="353"/>
                </a:lnTo>
                <a:lnTo>
                  <a:pt x="2" y="353"/>
                </a:lnTo>
                <a:lnTo>
                  <a:pt x="4" y="353"/>
                </a:lnTo>
                <a:lnTo>
                  <a:pt x="4" y="353"/>
                </a:lnTo>
                <a:lnTo>
                  <a:pt x="2" y="349"/>
                </a:lnTo>
                <a:lnTo>
                  <a:pt x="2" y="346"/>
                </a:lnTo>
                <a:lnTo>
                  <a:pt x="2" y="344"/>
                </a:lnTo>
                <a:lnTo>
                  <a:pt x="2" y="340"/>
                </a:lnTo>
                <a:lnTo>
                  <a:pt x="2" y="338"/>
                </a:lnTo>
                <a:lnTo>
                  <a:pt x="4" y="338"/>
                </a:lnTo>
                <a:lnTo>
                  <a:pt x="4" y="336"/>
                </a:lnTo>
                <a:lnTo>
                  <a:pt x="4" y="334"/>
                </a:lnTo>
                <a:lnTo>
                  <a:pt x="4" y="334"/>
                </a:lnTo>
                <a:lnTo>
                  <a:pt x="4" y="330"/>
                </a:lnTo>
                <a:lnTo>
                  <a:pt x="6" y="327"/>
                </a:lnTo>
                <a:lnTo>
                  <a:pt x="10" y="321"/>
                </a:lnTo>
                <a:lnTo>
                  <a:pt x="14" y="315"/>
                </a:lnTo>
                <a:lnTo>
                  <a:pt x="17" y="309"/>
                </a:lnTo>
                <a:lnTo>
                  <a:pt x="21" y="304"/>
                </a:lnTo>
                <a:lnTo>
                  <a:pt x="23" y="300"/>
                </a:lnTo>
                <a:lnTo>
                  <a:pt x="23" y="294"/>
                </a:lnTo>
                <a:lnTo>
                  <a:pt x="23" y="294"/>
                </a:lnTo>
                <a:lnTo>
                  <a:pt x="23" y="287"/>
                </a:lnTo>
                <a:lnTo>
                  <a:pt x="21" y="281"/>
                </a:lnTo>
                <a:lnTo>
                  <a:pt x="21" y="273"/>
                </a:lnTo>
                <a:lnTo>
                  <a:pt x="19" y="267"/>
                </a:lnTo>
                <a:lnTo>
                  <a:pt x="17" y="262"/>
                </a:lnTo>
                <a:lnTo>
                  <a:pt x="17" y="256"/>
                </a:lnTo>
                <a:lnTo>
                  <a:pt x="16" y="248"/>
                </a:lnTo>
                <a:lnTo>
                  <a:pt x="16" y="243"/>
                </a:lnTo>
                <a:lnTo>
                  <a:pt x="16" y="243"/>
                </a:lnTo>
                <a:lnTo>
                  <a:pt x="23" y="243"/>
                </a:lnTo>
                <a:lnTo>
                  <a:pt x="31" y="239"/>
                </a:lnTo>
                <a:lnTo>
                  <a:pt x="37" y="235"/>
                </a:lnTo>
                <a:lnTo>
                  <a:pt x="40" y="231"/>
                </a:lnTo>
                <a:lnTo>
                  <a:pt x="44" y="225"/>
                </a:lnTo>
                <a:lnTo>
                  <a:pt x="48" y="218"/>
                </a:lnTo>
                <a:lnTo>
                  <a:pt x="50" y="212"/>
                </a:lnTo>
                <a:lnTo>
                  <a:pt x="54" y="204"/>
                </a:lnTo>
                <a:lnTo>
                  <a:pt x="54" y="204"/>
                </a:lnTo>
                <a:lnTo>
                  <a:pt x="50" y="203"/>
                </a:lnTo>
                <a:lnTo>
                  <a:pt x="46" y="201"/>
                </a:lnTo>
                <a:lnTo>
                  <a:pt x="42" y="199"/>
                </a:lnTo>
                <a:lnTo>
                  <a:pt x="40" y="195"/>
                </a:lnTo>
                <a:lnTo>
                  <a:pt x="38" y="193"/>
                </a:lnTo>
                <a:lnTo>
                  <a:pt x="37" y="189"/>
                </a:lnTo>
                <a:lnTo>
                  <a:pt x="37" y="185"/>
                </a:lnTo>
                <a:lnTo>
                  <a:pt x="35" y="182"/>
                </a:lnTo>
                <a:lnTo>
                  <a:pt x="35" y="182"/>
                </a:lnTo>
                <a:lnTo>
                  <a:pt x="37" y="178"/>
                </a:lnTo>
                <a:lnTo>
                  <a:pt x="37" y="174"/>
                </a:lnTo>
                <a:lnTo>
                  <a:pt x="38" y="172"/>
                </a:lnTo>
                <a:lnTo>
                  <a:pt x="42" y="170"/>
                </a:lnTo>
                <a:lnTo>
                  <a:pt x="44" y="168"/>
                </a:lnTo>
                <a:lnTo>
                  <a:pt x="48" y="166"/>
                </a:lnTo>
                <a:lnTo>
                  <a:pt x="50" y="166"/>
                </a:lnTo>
                <a:lnTo>
                  <a:pt x="54" y="166"/>
                </a:lnTo>
                <a:lnTo>
                  <a:pt x="54" y="166"/>
                </a:lnTo>
                <a:lnTo>
                  <a:pt x="59" y="166"/>
                </a:lnTo>
                <a:lnTo>
                  <a:pt x="63" y="168"/>
                </a:lnTo>
                <a:lnTo>
                  <a:pt x="65" y="170"/>
                </a:lnTo>
                <a:lnTo>
                  <a:pt x="67" y="172"/>
                </a:lnTo>
                <a:lnTo>
                  <a:pt x="69" y="172"/>
                </a:lnTo>
                <a:lnTo>
                  <a:pt x="71" y="172"/>
                </a:lnTo>
                <a:lnTo>
                  <a:pt x="75" y="172"/>
                </a:lnTo>
                <a:lnTo>
                  <a:pt x="80" y="170"/>
                </a:lnTo>
                <a:lnTo>
                  <a:pt x="80" y="170"/>
                </a:lnTo>
                <a:lnTo>
                  <a:pt x="77" y="166"/>
                </a:lnTo>
                <a:lnTo>
                  <a:pt x="73" y="163"/>
                </a:lnTo>
                <a:lnTo>
                  <a:pt x="71" y="159"/>
                </a:lnTo>
                <a:lnTo>
                  <a:pt x="67" y="155"/>
                </a:lnTo>
                <a:lnTo>
                  <a:pt x="65" y="151"/>
                </a:lnTo>
                <a:lnTo>
                  <a:pt x="63" y="147"/>
                </a:lnTo>
                <a:lnTo>
                  <a:pt x="63" y="142"/>
                </a:lnTo>
                <a:lnTo>
                  <a:pt x="61" y="136"/>
                </a:lnTo>
                <a:lnTo>
                  <a:pt x="61" y="136"/>
                </a:lnTo>
                <a:lnTo>
                  <a:pt x="61" y="132"/>
                </a:lnTo>
                <a:lnTo>
                  <a:pt x="61" y="130"/>
                </a:lnTo>
                <a:lnTo>
                  <a:pt x="61" y="126"/>
                </a:lnTo>
                <a:lnTo>
                  <a:pt x="61" y="122"/>
                </a:lnTo>
                <a:lnTo>
                  <a:pt x="61" y="121"/>
                </a:lnTo>
                <a:lnTo>
                  <a:pt x="61" y="119"/>
                </a:lnTo>
                <a:lnTo>
                  <a:pt x="61" y="117"/>
                </a:lnTo>
                <a:lnTo>
                  <a:pt x="61" y="117"/>
                </a:lnTo>
                <a:lnTo>
                  <a:pt x="61" y="117"/>
                </a:lnTo>
                <a:lnTo>
                  <a:pt x="61" y="113"/>
                </a:lnTo>
                <a:lnTo>
                  <a:pt x="61" y="109"/>
                </a:lnTo>
                <a:lnTo>
                  <a:pt x="59" y="103"/>
                </a:lnTo>
                <a:lnTo>
                  <a:pt x="57" y="100"/>
                </a:lnTo>
                <a:lnTo>
                  <a:pt x="56" y="94"/>
                </a:lnTo>
                <a:lnTo>
                  <a:pt x="54" y="90"/>
                </a:lnTo>
                <a:lnTo>
                  <a:pt x="54" y="84"/>
                </a:lnTo>
                <a:lnTo>
                  <a:pt x="54" y="79"/>
                </a:lnTo>
                <a:lnTo>
                  <a:pt x="54" y="79"/>
                </a:lnTo>
                <a:lnTo>
                  <a:pt x="54" y="67"/>
                </a:lnTo>
                <a:lnTo>
                  <a:pt x="57" y="56"/>
                </a:lnTo>
                <a:lnTo>
                  <a:pt x="61" y="46"/>
                </a:lnTo>
                <a:lnTo>
                  <a:pt x="69" y="37"/>
                </a:lnTo>
                <a:lnTo>
                  <a:pt x="77" y="29"/>
                </a:lnTo>
                <a:lnTo>
                  <a:pt x="84" y="23"/>
                </a:lnTo>
                <a:lnTo>
                  <a:pt x="94" y="19"/>
                </a:lnTo>
                <a:lnTo>
                  <a:pt x="103" y="19"/>
                </a:lnTo>
                <a:lnTo>
                  <a:pt x="103" y="19"/>
                </a:lnTo>
                <a:lnTo>
                  <a:pt x="107" y="19"/>
                </a:lnTo>
                <a:lnTo>
                  <a:pt x="111" y="21"/>
                </a:lnTo>
                <a:lnTo>
                  <a:pt x="115" y="23"/>
                </a:lnTo>
                <a:lnTo>
                  <a:pt x="119" y="25"/>
                </a:lnTo>
                <a:lnTo>
                  <a:pt x="122" y="29"/>
                </a:lnTo>
                <a:lnTo>
                  <a:pt x="128" y="31"/>
                </a:lnTo>
                <a:lnTo>
                  <a:pt x="134" y="33"/>
                </a:lnTo>
                <a:lnTo>
                  <a:pt x="140" y="35"/>
                </a:lnTo>
                <a:lnTo>
                  <a:pt x="140" y="35"/>
                </a:lnTo>
                <a:lnTo>
                  <a:pt x="149" y="33"/>
                </a:lnTo>
                <a:lnTo>
                  <a:pt x="155" y="31"/>
                </a:lnTo>
                <a:lnTo>
                  <a:pt x="160" y="27"/>
                </a:lnTo>
                <a:lnTo>
                  <a:pt x="164" y="21"/>
                </a:lnTo>
                <a:lnTo>
                  <a:pt x="166" y="18"/>
                </a:lnTo>
                <a:lnTo>
                  <a:pt x="168" y="12"/>
                </a:lnTo>
                <a:lnTo>
                  <a:pt x="172" y="8"/>
                </a:lnTo>
                <a:lnTo>
                  <a:pt x="174" y="4"/>
                </a:lnTo>
                <a:lnTo>
                  <a:pt x="174" y="4"/>
                </a:lnTo>
                <a:lnTo>
                  <a:pt x="178" y="2"/>
                </a:lnTo>
                <a:lnTo>
                  <a:pt x="181" y="2"/>
                </a:lnTo>
                <a:lnTo>
                  <a:pt x="187" y="0"/>
                </a:lnTo>
                <a:lnTo>
                  <a:pt x="193" y="0"/>
                </a:lnTo>
                <a:lnTo>
                  <a:pt x="197" y="0"/>
                </a:lnTo>
                <a:lnTo>
                  <a:pt x="202" y="0"/>
                </a:lnTo>
                <a:lnTo>
                  <a:pt x="204" y="0"/>
                </a:lnTo>
                <a:lnTo>
                  <a:pt x="208" y="0"/>
                </a:lnTo>
                <a:lnTo>
                  <a:pt x="208" y="0"/>
                </a:lnTo>
                <a:lnTo>
                  <a:pt x="208" y="6"/>
                </a:lnTo>
                <a:lnTo>
                  <a:pt x="210" y="12"/>
                </a:lnTo>
                <a:lnTo>
                  <a:pt x="210" y="18"/>
                </a:lnTo>
                <a:lnTo>
                  <a:pt x="210" y="23"/>
                </a:lnTo>
                <a:lnTo>
                  <a:pt x="212" y="29"/>
                </a:lnTo>
                <a:lnTo>
                  <a:pt x="214" y="33"/>
                </a:lnTo>
                <a:lnTo>
                  <a:pt x="218" y="35"/>
                </a:lnTo>
                <a:lnTo>
                  <a:pt x="222" y="37"/>
                </a:lnTo>
                <a:lnTo>
                  <a:pt x="222" y="37"/>
                </a:lnTo>
                <a:lnTo>
                  <a:pt x="227" y="35"/>
                </a:lnTo>
                <a:lnTo>
                  <a:pt x="233" y="33"/>
                </a:lnTo>
                <a:lnTo>
                  <a:pt x="239" y="31"/>
                </a:lnTo>
                <a:lnTo>
                  <a:pt x="244" y="27"/>
                </a:lnTo>
                <a:lnTo>
                  <a:pt x="250" y="25"/>
                </a:lnTo>
                <a:lnTo>
                  <a:pt x="256" y="21"/>
                </a:lnTo>
                <a:lnTo>
                  <a:pt x="262" y="19"/>
                </a:lnTo>
                <a:lnTo>
                  <a:pt x="269" y="19"/>
                </a:lnTo>
                <a:lnTo>
                  <a:pt x="269" y="19"/>
                </a:lnTo>
                <a:lnTo>
                  <a:pt x="277" y="19"/>
                </a:lnTo>
                <a:lnTo>
                  <a:pt x="283" y="21"/>
                </a:lnTo>
                <a:lnTo>
                  <a:pt x="288" y="23"/>
                </a:lnTo>
                <a:lnTo>
                  <a:pt x="292" y="27"/>
                </a:lnTo>
                <a:lnTo>
                  <a:pt x="296" y="33"/>
                </a:lnTo>
                <a:lnTo>
                  <a:pt x="300" y="37"/>
                </a:lnTo>
                <a:lnTo>
                  <a:pt x="304" y="42"/>
                </a:lnTo>
                <a:lnTo>
                  <a:pt x="307" y="46"/>
                </a:lnTo>
                <a:lnTo>
                  <a:pt x="311" y="52"/>
                </a:lnTo>
                <a:lnTo>
                  <a:pt x="313" y="58"/>
                </a:lnTo>
                <a:lnTo>
                  <a:pt x="317" y="61"/>
                </a:lnTo>
                <a:lnTo>
                  <a:pt x="323" y="67"/>
                </a:lnTo>
                <a:lnTo>
                  <a:pt x="326" y="69"/>
                </a:lnTo>
                <a:lnTo>
                  <a:pt x="332" y="73"/>
                </a:lnTo>
                <a:lnTo>
                  <a:pt x="340" y="75"/>
                </a:lnTo>
                <a:lnTo>
                  <a:pt x="347" y="75"/>
                </a:lnTo>
                <a:lnTo>
                  <a:pt x="347" y="75"/>
                </a:lnTo>
                <a:lnTo>
                  <a:pt x="359" y="75"/>
                </a:lnTo>
                <a:lnTo>
                  <a:pt x="367" y="73"/>
                </a:lnTo>
                <a:lnTo>
                  <a:pt x="374" y="71"/>
                </a:lnTo>
                <a:lnTo>
                  <a:pt x="382" y="67"/>
                </a:lnTo>
                <a:lnTo>
                  <a:pt x="387" y="65"/>
                </a:lnTo>
                <a:lnTo>
                  <a:pt x="395" y="63"/>
                </a:lnTo>
                <a:lnTo>
                  <a:pt x="403" y="61"/>
                </a:lnTo>
                <a:lnTo>
                  <a:pt x="410" y="60"/>
                </a:lnTo>
                <a:lnTo>
                  <a:pt x="410" y="60"/>
                </a:lnTo>
                <a:lnTo>
                  <a:pt x="422" y="61"/>
                </a:lnTo>
                <a:lnTo>
                  <a:pt x="433" y="65"/>
                </a:lnTo>
                <a:lnTo>
                  <a:pt x="441" y="69"/>
                </a:lnTo>
                <a:lnTo>
                  <a:pt x="447" y="75"/>
                </a:lnTo>
                <a:lnTo>
                  <a:pt x="452" y="82"/>
                </a:lnTo>
                <a:lnTo>
                  <a:pt x="458" y="88"/>
                </a:lnTo>
                <a:lnTo>
                  <a:pt x="464" y="96"/>
                </a:lnTo>
                <a:lnTo>
                  <a:pt x="470" y="101"/>
                </a:lnTo>
                <a:lnTo>
                  <a:pt x="466" y="79"/>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3" name="Freeform 35"/>
          <p:cNvSpPr>
            <a:spLocks/>
          </p:cNvSpPr>
          <p:nvPr>
            <p:custDataLst>
              <p:tags r:id="rId35"/>
            </p:custDataLst>
          </p:nvPr>
        </p:nvSpPr>
        <p:spPr bwMode="gray">
          <a:xfrm>
            <a:off x="1764007" y="3108291"/>
            <a:ext cx="268894" cy="304512"/>
          </a:xfrm>
          <a:custGeom>
            <a:avLst/>
            <a:gdLst/>
            <a:ahLst/>
            <a:cxnLst>
              <a:cxn ang="0">
                <a:pos x="224" y="71"/>
              </a:cxn>
              <a:cxn ang="0">
                <a:pos x="218" y="73"/>
              </a:cxn>
              <a:cxn ang="0">
                <a:pos x="210" y="79"/>
              </a:cxn>
              <a:cxn ang="0">
                <a:pos x="199" y="100"/>
              </a:cxn>
              <a:cxn ang="0">
                <a:pos x="182" y="105"/>
              </a:cxn>
              <a:cxn ang="0">
                <a:pos x="164" y="98"/>
              </a:cxn>
              <a:cxn ang="0">
                <a:pos x="155" y="84"/>
              </a:cxn>
              <a:cxn ang="0">
                <a:pos x="157" y="81"/>
              </a:cxn>
              <a:cxn ang="0">
                <a:pos x="164" y="71"/>
              </a:cxn>
              <a:cxn ang="0">
                <a:pos x="164" y="54"/>
              </a:cxn>
              <a:cxn ang="0">
                <a:pos x="159" y="31"/>
              </a:cxn>
              <a:cxn ang="0">
                <a:pos x="147" y="12"/>
              </a:cxn>
              <a:cxn ang="0">
                <a:pos x="126" y="0"/>
              </a:cxn>
              <a:cxn ang="0">
                <a:pos x="96" y="0"/>
              </a:cxn>
              <a:cxn ang="0">
                <a:pos x="71" y="29"/>
              </a:cxn>
              <a:cxn ang="0">
                <a:pos x="59" y="61"/>
              </a:cxn>
              <a:cxn ang="0">
                <a:pos x="33" y="94"/>
              </a:cxn>
              <a:cxn ang="0">
                <a:pos x="0" y="126"/>
              </a:cxn>
              <a:cxn ang="0">
                <a:pos x="18" y="149"/>
              </a:cxn>
              <a:cxn ang="0">
                <a:pos x="42" y="168"/>
              </a:cxn>
              <a:cxn ang="0">
                <a:pos x="69" y="182"/>
              </a:cxn>
              <a:cxn ang="0">
                <a:pos x="98" y="197"/>
              </a:cxn>
              <a:cxn ang="0">
                <a:pos x="115" y="212"/>
              </a:cxn>
              <a:cxn ang="0">
                <a:pos x="130" y="231"/>
              </a:cxn>
              <a:cxn ang="0">
                <a:pos x="145" y="254"/>
              </a:cxn>
              <a:cxn ang="0">
                <a:pos x="161" y="273"/>
              </a:cxn>
              <a:cxn ang="0">
                <a:pos x="180" y="289"/>
              </a:cxn>
              <a:cxn ang="0">
                <a:pos x="206" y="304"/>
              </a:cxn>
              <a:cxn ang="0">
                <a:pos x="233" y="319"/>
              </a:cxn>
              <a:cxn ang="0">
                <a:pos x="264" y="332"/>
              </a:cxn>
              <a:cxn ang="0">
                <a:pos x="288" y="344"/>
              </a:cxn>
              <a:cxn ang="0">
                <a:pos x="281" y="330"/>
              </a:cxn>
              <a:cxn ang="0">
                <a:pos x="279" y="308"/>
              </a:cxn>
              <a:cxn ang="0">
                <a:pos x="283" y="289"/>
              </a:cxn>
              <a:cxn ang="0">
                <a:pos x="292" y="269"/>
              </a:cxn>
              <a:cxn ang="0">
                <a:pos x="288" y="235"/>
              </a:cxn>
              <a:cxn ang="0">
                <a:pos x="275" y="220"/>
              </a:cxn>
              <a:cxn ang="0">
                <a:pos x="264" y="206"/>
              </a:cxn>
              <a:cxn ang="0">
                <a:pos x="237" y="193"/>
              </a:cxn>
              <a:cxn ang="0">
                <a:pos x="208" y="189"/>
              </a:cxn>
              <a:cxn ang="0">
                <a:pos x="210" y="189"/>
              </a:cxn>
              <a:cxn ang="0">
                <a:pos x="210" y="182"/>
              </a:cxn>
              <a:cxn ang="0">
                <a:pos x="212" y="174"/>
              </a:cxn>
              <a:cxn ang="0">
                <a:pos x="212" y="166"/>
              </a:cxn>
              <a:cxn ang="0">
                <a:pos x="225" y="145"/>
              </a:cxn>
              <a:cxn ang="0">
                <a:pos x="231" y="130"/>
              </a:cxn>
              <a:cxn ang="0">
                <a:pos x="227" y="103"/>
              </a:cxn>
              <a:cxn ang="0">
                <a:pos x="224" y="79"/>
              </a:cxn>
            </a:cxnLst>
            <a:rect l="0" t="0" r="r" b="b"/>
            <a:pathLst>
              <a:path w="294" h="344">
                <a:moveTo>
                  <a:pt x="225" y="71"/>
                </a:moveTo>
                <a:lnTo>
                  <a:pt x="225" y="71"/>
                </a:lnTo>
                <a:lnTo>
                  <a:pt x="224" y="71"/>
                </a:lnTo>
                <a:lnTo>
                  <a:pt x="224" y="71"/>
                </a:lnTo>
                <a:lnTo>
                  <a:pt x="222" y="71"/>
                </a:lnTo>
                <a:lnTo>
                  <a:pt x="222" y="73"/>
                </a:lnTo>
                <a:lnTo>
                  <a:pt x="220" y="73"/>
                </a:lnTo>
                <a:lnTo>
                  <a:pt x="218" y="73"/>
                </a:lnTo>
                <a:lnTo>
                  <a:pt x="214" y="73"/>
                </a:lnTo>
                <a:lnTo>
                  <a:pt x="212" y="71"/>
                </a:lnTo>
                <a:lnTo>
                  <a:pt x="212" y="71"/>
                </a:lnTo>
                <a:lnTo>
                  <a:pt x="210" y="79"/>
                </a:lnTo>
                <a:lnTo>
                  <a:pt x="208" y="84"/>
                </a:lnTo>
                <a:lnTo>
                  <a:pt x="206" y="90"/>
                </a:lnTo>
                <a:lnTo>
                  <a:pt x="203" y="96"/>
                </a:lnTo>
                <a:lnTo>
                  <a:pt x="199" y="100"/>
                </a:lnTo>
                <a:lnTo>
                  <a:pt x="193" y="103"/>
                </a:lnTo>
                <a:lnTo>
                  <a:pt x="187" y="105"/>
                </a:lnTo>
                <a:lnTo>
                  <a:pt x="182" y="105"/>
                </a:lnTo>
                <a:lnTo>
                  <a:pt x="182" y="105"/>
                </a:lnTo>
                <a:lnTo>
                  <a:pt x="178" y="105"/>
                </a:lnTo>
                <a:lnTo>
                  <a:pt x="174" y="103"/>
                </a:lnTo>
                <a:lnTo>
                  <a:pt x="168" y="102"/>
                </a:lnTo>
                <a:lnTo>
                  <a:pt x="164" y="98"/>
                </a:lnTo>
                <a:lnTo>
                  <a:pt x="161" y="96"/>
                </a:lnTo>
                <a:lnTo>
                  <a:pt x="157" y="92"/>
                </a:lnTo>
                <a:lnTo>
                  <a:pt x="155" y="88"/>
                </a:lnTo>
                <a:lnTo>
                  <a:pt x="155" y="84"/>
                </a:lnTo>
                <a:lnTo>
                  <a:pt x="155" y="84"/>
                </a:lnTo>
                <a:lnTo>
                  <a:pt x="155" y="82"/>
                </a:lnTo>
                <a:lnTo>
                  <a:pt x="157" y="81"/>
                </a:lnTo>
                <a:lnTo>
                  <a:pt x="157" y="81"/>
                </a:lnTo>
                <a:lnTo>
                  <a:pt x="159" y="79"/>
                </a:lnTo>
                <a:lnTo>
                  <a:pt x="161" y="77"/>
                </a:lnTo>
                <a:lnTo>
                  <a:pt x="162" y="73"/>
                </a:lnTo>
                <a:lnTo>
                  <a:pt x="164" y="71"/>
                </a:lnTo>
                <a:lnTo>
                  <a:pt x="164" y="67"/>
                </a:lnTo>
                <a:lnTo>
                  <a:pt x="164" y="67"/>
                </a:lnTo>
                <a:lnTo>
                  <a:pt x="164" y="61"/>
                </a:lnTo>
                <a:lnTo>
                  <a:pt x="164" y="54"/>
                </a:lnTo>
                <a:lnTo>
                  <a:pt x="162" y="48"/>
                </a:lnTo>
                <a:lnTo>
                  <a:pt x="162" y="42"/>
                </a:lnTo>
                <a:lnTo>
                  <a:pt x="161" y="37"/>
                </a:lnTo>
                <a:lnTo>
                  <a:pt x="159" y="31"/>
                </a:lnTo>
                <a:lnTo>
                  <a:pt x="157" y="25"/>
                </a:lnTo>
                <a:lnTo>
                  <a:pt x="155" y="20"/>
                </a:lnTo>
                <a:lnTo>
                  <a:pt x="151" y="16"/>
                </a:lnTo>
                <a:lnTo>
                  <a:pt x="147" y="12"/>
                </a:lnTo>
                <a:lnTo>
                  <a:pt x="143" y="8"/>
                </a:lnTo>
                <a:lnTo>
                  <a:pt x="138" y="4"/>
                </a:lnTo>
                <a:lnTo>
                  <a:pt x="134" y="2"/>
                </a:lnTo>
                <a:lnTo>
                  <a:pt x="126" y="0"/>
                </a:lnTo>
                <a:lnTo>
                  <a:pt x="121" y="0"/>
                </a:lnTo>
                <a:lnTo>
                  <a:pt x="113" y="0"/>
                </a:lnTo>
                <a:lnTo>
                  <a:pt x="113" y="0"/>
                </a:lnTo>
                <a:lnTo>
                  <a:pt x="96" y="0"/>
                </a:lnTo>
                <a:lnTo>
                  <a:pt x="84" y="4"/>
                </a:lnTo>
                <a:lnTo>
                  <a:pt x="77" y="12"/>
                </a:lnTo>
                <a:lnTo>
                  <a:pt x="73" y="20"/>
                </a:lnTo>
                <a:lnTo>
                  <a:pt x="71" y="29"/>
                </a:lnTo>
                <a:lnTo>
                  <a:pt x="67" y="39"/>
                </a:lnTo>
                <a:lnTo>
                  <a:pt x="65" y="50"/>
                </a:lnTo>
                <a:lnTo>
                  <a:pt x="59" y="61"/>
                </a:lnTo>
                <a:lnTo>
                  <a:pt x="59" y="61"/>
                </a:lnTo>
                <a:lnTo>
                  <a:pt x="58" y="65"/>
                </a:lnTo>
                <a:lnTo>
                  <a:pt x="52" y="73"/>
                </a:lnTo>
                <a:lnTo>
                  <a:pt x="42" y="82"/>
                </a:lnTo>
                <a:lnTo>
                  <a:pt x="33" y="94"/>
                </a:lnTo>
                <a:lnTo>
                  <a:pt x="21" y="105"/>
                </a:lnTo>
                <a:lnTo>
                  <a:pt x="12" y="115"/>
                </a:lnTo>
                <a:lnTo>
                  <a:pt x="4" y="123"/>
                </a:lnTo>
                <a:lnTo>
                  <a:pt x="0" y="126"/>
                </a:lnTo>
                <a:lnTo>
                  <a:pt x="0" y="126"/>
                </a:lnTo>
                <a:lnTo>
                  <a:pt x="6" y="136"/>
                </a:lnTo>
                <a:lnTo>
                  <a:pt x="12" y="142"/>
                </a:lnTo>
                <a:lnTo>
                  <a:pt x="18" y="149"/>
                </a:lnTo>
                <a:lnTo>
                  <a:pt x="25" y="155"/>
                </a:lnTo>
                <a:lnTo>
                  <a:pt x="31" y="161"/>
                </a:lnTo>
                <a:lnTo>
                  <a:pt x="37" y="165"/>
                </a:lnTo>
                <a:lnTo>
                  <a:pt x="42" y="168"/>
                </a:lnTo>
                <a:lnTo>
                  <a:pt x="48" y="172"/>
                </a:lnTo>
                <a:lnTo>
                  <a:pt x="56" y="176"/>
                </a:lnTo>
                <a:lnTo>
                  <a:pt x="61" y="178"/>
                </a:lnTo>
                <a:lnTo>
                  <a:pt x="69" y="182"/>
                </a:lnTo>
                <a:lnTo>
                  <a:pt x="75" y="185"/>
                </a:lnTo>
                <a:lnTo>
                  <a:pt x="82" y="189"/>
                </a:lnTo>
                <a:lnTo>
                  <a:pt x="90" y="193"/>
                </a:lnTo>
                <a:lnTo>
                  <a:pt x="98" y="197"/>
                </a:lnTo>
                <a:lnTo>
                  <a:pt x="105" y="203"/>
                </a:lnTo>
                <a:lnTo>
                  <a:pt x="105" y="203"/>
                </a:lnTo>
                <a:lnTo>
                  <a:pt x="109" y="206"/>
                </a:lnTo>
                <a:lnTo>
                  <a:pt x="115" y="212"/>
                </a:lnTo>
                <a:lnTo>
                  <a:pt x="119" y="216"/>
                </a:lnTo>
                <a:lnTo>
                  <a:pt x="122" y="222"/>
                </a:lnTo>
                <a:lnTo>
                  <a:pt x="126" y="226"/>
                </a:lnTo>
                <a:lnTo>
                  <a:pt x="130" y="231"/>
                </a:lnTo>
                <a:lnTo>
                  <a:pt x="134" y="237"/>
                </a:lnTo>
                <a:lnTo>
                  <a:pt x="138" y="243"/>
                </a:lnTo>
                <a:lnTo>
                  <a:pt x="141" y="248"/>
                </a:lnTo>
                <a:lnTo>
                  <a:pt x="145" y="254"/>
                </a:lnTo>
                <a:lnTo>
                  <a:pt x="149" y="258"/>
                </a:lnTo>
                <a:lnTo>
                  <a:pt x="153" y="264"/>
                </a:lnTo>
                <a:lnTo>
                  <a:pt x="157" y="269"/>
                </a:lnTo>
                <a:lnTo>
                  <a:pt x="161" y="273"/>
                </a:lnTo>
                <a:lnTo>
                  <a:pt x="166" y="279"/>
                </a:lnTo>
                <a:lnTo>
                  <a:pt x="172" y="283"/>
                </a:lnTo>
                <a:lnTo>
                  <a:pt x="172" y="283"/>
                </a:lnTo>
                <a:lnTo>
                  <a:pt x="180" y="289"/>
                </a:lnTo>
                <a:lnTo>
                  <a:pt x="185" y="292"/>
                </a:lnTo>
                <a:lnTo>
                  <a:pt x="193" y="296"/>
                </a:lnTo>
                <a:lnTo>
                  <a:pt x="199" y="300"/>
                </a:lnTo>
                <a:lnTo>
                  <a:pt x="206" y="304"/>
                </a:lnTo>
                <a:lnTo>
                  <a:pt x="212" y="308"/>
                </a:lnTo>
                <a:lnTo>
                  <a:pt x="220" y="311"/>
                </a:lnTo>
                <a:lnTo>
                  <a:pt x="227" y="315"/>
                </a:lnTo>
                <a:lnTo>
                  <a:pt x="233" y="319"/>
                </a:lnTo>
                <a:lnTo>
                  <a:pt x="241" y="323"/>
                </a:lnTo>
                <a:lnTo>
                  <a:pt x="248" y="327"/>
                </a:lnTo>
                <a:lnTo>
                  <a:pt x="256" y="329"/>
                </a:lnTo>
                <a:lnTo>
                  <a:pt x="264" y="332"/>
                </a:lnTo>
                <a:lnTo>
                  <a:pt x="271" y="336"/>
                </a:lnTo>
                <a:lnTo>
                  <a:pt x="279" y="340"/>
                </a:lnTo>
                <a:lnTo>
                  <a:pt x="288" y="344"/>
                </a:lnTo>
                <a:lnTo>
                  <a:pt x="288" y="344"/>
                </a:lnTo>
                <a:lnTo>
                  <a:pt x="285" y="344"/>
                </a:lnTo>
                <a:lnTo>
                  <a:pt x="283" y="340"/>
                </a:lnTo>
                <a:lnTo>
                  <a:pt x="283" y="336"/>
                </a:lnTo>
                <a:lnTo>
                  <a:pt x="281" y="330"/>
                </a:lnTo>
                <a:lnTo>
                  <a:pt x="279" y="323"/>
                </a:lnTo>
                <a:lnTo>
                  <a:pt x="279" y="317"/>
                </a:lnTo>
                <a:lnTo>
                  <a:pt x="279" y="311"/>
                </a:lnTo>
                <a:lnTo>
                  <a:pt x="279" y="308"/>
                </a:lnTo>
                <a:lnTo>
                  <a:pt x="279" y="308"/>
                </a:lnTo>
                <a:lnTo>
                  <a:pt x="279" y="300"/>
                </a:lnTo>
                <a:lnTo>
                  <a:pt x="281" y="294"/>
                </a:lnTo>
                <a:lnTo>
                  <a:pt x="283" y="289"/>
                </a:lnTo>
                <a:lnTo>
                  <a:pt x="285" y="283"/>
                </a:lnTo>
                <a:lnTo>
                  <a:pt x="286" y="277"/>
                </a:lnTo>
                <a:lnTo>
                  <a:pt x="290" y="273"/>
                </a:lnTo>
                <a:lnTo>
                  <a:pt x="292" y="269"/>
                </a:lnTo>
                <a:lnTo>
                  <a:pt x="294" y="266"/>
                </a:lnTo>
                <a:lnTo>
                  <a:pt x="294" y="239"/>
                </a:lnTo>
                <a:lnTo>
                  <a:pt x="294" y="239"/>
                </a:lnTo>
                <a:lnTo>
                  <a:pt x="288" y="235"/>
                </a:lnTo>
                <a:lnTo>
                  <a:pt x="283" y="233"/>
                </a:lnTo>
                <a:lnTo>
                  <a:pt x="279" y="229"/>
                </a:lnTo>
                <a:lnTo>
                  <a:pt x="277" y="224"/>
                </a:lnTo>
                <a:lnTo>
                  <a:pt x="275" y="220"/>
                </a:lnTo>
                <a:lnTo>
                  <a:pt x="271" y="214"/>
                </a:lnTo>
                <a:lnTo>
                  <a:pt x="269" y="210"/>
                </a:lnTo>
                <a:lnTo>
                  <a:pt x="264" y="206"/>
                </a:lnTo>
                <a:lnTo>
                  <a:pt x="264" y="206"/>
                </a:lnTo>
                <a:lnTo>
                  <a:pt x="256" y="201"/>
                </a:lnTo>
                <a:lnTo>
                  <a:pt x="248" y="197"/>
                </a:lnTo>
                <a:lnTo>
                  <a:pt x="243" y="195"/>
                </a:lnTo>
                <a:lnTo>
                  <a:pt x="237" y="193"/>
                </a:lnTo>
                <a:lnTo>
                  <a:pt x="231" y="193"/>
                </a:lnTo>
                <a:lnTo>
                  <a:pt x="224" y="193"/>
                </a:lnTo>
                <a:lnTo>
                  <a:pt x="216" y="191"/>
                </a:lnTo>
                <a:lnTo>
                  <a:pt x="208" y="189"/>
                </a:lnTo>
                <a:lnTo>
                  <a:pt x="208" y="189"/>
                </a:lnTo>
                <a:lnTo>
                  <a:pt x="210" y="189"/>
                </a:lnTo>
                <a:lnTo>
                  <a:pt x="210" y="189"/>
                </a:lnTo>
                <a:lnTo>
                  <a:pt x="210" y="189"/>
                </a:lnTo>
                <a:lnTo>
                  <a:pt x="212" y="189"/>
                </a:lnTo>
                <a:lnTo>
                  <a:pt x="212" y="189"/>
                </a:lnTo>
                <a:lnTo>
                  <a:pt x="210" y="185"/>
                </a:lnTo>
                <a:lnTo>
                  <a:pt x="210" y="182"/>
                </a:lnTo>
                <a:lnTo>
                  <a:pt x="210" y="180"/>
                </a:lnTo>
                <a:lnTo>
                  <a:pt x="210" y="176"/>
                </a:lnTo>
                <a:lnTo>
                  <a:pt x="210" y="174"/>
                </a:lnTo>
                <a:lnTo>
                  <a:pt x="212" y="174"/>
                </a:lnTo>
                <a:lnTo>
                  <a:pt x="212" y="172"/>
                </a:lnTo>
                <a:lnTo>
                  <a:pt x="212" y="170"/>
                </a:lnTo>
                <a:lnTo>
                  <a:pt x="212" y="170"/>
                </a:lnTo>
                <a:lnTo>
                  <a:pt x="212" y="166"/>
                </a:lnTo>
                <a:lnTo>
                  <a:pt x="214" y="163"/>
                </a:lnTo>
                <a:lnTo>
                  <a:pt x="218" y="157"/>
                </a:lnTo>
                <a:lnTo>
                  <a:pt x="222" y="151"/>
                </a:lnTo>
                <a:lnTo>
                  <a:pt x="225" y="145"/>
                </a:lnTo>
                <a:lnTo>
                  <a:pt x="229" y="140"/>
                </a:lnTo>
                <a:lnTo>
                  <a:pt x="231" y="136"/>
                </a:lnTo>
                <a:lnTo>
                  <a:pt x="231" y="130"/>
                </a:lnTo>
                <a:lnTo>
                  <a:pt x="231" y="130"/>
                </a:lnTo>
                <a:lnTo>
                  <a:pt x="231" y="123"/>
                </a:lnTo>
                <a:lnTo>
                  <a:pt x="229" y="117"/>
                </a:lnTo>
                <a:lnTo>
                  <a:pt x="229" y="109"/>
                </a:lnTo>
                <a:lnTo>
                  <a:pt x="227" y="103"/>
                </a:lnTo>
                <a:lnTo>
                  <a:pt x="225" y="98"/>
                </a:lnTo>
                <a:lnTo>
                  <a:pt x="225" y="92"/>
                </a:lnTo>
                <a:lnTo>
                  <a:pt x="224" y="84"/>
                </a:lnTo>
                <a:lnTo>
                  <a:pt x="224" y="79"/>
                </a:lnTo>
                <a:lnTo>
                  <a:pt x="225" y="71"/>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4" name="Freeform 36"/>
          <p:cNvSpPr>
            <a:spLocks/>
          </p:cNvSpPr>
          <p:nvPr>
            <p:custDataLst>
              <p:tags r:id="rId36"/>
            </p:custDataLst>
          </p:nvPr>
        </p:nvSpPr>
        <p:spPr bwMode="gray">
          <a:xfrm>
            <a:off x="1647385" y="2994909"/>
            <a:ext cx="204100" cy="225144"/>
          </a:xfrm>
          <a:custGeom>
            <a:avLst/>
            <a:gdLst/>
            <a:ahLst/>
            <a:cxnLst>
              <a:cxn ang="0">
                <a:pos x="222" y="129"/>
              </a:cxn>
              <a:cxn ang="0">
                <a:pos x="205" y="137"/>
              </a:cxn>
              <a:cxn ang="0">
                <a:pos x="197" y="150"/>
              </a:cxn>
              <a:cxn ang="0">
                <a:pos x="193" y="169"/>
              </a:cxn>
              <a:cxn ang="0">
                <a:pos x="185" y="188"/>
              </a:cxn>
              <a:cxn ang="0">
                <a:pos x="184" y="192"/>
              </a:cxn>
              <a:cxn ang="0">
                <a:pos x="168" y="209"/>
              </a:cxn>
              <a:cxn ang="0">
                <a:pos x="147" y="232"/>
              </a:cxn>
              <a:cxn ang="0">
                <a:pos x="130" y="250"/>
              </a:cxn>
              <a:cxn ang="0">
                <a:pos x="126" y="253"/>
              </a:cxn>
              <a:cxn ang="0">
                <a:pos x="115" y="248"/>
              </a:cxn>
              <a:cxn ang="0">
                <a:pos x="105" y="240"/>
              </a:cxn>
              <a:cxn ang="0">
                <a:pos x="96" y="234"/>
              </a:cxn>
              <a:cxn ang="0">
                <a:pos x="88" y="229"/>
              </a:cxn>
              <a:cxn ang="0">
                <a:pos x="81" y="223"/>
              </a:cxn>
              <a:cxn ang="0">
                <a:pos x="73" y="217"/>
              </a:cxn>
              <a:cxn ang="0">
                <a:pos x="63" y="209"/>
              </a:cxn>
              <a:cxn ang="0">
                <a:pos x="54" y="204"/>
              </a:cxn>
              <a:cxn ang="0">
                <a:pos x="50" y="202"/>
              </a:cxn>
              <a:cxn ang="0">
                <a:pos x="41" y="198"/>
              </a:cxn>
              <a:cxn ang="0">
                <a:pos x="31" y="192"/>
              </a:cxn>
              <a:cxn ang="0">
                <a:pos x="23" y="185"/>
              </a:cxn>
              <a:cxn ang="0">
                <a:pos x="21" y="181"/>
              </a:cxn>
              <a:cxn ang="0">
                <a:pos x="20" y="169"/>
              </a:cxn>
              <a:cxn ang="0">
                <a:pos x="20" y="160"/>
              </a:cxn>
              <a:cxn ang="0">
                <a:pos x="20" y="150"/>
              </a:cxn>
              <a:cxn ang="0">
                <a:pos x="18" y="141"/>
              </a:cxn>
              <a:cxn ang="0">
                <a:pos x="16" y="137"/>
              </a:cxn>
              <a:cxn ang="0">
                <a:pos x="10" y="131"/>
              </a:cxn>
              <a:cxn ang="0">
                <a:pos x="4" y="124"/>
              </a:cxn>
              <a:cxn ang="0">
                <a:pos x="0" y="112"/>
              </a:cxn>
              <a:cxn ang="0">
                <a:pos x="0" y="103"/>
              </a:cxn>
              <a:cxn ang="0">
                <a:pos x="2" y="84"/>
              </a:cxn>
              <a:cxn ang="0">
                <a:pos x="8" y="64"/>
              </a:cxn>
              <a:cxn ang="0">
                <a:pos x="18" y="47"/>
              </a:cxn>
              <a:cxn ang="0">
                <a:pos x="29" y="32"/>
              </a:cxn>
              <a:cxn ang="0">
                <a:pos x="42" y="19"/>
              </a:cxn>
              <a:cxn ang="0">
                <a:pos x="58" y="7"/>
              </a:cxn>
              <a:cxn ang="0">
                <a:pos x="73" y="2"/>
              </a:cxn>
              <a:cxn ang="0">
                <a:pos x="90" y="0"/>
              </a:cxn>
              <a:cxn ang="0">
                <a:pos x="96" y="0"/>
              </a:cxn>
              <a:cxn ang="0">
                <a:pos x="107" y="0"/>
              </a:cxn>
              <a:cxn ang="0">
                <a:pos x="119" y="0"/>
              </a:cxn>
              <a:cxn ang="0">
                <a:pos x="126" y="0"/>
              </a:cxn>
              <a:cxn ang="0">
                <a:pos x="126" y="0"/>
              </a:cxn>
              <a:cxn ang="0">
                <a:pos x="144" y="2"/>
              </a:cxn>
              <a:cxn ang="0">
                <a:pos x="159" y="9"/>
              </a:cxn>
              <a:cxn ang="0">
                <a:pos x="172" y="19"/>
              </a:cxn>
              <a:cxn ang="0">
                <a:pos x="184" y="32"/>
              </a:cxn>
              <a:cxn ang="0">
                <a:pos x="193" y="49"/>
              </a:cxn>
              <a:cxn ang="0">
                <a:pos x="201" y="68"/>
              </a:cxn>
              <a:cxn ang="0">
                <a:pos x="206" y="89"/>
              </a:cxn>
              <a:cxn ang="0">
                <a:pos x="206" y="112"/>
              </a:cxn>
              <a:cxn ang="0">
                <a:pos x="206" y="114"/>
              </a:cxn>
              <a:cxn ang="0">
                <a:pos x="205" y="120"/>
              </a:cxn>
              <a:cxn ang="0">
                <a:pos x="201" y="124"/>
              </a:cxn>
              <a:cxn ang="0">
                <a:pos x="197" y="126"/>
              </a:cxn>
              <a:cxn ang="0">
                <a:pos x="195" y="127"/>
              </a:cxn>
              <a:cxn ang="0">
                <a:pos x="201" y="129"/>
              </a:cxn>
              <a:cxn ang="0">
                <a:pos x="205" y="129"/>
              </a:cxn>
              <a:cxn ang="0">
                <a:pos x="208" y="129"/>
              </a:cxn>
              <a:cxn ang="0">
                <a:pos x="214" y="127"/>
              </a:cxn>
            </a:cxnLst>
            <a:rect l="0" t="0" r="r" b="b"/>
            <a:pathLst>
              <a:path w="222" h="253">
                <a:moveTo>
                  <a:pt x="222" y="129"/>
                </a:moveTo>
                <a:lnTo>
                  <a:pt x="222" y="129"/>
                </a:lnTo>
                <a:lnTo>
                  <a:pt x="210" y="131"/>
                </a:lnTo>
                <a:lnTo>
                  <a:pt x="205" y="137"/>
                </a:lnTo>
                <a:lnTo>
                  <a:pt x="201" y="143"/>
                </a:lnTo>
                <a:lnTo>
                  <a:pt x="197" y="150"/>
                </a:lnTo>
                <a:lnTo>
                  <a:pt x="195" y="160"/>
                </a:lnTo>
                <a:lnTo>
                  <a:pt x="193" y="169"/>
                </a:lnTo>
                <a:lnTo>
                  <a:pt x="191" y="179"/>
                </a:lnTo>
                <a:lnTo>
                  <a:pt x="185" y="188"/>
                </a:lnTo>
                <a:lnTo>
                  <a:pt x="185" y="188"/>
                </a:lnTo>
                <a:lnTo>
                  <a:pt x="184" y="192"/>
                </a:lnTo>
                <a:lnTo>
                  <a:pt x="178" y="200"/>
                </a:lnTo>
                <a:lnTo>
                  <a:pt x="168" y="209"/>
                </a:lnTo>
                <a:lnTo>
                  <a:pt x="159" y="221"/>
                </a:lnTo>
                <a:lnTo>
                  <a:pt x="147" y="232"/>
                </a:lnTo>
                <a:lnTo>
                  <a:pt x="138" y="242"/>
                </a:lnTo>
                <a:lnTo>
                  <a:pt x="130" y="250"/>
                </a:lnTo>
                <a:lnTo>
                  <a:pt x="126" y="253"/>
                </a:lnTo>
                <a:lnTo>
                  <a:pt x="126" y="253"/>
                </a:lnTo>
                <a:lnTo>
                  <a:pt x="121" y="250"/>
                </a:lnTo>
                <a:lnTo>
                  <a:pt x="115" y="248"/>
                </a:lnTo>
                <a:lnTo>
                  <a:pt x="109" y="244"/>
                </a:lnTo>
                <a:lnTo>
                  <a:pt x="105" y="240"/>
                </a:lnTo>
                <a:lnTo>
                  <a:pt x="100" y="238"/>
                </a:lnTo>
                <a:lnTo>
                  <a:pt x="96" y="234"/>
                </a:lnTo>
                <a:lnTo>
                  <a:pt x="92" y="232"/>
                </a:lnTo>
                <a:lnTo>
                  <a:pt x="88" y="229"/>
                </a:lnTo>
                <a:lnTo>
                  <a:pt x="84" y="225"/>
                </a:lnTo>
                <a:lnTo>
                  <a:pt x="81" y="223"/>
                </a:lnTo>
                <a:lnTo>
                  <a:pt x="77" y="219"/>
                </a:lnTo>
                <a:lnTo>
                  <a:pt x="73" y="217"/>
                </a:lnTo>
                <a:lnTo>
                  <a:pt x="69" y="213"/>
                </a:lnTo>
                <a:lnTo>
                  <a:pt x="63" y="209"/>
                </a:lnTo>
                <a:lnTo>
                  <a:pt x="60" y="208"/>
                </a:lnTo>
                <a:lnTo>
                  <a:pt x="54" y="204"/>
                </a:lnTo>
                <a:lnTo>
                  <a:pt x="54" y="204"/>
                </a:lnTo>
                <a:lnTo>
                  <a:pt x="50" y="202"/>
                </a:lnTo>
                <a:lnTo>
                  <a:pt x="44" y="200"/>
                </a:lnTo>
                <a:lnTo>
                  <a:pt x="41" y="198"/>
                </a:lnTo>
                <a:lnTo>
                  <a:pt x="35" y="194"/>
                </a:lnTo>
                <a:lnTo>
                  <a:pt x="31" y="192"/>
                </a:lnTo>
                <a:lnTo>
                  <a:pt x="27" y="188"/>
                </a:lnTo>
                <a:lnTo>
                  <a:pt x="23" y="185"/>
                </a:lnTo>
                <a:lnTo>
                  <a:pt x="21" y="181"/>
                </a:lnTo>
                <a:lnTo>
                  <a:pt x="21" y="181"/>
                </a:lnTo>
                <a:lnTo>
                  <a:pt x="20" y="175"/>
                </a:lnTo>
                <a:lnTo>
                  <a:pt x="20" y="169"/>
                </a:lnTo>
                <a:lnTo>
                  <a:pt x="20" y="166"/>
                </a:lnTo>
                <a:lnTo>
                  <a:pt x="20" y="160"/>
                </a:lnTo>
                <a:lnTo>
                  <a:pt x="20" y="156"/>
                </a:lnTo>
                <a:lnTo>
                  <a:pt x="20" y="150"/>
                </a:lnTo>
                <a:lnTo>
                  <a:pt x="20" y="147"/>
                </a:lnTo>
                <a:lnTo>
                  <a:pt x="18" y="141"/>
                </a:lnTo>
                <a:lnTo>
                  <a:pt x="18" y="141"/>
                </a:lnTo>
                <a:lnTo>
                  <a:pt x="16" y="137"/>
                </a:lnTo>
                <a:lnTo>
                  <a:pt x="14" y="133"/>
                </a:lnTo>
                <a:lnTo>
                  <a:pt x="10" y="131"/>
                </a:lnTo>
                <a:lnTo>
                  <a:pt x="8" y="127"/>
                </a:lnTo>
                <a:lnTo>
                  <a:pt x="4" y="124"/>
                </a:lnTo>
                <a:lnTo>
                  <a:pt x="2" y="118"/>
                </a:lnTo>
                <a:lnTo>
                  <a:pt x="0" y="112"/>
                </a:lnTo>
                <a:lnTo>
                  <a:pt x="0" y="103"/>
                </a:lnTo>
                <a:lnTo>
                  <a:pt x="0" y="103"/>
                </a:lnTo>
                <a:lnTo>
                  <a:pt x="0" y="93"/>
                </a:lnTo>
                <a:lnTo>
                  <a:pt x="2" y="84"/>
                </a:lnTo>
                <a:lnTo>
                  <a:pt x="4" y="74"/>
                </a:lnTo>
                <a:lnTo>
                  <a:pt x="8" y="64"/>
                </a:lnTo>
                <a:lnTo>
                  <a:pt x="12" y="57"/>
                </a:lnTo>
                <a:lnTo>
                  <a:pt x="18" y="47"/>
                </a:lnTo>
                <a:lnTo>
                  <a:pt x="23" y="40"/>
                </a:lnTo>
                <a:lnTo>
                  <a:pt x="29" y="32"/>
                </a:lnTo>
                <a:lnTo>
                  <a:pt x="35" y="24"/>
                </a:lnTo>
                <a:lnTo>
                  <a:pt x="42" y="19"/>
                </a:lnTo>
                <a:lnTo>
                  <a:pt x="50" y="13"/>
                </a:lnTo>
                <a:lnTo>
                  <a:pt x="58" y="7"/>
                </a:lnTo>
                <a:lnTo>
                  <a:pt x="65" y="3"/>
                </a:lnTo>
                <a:lnTo>
                  <a:pt x="73" y="2"/>
                </a:lnTo>
                <a:lnTo>
                  <a:pt x="82" y="0"/>
                </a:lnTo>
                <a:lnTo>
                  <a:pt x="90" y="0"/>
                </a:lnTo>
                <a:lnTo>
                  <a:pt x="90" y="0"/>
                </a:lnTo>
                <a:lnTo>
                  <a:pt x="96" y="0"/>
                </a:lnTo>
                <a:lnTo>
                  <a:pt x="102" y="0"/>
                </a:lnTo>
                <a:lnTo>
                  <a:pt x="107" y="0"/>
                </a:lnTo>
                <a:lnTo>
                  <a:pt x="113" y="0"/>
                </a:lnTo>
                <a:lnTo>
                  <a:pt x="119" y="0"/>
                </a:lnTo>
                <a:lnTo>
                  <a:pt x="123" y="0"/>
                </a:lnTo>
                <a:lnTo>
                  <a:pt x="126" y="0"/>
                </a:lnTo>
                <a:lnTo>
                  <a:pt x="126" y="0"/>
                </a:lnTo>
                <a:lnTo>
                  <a:pt x="126" y="0"/>
                </a:lnTo>
                <a:lnTo>
                  <a:pt x="136" y="0"/>
                </a:lnTo>
                <a:lnTo>
                  <a:pt x="144" y="2"/>
                </a:lnTo>
                <a:lnTo>
                  <a:pt x="151" y="3"/>
                </a:lnTo>
                <a:lnTo>
                  <a:pt x="159" y="9"/>
                </a:lnTo>
                <a:lnTo>
                  <a:pt x="166" y="13"/>
                </a:lnTo>
                <a:lnTo>
                  <a:pt x="172" y="19"/>
                </a:lnTo>
                <a:lnTo>
                  <a:pt x="178" y="26"/>
                </a:lnTo>
                <a:lnTo>
                  <a:pt x="184" y="32"/>
                </a:lnTo>
                <a:lnTo>
                  <a:pt x="189" y="42"/>
                </a:lnTo>
                <a:lnTo>
                  <a:pt x="193" y="49"/>
                </a:lnTo>
                <a:lnTo>
                  <a:pt x="197" y="59"/>
                </a:lnTo>
                <a:lnTo>
                  <a:pt x="201" y="68"/>
                </a:lnTo>
                <a:lnTo>
                  <a:pt x="203" y="80"/>
                </a:lnTo>
                <a:lnTo>
                  <a:pt x="206" y="89"/>
                </a:lnTo>
                <a:lnTo>
                  <a:pt x="206" y="101"/>
                </a:lnTo>
                <a:lnTo>
                  <a:pt x="206" y="112"/>
                </a:lnTo>
                <a:lnTo>
                  <a:pt x="206" y="112"/>
                </a:lnTo>
                <a:lnTo>
                  <a:pt x="206" y="114"/>
                </a:lnTo>
                <a:lnTo>
                  <a:pt x="206" y="118"/>
                </a:lnTo>
                <a:lnTo>
                  <a:pt x="205" y="120"/>
                </a:lnTo>
                <a:lnTo>
                  <a:pt x="203" y="122"/>
                </a:lnTo>
                <a:lnTo>
                  <a:pt x="201" y="124"/>
                </a:lnTo>
                <a:lnTo>
                  <a:pt x="199" y="126"/>
                </a:lnTo>
                <a:lnTo>
                  <a:pt x="197" y="126"/>
                </a:lnTo>
                <a:lnTo>
                  <a:pt x="195" y="127"/>
                </a:lnTo>
                <a:lnTo>
                  <a:pt x="195" y="127"/>
                </a:lnTo>
                <a:lnTo>
                  <a:pt x="197" y="127"/>
                </a:lnTo>
                <a:lnTo>
                  <a:pt x="201" y="129"/>
                </a:lnTo>
                <a:lnTo>
                  <a:pt x="203" y="129"/>
                </a:lnTo>
                <a:lnTo>
                  <a:pt x="205" y="129"/>
                </a:lnTo>
                <a:lnTo>
                  <a:pt x="206" y="129"/>
                </a:lnTo>
                <a:lnTo>
                  <a:pt x="208" y="129"/>
                </a:lnTo>
                <a:lnTo>
                  <a:pt x="212" y="127"/>
                </a:lnTo>
                <a:lnTo>
                  <a:pt x="214" y="127"/>
                </a:lnTo>
                <a:lnTo>
                  <a:pt x="222" y="129"/>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5" name="Freeform 37"/>
          <p:cNvSpPr>
            <a:spLocks/>
          </p:cNvSpPr>
          <p:nvPr>
            <p:custDataLst>
              <p:tags r:id="rId37"/>
            </p:custDataLst>
          </p:nvPr>
        </p:nvSpPr>
        <p:spPr bwMode="gray">
          <a:xfrm>
            <a:off x="1542088" y="2785962"/>
            <a:ext cx="485952" cy="414655"/>
          </a:xfrm>
          <a:custGeom>
            <a:avLst/>
            <a:gdLst/>
            <a:ahLst/>
            <a:cxnLst>
              <a:cxn ang="0">
                <a:pos x="380" y="364"/>
              </a:cxn>
              <a:cxn ang="0">
                <a:pos x="401" y="391"/>
              </a:cxn>
              <a:cxn ang="0">
                <a:pos x="406" y="427"/>
              </a:cxn>
              <a:cxn ang="0">
                <a:pos x="399" y="441"/>
              </a:cxn>
              <a:cxn ang="0">
                <a:pos x="399" y="452"/>
              </a:cxn>
              <a:cxn ang="0">
                <a:pos x="424" y="465"/>
              </a:cxn>
              <a:cxn ang="0">
                <a:pos x="448" y="450"/>
              </a:cxn>
              <a:cxn ang="0">
                <a:pos x="460" y="433"/>
              </a:cxn>
              <a:cxn ang="0">
                <a:pos x="467" y="431"/>
              </a:cxn>
              <a:cxn ang="0">
                <a:pos x="490" y="427"/>
              </a:cxn>
              <a:cxn ang="0">
                <a:pos x="500" y="399"/>
              </a:cxn>
              <a:cxn ang="0">
                <a:pos x="487" y="381"/>
              </a:cxn>
              <a:cxn ang="0">
                <a:pos x="492" y="366"/>
              </a:cxn>
              <a:cxn ang="0">
                <a:pos x="509" y="362"/>
              </a:cxn>
              <a:cxn ang="0">
                <a:pos x="525" y="368"/>
              </a:cxn>
              <a:cxn ang="0">
                <a:pos x="517" y="351"/>
              </a:cxn>
              <a:cxn ang="0">
                <a:pos x="511" y="328"/>
              </a:cxn>
              <a:cxn ang="0">
                <a:pos x="511" y="313"/>
              </a:cxn>
              <a:cxn ang="0">
                <a:pos x="507" y="296"/>
              </a:cxn>
              <a:cxn ang="0">
                <a:pos x="504" y="267"/>
              </a:cxn>
              <a:cxn ang="0">
                <a:pos x="519" y="231"/>
              </a:cxn>
              <a:cxn ang="0">
                <a:pos x="515" y="210"/>
              </a:cxn>
              <a:cxn ang="0">
                <a:pos x="504" y="181"/>
              </a:cxn>
              <a:cxn ang="0">
                <a:pos x="479" y="158"/>
              </a:cxn>
              <a:cxn ang="0">
                <a:pos x="492" y="151"/>
              </a:cxn>
              <a:cxn ang="0">
                <a:pos x="492" y="137"/>
              </a:cxn>
              <a:cxn ang="0">
                <a:pos x="471" y="90"/>
              </a:cxn>
              <a:cxn ang="0">
                <a:pos x="448" y="42"/>
              </a:cxn>
              <a:cxn ang="0">
                <a:pos x="427" y="48"/>
              </a:cxn>
              <a:cxn ang="0">
                <a:pos x="395" y="72"/>
              </a:cxn>
              <a:cxn ang="0">
                <a:pos x="370" y="61"/>
              </a:cxn>
              <a:cxn ang="0">
                <a:pos x="351" y="65"/>
              </a:cxn>
              <a:cxn ang="0">
                <a:pos x="336" y="76"/>
              </a:cxn>
              <a:cxn ang="0">
                <a:pos x="313" y="63"/>
              </a:cxn>
              <a:cxn ang="0">
                <a:pos x="300" y="59"/>
              </a:cxn>
              <a:cxn ang="0">
                <a:pos x="284" y="65"/>
              </a:cxn>
              <a:cxn ang="0">
                <a:pos x="271" y="53"/>
              </a:cxn>
              <a:cxn ang="0">
                <a:pos x="269" y="46"/>
              </a:cxn>
              <a:cxn ang="0">
                <a:pos x="271" y="36"/>
              </a:cxn>
              <a:cxn ang="0">
                <a:pos x="225" y="38"/>
              </a:cxn>
              <a:cxn ang="0">
                <a:pos x="183" y="32"/>
              </a:cxn>
              <a:cxn ang="0">
                <a:pos x="155" y="21"/>
              </a:cxn>
              <a:cxn ang="0">
                <a:pos x="128" y="0"/>
              </a:cxn>
              <a:cxn ang="0">
                <a:pos x="105" y="11"/>
              </a:cxn>
              <a:cxn ang="0">
                <a:pos x="82" y="34"/>
              </a:cxn>
              <a:cxn ang="0">
                <a:pos x="95" y="61"/>
              </a:cxn>
              <a:cxn ang="0">
                <a:pos x="86" y="84"/>
              </a:cxn>
              <a:cxn ang="0">
                <a:pos x="42" y="84"/>
              </a:cxn>
              <a:cxn ang="0">
                <a:pos x="6" y="111"/>
              </a:cxn>
              <a:cxn ang="0">
                <a:pos x="10" y="162"/>
              </a:cxn>
              <a:cxn ang="0">
                <a:pos x="61" y="225"/>
              </a:cxn>
              <a:cxn ang="0">
                <a:pos x="118" y="286"/>
              </a:cxn>
              <a:cxn ang="0">
                <a:pos x="139" y="271"/>
              </a:cxn>
              <a:cxn ang="0">
                <a:pos x="170" y="244"/>
              </a:cxn>
              <a:cxn ang="0">
                <a:pos x="206" y="233"/>
              </a:cxn>
              <a:cxn ang="0">
                <a:pos x="235" y="233"/>
              </a:cxn>
              <a:cxn ang="0">
                <a:pos x="260" y="235"/>
              </a:cxn>
              <a:cxn ang="0">
                <a:pos x="300" y="265"/>
              </a:cxn>
              <a:cxn ang="0">
                <a:pos x="322" y="322"/>
              </a:cxn>
              <a:cxn ang="0">
                <a:pos x="321" y="351"/>
              </a:cxn>
              <a:cxn ang="0">
                <a:pos x="355" y="360"/>
              </a:cxn>
            </a:cxnLst>
            <a:rect l="0" t="0" r="r" b="b"/>
            <a:pathLst>
              <a:path w="530" h="465">
                <a:moveTo>
                  <a:pt x="355" y="360"/>
                </a:moveTo>
                <a:lnTo>
                  <a:pt x="355" y="360"/>
                </a:lnTo>
                <a:lnTo>
                  <a:pt x="363" y="360"/>
                </a:lnTo>
                <a:lnTo>
                  <a:pt x="368" y="360"/>
                </a:lnTo>
                <a:lnTo>
                  <a:pt x="376" y="362"/>
                </a:lnTo>
                <a:lnTo>
                  <a:pt x="380" y="364"/>
                </a:lnTo>
                <a:lnTo>
                  <a:pt x="385" y="368"/>
                </a:lnTo>
                <a:lnTo>
                  <a:pt x="389" y="372"/>
                </a:lnTo>
                <a:lnTo>
                  <a:pt x="393" y="376"/>
                </a:lnTo>
                <a:lnTo>
                  <a:pt x="397" y="380"/>
                </a:lnTo>
                <a:lnTo>
                  <a:pt x="399" y="385"/>
                </a:lnTo>
                <a:lnTo>
                  <a:pt x="401" y="391"/>
                </a:lnTo>
                <a:lnTo>
                  <a:pt x="403" y="397"/>
                </a:lnTo>
                <a:lnTo>
                  <a:pt x="404" y="402"/>
                </a:lnTo>
                <a:lnTo>
                  <a:pt x="404" y="408"/>
                </a:lnTo>
                <a:lnTo>
                  <a:pt x="406" y="414"/>
                </a:lnTo>
                <a:lnTo>
                  <a:pt x="406" y="421"/>
                </a:lnTo>
                <a:lnTo>
                  <a:pt x="406" y="427"/>
                </a:lnTo>
                <a:lnTo>
                  <a:pt x="406" y="427"/>
                </a:lnTo>
                <a:lnTo>
                  <a:pt x="406" y="431"/>
                </a:lnTo>
                <a:lnTo>
                  <a:pt x="404" y="433"/>
                </a:lnTo>
                <a:lnTo>
                  <a:pt x="403" y="437"/>
                </a:lnTo>
                <a:lnTo>
                  <a:pt x="401" y="439"/>
                </a:lnTo>
                <a:lnTo>
                  <a:pt x="399" y="441"/>
                </a:lnTo>
                <a:lnTo>
                  <a:pt x="399" y="441"/>
                </a:lnTo>
                <a:lnTo>
                  <a:pt x="397" y="442"/>
                </a:lnTo>
                <a:lnTo>
                  <a:pt x="397" y="444"/>
                </a:lnTo>
                <a:lnTo>
                  <a:pt x="397" y="444"/>
                </a:lnTo>
                <a:lnTo>
                  <a:pt x="397" y="448"/>
                </a:lnTo>
                <a:lnTo>
                  <a:pt x="399" y="452"/>
                </a:lnTo>
                <a:lnTo>
                  <a:pt x="403" y="456"/>
                </a:lnTo>
                <a:lnTo>
                  <a:pt x="406" y="458"/>
                </a:lnTo>
                <a:lnTo>
                  <a:pt x="410" y="462"/>
                </a:lnTo>
                <a:lnTo>
                  <a:pt x="416" y="463"/>
                </a:lnTo>
                <a:lnTo>
                  <a:pt x="420" y="465"/>
                </a:lnTo>
                <a:lnTo>
                  <a:pt x="424" y="465"/>
                </a:lnTo>
                <a:lnTo>
                  <a:pt x="424" y="465"/>
                </a:lnTo>
                <a:lnTo>
                  <a:pt x="429" y="465"/>
                </a:lnTo>
                <a:lnTo>
                  <a:pt x="435" y="463"/>
                </a:lnTo>
                <a:lnTo>
                  <a:pt x="441" y="460"/>
                </a:lnTo>
                <a:lnTo>
                  <a:pt x="445" y="456"/>
                </a:lnTo>
                <a:lnTo>
                  <a:pt x="448" y="450"/>
                </a:lnTo>
                <a:lnTo>
                  <a:pt x="450" y="444"/>
                </a:lnTo>
                <a:lnTo>
                  <a:pt x="452" y="439"/>
                </a:lnTo>
                <a:lnTo>
                  <a:pt x="454" y="431"/>
                </a:lnTo>
                <a:lnTo>
                  <a:pt x="454" y="431"/>
                </a:lnTo>
                <a:lnTo>
                  <a:pt x="456" y="433"/>
                </a:lnTo>
                <a:lnTo>
                  <a:pt x="460" y="433"/>
                </a:lnTo>
                <a:lnTo>
                  <a:pt x="462" y="433"/>
                </a:lnTo>
                <a:lnTo>
                  <a:pt x="464" y="433"/>
                </a:lnTo>
                <a:lnTo>
                  <a:pt x="464" y="431"/>
                </a:lnTo>
                <a:lnTo>
                  <a:pt x="466" y="431"/>
                </a:lnTo>
                <a:lnTo>
                  <a:pt x="466" y="431"/>
                </a:lnTo>
                <a:lnTo>
                  <a:pt x="467" y="431"/>
                </a:lnTo>
                <a:lnTo>
                  <a:pt x="466" y="439"/>
                </a:lnTo>
                <a:lnTo>
                  <a:pt x="466" y="439"/>
                </a:lnTo>
                <a:lnTo>
                  <a:pt x="473" y="439"/>
                </a:lnTo>
                <a:lnTo>
                  <a:pt x="481" y="435"/>
                </a:lnTo>
                <a:lnTo>
                  <a:pt x="487" y="431"/>
                </a:lnTo>
                <a:lnTo>
                  <a:pt x="490" y="427"/>
                </a:lnTo>
                <a:lnTo>
                  <a:pt x="494" y="421"/>
                </a:lnTo>
                <a:lnTo>
                  <a:pt x="498" y="414"/>
                </a:lnTo>
                <a:lnTo>
                  <a:pt x="500" y="408"/>
                </a:lnTo>
                <a:lnTo>
                  <a:pt x="504" y="400"/>
                </a:lnTo>
                <a:lnTo>
                  <a:pt x="504" y="400"/>
                </a:lnTo>
                <a:lnTo>
                  <a:pt x="500" y="399"/>
                </a:lnTo>
                <a:lnTo>
                  <a:pt x="496" y="397"/>
                </a:lnTo>
                <a:lnTo>
                  <a:pt x="492" y="395"/>
                </a:lnTo>
                <a:lnTo>
                  <a:pt x="490" y="391"/>
                </a:lnTo>
                <a:lnTo>
                  <a:pt x="488" y="389"/>
                </a:lnTo>
                <a:lnTo>
                  <a:pt x="487" y="385"/>
                </a:lnTo>
                <a:lnTo>
                  <a:pt x="487" y="381"/>
                </a:lnTo>
                <a:lnTo>
                  <a:pt x="485" y="378"/>
                </a:lnTo>
                <a:lnTo>
                  <a:pt x="485" y="378"/>
                </a:lnTo>
                <a:lnTo>
                  <a:pt x="487" y="374"/>
                </a:lnTo>
                <a:lnTo>
                  <a:pt x="487" y="370"/>
                </a:lnTo>
                <a:lnTo>
                  <a:pt x="488" y="368"/>
                </a:lnTo>
                <a:lnTo>
                  <a:pt x="492" y="366"/>
                </a:lnTo>
                <a:lnTo>
                  <a:pt x="494" y="364"/>
                </a:lnTo>
                <a:lnTo>
                  <a:pt x="498" y="362"/>
                </a:lnTo>
                <a:lnTo>
                  <a:pt x="500" y="362"/>
                </a:lnTo>
                <a:lnTo>
                  <a:pt x="504" y="362"/>
                </a:lnTo>
                <a:lnTo>
                  <a:pt x="504" y="362"/>
                </a:lnTo>
                <a:lnTo>
                  <a:pt x="509" y="362"/>
                </a:lnTo>
                <a:lnTo>
                  <a:pt x="513" y="364"/>
                </a:lnTo>
                <a:lnTo>
                  <a:pt x="515" y="366"/>
                </a:lnTo>
                <a:lnTo>
                  <a:pt x="517" y="368"/>
                </a:lnTo>
                <a:lnTo>
                  <a:pt x="519" y="368"/>
                </a:lnTo>
                <a:lnTo>
                  <a:pt x="521" y="368"/>
                </a:lnTo>
                <a:lnTo>
                  <a:pt x="525" y="368"/>
                </a:lnTo>
                <a:lnTo>
                  <a:pt x="530" y="366"/>
                </a:lnTo>
                <a:lnTo>
                  <a:pt x="530" y="366"/>
                </a:lnTo>
                <a:lnTo>
                  <a:pt x="527" y="362"/>
                </a:lnTo>
                <a:lnTo>
                  <a:pt x="523" y="359"/>
                </a:lnTo>
                <a:lnTo>
                  <a:pt x="521" y="355"/>
                </a:lnTo>
                <a:lnTo>
                  <a:pt x="517" y="351"/>
                </a:lnTo>
                <a:lnTo>
                  <a:pt x="515" y="347"/>
                </a:lnTo>
                <a:lnTo>
                  <a:pt x="513" y="343"/>
                </a:lnTo>
                <a:lnTo>
                  <a:pt x="513" y="338"/>
                </a:lnTo>
                <a:lnTo>
                  <a:pt x="511" y="332"/>
                </a:lnTo>
                <a:lnTo>
                  <a:pt x="511" y="332"/>
                </a:lnTo>
                <a:lnTo>
                  <a:pt x="511" y="328"/>
                </a:lnTo>
                <a:lnTo>
                  <a:pt x="511" y="326"/>
                </a:lnTo>
                <a:lnTo>
                  <a:pt x="511" y="322"/>
                </a:lnTo>
                <a:lnTo>
                  <a:pt x="511" y="318"/>
                </a:lnTo>
                <a:lnTo>
                  <a:pt x="511" y="317"/>
                </a:lnTo>
                <a:lnTo>
                  <a:pt x="511" y="315"/>
                </a:lnTo>
                <a:lnTo>
                  <a:pt x="511" y="313"/>
                </a:lnTo>
                <a:lnTo>
                  <a:pt x="511" y="313"/>
                </a:lnTo>
                <a:lnTo>
                  <a:pt x="511" y="313"/>
                </a:lnTo>
                <a:lnTo>
                  <a:pt x="511" y="309"/>
                </a:lnTo>
                <a:lnTo>
                  <a:pt x="511" y="305"/>
                </a:lnTo>
                <a:lnTo>
                  <a:pt x="509" y="299"/>
                </a:lnTo>
                <a:lnTo>
                  <a:pt x="507" y="296"/>
                </a:lnTo>
                <a:lnTo>
                  <a:pt x="506" y="290"/>
                </a:lnTo>
                <a:lnTo>
                  <a:pt x="504" y="286"/>
                </a:lnTo>
                <a:lnTo>
                  <a:pt x="504" y="280"/>
                </a:lnTo>
                <a:lnTo>
                  <a:pt x="504" y="275"/>
                </a:lnTo>
                <a:lnTo>
                  <a:pt x="504" y="275"/>
                </a:lnTo>
                <a:lnTo>
                  <a:pt x="504" y="267"/>
                </a:lnTo>
                <a:lnTo>
                  <a:pt x="506" y="261"/>
                </a:lnTo>
                <a:lnTo>
                  <a:pt x="506" y="254"/>
                </a:lnTo>
                <a:lnTo>
                  <a:pt x="509" y="248"/>
                </a:lnTo>
                <a:lnTo>
                  <a:pt x="511" y="242"/>
                </a:lnTo>
                <a:lnTo>
                  <a:pt x="515" y="236"/>
                </a:lnTo>
                <a:lnTo>
                  <a:pt x="519" y="231"/>
                </a:lnTo>
                <a:lnTo>
                  <a:pt x="525" y="227"/>
                </a:lnTo>
                <a:lnTo>
                  <a:pt x="525" y="227"/>
                </a:lnTo>
                <a:lnTo>
                  <a:pt x="521" y="223"/>
                </a:lnTo>
                <a:lnTo>
                  <a:pt x="519" y="219"/>
                </a:lnTo>
                <a:lnTo>
                  <a:pt x="517" y="214"/>
                </a:lnTo>
                <a:lnTo>
                  <a:pt x="515" y="210"/>
                </a:lnTo>
                <a:lnTo>
                  <a:pt x="513" y="204"/>
                </a:lnTo>
                <a:lnTo>
                  <a:pt x="511" y="200"/>
                </a:lnTo>
                <a:lnTo>
                  <a:pt x="509" y="194"/>
                </a:lnTo>
                <a:lnTo>
                  <a:pt x="507" y="191"/>
                </a:lnTo>
                <a:lnTo>
                  <a:pt x="506" y="185"/>
                </a:lnTo>
                <a:lnTo>
                  <a:pt x="504" y="181"/>
                </a:lnTo>
                <a:lnTo>
                  <a:pt x="500" y="175"/>
                </a:lnTo>
                <a:lnTo>
                  <a:pt x="498" y="172"/>
                </a:lnTo>
                <a:lnTo>
                  <a:pt x="494" y="168"/>
                </a:lnTo>
                <a:lnTo>
                  <a:pt x="490" y="164"/>
                </a:lnTo>
                <a:lnTo>
                  <a:pt x="485" y="160"/>
                </a:lnTo>
                <a:lnTo>
                  <a:pt x="479" y="158"/>
                </a:lnTo>
                <a:lnTo>
                  <a:pt x="479" y="158"/>
                </a:lnTo>
                <a:lnTo>
                  <a:pt x="481" y="156"/>
                </a:lnTo>
                <a:lnTo>
                  <a:pt x="485" y="154"/>
                </a:lnTo>
                <a:lnTo>
                  <a:pt x="487" y="152"/>
                </a:lnTo>
                <a:lnTo>
                  <a:pt x="490" y="152"/>
                </a:lnTo>
                <a:lnTo>
                  <a:pt x="492" y="151"/>
                </a:lnTo>
                <a:lnTo>
                  <a:pt x="492" y="149"/>
                </a:lnTo>
                <a:lnTo>
                  <a:pt x="494" y="145"/>
                </a:lnTo>
                <a:lnTo>
                  <a:pt x="494" y="141"/>
                </a:lnTo>
                <a:lnTo>
                  <a:pt x="494" y="141"/>
                </a:lnTo>
                <a:lnTo>
                  <a:pt x="494" y="141"/>
                </a:lnTo>
                <a:lnTo>
                  <a:pt x="492" y="137"/>
                </a:lnTo>
                <a:lnTo>
                  <a:pt x="490" y="132"/>
                </a:lnTo>
                <a:lnTo>
                  <a:pt x="488" y="126"/>
                </a:lnTo>
                <a:lnTo>
                  <a:pt x="485" y="118"/>
                </a:lnTo>
                <a:lnTo>
                  <a:pt x="481" y="109"/>
                </a:lnTo>
                <a:lnTo>
                  <a:pt x="477" y="99"/>
                </a:lnTo>
                <a:lnTo>
                  <a:pt x="471" y="90"/>
                </a:lnTo>
                <a:lnTo>
                  <a:pt x="467" y="80"/>
                </a:lnTo>
                <a:lnTo>
                  <a:pt x="464" y="70"/>
                </a:lnTo>
                <a:lnTo>
                  <a:pt x="460" y="61"/>
                </a:lnTo>
                <a:lnTo>
                  <a:pt x="454" y="53"/>
                </a:lnTo>
                <a:lnTo>
                  <a:pt x="452" y="48"/>
                </a:lnTo>
                <a:lnTo>
                  <a:pt x="448" y="42"/>
                </a:lnTo>
                <a:lnTo>
                  <a:pt x="446" y="38"/>
                </a:lnTo>
                <a:lnTo>
                  <a:pt x="445" y="38"/>
                </a:lnTo>
                <a:lnTo>
                  <a:pt x="445" y="38"/>
                </a:lnTo>
                <a:lnTo>
                  <a:pt x="439" y="38"/>
                </a:lnTo>
                <a:lnTo>
                  <a:pt x="433" y="42"/>
                </a:lnTo>
                <a:lnTo>
                  <a:pt x="427" y="48"/>
                </a:lnTo>
                <a:lnTo>
                  <a:pt x="424" y="55"/>
                </a:lnTo>
                <a:lnTo>
                  <a:pt x="418" y="61"/>
                </a:lnTo>
                <a:lnTo>
                  <a:pt x="410" y="67"/>
                </a:lnTo>
                <a:lnTo>
                  <a:pt x="403" y="70"/>
                </a:lnTo>
                <a:lnTo>
                  <a:pt x="395" y="72"/>
                </a:lnTo>
                <a:lnTo>
                  <a:pt x="395" y="72"/>
                </a:lnTo>
                <a:lnTo>
                  <a:pt x="389" y="72"/>
                </a:lnTo>
                <a:lnTo>
                  <a:pt x="385" y="70"/>
                </a:lnTo>
                <a:lnTo>
                  <a:pt x="382" y="69"/>
                </a:lnTo>
                <a:lnTo>
                  <a:pt x="378" y="67"/>
                </a:lnTo>
                <a:lnTo>
                  <a:pt x="374" y="63"/>
                </a:lnTo>
                <a:lnTo>
                  <a:pt x="370" y="61"/>
                </a:lnTo>
                <a:lnTo>
                  <a:pt x="366" y="59"/>
                </a:lnTo>
                <a:lnTo>
                  <a:pt x="361" y="59"/>
                </a:lnTo>
                <a:lnTo>
                  <a:pt x="361" y="59"/>
                </a:lnTo>
                <a:lnTo>
                  <a:pt x="357" y="59"/>
                </a:lnTo>
                <a:lnTo>
                  <a:pt x="355" y="61"/>
                </a:lnTo>
                <a:lnTo>
                  <a:pt x="351" y="65"/>
                </a:lnTo>
                <a:lnTo>
                  <a:pt x="349" y="67"/>
                </a:lnTo>
                <a:lnTo>
                  <a:pt x="347" y="70"/>
                </a:lnTo>
                <a:lnTo>
                  <a:pt x="343" y="72"/>
                </a:lnTo>
                <a:lnTo>
                  <a:pt x="340" y="76"/>
                </a:lnTo>
                <a:lnTo>
                  <a:pt x="336" y="76"/>
                </a:lnTo>
                <a:lnTo>
                  <a:pt x="336" y="76"/>
                </a:lnTo>
                <a:lnTo>
                  <a:pt x="332" y="76"/>
                </a:lnTo>
                <a:lnTo>
                  <a:pt x="328" y="74"/>
                </a:lnTo>
                <a:lnTo>
                  <a:pt x="322" y="72"/>
                </a:lnTo>
                <a:lnTo>
                  <a:pt x="321" y="69"/>
                </a:lnTo>
                <a:lnTo>
                  <a:pt x="317" y="67"/>
                </a:lnTo>
                <a:lnTo>
                  <a:pt x="313" y="63"/>
                </a:lnTo>
                <a:lnTo>
                  <a:pt x="311" y="59"/>
                </a:lnTo>
                <a:lnTo>
                  <a:pt x="307" y="55"/>
                </a:lnTo>
                <a:lnTo>
                  <a:pt x="307" y="55"/>
                </a:lnTo>
                <a:lnTo>
                  <a:pt x="305" y="57"/>
                </a:lnTo>
                <a:lnTo>
                  <a:pt x="301" y="59"/>
                </a:lnTo>
                <a:lnTo>
                  <a:pt x="300" y="59"/>
                </a:lnTo>
                <a:lnTo>
                  <a:pt x="298" y="61"/>
                </a:lnTo>
                <a:lnTo>
                  <a:pt x="294" y="63"/>
                </a:lnTo>
                <a:lnTo>
                  <a:pt x="292" y="63"/>
                </a:lnTo>
                <a:lnTo>
                  <a:pt x="288" y="65"/>
                </a:lnTo>
                <a:lnTo>
                  <a:pt x="284" y="65"/>
                </a:lnTo>
                <a:lnTo>
                  <a:pt x="284" y="65"/>
                </a:lnTo>
                <a:lnTo>
                  <a:pt x="280" y="65"/>
                </a:lnTo>
                <a:lnTo>
                  <a:pt x="277" y="63"/>
                </a:lnTo>
                <a:lnTo>
                  <a:pt x="275" y="61"/>
                </a:lnTo>
                <a:lnTo>
                  <a:pt x="273" y="57"/>
                </a:lnTo>
                <a:lnTo>
                  <a:pt x="271" y="55"/>
                </a:lnTo>
                <a:lnTo>
                  <a:pt x="271" y="53"/>
                </a:lnTo>
                <a:lnTo>
                  <a:pt x="271" y="51"/>
                </a:lnTo>
                <a:lnTo>
                  <a:pt x="271" y="49"/>
                </a:lnTo>
                <a:lnTo>
                  <a:pt x="271" y="49"/>
                </a:lnTo>
                <a:lnTo>
                  <a:pt x="269" y="48"/>
                </a:lnTo>
                <a:lnTo>
                  <a:pt x="269" y="48"/>
                </a:lnTo>
                <a:lnTo>
                  <a:pt x="269" y="46"/>
                </a:lnTo>
                <a:lnTo>
                  <a:pt x="267" y="44"/>
                </a:lnTo>
                <a:lnTo>
                  <a:pt x="267" y="44"/>
                </a:lnTo>
                <a:lnTo>
                  <a:pt x="267" y="42"/>
                </a:lnTo>
                <a:lnTo>
                  <a:pt x="269" y="40"/>
                </a:lnTo>
                <a:lnTo>
                  <a:pt x="271" y="36"/>
                </a:lnTo>
                <a:lnTo>
                  <a:pt x="271" y="36"/>
                </a:lnTo>
                <a:lnTo>
                  <a:pt x="263" y="36"/>
                </a:lnTo>
                <a:lnTo>
                  <a:pt x="256" y="38"/>
                </a:lnTo>
                <a:lnTo>
                  <a:pt x="248" y="38"/>
                </a:lnTo>
                <a:lnTo>
                  <a:pt x="240" y="38"/>
                </a:lnTo>
                <a:lnTo>
                  <a:pt x="233" y="38"/>
                </a:lnTo>
                <a:lnTo>
                  <a:pt x="225" y="38"/>
                </a:lnTo>
                <a:lnTo>
                  <a:pt x="219" y="38"/>
                </a:lnTo>
                <a:lnTo>
                  <a:pt x="212" y="38"/>
                </a:lnTo>
                <a:lnTo>
                  <a:pt x="204" y="36"/>
                </a:lnTo>
                <a:lnTo>
                  <a:pt x="197" y="36"/>
                </a:lnTo>
                <a:lnTo>
                  <a:pt x="189" y="34"/>
                </a:lnTo>
                <a:lnTo>
                  <a:pt x="183" y="32"/>
                </a:lnTo>
                <a:lnTo>
                  <a:pt x="176" y="30"/>
                </a:lnTo>
                <a:lnTo>
                  <a:pt x="170" y="28"/>
                </a:lnTo>
                <a:lnTo>
                  <a:pt x="164" y="27"/>
                </a:lnTo>
                <a:lnTo>
                  <a:pt x="158" y="23"/>
                </a:lnTo>
                <a:lnTo>
                  <a:pt x="158" y="23"/>
                </a:lnTo>
                <a:lnTo>
                  <a:pt x="155" y="21"/>
                </a:lnTo>
                <a:lnTo>
                  <a:pt x="151" y="17"/>
                </a:lnTo>
                <a:lnTo>
                  <a:pt x="147" y="13"/>
                </a:lnTo>
                <a:lnTo>
                  <a:pt x="143" y="9"/>
                </a:lnTo>
                <a:lnTo>
                  <a:pt x="139" y="6"/>
                </a:lnTo>
                <a:lnTo>
                  <a:pt x="136" y="2"/>
                </a:lnTo>
                <a:lnTo>
                  <a:pt x="128" y="0"/>
                </a:lnTo>
                <a:lnTo>
                  <a:pt x="118" y="0"/>
                </a:lnTo>
                <a:lnTo>
                  <a:pt x="118" y="0"/>
                </a:lnTo>
                <a:lnTo>
                  <a:pt x="115" y="0"/>
                </a:lnTo>
                <a:lnTo>
                  <a:pt x="111" y="4"/>
                </a:lnTo>
                <a:lnTo>
                  <a:pt x="107" y="8"/>
                </a:lnTo>
                <a:lnTo>
                  <a:pt x="105" y="11"/>
                </a:lnTo>
                <a:lnTo>
                  <a:pt x="103" y="17"/>
                </a:lnTo>
                <a:lnTo>
                  <a:pt x="101" y="23"/>
                </a:lnTo>
                <a:lnTo>
                  <a:pt x="99" y="28"/>
                </a:lnTo>
                <a:lnTo>
                  <a:pt x="99" y="34"/>
                </a:lnTo>
                <a:lnTo>
                  <a:pt x="82" y="34"/>
                </a:lnTo>
                <a:lnTo>
                  <a:pt x="82" y="34"/>
                </a:lnTo>
                <a:lnTo>
                  <a:pt x="82" y="40"/>
                </a:lnTo>
                <a:lnTo>
                  <a:pt x="84" y="44"/>
                </a:lnTo>
                <a:lnTo>
                  <a:pt x="88" y="49"/>
                </a:lnTo>
                <a:lnTo>
                  <a:pt x="90" y="53"/>
                </a:lnTo>
                <a:lnTo>
                  <a:pt x="94" y="57"/>
                </a:lnTo>
                <a:lnTo>
                  <a:pt x="95" y="61"/>
                </a:lnTo>
                <a:lnTo>
                  <a:pt x="99" y="65"/>
                </a:lnTo>
                <a:lnTo>
                  <a:pt x="99" y="70"/>
                </a:lnTo>
                <a:lnTo>
                  <a:pt x="99" y="70"/>
                </a:lnTo>
                <a:lnTo>
                  <a:pt x="97" y="78"/>
                </a:lnTo>
                <a:lnTo>
                  <a:pt x="94" y="82"/>
                </a:lnTo>
                <a:lnTo>
                  <a:pt x="86" y="84"/>
                </a:lnTo>
                <a:lnTo>
                  <a:pt x="78" y="84"/>
                </a:lnTo>
                <a:lnTo>
                  <a:pt x="71" y="84"/>
                </a:lnTo>
                <a:lnTo>
                  <a:pt x="61" y="82"/>
                </a:lnTo>
                <a:lnTo>
                  <a:pt x="52" y="82"/>
                </a:lnTo>
                <a:lnTo>
                  <a:pt x="42" y="84"/>
                </a:lnTo>
                <a:lnTo>
                  <a:pt x="42" y="84"/>
                </a:lnTo>
                <a:lnTo>
                  <a:pt x="36" y="86"/>
                </a:lnTo>
                <a:lnTo>
                  <a:pt x="31" y="90"/>
                </a:lnTo>
                <a:lnTo>
                  <a:pt x="23" y="93"/>
                </a:lnTo>
                <a:lnTo>
                  <a:pt x="17" y="99"/>
                </a:lnTo>
                <a:lnTo>
                  <a:pt x="12" y="105"/>
                </a:lnTo>
                <a:lnTo>
                  <a:pt x="6" y="111"/>
                </a:lnTo>
                <a:lnTo>
                  <a:pt x="2" y="116"/>
                </a:lnTo>
                <a:lnTo>
                  <a:pt x="0" y="124"/>
                </a:lnTo>
                <a:lnTo>
                  <a:pt x="0" y="124"/>
                </a:lnTo>
                <a:lnTo>
                  <a:pt x="2" y="137"/>
                </a:lnTo>
                <a:lnTo>
                  <a:pt x="6" y="151"/>
                </a:lnTo>
                <a:lnTo>
                  <a:pt x="10" y="162"/>
                </a:lnTo>
                <a:lnTo>
                  <a:pt x="15" y="173"/>
                </a:lnTo>
                <a:lnTo>
                  <a:pt x="23" y="185"/>
                </a:lnTo>
                <a:lnTo>
                  <a:pt x="33" y="196"/>
                </a:lnTo>
                <a:lnTo>
                  <a:pt x="40" y="206"/>
                </a:lnTo>
                <a:lnTo>
                  <a:pt x="52" y="215"/>
                </a:lnTo>
                <a:lnTo>
                  <a:pt x="61" y="225"/>
                </a:lnTo>
                <a:lnTo>
                  <a:pt x="71" y="235"/>
                </a:lnTo>
                <a:lnTo>
                  <a:pt x="82" y="244"/>
                </a:lnTo>
                <a:lnTo>
                  <a:pt x="92" y="254"/>
                </a:lnTo>
                <a:lnTo>
                  <a:pt x="101" y="265"/>
                </a:lnTo>
                <a:lnTo>
                  <a:pt x="111" y="275"/>
                </a:lnTo>
                <a:lnTo>
                  <a:pt x="118" y="286"/>
                </a:lnTo>
                <a:lnTo>
                  <a:pt x="124" y="297"/>
                </a:lnTo>
                <a:lnTo>
                  <a:pt x="124" y="297"/>
                </a:lnTo>
                <a:lnTo>
                  <a:pt x="128" y="290"/>
                </a:lnTo>
                <a:lnTo>
                  <a:pt x="132" y="284"/>
                </a:lnTo>
                <a:lnTo>
                  <a:pt x="136" y="278"/>
                </a:lnTo>
                <a:lnTo>
                  <a:pt x="139" y="271"/>
                </a:lnTo>
                <a:lnTo>
                  <a:pt x="143" y="267"/>
                </a:lnTo>
                <a:lnTo>
                  <a:pt x="149" y="261"/>
                </a:lnTo>
                <a:lnTo>
                  <a:pt x="155" y="256"/>
                </a:lnTo>
                <a:lnTo>
                  <a:pt x="158" y="252"/>
                </a:lnTo>
                <a:lnTo>
                  <a:pt x="164" y="246"/>
                </a:lnTo>
                <a:lnTo>
                  <a:pt x="170" y="244"/>
                </a:lnTo>
                <a:lnTo>
                  <a:pt x="176" y="240"/>
                </a:lnTo>
                <a:lnTo>
                  <a:pt x="181" y="236"/>
                </a:lnTo>
                <a:lnTo>
                  <a:pt x="187" y="235"/>
                </a:lnTo>
                <a:lnTo>
                  <a:pt x="193" y="235"/>
                </a:lnTo>
                <a:lnTo>
                  <a:pt x="200" y="233"/>
                </a:lnTo>
                <a:lnTo>
                  <a:pt x="206" y="233"/>
                </a:lnTo>
                <a:lnTo>
                  <a:pt x="206" y="233"/>
                </a:lnTo>
                <a:lnTo>
                  <a:pt x="212" y="233"/>
                </a:lnTo>
                <a:lnTo>
                  <a:pt x="218" y="233"/>
                </a:lnTo>
                <a:lnTo>
                  <a:pt x="223" y="233"/>
                </a:lnTo>
                <a:lnTo>
                  <a:pt x="229" y="233"/>
                </a:lnTo>
                <a:lnTo>
                  <a:pt x="235" y="233"/>
                </a:lnTo>
                <a:lnTo>
                  <a:pt x="239" y="233"/>
                </a:lnTo>
                <a:lnTo>
                  <a:pt x="242" y="233"/>
                </a:lnTo>
                <a:lnTo>
                  <a:pt x="242" y="233"/>
                </a:lnTo>
                <a:lnTo>
                  <a:pt x="242" y="233"/>
                </a:lnTo>
                <a:lnTo>
                  <a:pt x="252" y="233"/>
                </a:lnTo>
                <a:lnTo>
                  <a:pt x="260" y="235"/>
                </a:lnTo>
                <a:lnTo>
                  <a:pt x="267" y="236"/>
                </a:lnTo>
                <a:lnTo>
                  <a:pt x="275" y="242"/>
                </a:lnTo>
                <a:lnTo>
                  <a:pt x="282" y="246"/>
                </a:lnTo>
                <a:lnTo>
                  <a:pt x="288" y="252"/>
                </a:lnTo>
                <a:lnTo>
                  <a:pt x="294" y="259"/>
                </a:lnTo>
                <a:lnTo>
                  <a:pt x="300" y="265"/>
                </a:lnTo>
                <a:lnTo>
                  <a:pt x="305" y="275"/>
                </a:lnTo>
                <a:lnTo>
                  <a:pt x="309" y="282"/>
                </a:lnTo>
                <a:lnTo>
                  <a:pt x="313" y="292"/>
                </a:lnTo>
                <a:lnTo>
                  <a:pt x="317" y="301"/>
                </a:lnTo>
                <a:lnTo>
                  <a:pt x="319" y="313"/>
                </a:lnTo>
                <a:lnTo>
                  <a:pt x="322" y="322"/>
                </a:lnTo>
                <a:lnTo>
                  <a:pt x="322" y="334"/>
                </a:lnTo>
                <a:lnTo>
                  <a:pt x="322" y="345"/>
                </a:lnTo>
                <a:lnTo>
                  <a:pt x="322" y="345"/>
                </a:lnTo>
                <a:lnTo>
                  <a:pt x="322" y="347"/>
                </a:lnTo>
                <a:lnTo>
                  <a:pt x="322" y="349"/>
                </a:lnTo>
                <a:lnTo>
                  <a:pt x="321" y="351"/>
                </a:lnTo>
                <a:lnTo>
                  <a:pt x="319" y="355"/>
                </a:lnTo>
                <a:lnTo>
                  <a:pt x="317" y="357"/>
                </a:lnTo>
                <a:lnTo>
                  <a:pt x="315" y="359"/>
                </a:lnTo>
                <a:lnTo>
                  <a:pt x="313" y="360"/>
                </a:lnTo>
                <a:lnTo>
                  <a:pt x="311" y="362"/>
                </a:lnTo>
                <a:lnTo>
                  <a:pt x="355" y="36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6" name="Freeform 38"/>
          <p:cNvSpPr>
            <a:spLocks/>
          </p:cNvSpPr>
          <p:nvPr>
            <p:custDataLst>
              <p:tags r:id="rId38"/>
            </p:custDataLst>
          </p:nvPr>
        </p:nvSpPr>
        <p:spPr bwMode="gray">
          <a:xfrm>
            <a:off x="1446518" y="2782723"/>
            <a:ext cx="202480" cy="113382"/>
          </a:xfrm>
          <a:custGeom>
            <a:avLst/>
            <a:gdLst/>
            <a:ahLst/>
            <a:cxnLst>
              <a:cxn ang="0">
                <a:pos x="223" y="6"/>
              </a:cxn>
              <a:cxn ang="0">
                <a:pos x="216" y="10"/>
              </a:cxn>
              <a:cxn ang="0">
                <a:pos x="210" y="17"/>
              </a:cxn>
              <a:cxn ang="0">
                <a:pos x="206" y="29"/>
              </a:cxn>
              <a:cxn ang="0">
                <a:pos x="204" y="40"/>
              </a:cxn>
              <a:cxn ang="0">
                <a:pos x="187" y="40"/>
              </a:cxn>
              <a:cxn ang="0">
                <a:pos x="189" y="50"/>
              </a:cxn>
              <a:cxn ang="0">
                <a:pos x="195" y="59"/>
              </a:cxn>
              <a:cxn ang="0">
                <a:pos x="200" y="67"/>
              </a:cxn>
              <a:cxn ang="0">
                <a:pos x="204" y="76"/>
              </a:cxn>
              <a:cxn ang="0">
                <a:pos x="202" y="84"/>
              </a:cxn>
              <a:cxn ang="0">
                <a:pos x="191" y="90"/>
              </a:cxn>
              <a:cxn ang="0">
                <a:pos x="176" y="90"/>
              </a:cxn>
              <a:cxn ang="0">
                <a:pos x="157" y="88"/>
              </a:cxn>
              <a:cxn ang="0">
                <a:pos x="147" y="90"/>
              </a:cxn>
              <a:cxn ang="0">
                <a:pos x="136" y="96"/>
              </a:cxn>
              <a:cxn ang="0">
                <a:pos x="122" y="105"/>
              </a:cxn>
              <a:cxn ang="0">
                <a:pos x="111" y="117"/>
              </a:cxn>
              <a:cxn ang="0">
                <a:pos x="105" y="130"/>
              </a:cxn>
              <a:cxn ang="0">
                <a:pos x="99" y="128"/>
              </a:cxn>
              <a:cxn ang="0">
                <a:pos x="88" y="124"/>
              </a:cxn>
              <a:cxn ang="0">
                <a:pos x="76" y="118"/>
              </a:cxn>
              <a:cxn ang="0">
                <a:pos x="71" y="109"/>
              </a:cxn>
              <a:cxn ang="0">
                <a:pos x="71" y="103"/>
              </a:cxn>
              <a:cxn ang="0">
                <a:pos x="71" y="94"/>
              </a:cxn>
              <a:cxn ang="0">
                <a:pos x="69" y="84"/>
              </a:cxn>
              <a:cxn ang="0">
                <a:pos x="69" y="75"/>
              </a:cxn>
              <a:cxn ang="0">
                <a:pos x="71" y="61"/>
              </a:cxn>
              <a:cxn ang="0">
                <a:pos x="67" y="61"/>
              </a:cxn>
              <a:cxn ang="0">
                <a:pos x="57" y="61"/>
              </a:cxn>
              <a:cxn ang="0">
                <a:pos x="52" y="61"/>
              </a:cxn>
              <a:cxn ang="0">
                <a:pos x="42" y="61"/>
              </a:cxn>
              <a:cxn ang="0">
                <a:pos x="38" y="61"/>
              </a:cxn>
              <a:cxn ang="0">
                <a:pos x="23" y="57"/>
              </a:cxn>
              <a:cxn ang="0">
                <a:pos x="12" y="46"/>
              </a:cxn>
              <a:cxn ang="0">
                <a:pos x="4" y="33"/>
              </a:cxn>
              <a:cxn ang="0">
                <a:pos x="0" y="23"/>
              </a:cxn>
              <a:cxn ang="0">
                <a:pos x="8" y="19"/>
              </a:cxn>
              <a:cxn ang="0">
                <a:pos x="21" y="15"/>
              </a:cxn>
              <a:cxn ang="0">
                <a:pos x="36" y="12"/>
              </a:cxn>
              <a:cxn ang="0">
                <a:pos x="50" y="8"/>
              </a:cxn>
              <a:cxn ang="0">
                <a:pos x="63" y="6"/>
              </a:cxn>
              <a:cxn ang="0">
                <a:pos x="78" y="2"/>
              </a:cxn>
              <a:cxn ang="0">
                <a:pos x="92" y="0"/>
              </a:cxn>
              <a:cxn ang="0">
                <a:pos x="107" y="0"/>
              </a:cxn>
              <a:cxn ang="0">
                <a:pos x="218" y="8"/>
              </a:cxn>
            </a:cxnLst>
            <a:rect l="0" t="0" r="r" b="b"/>
            <a:pathLst>
              <a:path w="223" h="130">
                <a:moveTo>
                  <a:pt x="223" y="6"/>
                </a:moveTo>
                <a:lnTo>
                  <a:pt x="223" y="6"/>
                </a:lnTo>
                <a:lnTo>
                  <a:pt x="220" y="6"/>
                </a:lnTo>
                <a:lnTo>
                  <a:pt x="216" y="10"/>
                </a:lnTo>
                <a:lnTo>
                  <a:pt x="212" y="14"/>
                </a:lnTo>
                <a:lnTo>
                  <a:pt x="210" y="17"/>
                </a:lnTo>
                <a:lnTo>
                  <a:pt x="208" y="23"/>
                </a:lnTo>
                <a:lnTo>
                  <a:pt x="206" y="29"/>
                </a:lnTo>
                <a:lnTo>
                  <a:pt x="204" y="34"/>
                </a:lnTo>
                <a:lnTo>
                  <a:pt x="204" y="40"/>
                </a:lnTo>
                <a:lnTo>
                  <a:pt x="187" y="40"/>
                </a:lnTo>
                <a:lnTo>
                  <a:pt x="187" y="40"/>
                </a:lnTo>
                <a:lnTo>
                  <a:pt x="187" y="46"/>
                </a:lnTo>
                <a:lnTo>
                  <a:pt x="189" y="50"/>
                </a:lnTo>
                <a:lnTo>
                  <a:pt x="193" y="55"/>
                </a:lnTo>
                <a:lnTo>
                  <a:pt x="195" y="59"/>
                </a:lnTo>
                <a:lnTo>
                  <a:pt x="199" y="63"/>
                </a:lnTo>
                <a:lnTo>
                  <a:pt x="200" y="67"/>
                </a:lnTo>
                <a:lnTo>
                  <a:pt x="204" y="71"/>
                </a:lnTo>
                <a:lnTo>
                  <a:pt x="204" y="76"/>
                </a:lnTo>
                <a:lnTo>
                  <a:pt x="204" y="76"/>
                </a:lnTo>
                <a:lnTo>
                  <a:pt x="202" y="84"/>
                </a:lnTo>
                <a:lnTo>
                  <a:pt x="199" y="88"/>
                </a:lnTo>
                <a:lnTo>
                  <a:pt x="191" y="90"/>
                </a:lnTo>
                <a:lnTo>
                  <a:pt x="183" y="90"/>
                </a:lnTo>
                <a:lnTo>
                  <a:pt x="176" y="90"/>
                </a:lnTo>
                <a:lnTo>
                  <a:pt x="166" y="88"/>
                </a:lnTo>
                <a:lnTo>
                  <a:pt x="157" y="88"/>
                </a:lnTo>
                <a:lnTo>
                  <a:pt x="147" y="90"/>
                </a:lnTo>
                <a:lnTo>
                  <a:pt x="147" y="90"/>
                </a:lnTo>
                <a:lnTo>
                  <a:pt x="141" y="92"/>
                </a:lnTo>
                <a:lnTo>
                  <a:pt x="136" y="96"/>
                </a:lnTo>
                <a:lnTo>
                  <a:pt x="128" y="99"/>
                </a:lnTo>
                <a:lnTo>
                  <a:pt x="122" y="105"/>
                </a:lnTo>
                <a:lnTo>
                  <a:pt x="117" y="111"/>
                </a:lnTo>
                <a:lnTo>
                  <a:pt x="111" y="117"/>
                </a:lnTo>
                <a:lnTo>
                  <a:pt x="107" y="122"/>
                </a:lnTo>
                <a:lnTo>
                  <a:pt x="105" y="130"/>
                </a:lnTo>
                <a:lnTo>
                  <a:pt x="105" y="130"/>
                </a:lnTo>
                <a:lnTo>
                  <a:pt x="99" y="128"/>
                </a:lnTo>
                <a:lnTo>
                  <a:pt x="94" y="128"/>
                </a:lnTo>
                <a:lnTo>
                  <a:pt x="88" y="124"/>
                </a:lnTo>
                <a:lnTo>
                  <a:pt x="82" y="122"/>
                </a:lnTo>
                <a:lnTo>
                  <a:pt x="76" y="118"/>
                </a:lnTo>
                <a:lnTo>
                  <a:pt x="75" y="113"/>
                </a:lnTo>
                <a:lnTo>
                  <a:pt x="71" y="109"/>
                </a:lnTo>
                <a:lnTo>
                  <a:pt x="71" y="103"/>
                </a:lnTo>
                <a:lnTo>
                  <a:pt x="71" y="103"/>
                </a:lnTo>
                <a:lnTo>
                  <a:pt x="71" y="97"/>
                </a:lnTo>
                <a:lnTo>
                  <a:pt x="71" y="94"/>
                </a:lnTo>
                <a:lnTo>
                  <a:pt x="69" y="90"/>
                </a:lnTo>
                <a:lnTo>
                  <a:pt x="69" y="84"/>
                </a:lnTo>
                <a:lnTo>
                  <a:pt x="69" y="78"/>
                </a:lnTo>
                <a:lnTo>
                  <a:pt x="69" y="75"/>
                </a:lnTo>
                <a:lnTo>
                  <a:pt x="69" y="67"/>
                </a:lnTo>
                <a:lnTo>
                  <a:pt x="71" y="61"/>
                </a:lnTo>
                <a:lnTo>
                  <a:pt x="71" y="61"/>
                </a:lnTo>
                <a:lnTo>
                  <a:pt x="67" y="61"/>
                </a:lnTo>
                <a:lnTo>
                  <a:pt x="63" y="61"/>
                </a:lnTo>
                <a:lnTo>
                  <a:pt x="57" y="61"/>
                </a:lnTo>
                <a:lnTo>
                  <a:pt x="54" y="61"/>
                </a:lnTo>
                <a:lnTo>
                  <a:pt x="52" y="61"/>
                </a:lnTo>
                <a:lnTo>
                  <a:pt x="48" y="61"/>
                </a:lnTo>
                <a:lnTo>
                  <a:pt x="42" y="61"/>
                </a:lnTo>
                <a:lnTo>
                  <a:pt x="38" y="61"/>
                </a:lnTo>
                <a:lnTo>
                  <a:pt x="38" y="61"/>
                </a:lnTo>
                <a:lnTo>
                  <a:pt x="31" y="59"/>
                </a:lnTo>
                <a:lnTo>
                  <a:pt x="23" y="57"/>
                </a:lnTo>
                <a:lnTo>
                  <a:pt x="17" y="52"/>
                </a:lnTo>
                <a:lnTo>
                  <a:pt x="12" y="46"/>
                </a:lnTo>
                <a:lnTo>
                  <a:pt x="8" y="40"/>
                </a:lnTo>
                <a:lnTo>
                  <a:pt x="4" y="33"/>
                </a:lnTo>
                <a:lnTo>
                  <a:pt x="2" y="27"/>
                </a:lnTo>
                <a:lnTo>
                  <a:pt x="0" y="23"/>
                </a:lnTo>
                <a:lnTo>
                  <a:pt x="0" y="23"/>
                </a:lnTo>
                <a:lnTo>
                  <a:pt x="8" y="19"/>
                </a:lnTo>
                <a:lnTo>
                  <a:pt x="14" y="17"/>
                </a:lnTo>
                <a:lnTo>
                  <a:pt x="21" y="15"/>
                </a:lnTo>
                <a:lnTo>
                  <a:pt x="29" y="14"/>
                </a:lnTo>
                <a:lnTo>
                  <a:pt x="36" y="12"/>
                </a:lnTo>
                <a:lnTo>
                  <a:pt x="42" y="10"/>
                </a:lnTo>
                <a:lnTo>
                  <a:pt x="50" y="8"/>
                </a:lnTo>
                <a:lnTo>
                  <a:pt x="57" y="6"/>
                </a:lnTo>
                <a:lnTo>
                  <a:pt x="63" y="6"/>
                </a:lnTo>
                <a:lnTo>
                  <a:pt x="71" y="4"/>
                </a:lnTo>
                <a:lnTo>
                  <a:pt x="78" y="2"/>
                </a:lnTo>
                <a:lnTo>
                  <a:pt x="84" y="2"/>
                </a:lnTo>
                <a:lnTo>
                  <a:pt x="92" y="0"/>
                </a:lnTo>
                <a:lnTo>
                  <a:pt x="99" y="0"/>
                </a:lnTo>
                <a:lnTo>
                  <a:pt x="107" y="0"/>
                </a:lnTo>
                <a:lnTo>
                  <a:pt x="115" y="0"/>
                </a:lnTo>
                <a:lnTo>
                  <a:pt x="218" y="8"/>
                </a:lnTo>
                <a:lnTo>
                  <a:pt x="223" y="6"/>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7" name="Freeform 39"/>
          <p:cNvSpPr>
            <a:spLocks/>
          </p:cNvSpPr>
          <p:nvPr>
            <p:custDataLst>
              <p:tags r:id="rId39"/>
            </p:custDataLst>
          </p:nvPr>
        </p:nvSpPr>
        <p:spPr bwMode="gray">
          <a:xfrm>
            <a:off x="1407643" y="2487936"/>
            <a:ext cx="388762" cy="333667"/>
          </a:xfrm>
          <a:custGeom>
            <a:avLst/>
            <a:gdLst/>
            <a:ahLst/>
            <a:cxnLst>
              <a:cxn ang="0">
                <a:pos x="386" y="374"/>
              </a:cxn>
              <a:cxn ang="0">
                <a:pos x="342" y="370"/>
              </a:cxn>
              <a:cxn ang="0">
                <a:pos x="305" y="359"/>
              </a:cxn>
              <a:cxn ang="0">
                <a:pos x="286" y="342"/>
              </a:cxn>
              <a:cxn ang="0">
                <a:pos x="149" y="330"/>
              </a:cxn>
              <a:cxn ang="0">
                <a:pos x="105" y="336"/>
              </a:cxn>
              <a:cxn ang="0">
                <a:pos x="63" y="345"/>
              </a:cxn>
              <a:cxn ang="0">
                <a:pos x="36" y="347"/>
              </a:cxn>
              <a:cxn ang="0">
                <a:pos x="27" y="330"/>
              </a:cxn>
              <a:cxn ang="0">
                <a:pos x="29" y="300"/>
              </a:cxn>
              <a:cxn ang="0">
                <a:pos x="56" y="284"/>
              </a:cxn>
              <a:cxn ang="0">
                <a:pos x="75" y="290"/>
              </a:cxn>
              <a:cxn ang="0">
                <a:pos x="96" y="286"/>
              </a:cxn>
              <a:cxn ang="0">
                <a:pos x="122" y="273"/>
              </a:cxn>
              <a:cxn ang="0">
                <a:pos x="151" y="265"/>
              </a:cxn>
              <a:cxn ang="0">
                <a:pos x="187" y="282"/>
              </a:cxn>
              <a:cxn ang="0">
                <a:pos x="225" y="290"/>
              </a:cxn>
              <a:cxn ang="0">
                <a:pos x="248" y="290"/>
              </a:cxn>
              <a:cxn ang="0">
                <a:pos x="239" y="265"/>
              </a:cxn>
              <a:cxn ang="0">
                <a:pos x="227" y="261"/>
              </a:cxn>
              <a:cxn ang="0">
                <a:pos x="210" y="261"/>
              </a:cxn>
              <a:cxn ang="0">
                <a:pos x="185" y="248"/>
              </a:cxn>
              <a:cxn ang="0">
                <a:pos x="145" y="235"/>
              </a:cxn>
              <a:cxn ang="0">
                <a:pos x="113" y="242"/>
              </a:cxn>
              <a:cxn ang="0">
                <a:pos x="80" y="254"/>
              </a:cxn>
              <a:cxn ang="0">
                <a:pos x="56" y="256"/>
              </a:cxn>
              <a:cxn ang="0">
                <a:pos x="36" y="256"/>
              </a:cxn>
              <a:cxn ang="0">
                <a:pos x="40" y="242"/>
              </a:cxn>
              <a:cxn ang="0">
                <a:pos x="27" y="200"/>
              </a:cxn>
              <a:cxn ang="0">
                <a:pos x="6" y="160"/>
              </a:cxn>
              <a:cxn ang="0">
                <a:pos x="2" y="141"/>
              </a:cxn>
              <a:cxn ang="0">
                <a:pos x="31" y="116"/>
              </a:cxn>
              <a:cxn ang="0">
                <a:pos x="52" y="92"/>
              </a:cxn>
              <a:cxn ang="0">
                <a:pos x="69" y="61"/>
              </a:cxn>
              <a:cxn ang="0">
                <a:pos x="96" y="12"/>
              </a:cxn>
              <a:cxn ang="0">
                <a:pos x="118" y="10"/>
              </a:cxn>
              <a:cxn ang="0">
                <a:pos x="136" y="10"/>
              </a:cxn>
              <a:cxn ang="0">
                <a:pos x="181" y="2"/>
              </a:cxn>
              <a:cxn ang="0">
                <a:pos x="216" y="6"/>
              </a:cxn>
              <a:cxn ang="0">
                <a:pos x="239" y="23"/>
              </a:cxn>
              <a:cxn ang="0">
                <a:pos x="258" y="46"/>
              </a:cxn>
              <a:cxn ang="0">
                <a:pos x="283" y="57"/>
              </a:cxn>
              <a:cxn ang="0">
                <a:pos x="305" y="71"/>
              </a:cxn>
              <a:cxn ang="0">
                <a:pos x="307" y="95"/>
              </a:cxn>
              <a:cxn ang="0">
                <a:pos x="330" y="128"/>
              </a:cxn>
              <a:cxn ang="0">
                <a:pos x="355" y="166"/>
              </a:cxn>
              <a:cxn ang="0">
                <a:pos x="372" y="208"/>
              </a:cxn>
              <a:cxn ang="0">
                <a:pos x="386" y="227"/>
              </a:cxn>
              <a:cxn ang="0">
                <a:pos x="386" y="248"/>
              </a:cxn>
              <a:cxn ang="0">
                <a:pos x="378" y="267"/>
              </a:cxn>
              <a:cxn ang="0">
                <a:pos x="393" y="292"/>
              </a:cxn>
              <a:cxn ang="0">
                <a:pos x="418" y="315"/>
              </a:cxn>
              <a:cxn ang="0">
                <a:pos x="426" y="344"/>
              </a:cxn>
              <a:cxn ang="0">
                <a:pos x="416" y="368"/>
              </a:cxn>
            </a:cxnLst>
            <a:rect l="0" t="0" r="r" b="b"/>
            <a:pathLst>
              <a:path w="426" h="374">
                <a:moveTo>
                  <a:pt x="414" y="372"/>
                </a:moveTo>
                <a:lnTo>
                  <a:pt x="414" y="372"/>
                </a:lnTo>
                <a:lnTo>
                  <a:pt x="407" y="372"/>
                </a:lnTo>
                <a:lnTo>
                  <a:pt x="401" y="374"/>
                </a:lnTo>
                <a:lnTo>
                  <a:pt x="393" y="374"/>
                </a:lnTo>
                <a:lnTo>
                  <a:pt x="386" y="374"/>
                </a:lnTo>
                <a:lnTo>
                  <a:pt x="378" y="374"/>
                </a:lnTo>
                <a:lnTo>
                  <a:pt x="370" y="374"/>
                </a:lnTo>
                <a:lnTo>
                  <a:pt x="363" y="374"/>
                </a:lnTo>
                <a:lnTo>
                  <a:pt x="357" y="372"/>
                </a:lnTo>
                <a:lnTo>
                  <a:pt x="349" y="372"/>
                </a:lnTo>
                <a:lnTo>
                  <a:pt x="342" y="370"/>
                </a:lnTo>
                <a:lnTo>
                  <a:pt x="336" y="370"/>
                </a:lnTo>
                <a:lnTo>
                  <a:pt x="328" y="368"/>
                </a:lnTo>
                <a:lnTo>
                  <a:pt x="323" y="366"/>
                </a:lnTo>
                <a:lnTo>
                  <a:pt x="317" y="364"/>
                </a:lnTo>
                <a:lnTo>
                  <a:pt x="311" y="363"/>
                </a:lnTo>
                <a:lnTo>
                  <a:pt x="305" y="359"/>
                </a:lnTo>
                <a:lnTo>
                  <a:pt x="305" y="359"/>
                </a:lnTo>
                <a:lnTo>
                  <a:pt x="302" y="357"/>
                </a:lnTo>
                <a:lnTo>
                  <a:pt x="298" y="353"/>
                </a:lnTo>
                <a:lnTo>
                  <a:pt x="294" y="349"/>
                </a:lnTo>
                <a:lnTo>
                  <a:pt x="290" y="345"/>
                </a:lnTo>
                <a:lnTo>
                  <a:pt x="286" y="342"/>
                </a:lnTo>
                <a:lnTo>
                  <a:pt x="283" y="338"/>
                </a:lnTo>
                <a:lnTo>
                  <a:pt x="275" y="336"/>
                </a:lnTo>
                <a:lnTo>
                  <a:pt x="265" y="336"/>
                </a:lnTo>
                <a:lnTo>
                  <a:pt x="157" y="330"/>
                </a:lnTo>
                <a:lnTo>
                  <a:pt x="157" y="330"/>
                </a:lnTo>
                <a:lnTo>
                  <a:pt x="149" y="330"/>
                </a:lnTo>
                <a:lnTo>
                  <a:pt x="141" y="330"/>
                </a:lnTo>
                <a:lnTo>
                  <a:pt x="134" y="330"/>
                </a:lnTo>
                <a:lnTo>
                  <a:pt x="126" y="332"/>
                </a:lnTo>
                <a:lnTo>
                  <a:pt x="120" y="332"/>
                </a:lnTo>
                <a:lnTo>
                  <a:pt x="113" y="334"/>
                </a:lnTo>
                <a:lnTo>
                  <a:pt x="105" y="336"/>
                </a:lnTo>
                <a:lnTo>
                  <a:pt x="99" y="336"/>
                </a:lnTo>
                <a:lnTo>
                  <a:pt x="92" y="338"/>
                </a:lnTo>
                <a:lnTo>
                  <a:pt x="84" y="340"/>
                </a:lnTo>
                <a:lnTo>
                  <a:pt x="78" y="342"/>
                </a:lnTo>
                <a:lnTo>
                  <a:pt x="71" y="344"/>
                </a:lnTo>
                <a:lnTo>
                  <a:pt x="63" y="345"/>
                </a:lnTo>
                <a:lnTo>
                  <a:pt x="56" y="347"/>
                </a:lnTo>
                <a:lnTo>
                  <a:pt x="50" y="349"/>
                </a:lnTo>
                <a:lnTo>
                  <a:pt x="42" y="353"/>
                </a:lnTo>
                <a:lnTo>
                  <a:pt x="42" y="353"/>
                </a:lnTo>
                <a:lnTo>
                  <a:pt x="38" y="349"/>
                </a:lnTo>
                <a:lnTo>
                  <a:pt x="36" y="347"/>
                </a:lnTo>
                <a:lnTo>
                  <a:pt x="35" y="345"/>
                </a:lnTo>
                <a:lnTo>
                  <a:pt x="33" y="344"/>
                </a:lnTo>
                <a:lnTo>
                  <a:pt x="31" y="340"/>
                </a:lnTo>
                <a:lnTo>
                  <a:pt x="29" y="336"/>
                </a:lnTo>
                <a:lnTo>
                  <a:pt x="29" y="332"/>
                </a:lnTo>
                <a:lnTo>
                  <a:pt x="27" y="330"/>
                </a:lnTo>
                <a:lnTo>
                  <a:pt x="27" y="330"/>
                </a:lnTo>
                <a:lnTo>
                  <a:pt x="27" y="323"/>
                </a:lnTo>
                <a:lnTo>
                  <a:pt x="29" y="317"/>
                </a:lnTo>
                <a:lnTo>
                  <a:pt x="29" y="311"/>
                </a:lnTo>
                <a:lnTo>
                  <a:pt x="29" y="305"/>
                </a:lnTo>
                <a:lnTo>
                  <a:pt x="29" y="300"/>
                </a:lnTo>
                <a:lnTo>
                  <a:pt x="29" y="294"/>
                </a:lnTo>
                <a:lnTo>
                  <a:pt x="29" y="288"/>
                </a:lnTo>
                <a:lnTo>
                  <a:pt x="27" y="282"/>
                </a:lnTo>
                <a:lnTo>
                  <a:pt x="54" y="282"/>
                </a:lnTo>
                <a:lnTo>
                  <a:pt x="54" y="282"/>
                </a:lnTo>
                <a:lnTo>
                  <a:pt x="56" y="284"/>
                </a:lnTo>
                <a:lnTo>
                  <a:pt x="59" y="286"/>
                </a:lnTo>
                <a:lnTo>
                  <a:pt x="61" y="288"/>
                </a:lnTo>
                <a:lnTo>
                  <a:pt x="65" y="288"/>
                </a:lnTo>
                <a:lnTo>
                  <a:pt x="67" y="290"/>
                </a:lnTo>
                <a:lnTo>
                  <a:pt x="71" y="290"/>
                </a:lnTo>
                <a:lnTo>
                  <a:pt x="75" y="290"/>
                </a:lnTo>
                <a:lnTo>
                  <a:pt x="77" y="290"/>
                </a:lnTo>
                <a:lnTo>
                  <a:pt x="77" y="290"/>
                </a:lnTo>
                <a:lnTo>
                  <a:pt x="82" y="290"/>
                </a:lnTo>
                <a:lnTo>
                  <a:pt x="86" y="290"/>
                </a:lnTo>
                <a:lnTo>
                  <a:pt x="92" y="288"/>
                </a:lnTo>
                <a:lnTo>
                  <a:pt x="96" y="286"/>
                </a:lnTo>
                <a:lnTo>
                  <a:pt x="101" y="284"/>
                </a:lnTo>
                <a:lnTo>
                  <a:pt x="105" y="282"/>
                </a:lnTo>
                <a:lnTo>
                  <a:pt x="109" y="281"/>
                </a:lnTo>
                <a:lnTo>
                  <a:pt x="115" y="277"/>
                </a:lnTo>
                <a:lnTo>
                  <a:pt x="118" y="275"/>
                </a:lnTo>
                <a:lnTo>
                  <a:pt x="122" y="273"/>
                </a:lnTo>
                <a:lnTo>
                  <a:pt x="128" y="271"/>
                </a:lnTo>
                <a:lnTo>
                  <a:pt x="132" y="269"/>
                </a:lnTo>
                <a:lnTo>
                  <a:pt x="136" y="267"/>
                </a:lnTo>
                <a:lnTo>
                  <a:pt x="141" y="265"/>
                </a:lnTo>
                <a:lnTo>
                  <a:pt x="145" y="265"/>
                </a:lnTo>
                <a:lnTo>
                  <a:pt x="151" y="265"/>
                </a:lnTo>
                <a:lnTo>
                  <a:pt x="151" y="265"/>
                </a:lnTo>
                <a:lnTo>
                  <a:pt x="159" y="265"/>
                </a:lnTo>
                <a:lnTo>
                  <a:pt x="166" y="269"/>
                </a:lnTo>
                <a:lnTo>
                  <a:pt x="174" y="273"/>
                </a:lnTo>
                <a:lnTo>
                  <a:pt x="180" y="277"/>
                </a:lnTo>
                <a:lnTo>
                  <a:pt x="187" y="282"/>
                </a:lnTo>
                <a:lnTo>
                  <a:pt x="197" y="286"/>
                </a:lnTo>
                <a:lnTo>
                  <a:pt x="204" y="290"/>
                </a:lnTo>
                <a:lnTo>
                  <a:pt x="214" y="290"/>
                </a:lnTo>
                <a:lnTo>
                  <a:pt x="214" y="290"/>
                </a:lnTo>
                <a:lnTo>
                  <a:pt x="220" y="290"/>
                </a:lnTo>
                <a:lnTo>
                  <a:pt x="225" y="290"/>
                </a:lnTo>
                <a:lnTo>
                  <a:pt x="229" y="290"/>
                </a:lnTo>
                <a:lnTo>
                  <a:pt x="235" y="290"/>
                </a:lnTo>
                <a:lnTo>
                  <a:pt x="239" y="288"/>
                </a:lnTo>
                <a:lnTo>
                  <a:pt x="241" y="290"/>
                </a:lnTo>
                <a:lnTo>
                  <a:pt x="244" y="290"/>
                </a:lnTo>
                <a:lnTo>
                  <a:pt x="248" y="290"/>
                </a:lnTo>
                <a:lnTo>
                  <a:pt x="248" y="271"/>
                </a:lnTo>
                <a:lnTo>
                  <a:pt x="248" y="271"/>
                </a:lnTo>
                <a:lnTo>
                  <a:pt x="246" y="269"/>
                </a:lnTo>
                <a:lnTo>
                  <a:pt x="244" y="267"/>
                </a:lnTo>
                <a:lnTo>
                  <a:pt x="242" y="265"/>
                </a:lnTo>
                <a:lnTo>
                  <a:pt x="239" y="265"/>
                </a:lnTo>
                <a:lnTo>
                  <a:pt x="237" y="263"/>
                </a:lnTo>
                <a:lnTo>
                  <a:pt x="235" y="261"/>
                </a:lnTo>
                <a:lnTo>
                  <a:pt x="233" y="261"/>
                </a:lnTo>
                <a:lnTo>
                  <a:pt x="231" y="261"/>
                </a:lnTo>
                <a:lnTo>
                  <a:pt x="231" y="261"/>
                </a:lnTo>
                <a:lnTo>
                  <a:pt x="227" y="261"/>
                </a:lnTo>
                <a:lnTo>
                  <a:pt x="223" y="261"/>
                </a:lnTo>
                <a:lnTo>
                  <a:pt x="221" y="261"/>
                </a:lnTo>
                <a:lnTo>
                  <a:pt x="220" y="261"/>
                </a:lnTo>
                <a:lnTo>
                  <a:pt x="216" y="261"/>
                </a:lnTo>
                <a:lnTo>
                  <a:pt x="214" y="261"/>
                </a:lnTo>
                <a:lnTo>
                  <a:pt x="210" y="261"/>
                </a:lnTo>
                <a:lnTo>
                  <a:pt x="206" y="261"/>
                </a:lnTo>
                <a:lnTo>
                  <a:pt x="206" y="261"/>
                </a:lnTo>
                <a:lnTo>
                  <a:pt x="202" y="260"/>
                </a:lnTo>
                <a:lnTo>
                  <a:pt x="197" y="258"/>
                </a:lnTo>
                <a:lnTo>
                  <a:pt x="191" y="252"/>
                </a:lnTo>
                <a:lnTo>
                  <a:pt x="185" y="248"/>
                </a:lnTo>
                <a:lnTo>
                  <a:pt x="178" y="242"/>
                </a:lnTo>
                <a:lnTo>
                  <a:pt x="170" y="239"/>
                </a:lnTo>
                <a:lnTo>
                  <a:pt x="160" y="237"/>
                </a:lnTo>
                <a:lnTo>
                  <a:pt x="151" y="235"/>
                </a:lnTo>
                <a:lnTo>
                  <a:pt x="151" y="235"/>
                </a:lnTo>
                <a:lnTo>
                  <a:pt x="145" y="235"/>
                </a:lnTo>
                <a:lnTo>
                  <a:pt x="139" y="237"/>
                </a:lnTo>
                <a:lnTo>
                  <a:pt x="134" y="237"/>
                </a:lnTo>
                <a:lnTo>
                  <a:pt x="130" y="239"/>
                </a:lnTo>
                <a:lnTo>
                  <a:pt x="124" y="240"/>
                </a:lnTo>
                <a:lnTo>
                  <a:pt x="118" y="240"/>
                </a:lnTo>
                <a:lnTo>
                  <a:pt x="113" y="242"/>
                </a:lnTo>
                <a:lnTo>
                  <a:pt x="107" y="244"/>
                </a:lnTo>
                <a:lnTo>
                  <a:pt x="103" y="246"/>
                </a:lnTo>
                <a:lnTo>
                  <a:pt x="97" y="248"/>
                </a:lnTo>
                <a:lnTo>
                  <a:pt x="92" y="250"/>
                </a:lnTo>
                <a:lnTo>
                  <a:pt x="86" y="252"/>
                </a:lnTo>
                <a:lnTo>
                  <a:pt x="80" y="254"/>
                </a:lnTo>
                <a:lnTo>
                  <a:pt x="75" y="254"/>
                </a:lnTo>
                <a:lnTo>
                  <a:pt x="69" y="254"/>
                </a:lnTo>
                <a:lnTo>
                  <a:pt x="63" y="256"/>
                </a:lnTo>
                <a:lnTo>
                  <a:pt x="63" y="256"/>
                </a:lnTo>
                <a:lnTo>
                  <a:pt x="59" y="256"/>
                </a:lnTo>
                <a:lnTo>
                  <a:pt x="56" y="256"/>
                </a:lnTo>
                <a:lnTo>
                  <a:pt x="52" y="254"/>
                </a:lnTo>
                <a:lnTo>
                  <a:pt x="48" y="254"/>
                </a:lnTo>
                <a:lnTo>
                  <a:pt x="44" y="254"/>
                </a:lnTo>
                <a:lnTo>
                  <a:pt x="42" y="254"/>
                </a:lnTo>
                <a:lnTo>
                  <a:pt x="38" y="254"/>
                </a:lnTo>
                <a:lnTo>
                  <a:pt x="36" y="256"/>
                </a:lnTo>
                <a:lnTo>
                  <a:pt x="36" y="256"/>
                </a:lnTo>
                <a:lnTo>
                  <a:pt x="36" y="252"/>
                </a:lnTo>
                <a:lnTo>
                  <a:pt x="38" y="250"/>
                </a:lnTo>
                <a:lnTo>
                  <a:pt x="38" y="246"/>
                </a:lnTo>
                <a:lnTo>
                  <a:pt x="40" y="242"/>
                </a:lnTo>
                <a:lnTo>
                  <a:pt x="40" y="242"/>
                </a:lnTo>
                <a:lnTo>
                  <a:pt x="38" y="237"/>
                </a:lnTo>
                <a:lnTo>
                  <a:pt x="38" y="229"/>
                </a:lnTo>
                <a:lnTo>
                  <a:pt x="36" y="223"/>
                </a:lnTo>
                <a:lnTo>
                  <a:pt x="33" y="216"/>
                </a:lnTo>
                <a:lnTo>
                  <a:pt x="31" y="208"/>
                </a:lnTo>
                <a:lnTo>
                  <a:pt x="27" y="200"/>
                </a:lnTo>
                <a:lnTo>
                  <a:pt x="23" y="195"/>
                </a:lnTo>
                <a:lnTo>
                  <a:pt x="19" y="187"/>
                </a:lnTo>
                <a:lnTo>
                  <a:pt x="15" y="179"/>
                </a:lnTo>
                <a:lnTo>
                  <a:pt x="12" y="174"/>
                </a:lnTo>
                <a:lnTo>
                  <a:pt x="10" y="168"/>
                </a:lnTo>
                <a:lnTo>
                  <a:pt x="6" y="160"/>
                </a:lnTo>
                <a:lnTo>
                  <a:pt x="4" y="157"/>
                </a:lnTo>
                <a:lnTo>
                  <a:pt x="2" y="151"/>
                </a:lnTo>
                <a:lnTo>
                  <a:pt x="0" y="147"/>
                </a:lnTo>
                <a:lnTo>
                  <a:pt x="0" y="143"/>
                </a:lnTo>
                <a:lnTo>
                  <a:pt x="0" y="143"/>
                </a:lnTo>
                <a:lnTo>
                  <a:pt x="2" y="141"/>
                </a:lnTo>
                <a:lnTo>
                  <a:pt x="4" y="137"/>
                </a:lnTo>
                <a:lnTo>
                  <a:pt x="10" y="134"/>
                </a:lnTo>
                <a:lnTo>
                  <a:pt x="15" y="128"/>
                </a:lnTo>
                <a:lnTo>
                  <a:pt x="21" y="124"/>
                </a:lnTo>
                <a:lnTo>
                  <a:pt x="27" y="120"/>
                </a:lnTo>
                <a:lnTo>
                  <a:pt x="31" y="116"/>
                </a:lnTo>
                <a:lnTo>
                  <a:pt x="33" y="113"/>
                </a:lnTo>
                <a:lnTo>
                  <a:pt x="33" y="113"/>
                </a:lnTo>
                <a:lnTo>
                  <a:pt x="36" y="109"/>
                </a:lnTo>
                <a:lnTo>
                  <a:pt x="42" y="103"/>
                </a:lnTo>
                <a:lnTo>
                  <a:pt x="46" y="97"/>
                </a:lnTo>
                <a:lnTo>
                  <a:pt x="52" y="92"/>
                </a:lnTo>
                <a:lnTo>
                  <a:pt x="56" y="88"/>
                </a:lnTo>
                <a:lnTo>
                  <a:pt x="59" y="82"/>
                </a:lnTo>
                <a:lnTo>
                  <a:pt x="63" y="76"/>
                </a:lnTo>
                <a:lnTo>
                  <a:pt x="65" y="73"/>
                </a:lnTo>
                <a:lnTo>
                  <a:pt x="65" y="73"/>
                </a:lnTo>
                <a:lnTo>
                  <a:pt x="69" y="61"/>
                </a:lnTo>
                <a:lnTo>
                  <a:pt x="71" y="50"/>
                </a:lnTo>
                <a:lnTo>
                  <a:pt x="75" y="38"/>
                </a:lnTo>
                <a:lnTo>
                  <a:pt x="78" y="29"/>
                </a:lnTo>
                <a:lnTo>
                  <a:pt x="82" y="21"/>
                </a:lnTo>
                <a:lnTo>
                  <a:pt x="90" y="15"/>
                </a:lnTo>
                <a:lnTo>
                  <a:pt x="96" y="12"/>
                </a:lnTo>
                <a:lnTo>
                  <a:pt x="107" y="10"/>
                </a:lnTo>
                <a:lnTo>
                  <a:pt x="107" y="10"/>
                </a:lnTo>
                <a:lnTo>
                  <a:pt x="111" y="10"/>
                </a:lnTo>
                <a:lnTo>
                  <a:pt x="115" y="10"/>
                </a:lnTo>
                <a:lnTo>
                  <a:pt x="117" y="10"/>
                </a:lnTo>
                <a:lnTo>
                  <a:pt x="118" y="10"/>
                </a:lnTo>
                <a:lnTo>
                  <a:pt x="122" y="10"/>
                </a:lnTo>
                <a:lnTo>
                  <a:pt x="124" y="10"/>
                </a:lnTo>
                <a:lnTo>
                  <a:pt x="128" y="10"/>
                </a:lnTo>
                <a:lnTo>
                  <a:pt x="130" y="10"/>
                </a:lnTo>
                <a:lnTo>
                  <a:pt x="130" y="10"/>
                </a:lnTo>
                <a:lnTo>
                  <a:pt x="136" y="10"/>
                </a:lnTo>
                <a:lnTo>
                  <a:pt x="143" y="10"/>
                </a:lnTo>
                <a:lnTo>
                  <a:pt x="149" y="8"/>
                </a:lnTo>
                <a:lnTo>
                  <a:pt x="159" y="6"/>
                </a:lnTo>
                <a:lnTo>
                  <a:pt x="166" y="4"/>
                </a:lnTo>
                <a:lnTo>
                  <a:pt x="174" y="2"/>
                </a:lnTo>
                <a:lnTo>
                  <a:pt x="181" y="2"/>
                </a:lnTo>
                <a:lnTo>
                  <a:pt x="189" y="0"/>
                </a:lnTo>
                <a:lnTo>
                  <a:pt x="189" y="0"/>
                </a:lnTo>
                <a:lnTo>
                  <a:pt x="197" y="2"/>
                </a:lnTo>
                <a:lnTo>
                  <a:pt x="204" y="2"/>
                </a:lnTo>
                <a:lnTo>
                  <a:pt x="210" y="4"/>
                </a:lnTo>
                <a:lnTo>
                  <a:pt x="216" y="6"/>
                </a:lnTo>
                <a:lnTo>
                  <a:pt x="221" y="8"/>
                </a:lnTo>
                <a:lnTo>
                  <a:pt x="225" y="10"/>
                </a:lnTo>
                <a:lnTo>
                  <a:pt x="229" y="13"/>
                </a:lnTo>
                <a:lnTo>
                  <a:pt x="233" y="15"/>
                </a:lnTo>
                <a:lnTo>
                  <a:pt x="237" y="19"/>
                </a:lnTo>
                <a:lnTo>
                  <a:pt x="239" y="23"/>
                </a:lnTo>
                <a:lnTo>
                  <a:pt x="242" y="27"/>
                </a:lnTo>
                <a:lnTo>
                  <a:pt x="244" y="31"/>
                </a:lnTo>
                <a:lnTo>
                  <a:pt x="248" y="34"/>
                </a:lnTo>
                <a:lnTo>
                  <a:pt x="252" y="38"/>
                </a:lnTo>
                <a:lnTo>
                  <a:pt x="254" y="42"/>
                </a:lnTo>
                <a:lnTo>
                  <a:pt x="258" y="46"/>
                </a:lnTo>
                <a:lnTo>
                  <a:pt x="258" y="46"/>
                </a:lnTo>
                <a:lnTo>
                  <a:pt x="263" y="50"/>
                </a:lnTo>
                <a:lnTo>
                  <a:pt x="267" y="54"/>
                </a:lnTo>
                <a:lnTo>
                  <a:pt x="273" y="55"/>
                </a:lnTo>
                <a:lnTo>
                  <a:pt x="277" y="55"/>
                </a:lnTo>
                <a:lnTo>
                  <a:pt x="283" y="57"/>
                </a:lnTo>
                <a:lnTo>
                  <a:pt x="288" y="59"/>
                </a:lnTo>
                <a:lnTo>
                  <a:pt x="294" y="61"/>
                </a:lnTo>
                <a:lnTo>
                  <a:pt x="300" y="63"/>
                </a:lnTo>
                <a:lnTo>
                  <a:pt x="300" y="63"/>
                </a:lnTo>
                <a:lnTo>
                  <a:pt x="302" y="67"/>
                </a:lnTo>
                <a:lnTo>
                  <a:pt x="305" y="71"/>
                </a:lnTo>
                <a:lnTo>
                  <a:pt x="305" y="75"/>
                </a:lnTo>
                <a:lnTo>
                  <a:pt x="305" y="78"/>
                </a:lnTo>
                <a:lnTo>
                  <a:pt x="305" y="82"/>
                </a:lnTo>
                <a:lnTo>
                  <a:pt x="305" y="86"/>
                </a:lnTo>
                <a:lnTo>
                  <a:pt x="305" y="92"/>
                </a:lnTo>
                <a:lnTo>
                  <a:pt x="307" y="95"/>
                </a:lnTo>
                <a:lnTo>
                  <a:pt x="307" y="95"/>
                </a:lnTo>
                <a:lnTo>
                  <a:pt x="311" y="103"/>
                </a:lnTo>
                <a:lnTo>
                  <a:pt x="317" y="109"/>
                </a:lnTo>
                <a:lnTo>
                  <a:pt x="321" y="116"/>
                </a:lnTo>
                <a:lnTo>
                  <a:pt x="324" y="122"/>
                </a:lnTo>
                <a:lnTo>
                  <a:pt x="330" y="128"/>
                </a:lnTo>
                <a:lnTo>
                  <a:pt x="334" y="134"/>
                </a:lnTo>
                <a:lnTo>
                  <a:pt x="338" y="141"/>
                </a:lnTo>
                <a:lnTo>
                  <a:pt x="344" y="147"/>
                </a:lnTo>
                <a:lnTo>
                  <a:pt x="347" y="153"/>
                </a:lnTo>
                <a:lnTo>
                  <a:pt x="351" y="158"/>
                </a:lnTo>
                <a:lnTo>
                  <a:pt x="355" y="166"/>
                </a:lnTo>
                <a:lnTo>
                  <a:pt x="359" y="174"/>
                </a:lnTo>
                <a:lnTo>
                  <a:pt x="363" y="181"/>
                </a:lnTo>
                <a:lnTo>
                  <a:pt x="366" y="189"/>
                </a:lnTo>
                <a:lnTo>
                  <a:pt x="370" y="199"/>
                </a:lnTo>
                <a:lnTo>
                  <a:pt x="372" y="208"/>
                </a:lnTo>
                <a:lnTo>
                  <a:pt x="372" y="208"/>
                </a:lnTo>
                <a:lnTo>
                  <a:pt x="374" y="212"/>
                </a:lnTo>
                <a:lnTo>
                  <a:pt x="376" y="216"/>
                </a:lnTo>
                <a:lnTo>
                  <a:pt x="378" y="218"/>
                </a:lnTo>
                <a:lnTo>
                  <a:pt x="382" y="221"/>
                </a:lnTo>
                <a:lnTo>
                  <a:pt x="384" y="225"/>
                </a:lnTo>
                <a:lnTo>
                  <a:pt x="386" y="227"/>
                </a:lnTo>
                <a:lnTo>
                  <a:pt x="387" y="231"/>
                </a:lnTo>
                <a:lnTo>
                  <a:pt x="387" y="235"/>
                </a:lnTo>
                <a:lnTo>
                  <a:pt x="387" y="235"/>
                </a:lnTo>
                <a:lnTo>
                  <a:pt x="387" y="239"/>
                </a:lnTo>
                <a:lnTo>
                  <a:pt x="386" y="242"/>
                </a:lnTo>
                <a:lnTo>
                  <a:pt x="386" y="248"/>
                </a:lnTo>
                <a:lnTo>
                  <a:pt x="384" y="252"/>
                </a:lnTo>
                <a:lnTo>
                  <a:pt x="382" y="258"/>
                </a:lnTo>
                <a:lnTo>
                  <a:pt x="380" y="261"/>
                </a:lnTo>
                <a:lnTo>
                  <a:pt x="380" y="265"/>
                </a:lnTo>
                <a:lnTo>
                  <a:pt x="378" y="267"/>
                </a:lnTo>
                <a:lnTo>
                  <a:pt x="378" y="267"/>
                </a:lnTo>
                <a:lnTo>
                  <a:pt x="380" y="271"/>
                </a:lnTo>
                <a:lnTo>
                  <a:pt x="380" y="275"/>
                </a:lnTo>
                <a:lnTo>
                  <a:pt x="384" y="281"/>
                </a:lnTo>
                <a:lnTo>
                  <a:pt x="386" y="284"/>
                </a:lnTo>
                <a:lnTo>
                  <a:pt x="389" y="288"/>
                </a:lnTo>
                <a:lnTo>
                  <a:pt x="393" y="292"/>
                </a:lnTo>
                <a:lnTo>
                  <a:pt x="397" y="296"/>
                </a:lnTo>
                <a:lnTo>
                  <a:pt x="403" y="300"/>
                </a:lnTo>
                <a:lnTo>
                  <a:pt x="407" y="303"/>
                </a:lnTo>
                <a:lnTo>
                  <a:pt x="410" y="307"/>
                </a:lnTo>
                <a:lnTo>
                  <a:pt x="414" y="311"/>
                </a:lnTo>
                <a:lnTo>
                  <a:pt x="418" y="315"/>
                </a:lnTo>
                <a:lnTo>
                  <a:pt x="422" y="321"/>
                </a:lnTo>
                <a:lnTo>
                  <a:pt x="424" y="326"/>
                </a:lnTo>
                <a:lnTo>
                  <a:pt x="426" y="332"/>
                </a:lnTo>
                <a:lnTo>
                  <a:pt x="426" y="338"/>
                </a:lnTo>
                <a:lnTo>
                  <a:pt x="426" y="338"/>
                </a:lnTo>
                <a:lnTo>
                  <a:pt x="426" y="344"/>
                </a:lnTo>
                <a:lnTo>
                  <a:pt x="424" y="347"/>
                </a:lnTo>
                <a:lnTo>
                  <a:pt x="422" y="353"/>
                </a:lnTo>
                <a:lnTo>
                  <a:pt x="420" y="357"/>
                </a:lnTo>
                <a:lnTo>
                  <a:pt x="416" y="361"/>
                </a:lnTo>
                <a:lnTo>
                  <a:pt x="416" y="364"/>
                </a:lnTo>
                <a:lnTo>
                  <a:pt x="416" y="368"/>
                </a:lnTo>
                <a:lnTo>
                  <a:pt x="418" y="374"/>
                </a:lnTo>
                <a:lnTo>
                  <a:pt x="420" y="374"/>
                </a:lnTo>
                <a:lnTo>
                  <a:pt x="414" y="372"/>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8" name="Freeform 40"/>
          <p:cNvSpPr>
            <a:spLocks/>
          </p:cNvSpPr>
          <p:nvPr>
            <p:custDataLst>
              <p:tags r:id="rId40"/>
            </p:custDataLst>
          </p:nvPr>
        </p:nvSpPr>
        <p:spPr bwMode="gray">
          <a:xfrm>
            <a:off x="1431947" y="2696878"/>
            <a:ext cx="202481" cy="50212"/>
          </a:xfrm>
          <a:custGeom>
            <a:avLst/>
            <a:gdLst/>
            <a:ahLst/>
            <a:cxnLst>
              <a:cxn ang="0">
                <a:pos x="9" y="17"/>
              </a:cxn>
              <a:cxn ang="0">
                <a:pos x="6" y="25"/>
              </a:cxn>
              <a:cxn ang="0">
                <a:pos x="4" y="32"/>
              </a:cxn>
              <a:cxn ang="0">
                <a:pos x="2" y="40"/>
              </a:cxn>
              <a:cxn ang="0">
                <a:pos x="0" y="47"/>
              </a:cxn>
              <a:cxn ang="0">
                <a:pos x="27" y="47"/>
              </a:cxn>
              <a:cxn ang="0">
                <a:pos x="29" y="49"/>
              </a:cxn>
              <a:cxn ang="0">
                <a:pos x="34" y="53"/>
              </a:cxn>
              <a:cxn ang="0">
                <a:pos x="40" y="55"/>
              </a:cxn>
              <a:cxn ang="0">
                <a:pos x="48" y="55"/>
              </a:cxn>
              <a:cxn ang="0">
                <a:pos x="50" y="55"/>
              </a:cxn>
              <a:cxn ang="0">
                <a:pos x="59" y="55"/>
              </a:cxn>
              <a:cxn ang="0">
                <a:pos x="69" y="51"/>
              </a:cxn>
              <a:cxn ang="0">
                <a:pos x="78" y="47"/>
              </a:cxn>
              <a:cxn ang="0">
                <a:pos x="88" y="42"/>
              </a:cxn>
              <a:cxn ang="0">
                <a:pos x="95" y="38"/>
              </a:cxn>
              <a:cxn ang="0">
                <a:pos x="105" y="34"/>
              </a:cxn>
              <a:cxn ang="0">
                <a:pos x="114" y="30"/>
              </a:cxn>
              <a:cxn ang="0">
                <a:pos x="124" y="30"/>
              </a:cxn>
              <a:cxn ang="0">
                <a:pos x="132" y="30"/>
              </a:cxn>
              <a:cxn ang="0">
                <a:pos x="147" y="38"/>
              </a:cxn>
              <a:cxn ang="0">
                <a:pos x="160" y="47"/>
              </a:cxn>
              <a:cxn ang="0">
                <a:pos x="177" y="55"/>
              </a:cxn>
              <a:cxn ang="0">
                <a:pos x="187" y="55"/>
              </a:cxn>
              <a:cxn ang="0">
                <a:pos x="198" y="55"/>
              </a:cxn>
              <a:cxn ang="0">
                <a:pos x="208" y="55"/>
              </a:cxn>
              <a:cxn ang="0">
                <a:pos x="214" y="55"/>
              </a:cxn>
              <a:cxn ang="0">
                <a:pos x="221" y="55"/>
              </a:cxn>
              <a:cxn ang="0">
                <a:pos x="221" y="36"/>
              </a:cxn>
              <a:cxn ang="0">
                <a:pos x="217" y="32"/>
              </a:cxn>
              <a:cxn ang="0">
                <a:pos x="212" y="30"/>
              </a:cxn>
              <a:cxn ang="0">
                <a:pos x="208" y="26"/>
              </a:cxn>
              <a:cxn ang="0">
                <a:pos x="204" y="26"/>
              </a:cxn>
              <a:cxn ang="0">
                <a:pos x="200" y="26"/>
              </a:cxn>
              <a:cxn ang="0">
                <a:pos x="194" y="26"/>
              </a:cxn>
              <a:cxn ang="0">
                <a:pos x="189" y="26"/>
              </a:cxn>
              <a:cxn ang="0">
                <a:pos x="183" y="26"/>
              </a:cxn>
              <a:cxn ang="0">
                <a:pos x="179" y="26"/>
              </a:cxn>
              <a:cxn ang="0">
                <a:pos x="170" y="23"/>
              </a:cxn>
              <a:cxn ang="0">
                <a:pos x="158" y="13"/>
              </a:cxn>
              <a:cxn ang="0">
                <a:pos x="143" y="4"/>
              </a:cxn>
              <a:cxn ang="0">
                <a:pos x="124" y="0"/>
              </a:cxn>
              <a:cxn ang="0">
                <a:pos x="118" y="0"/>
              </a:cxn>
              <a:cxn ang="0">
                <a:pos x="107" y="2"/>
              </a:cxn>
              <a:cxn ang="0">
                <a:pos x="97" y="5"/>
              </a:cxn>
              <a:cxn ang="0">
                <a:pos x="86" y="7"/>
              </a:cxn>
              <a:cxn ang="0">
                <a:pos x="76" y="11"/>
              </a:cxn>
              <a:cxn ang="0">
                <a:pos x="65" y="15"/>
              </a:cxn>
              <a:cxn ang="0">
                <a:pos x="53" y="19"/>
              </a:cxn>
              <a:cxn ang="0">
                <a:pos x="42" y="19"/>
              </a:cxn>
              <a:cxn ang="0">
                <a:pos x="36" y="21"/>
              </a:cxn>
              <a:cxn ang="0">
                <a:pos x="29" y="21"/>
              </a:cxn>
              <a:cxn ang="0">
                <a:pos x="21" y="19"/>
              </a:cxn>
              <a:cxn ang="0">
                <a:pos x="15" y="19"/>
              </a:cxn>
              <a:cxn ang="0">
                <a:pos x="9" y="21"/>
              </a:cxn>
            </a:cxnLst>
            <a:rect l="0" t="0" r="r" b="b"/>
            <a:pathLst>
              <a:path w="221" h="55">
                <a:moveTo>
                  <a:pt x="9" y="17"/>
                </a:moveTo>
                <a:lnTo>
                  <a:pt x="9" y="17"/>
                </a:lnTo>
                <a:lnTo>
                  <a:pt x="8" y="21"/>
                </a:lnTo>
                <a:lnTo>
                  <a:pt x="6" y="25"/>
                </a:lnTo>
                <a:lnTo>
                  <a:pt x="4" y="28"/>
                </a:lnTo>
                <a:lnTo>
                  <a:pt x="4" y="32"/>
                </a:lnTo>
                <a:lnTo>
                  <a:pt x="2" y="36"/>
                </a:lnTo>
                <a:lnTo>
                  <a:pt x="2" y="40"/>
                </a:lnTo>
                <a:lnTo>
                  <a:pt x="0" y="44"/>
                </a:lnTo>
                <a:lnTo>
                  <a:pt x="0" y="47"/>
                </a:lnTo>
                <a:lnTo>
                  <a:pt x="0" y="47"/>
                </a:lnTo>
                <a:lnTo>
                  <a:pt x="27" y="47"/>
                </a:lnTo>
                <a:lnTo>
                  <a:pt x="27" y="47"/>
                </a:lnTo>
                <a:lnTo>
                  <a:pt x="29" y="49"/>
                </a:lnTo>
                <a:lnTo>
                  <a:pt x="32" y="51"/>
                </a:lnTo>
                <a:lnTo>
                  <a:pt x="34" y="53"/>
                </a:lnTo>
                <a:lnTo>
                  <a:pt x="38" y="53"/>
                </a:lnTo>
                <a:lnTo>
                  <a:pt x="40" y="55"/>
                </a:lnTo>
                <a:lnTo>
                  <a:pt x="44" y="55"/>
                </a:lnTo>
                <a:lnTo>
                  <a:pt x="48" y="55"/>
                </a:lnTo>
                <a:lnTo>
                  <a:pt x="50" y="55"/>
                </a:lnTo>
                <a:lnTo>
                  <a:pt x="50" y="55"/>
                </a:lnTo>
                <a:lnTo>
                  <a:pt x="55" y="55"/>
                </a:lnTo>
                <a:lnTo>
                  <a:pt x="59" y="55"/>
                </a:lnTo>
                <a:lnTo>
                  <a:pt x="65" y="53"/>
                </a:lnTo>
                <a:lnTo>
                  <a:pt x="69" y="51"/>
                </a:lnTo>
                <a:lnTo>
                  <a:pt x="74" y="49"/>
                </a:lnTo>
                <a:lnTo>
                  <a:pt x="78" y="47"/>
                </a:lnTo>
                <a:lnTo>
                  <a:pt x="82" y="46"/>
                </a:lnTo>
                <a:lnTo>
                  <a:pt x="88" y="42"/>
                </a:lnTo>
                <a:lnTo>
                  <a:pt x="91" y="40"/>
                </a:lnTo>
                <a:lnTo>
                  <a:pt x="95" y="38"/>
                </a:lnTo>
                <a:lnTo>
                  <a:pt x="101" y="36"/>
                </a:lnTo>
                <a:lnTo>
                  <a:pt x="105" y="34"/>
                </a:lnTo>
                <a:lnTo>
                  <a:pt x="109" y="32"/>
                </a:lnTo>
                <a:lnTo>
                  <a:pt x="114" y="30"/>
                </a:lnTo>
                <a:lnTo>
                  <a:pt x="118" y="30"/>
                </a:lnTo>
                <a:lnTo>
                  <a:pt x="124" y="30"/>
                </a:lnTo>
                <a:lnTo>
                  <a:pt x="124" y="30"/>
                </a:lnTo>
                <a:lnTo>
                  <a:pt x="132" y="30"/>
                </a:lnTo>
                <a:lnTo>
                  <a:pt x="139" y="34"/>
                </a:lnTo>
                <a:lnTo>
                  <a:pt x="147" y="38"/>
                </a:lnTo>
                <a:lnTo>
                  <a:pt x="153" y="42"/>
                </a:lnTo>
                <a:lnTo>
                  <a:pt x="160" y="47"/>
                </a:lnTo>
                <a:lnTo>
                  <a:pt x="170" y="51"/>
                </a:lnTo>
                <a:lnTo>
                  <a:pt x="177" y="55"/>
                </a:lnTo>
                <a:lnTo>
                  <a:pt x="187" y="55"/>
                </a:lnTo>
                <a:lnTo>
                  <a:pt x="187" y="55"/>
                </a:lnTo>
                <a:lnTo>
                  <a:pt x="193" y="55"/>
                </a:lnTo>
                <a:lnTo>
                  <a:pt x="198" y="55"/>
                </a:lnTo>
                <a:lnTo>
                  <a:pt x="202" y="55"/>
                </a:lnTo>
                <a:lnTo>
                  <a:pt x="208" y="55"/>
                </a:lnTo>
                <a:lnTo>
                  <a:pt x="212" y="53"/>
                </a:lnTo>
                <a:lnTo>
                  <a:pt x="214" y="55"/>
                </a:lnTo>
                <a:lnTo>
                  <a:pt x="217" y="55"/>
                </a:lnTo>
                <a:lnTo>
                  <a:pt x="221" y="55"/>
                </a:lnTo>
                <a:lnTo>
                  <a:pt x="221" y="36"/>
                </a:lnTo>
                <a:lnTo>
                  <a:pt x="221" y="36"/>
                </a:lnTo>
                <a:lnTo>
                  <a:pt x="219" y="34"/>
                </a:lnTo>
                <a:lnTo>
                  <a:pt x="217" y="32"/>
                </a:lnTo>
                <a:lnTo>
                  <a:pt x="215" y="30"/>
                </a:lnTo>
                <a:lnTo>
                  <a:pt x="212" y="30"/>
                </a:lnTo>
                <a:lnTo>
                  <a:pt x="210" y="28"/>
                </a:lnTo>
                <a:lnTo>
                  <a:pt x="208" y="26"/>
                </a:lnTo>
                <a:lnTo>
                  <a:pt x="206" y="26"/>
                </a:lnTo>
                <a:lnTo>
                  <a:pt x="204" y="26"/>
                </a:lnTo>
                <a:lnTo>
                  <a:pt x="204" y="26"/>
                </a:lnTo>
                <a:lnTo>
                  <a:pt x="200" y="26"/>
                </a:lnTo>
                <a:lnTo>
                  <a:pt x="196" y="26"/>
                </a:lnTo>
                <a:lnTo>
                  <a:pt x="194" y="26"/>
                </a:lnTo>
                <a:lnTo>
                  <a:pt x="193" y="26"/>
                </a:lnTo>
                <a:lnTo>
                  <a:pt x="189" y="26"/>
                </a:lnTo>
                <a:lnTo>
                  <a:pt x="187" y="26"/>
                </a:lnTo>
                <a:lnTo>
                  <a:pt x="183" y="26"/>
                </a:lnTo>
                <a:lnTo>
                  <a:pt x="179" y="26"/>
                </a:lnTo>
                <a:lnTo>
                  <a:pt x="179" y="26"/>
                </a:lnTo>
                <a:lnTo>
                  <a:pt x="175" y="25"/>
                </a:lnTo>
                <a:lnTo>
                  <a:pt x="170" y="23"/>
                </a:lnTo>
                <a:lnTo>
                  <a:pt x="164" y="17"/>
                </a:lnTo>
                <a:lnTo>
                  <a:pt x="158" y="13"/>
                </a:lnTo>
                <a:lnTo>
                  <a:pt x="151" y="7"/>
                </a:lnTo>
                <a:lnTo>
                  <a:pt x="143" y="4"/>
                </a:lnTo>
                <a:lnTo>
                  <a:pt x="133" y="2"/>
                </a:lnTo>
                <a:lnTo>
                  <a:pt x="124" y="0"/>
                </a:lnTo>
                <a:lnTo>
                  <a:pt x="124" y="0"/>
                </a:lnTo>
                <a:lnTo>
                  <a:pt x="118" y="0"/>
                </a:lnTo>
                <a:lnTo>
                  <a:pt x="112" y="2"/>
                </a:lnTo>
                <a:lnTo>
                  <a:pt x="107" y="2"/>
                </a:lnTo>
                <a:lnTo>
                  <a:pt x="103" y="4"/>
                </a:lnTo>
                <a:lnTo>
                  <a:pt x="97" y="5"/>
                </a:lnTo>
                <a:lnTo>
                  <a:pt x="91" y="5"/>
                </a:lnTo>
                <a:lnTo>
                  <a:pt x="86" y="7"/>
                </a:lnTo>
                <a:lnTo>
                  <a:pt x="80" y="9"/>
                </a:lnTo>
                <a:lnTo>
                  <a:pt x="76" y="11"/>
                </a:lnTo>
                <a:lnTo>
                  <a:pt x="70" y="13"/>
                </a:lnTo>
                <a:lnTo>
                  <a:pt x="65" y="15"/>
                </a:lnTo>
                <a:lnTo>
                  <a:pt x="59" y="17"/>
                </a:lnTo>
                <a:lnTo>
                  <a:pt x="53" y="19"/>
                </a:lnTo>
                <a:lnTo>
                  <a:pt x="48" y="19"/>
                </a:lnTo>
                <a:lnTo>
                  <a:pt x="42" y="19"/>
                </a:lnTo>
                <a:lnTo>
                  <a:pt x="36" y="21"/>
                </a:lnTo>
                <a:lnTo>
                  <a:pt x="36" y="21"/>
                </a:lnTo>
                <a:lnTo>
                  <a:pt x="32" y="21"/>
                </a:lnTo>
                <a:lnTo>
                  <a:pt x="29" y="21"/>
                </a:lnTo>
                <a:lnTo>
                  <a:pt x="25" y="19"/>
                </a:lnTo>
                <a:lnTo>
                  <a:pt x="21" y="19"/>
                </a:lnTo>
                <a:lnTo>
                  <a:pt x="17" y="19"/>
                </a:lnTo>
                <a:lnTo>
                  <a:pt x="15" y="19"/>
                </a:lnTo>
                <a:lnTo>
                  <a:pt x="11" y="19"/>
                </a:lnTo>
                <a:lnTo>
                  <a:pt x="9" y="21"/>
                </a:lnTo>
                <a:lnTo>
                  <a:pt x="9" y="17"/>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69" name="Freeform 41"/>
          <p:cNvSpPr>
            <a:spLocks/>
          </p:cNvSpPr>
          <p:nvPr>
            <p:custDataLst>
              <p:tags r:id="rId41"/>
            </p:custDataLst>
          </p:nvPr>
        </p:nvSpPr>
        <p:spPr bwMode="gray">
          <a:xfrm>
            <a:off x="1480543" y="1754191"/>
            <a:ext cx="866615" cy="890860"/>
          </a:xfrm>
          <a:custGeom>
            <a:avLst/>
            <a:gdLst/>
            <a:ahLst/>
            <a:cxnLst>
              <a:cxn ang="0">
                <a:pos x="300" y="998"/>
              </a:cxn>
              <a:cxn ang="0">
                <a:pos x="328" y="980"/>
              </a:cxn>
              <a:cxn ang="0">
                <a:pos x="336" y="946"/>
              </a:cxn>
              <a:cxn ang="0">
                <a:pos x="361" y="929"/>
              </a:cxn>
              <a:cxn ang="0">
                <a:pos x="388" y="952"/>
              </a:cxn>
              <a:cxn ang="0">
                <a:pos x="405" y="965"/>
              </a:cxn>
              <a:cxn ang="0">
                <a:pos x="420" y="952"/>
              </a:cxn>
              <a:cxn ang="0">
                <a:pos x="441" y="952"/>
              </a:cxn>
              <a:cxn ang="0">
                <a:pos x="468" y="959"/>
              </a:cxn>
              <a:cxn ang="0">
                <a:pos x="496" y="959"/>
              </a:cxn>
              <a:cxn ang="0">
                <a:pos x="517" y="938"/>
              </a:cxn>
              <a:cxn ang="0">
                <a:pos x="523" y="944"/>
              </a:cxn>
              <a:cxn ang="0">
                <a:pos x="809" y="965"/>
              </a:cxn>
              <a:cxn ang="0">
                <a:pos x="702" y="0"/>
              </a:cxn>
              <a:cxn ang="0">
                <a:pos x="405" y="294"/>
              </a:cxn>
              <a:cxn ang="0">
                <a:pos x="376" y="305"/>
              </a:cxn>
              <a:cxn ang="0">
                <a:pos x="351" y="318"/>
              </a:cxn>
              <a:cxn ang="0">
                <a:pos x="328" y="334"/>
              </a:cxn>
              <a:cxn ang="0">
                <a:pos x="21" y="442"/>
              </a:cxn>
              <a:cxn ang="0">
                <a:pos x="10" y="458"/>
              </a:cxn>
              <a:cxn ang="0">
                <a:pos x="16" y="456"/>
              </a:cxn>
              <a:cxn ang="0">
                <a:pos x="31" y="448"/>
              </a:cxn>
              <a:cxn ang="0">
                <a:pos x="52" y="479"/>
              </a:cxn>
              <a:cxn ang="0">
                <a:pos x="67" y="509"/>
              </a:cxn>
              <a:cxn ang="0">
                <a:pos x="59" y="536"/>
              </a:cxn>
              <a:cxn ang="0">
                <a:pos x="46" y="559"/>
              </a:cxn>
              <a:cxn ang="0">
                <a:pos x="37" y="584"/>
              </a:cxn>
              <a:cxn ang="0">
                <a:pos x="40" y="607"/>
              </a:cxn>
              <a:cxn ang="0">
                <a:pos x="50" y="631"/>
              </a:cxn>
              <a:cxn ang="0">
                <a:pos x="50" y="650"/>
              </a:cxn>
              <a:cxn ang="0">
                <a:pos x="50" y="673"/>
              </a:cxn>
              <a:cxn ang="0">
                <a:pos x="50" y="706"/>
              </a:cxn>
              <a:cxn ang="0">
                <a:pos x="44" y="734"/>
              </a:cxn>
              <a:cxn ang="0">
                <a:pos x="23" y="769"/>
              </a:cxn>
              <a:cxn ang="0">
                <a:pos x="8" y="807"/>
              </a:cxn>
              <a:cxn ang="0">
                <a:pos x="2" y="830"/>
              </a:cxn>
              <a:cxn ang="0">
                <a:pos x="2" y="841"/>
              </a:cxn>
              <a:cxn ang="0">
                <a:pos x="2" y="845"/>
              </a:cxn>
              <a:cxn ang="0">
                <a:pos x="17" y="834"/>
              </a:cxn>
              <a:cxn ang="0">
                <a:pos x="35" y="832"/>
              </a:cxn>
              <a:cxn ang="0">
                <a:pos x="48" y="832"/>
              </a:cxn>
              <a:cxn ang="0">
                <a:pos x="69" y="830"/>
              </a:cxn>
              <a:cxn ang="0">
                <a:pos x="109" y="822"/>
              </a:cxn>
              <a:cxn ang="0">
                <a:pos x="136" y="828"/>
              </a:cxn>
              <a:cxn ang="0">
                <a:pos x="157" y="841"/>
              </a:cxn>
              <a:cxn ang="0">
                <a:pos x="172" y="860"/>
              </a:cxn>
              <a:cxn ang="0">
                <a:pos x="187" y="876"/>
              </a:cxn>
              <a:cxn ang="0">
                <a:pos x="214" y="883"/>
              </a:cxn>
              <a:cxn ang="0">
                <a:pos x="225" y="897"/>
              </a:cxn>
              <a:cxn ang="0">
                <a:pos x="227" y="917"/>
              </a:cxn>
              <a:cxn ang="0">
                <a:pos x="241" y="938"/>
              </a:cxn>
              <a:cxn ang="0">
                <a:pos x="260" y="963"/>
              </a:cxn>
              <a:cxn ang="0">
                <a:pos x="275" y="988"/>
              </a:cxn>
            </a:cxnLst>
            <a:rect l="0" t="0" r="r" b="b"/>
            <a:pathLst>
              <a:path w="945" h="1000">
                <a:moveTo>
                  <a:pt x="281" y="1000"/>
                </a:moveTo>
                <a:lnTo>
                  <a:pt x="281" y="1000"/>
                </a:lnTo>
                <a:lnTo>
                  <a:pt x="286" y="1000"/>
                </a:lnTo>
                <a:lnTo>
                  <a:pt x="292" y="1000"/>
                </a:lnTo>
                <a:lnTo>
                  <a:pt x="300" y="998"/>
                </a:lnTo>
                <a:lnTo>
                  <a:pt x="307" y="996"/>
                </a:lnTo>
                <a:lnTo>
                  <a:pt x="315" y="994"/>
                </a:lnTo>
                <a:lnTo>
                  <a:pt x="321" y="990"/>
                </a:lnTo>
                <a:lnTo>
                  <a:pt x="325" y="986"/>
                </a:lnTo>
                <a:lnTo>
                  <a:pt x="328" y="980"/>
                </a:lnTo>
                <a:lnTo>
                  <a:pt x="328" y="980"/>
                </a:lnTo>
                <a:lnTo>
                  <a:pt x="330" y="973"/>
                </a:lnTo>
                <a:lnTo>
                  <a:pt x="330" y="963"/>
                </a:lnTo>
                <a:lnTo>
                  <a:pt x="332" y="956"/>
                </a:lnTo>
                <a:lnTo>
                  <a:pt x="336" y="946"/>
                </a:lnTo>
                <a:lnTo>
                  <a:pt x="338" y="940"/>
                </a:lnTo>
                <a:lnTo>
                  <a:pt x="344" y="935"/>
                </a:lnTo>
                <a:lnTo>
                  <a:pt x="351" y="931"/>
                </a:lnTo>
                <a:lnTo>
                  <a:pt x="361" y="929"/>
                </a:lnTo>
                <a:lnTo>
                  <a:pt x="361" y="929"/>
                </a:lnTo>
                <a:lnTo>
                  <a:pt x="368" y="931"/>
                </a:lnTo>
                <a:lnTo>
                  <a:pt x="374" y="935"/>
                </a:lnTo>
                <a:lnTo>
                  <a:pt x="378" y="938"/>
                </a:lnTo>
                <a:lnTo>
                  <a:pt x="384" y="946"/>
                </a:lnTo>
                <a:lnTo>
                  <a:pt x="388" y="952"/>
                </a:lnTo>
                <a:lnTo>
                  <a:pt x="391" y="958"/>
                </a:lnTo>
                <a:lnTo>
                  <a:pt x="397" y="963"/>
                </a:lnTo>
                <a:lnTo>
                  <a:pt x="403" y="969"/>
                </a:lnTo>
                <a:lnTo>
                  <a:pt x="403" y="969"/>
                </a:lnTo>
                <a:lnTo>
                  <a:pt x="405" y="965"/>
                </a:lnTo>
                <a:lnTo>
                  <a:pt x="407" y="963"/>
                </a:lnTo>
                <a:lnTo>
                  <a:pt x="410" y="959"/>
                </a:lnTo>
                <a:lnTo>
                  <a:pt x="412" y="958"/>
                </a:lnTo>
                <a:lnTo>
                  <a:pt x="416" y="954"/>
                </a:lnTo>
                <a:lnTo>
                  <a:pt x="420" y="952"/>
                </a:lnTo>
                <a:lnTo>
                  <a:pt x="424" y="952"/>
                </a:lnTo>
                <a:lnTo>
                  <a:pt x="428" y="950"/>
                </a:lnTo>
                <a:lnTo>
                  <a:pt x="428" y="950"/>
                </a:lnTo>
                <a:lnTo>
                  <a:pt x="435" y="952"/>
                </a:lnTo>
                <a:lnTo>
                  <a:pt x="441" y="952"/>
                </a:lnTo>
                <a:lnTo>
                  <a:pt x="445" y="954"/>
                </a:lnTo>
                <a:lnTo>
                  <a:pt x="450" y="956"/>
                </a:lnTo>
                <a:lnTo>
                  <a:pt x="456" y="956"/>
                </a:lnTo>
                <a:lnTo>
                  <a:pt x="462" y="958"/>
                </a:lnTo>
                <a:lnTo>
                  <a:pt x="468" y="959"/>
                </a:lnTo>
                <a:lnTo>
                  <a:pt x="475" y="959"/>
                </a:lnTo>
                <a:lnTo>
                  <a:pt x="475" y="959"/>
                </a:lnTo>
                <a:lnTo>
                  <a:pt x="483" y="959"/>
                </a:lnTo>
                <a:lnTo>
                  <a:pt x="491" y="959"/>
                </a:lnTo>
                <a:lnTo>
                  <a:pt x="496" y="959"/>
                </a:lnTo>
                <a:lnTo>
                  <a:pt x="502" y="958"/>
                </a:lnTo>
                <a:lnTo>
                  <a:pt x="508" y="956"/>
                </a:lnTo>
                <a:lnTo>
                  <a:pt x="512" y="952"/>
                </a:lnTo>
                <a:lnTo>
                  <a:pt x="515" y="946"/>
                </a:lnTo>
                <a:lnTo>
                  <a:pt x="517" y="938"/>
                </a:lnTo>
                <a:lnTo>
                  <a:pt x="517" y="938"/>
                </a:lnTo>
                <a:lnTo>
                  <a:pt x="519" y="938"/>
                </a:lnTo>
                <a:lnTo>
                  <a:pt x="519" y="940"/>
                </a:lnTo>
                <a:lnTo>
                  <a:pt x="521" y="942"/>
                </a:lnTo>
                <a:lnTo>
                  <a:pt x="523" y="944"/>
                </a:lnTo>
                <a:lnTo>
                  <a:pt x="525" y="946"/>
                </a:lnTo>
                <a:lnTo>
                  <a:pt x="527" y="946"/>
                </a:lnTo>
                <a:lnTo>
                  <a:pt x="527" y="950"/>
                </a:lnTo>
                <a:lnTo>
                  <a:pt x="529" y="950"/>
                </a:lnTo>
                <a:lnTo>
                  <a:pt x="809" y="965"/>
                </a:lnTo>
                <a:lnTo>
                  <a:pt x="828" y="900"/>
                </a:lnTo>
                <a:lnTo>
                  <a:pt x="805" y="879"/>
                </a:lnTo>
                <a:lnTo>
                  <a:pt x="815" y="200"/>
                </a:lnTo>
                <a:lnTo>
                  <a:pt x="945" y="200"/>
                </a:lnTo>
                <a:lnTo>
                  <a:pt x="702" y="0"/>
                </a:lnTo>
                <a:lnTo>
                  <a:pt x="681" y="109"/>
                </a:lnTo>
                <a:lnTo>
                  <a:pt x="449" y="93"/>
                </a:lnTo>
                <a:lnTo>
                  <a:pt x="410" y="292"/>
                </a:lnTo>
                <a:lnTo>
                  <a:pt x="410" y="292"/>
                </a:lnTo>
                <a:lnTo>
                  <a:pt x="405" y="294"/>
                </a:lnTo>
                <a:lnTo>
                  <a:pt x="399" y="296"/>
                </a:lnTo>
                <a:lnTo>
                  <a:pt x="391" y="297"/>
                </a:lnTo>
                <a:lnTo>
                  <a:pt x="388" y="301"/>
                </a:lnTo>
                <a:lnTo>
                  <a:pt x="382" y="303"/>
                </a:lnTo>
                <a:lnTo>
                  <a:pt x="376" y="305"/>
                </a:lnTo>
                <a:lnTo>
                  <a:pt x="370" y="309"/>
                </a:lnTo>
                <a:lnTo>
                  <a:pt x="367" y="311"/>
                </a:lnTo>
                <a:lnTo>
                  <a:pt x="361" y="313"/>
                </a:lnTo>
                <a:lnTo>
                  <a:pt x="357" y="317"/>
                </a:lnTo>
                <a:lnTo>
                  <a:pt x="351" y="318"/>
                </a:lnTo>
                <a:lnTo>
                  <a:pt x="347" y="320"/>
                </a:lnTo>
                <a:lnTo>
                  <a:pt x="342" y="324"/>
                </a:lnTo>
                <a:lnTo>
                  <a:pt x="338" y="328"/>
                </a:lnTo>
                <a:lnTo>
                  <a:pt x="332" y="330"/>
                </a:lnTo>
                <a:lnTo>
                  <a:pt x="328" y="334"/>
                </a:lnTo>
                <a:lnTo>
                  <a:pt x="313" y="460"/>
                </a:lnTo>
                <a:lnTo>
                  <a:pt x="27" y="437"/>
                </a:lnTo>
                <a:lnTo>
                  <a:pt x="27" y="437"/>
                </a:lnTo>
                <a:lnTo>
                  <a:pt x="23" y="439"/>
                </a:lnTo>
                <a:lnTo>
                  <a:pt x="21" y="442"/>
                </a:lnTo>
                <a:lnTo>
                  <a:pt x="19" y="444"/>
                </a:lnTo>
                <a:lnTo>
                  <a:pt x="16" y="446"/>
                </a:lnTo>
                <a:lnTo>
                  <a:pt x="14" y="450"/>
                </a:lnTo>
                <a:lnTo>
                  <a:pt x="12" y="454"/>
                </a:lnTo>
                <a:lnTo>
                  <a:pt x="10" y="458"/>
                </a:lnTo>
                <a:lnTo>
                  <a:pt x="10" y="462"/>
                </a:lnTo>
                <a:lnTo>
                  <a:pt x="10" y="462"/>
                </a:lnTo>
                <a:lnTo>
                  <a:pt x="10" y="460"/>
                </a:lnTo>
                <a:lnTo>
                  <a:pt x="14" y="458"/>
                </a:lnTo>
                <a:lnTo>
                  <a:pt x="16" y="456"/>
                </a:lnTo>
                <a:lnTo>
                  <a:pt x="17" y="454"/>
                </a:lnTo>
                <a:lnTo>
                  <a:pt x="19" y="452"/>
                </a:lnTo>
                <a:lnTo>
                  <a:pt x="23" y="450"/>
                </a:lnTo>
                <a:lnTo>
                  <a:pt x="27" y="448"/>
                </a:lnTo>
                <a:lnTo>
                  <a:pt x="31" y="448"/>
                </a:lnTo>
                <a:lnTo>
                  <a:pt x="31" y="448"/>
                </a:lnTo>
                <a:lnTo>
                  <a:pt x="35" y="452"/>
                </a:lnTo>
                <a:lnTo>
                  <a:pt x="38" y="460"/>
                </a:lnTo>
                <a:lnTo>
                  <a:pt x="44" y="469"/>
                </a:lnTo>
                <a:lnTo>
                  <a:pt x="52" y="479"/>
                </a:lnTo>
                <a:lnTo>
                  <a:pt x="58" y="490"/>
                </a:lnTo>
                <a:lnTo>
                  <a:pt x="63" y="498"/>
                </a:lnTo>
                <a:lnTo>
                  <a:pt x="67" y="505"/>
                </a:lnTo>
                <a:lnTo>
                  <a:pt x="67" y="509"/>
                </a:lnTo>
                <a:lnTo>
                  <a:pt x="67" y="509"/>
                </a:lnTo>
                <a:lnTo>
                  <a:pt x="67" y="517"/>
                </a:lnTo>
                <a:lnTo>
                  <a:pt x="67" y="523"/>
                </a:lnTo>
                <a:lnTo>
                  <a:pt x="65" y="526"/>
                </a:lnTo>
                <a:lnTo>
                  <a:pt x="63" y="532"/>
                </a:lnTo>
                <a:lnTo>
                  <a:pt x="59" y="536"/>
                </a:lnTo>
                <a:lnTo>
                  <a:pt x="58" y="542"/>
                </a:lnTo>
                <a:lnTo>
                  <a:pt x="56" y="545"/>
                </a:lnTo>
                <a:lnTo>
                  <a:pt x="52" y="549"/>
                </a:lnTo>
                <a:lnTo>
                  <a:pt x="48" y="555"/>
                </a:lnTo>
                <a:lnTo>
                  <a:pt x="46" y="559"/>
                </a:lnTo>
                <a:lnTo>
                  <a:pt x="44" y="563"/>
                </a:lnTo>
                <a:lnTo>
                  <a:pt x="40" y="566"/>
                </a:lnTo>
                <a:lnTo>
                  <a:pt x="38" y="572"/>
                </a:lnTo>
                <a:lnTo>
                  <a:pt x="37" y="578"/>
                </a:lnTo>
                <a:lnTo>
                  <a:pt x="37" y="584"/>
                </a:lnTo>
                <a:lnTo>
                  <a:pt x="37" y="589"/>
                </a:lnTo>
                <a:lnTo>
                  <a:pt x="37" y="589"/>
                </a:lnTo>
                <a:lnTo>
                  <a:pt x="37" y="595"/>
                </a:lnTo>
                <a:lnTo>
                  <a:pt x="38" y="601"/>
                </a:lnTo>
                <a:lnTo>
                  <a:pt x="40" y="607"/>
                </a:lnTo>
                <a:lnTo>
                  <a:pt x="44" y="610"/>
                </a:lnTo>
                <a:lnTo>
                  <a:pt x="46" y="616"/>
                </a:lnTo>
                <a:lnTo>
                  <a:pt x="48" y="620"/>
                </a:lnTo>
                <a:lnTo>
                  <a:pt x="50" y="626"/>
                </a:lnTo>
                <a:lnTo>
                  <a:pt x="50" y="631"/>
                </a:lnTo>
                <a:lnTo>
                  <a:pt x="50" y="631"/>
                </a:lnTo>
                <a:lnTo>
                  <a:pt x="50" y="637"/>
                </a:lnTo>
                <a:lnTo>
                  <a:pt x="50" y="641"/>
                </a:lnTo>
                <a:lnTo>
                  <a:pt x="50" y="647"/>
                </a:lnTo>
                <a:lnTo>
                  <a:pt x="50" y="650"/>
                </a:lnTo>
                <a:lnTo>
                  <a:pt x="50" y="654"/>
                </a:lnTo>
                <a:lnTo>
                  <a:pt x="50" y="658"/>
                </a:lnTo>
                <a:lnTo>
                  <a:pt x="50" y="664"/>
                </a:lnTo>
                <a:lnTo>
                  <a:pt x="50" y="668"/>
                </a:lnTo>
                <a:lnTo>
                  <a:pt x="50" y="673"/>
                </a:lnTo>
                <a:lnTo>
                  <a:pt x="50" y="677"/>
                </a:lnTo>
                <a:lnTo>
                  <a:pt x="50" y="683"/>
                </a:lnTo>
                <a:lnTo>
                  <a:pt x="50" y="690"/>
                </a:lnTo>
                <a:lnTo>
                  <a:pt x="50" y="698"/>
                </a:lnTo>
                <a:lnTo>
                  <a:pt x="50" y="706"/>
                </a:lnTo>
                <a:lnTo>
                  <a:pt x="50" y="715"/>
                </a:lnTo>
                <a:lnTo>
                  <a:pt x="50" y="727"/>
                </a:lnTo>
                <a:lnTo>
                  <a:pt x="50" y="727"/>
                </a:lnTo>
                <a:lnTo>
                  <a:pt x="48" y="731"/>
                </a:lnTo>
                <a:lnTo>
                  <a:pt x="44" y="734"/>
                </a:lnTo>
                <a:lnTo>
                  <a:pt x="38" y="740"/>
                </a:lnTo>
                <a:lnTo>
                  <a:pt x="35" y="748"/>
                </a:lnTo>
                <a:lnTo>
                  <a:pt x="31" y="753"/>
                </a:lnTo>
                <a:lnTo>
                  <a:pt x="27" y="761"/>
                </a:lnTo>
                <a:lnTo>
                  <a:pt x="23" y="769"/>
                </a:lnTo>
                <a:lnTo>
                  <a:pt x="19" y="776"/>
                </a:lnTo>
                <a:lnTo>
                  <a:pt x="16" y="784"/>
                </a:lnTo>
                <a:lnTo>
                  <a:pt x="14" y="792"/>
                </a:lnTo>
                <a:lnTo>
                  <a:pt x="10" y="799"/>
                </a:lnTo>
                <a:lnTo>
                  <a:pt x="8" y="807"/>
                </a:lnTo>
                <a:lnTo>
                  <a:pt x="6" y="813"/>
                </a:lnTo>
                <a:lnTo>
                  <a:pt x="4" y="820"/>
                </a:lnTo>
                <a:lnTo>
                  <a:pt x="4" y="824"/>
                </a:lnTo>
                <a:lnTo>
                  <a:pt x="2" y="830"/>
                </a:lnTo>
                <a:lnTo>
                  <a:pt x="2" y="830"/>
                </a:lnTo>
                <a:lnTo>
                  <a:pt x="2" y="832"/>
                </a:lnTo>
                <a:lnTo>
                  <a:pt x="2" y="834"/>
                </a:lnTo>
                <a:lnTo>
                  <a:pt x="2" y="835"/>
                </a:lnTo>
                <a:lnTo>
                  <a:pt x="2" y="837"/>
                </a:lnTo>
                <a:lnTo>
                  <a:pt x="2" y="841"/>
                </a:lnTo>
                <a:lnTo>
                  <a:pt x="0" y="843"/>
                </a:lnTo>
                <a:lnTo>
                  <a:pt x="0" y="845"/>
                </a:lnTo>
                <a:lnTo>
                  <a:pt x="0" y="847"/>
                </a:lnTo>
                <a:lnTo>
                  <a:pt x="0" y="847"/>
                </a:lnTo>
                <a:lnTo>
                  <a:pt x="2" y="845"/>
                </a:lnTo>
                <a:lnTo>
                  <a:pt x="6" y="841"/>
                </a:lnTo>
                <a:lnTo>
                  <a:pt x="8" y="839"/>
                </a:lnTo>
                <a:lnTo>
                  <a:pt x="12" y="837"/>
                </a:lnTo>
                <a:lnTo>
                  <a:pt x="14" y="835"/>
                </a:lnTo>
                <a:lnTo>
                  <a:pt x="17" y="834"/>
                </a:lnTo>
                <a:lnTo>
                  <a:pt x="21" y="834"/>
                </a:lnTo>
                <a:lnTo>
                  <a:pt x="27" y="832"/>
                </a:lnTo>
                <a:lnTo>
                  <a:pt x="27" y="832"/>
                </a:lnTo>
                <a:lnTo>
                  <a:pt x="31" y="832"/>
                </a:lnTo>
                <a:lnTo>
                  <a:pt x="35" y="832"/>
                </a:lnTo>
                <a:lnTo>
                  <a:pt x="37" y="832"/>
                </a:lnTo>
                <a:lnTo>
                  <a:pt x="38" y="832"/>
                </a:lnTo>
                <a:lnTo>
                  <a:pt x="42" y="832"/>
                </a:lnTo>
                <a:lnTo>
                  <a:pt x="44" y="832"/>
                </a:lnTo>
                <a:lnTo>
                  <a:pt x="48" y="832"/>
                </a:lnTo>
                <a:lnTo>
                  <a:pt x="50" y="832"/>
                </a:lnTo>
                <a:lnTo>
                  <a:pt x="50" y="832"/>
                </a:lnTo>
                <a:lnTo>
                  <a:pt x="56" y="832"/>
                </a:lnTo>
                <a:lnTo>
                  <a:pt x="63" y="832"/>
                </a:lnTo>
                <a:lnTo>
                  <a:pt x="69" y="830"/>
                </a:lnTo>
                <a:lnTo>
                  <a:pt x="79" y="828"/>
                </a:lnTo>
                <a:lnTo>
                  <a:pt x="86" y="826"/>
                </a:lnTo>
                <a:lnTo>
                  <a:pt x="94" y="824"/>
                </a:lnTo>
                <a:lnTo>
                  <a:pt x="101" y="824"/>
                </a:lnTo>
                <a:lnTo>
                  <a:pt x="109" y="822"/>
                </a:lnTo>
                <a:lnTo>
                  <a:pt x="109" y="822"/>
                </a:lnTo>
                <a:lnTo>
                  <a:pt x="117" y="824"/>
                </a:lnTo>
                <a:lnTo>
                  <a:pt x="124" y="824"/>
                </a:lnTo>
                <a:lnTo>
                  <a:pt x="130" y="826"/>
                </a:lnTo>
                <a:lnTo>
                  <a:pt x="136" y="828"/>
                </a:lnTo>
                <a:lnTo>
                  <a:pt x="141" y="830"/>
                </a:lnTo>
                <a:lnTo>
                  <a:pt x="145" y="832"/>
                </a:lnTo>
                <a:lnTo>
                  <a:pt x="149" y="835"/>
                </a:lnTo>
                <a:lnTo>
                  <a:pt x="153" y="837"/>
                </a:lnTo>
                <a:lnTo>
                  <a:pt x="157" y="841"/>
                </a:lnTo>
                <a:lnTo>
                  <a:pt x="159" y="845"/>
                </a:lnTo>
                <a:lnTo>
                  <a:pt x="162" y="849"/>
                </a:lnTo>
                <a:lnTo>
                  <a:pt x="164" y="853"/>
                </a:lnTo>
                <a:lnTo>
                  <a:pt x="168" y="856"/>
                </a:lnTo>
                <a:lnTo>
                  <a:pt x="172" y="860"/>
                </a:lnTo>
                <a:lnTo>
                  <a:pt x="174" y="864"/>
                </a:lnTo>
                <a:lnTo>
                  <a:pt x="178" y="868"/>
                </a:lnTo>
                <a:lnTo>
                  <a:pt x="178" y="868"/>
                </a:lnTo>
                <a:lnTo>
                  <a:pt x="183" y="872"/>
                </a:lnTo>
                <a:lnTo>
                  <a:pt x="187" y="876"/>
                </a:lnTo>
                <a:lnTo>
                  <a:pt x="193" y="877"/>
                </a:lnTo>
                <a:lnTo>
                  <a:pt x="197" y="877"/>
                </a:lnTo>
                <a:lnTo>
                  <a:pt x="203" y="879"/>
                </a:lnTo>
                <a:lnTo>
                  <a:pt x="208" y="881"/>
                </a:lnTo>
                <a:lnTo>
                  <a:pt x="214" y="883"/>
                </a:lnTo>
                <a:lnTo>
                  <a:pt x="220" y="885"/>
                </a:lnTo>
                <a:lnTo>
                  <a:pt x="220" y="885"/>
                </a:lnTo>
                <a:lnTo>
                  <a:pt x="222" y="889"/>
                </a:lnTo>
                <a:lnTo>
                  <a:pt x="225" y="893"/>
                </a:lnTo>
                <a:lnTo>
                  <a:pt x="225" y="897"/>
                </a:lnTo>
                <a:lnTo>
                  <a:pt x="225" y="900"/>
                </a:lnTo>
                <a:lnTo>
                  <a:pt x="225" y="904"/>
                </a:lnTo>
                <a:lnTo>
                  <a:pt x="225" y="908"/>
                </a:lnTo>
                <a:lnTo>
                  <a:pt x="225" y="914"/>
                </a:lnTo>
                <a:lnTo>
                  <a:pt x="227" y="917"/>
                </a:lnTo>
                <a:lnTo>
                  <a:pt x="227" y="917"/>
                </a:lnTo>
                <a:lnTo>
                  <a:pt x="231" y="923"/>
                </a:lnTo>
                <a:lnTo>
                  <a:pt x="235" y="929"/>
                </a:lnTo>
                <a:lnTo>
                  <a:pt x="239" y="935"/>
                </a:lnTo>
                <a:lnTo>
                  <a:pt x="241" y="938"/>
                </a:lnTo>
                <a:lnTo>
                  <a:pt x="244" y="944"/>
                </a:lnTo>
                <a:lnTo>
                  <a:pt x="248" y="950"/>
                </a:lnTo>
                <a:lnTo>
                  <a:pt x="252" y="954"/>
                </a:lnTo>
                <a:lnTo>
                  <a:pt x="256" y="959"/>
                </a:lnTo>
                <a:lnTo>
                  <a:pt x="260" y="963"/>
                </a:lnTo>
                <a:lnTo>
                  <a:pt x="262" y="969"/>
                </a:lnTo>
                <a:lnTo>
                  <a:pt x="265" y="973"/>
                </a:lnTo>
                <a:lnTo>
                  <a:pt x="269" y="979"/>
                </a:lnTo>
                <a:lnTo>
                  <a:pt x="273" y="982"/>
                </a:lnTo>
                <a:lnTo>
                  <a:pt x="275" y="988"/>
                </a:lnTo>
                <a:lnTo>
                  <a:pt x="279" y="994"/>
                </a:lnTo>
                <a:lnTo>
                  <a:pt x="281" y="1000"/>
                </a:lnTo>
                <a:lnTo>
                  <a:pt x="281" y="100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0" name="Freeform 42"/>
          <p:cNvSpPr>
            <a:spLocks/>
          </p:cNvSpPr>
          <p:nvPr>
            <p:custDataLst>
              <p:tags r:id="rId42"/>
            </p:custDataLst>
          </p:nvPr>
        </p:nvSpPr>
        <p:spPr bwMode="gray">
          <a:xfrm>
            <a:off x="1504839" y="1702360"/>
            <a:ext cx="623638" cy="461627"/>
          </a:xfrm>
          <a:custGeom>
            <a:avLst/>
            <a:gdLst/>
            <a:ahLst/>
            <a:cxnLst>
              <a:cxn ang="0">
                <a:pos x="0" y="492"/>
              </a:cxn>
              <a:cxn ang="0">
                <a:pos x="15" y="458"/>
              </a:cxn>
              <a:cxn ang="0">
                <a:pos x="32" y="421"/>
              </a:cxn>
              <a:cxn ang="0">
                <a:pos x="55" y="385"/>
              </a:cxn>
              <a:cxn ang="0">
                <a:pos x="78" y="351"/>
              </a:cxn>
              <a:cxn ang="0">
                <a:pos x="103" y="316"/>
              </a:cxn>
              <a:cxn ang="0">
                <a:pos x="130" y="288"/>
              </a:cxn>
              <a:cxn ang="0">
                <a:pos x="158" y="261"/>
              </a:cxn>
              <a:cxn ang="0">
                <a:pos x="187" y="242"/>
              </a:cxn>
              <a:cxn ang="0">
                <a:pos x="191" y="238"/>
              </a:cxn>
              <a:cxn ang="0">
                <a:pos x="198" y="227"/>
              </a:cxn>
              <a:cxn ang="0">
                <a:pos x="202" y="215"/>
              </a:cxn>
              <a:cxn ang="0">
                <a:pos x="206" y="202"/>
              </a:cxn>
              <a:cxn ang="0">
                <a:pos x="206" y="196"/>
              </a:cxn>
              <a:cxn ang="0">
                <a:pos x="208" y="189"/>
              </a:cxn>
              <a:cxn ang="0">
                <a:pos x="214" y="177"/>
              </a:cxn>
              <a:cxn ang="0">
                <a:pos x="219" y="166"/>
              </a:cxn>
              <a:cxn ang="0">
                <a:pos x="227" y="152"/>
              </a:cxn>
              <a:cxn ang="0">
                <a:pos x="235" y="139"/>
              </a:cxn>
              <a:cxn ang="0">
                <a:pos x="242" y="126"/>
              </a:cxn>
              <a:cxn ang="0">
                <a:pos x="250" y="116"/>
              </a:cxn>
              <a:cxn ang="0">
                <a:pos x="258" y="108"/>
              </a:cxn>
              <a:cxn ang="0">
                <a:pos x="261" y="105"/>
              </a:cxn>
              <a:cxn ang="0">
                <a:pos x="275" y="99"/>
              </a:cxn>
              <a:cxn ang="0">
                <a:pos x="288" y="95"/>
              </a:cxn>
              <a:cxn ang="0">
                <a:pos x="301" y="91"/>
              </a:cxn>
              <a:cxn ang="0">
                <a:pos x="307" y="87"/>
              </a:cxn>
              <a:cxn ang="0">
                <a:pos x="317" y="78"/>
              </a:cxn>
              <a:cxn ang="0">
                <a:pos x="326" y="68"/>
              </a:cxn>
              <a:cxn ang="0">
                <a:pos x="334" y="57"/>
              </a:cxn>
              <a:cxn ang="0">
                <a:pos x="341" y="44"/>
              </a:cxn>
              <a:cxn ang="0">
                <a:pos x="349" y="32"/>
              </a:cxn>
              <a:cxn ang="0">
                <a:pos x="355" y="21"/>
              </a:cxn>
              <a:cxn ang="0">
                <a:pos x="362" y="9"/>
              </a:cxn>
              <a:cxn ang="0">
                <a:pos x="370" y="0"/>
              </a:cxn>
              <a:cxn ang="0">
                <a:pos x="675" y="59"/>
              </a:cxn>
              <a:cxn ang="0">
                <a:pos x="422" y="152"/>
              </a:cxn>
              <a:cxn ang="0">
                <a:pos x="383" y="351"/>
              </a:cxn>
              <a:cxn ang="0">
                <a:pos x="372" y="355"/>
              </a:cxn>
              <a:cxn ang="0">
                <a:pos x="361" y="360"/>
              </a:cxn>
              <a:cxn ang="0">
                <a:pos x="349" y="364"/>
              </a:cxn>
              <a:cxn ang="0">
                <a:pos x="340" y="370"/>
              </a:cxn>
              <a:cxn ang="0">
                <a:pos x="330" y="376"/>
              </a:cxn>
              <a:cxn ang="0">
                <a:pos x="320" y="379"/>
              </a:cxn>
              <a:cxn ang="0">
                <a:pos x="311" y="387"/>
              </a:cxn>
              <a:cxn ang="0">
                <a:pos x="301" y="393"/>
              </a:cxn>
              <a:cxn ang="0">
                <a:pos x="0" y="496"/>
              </a:cxn>
            </a:cxnLst>
            <a:rect l="0" t="0" r="r" b="b"/>
            <a:pathLst>
              <a:path w="679" h="519">
                <a:moveTo>
                  <a:pt x="0" y="492"/>
                </a:moveTo>
                <a:lnTo>
                  <a:pt x="0" y="492"/>
                </a:lnTo>
                <a:lnTo>
                  <a:pt x="6" y="475"/>
                </a:lnTo>
                <a:lnTo>
                  <a:pt x="15" y="458"/>
                </a:lnTo>
                <a:lnTo>
                  <a:pt x="23" y="440"/>
                </a:lnTo>
                <a:lnTo>
                  <a:pt x="32" y="421"/>
                </a:lnTo>
                <a:lnTo>
                  <a:pt x="44" y="404"/>
                </a:lnTo>
                <a:lnTo>
                  <a:pt x="55" y="385"/>
                </a:lnTo>
                <a:lnTo>
                  <a:pt x="65" y="368"/>
                </a:lnTo>
                <a:lnTo>
                  <a:pt x="78" y="351"/>
                </a:lnTo>
                <a:lnTo>
                  <a:pt x="90" y="334"/>
                </a:lnTo>
                <a:lnTo>
                  <a:pt x="103" y="316"/>
                </a:lnTo>
                <a:lnTo>
                  <a:pt x="116" y="301"/>
                </a:lnTo>
                <a:lnTo>
                  <a:pt x="130" y="288"/>
                </a:lnTo>
                <a:lnTo>
                  <a:pt x="145" y="274"/>
                </a:lnTo>
                <a:lnTo>
                  <a:pt x="158" y="261"/>
                </a:lnTo>
                <a:lnTo>
                  <a:pt x="172" y="252"/>
                </a:lnTo>
                <a:lnTo>
                  <a:pt x="187" y="242"/>
                </a:lnTo>
                <a:lnTo>
                  <a:pt x="187" y="242"/>
                </a:lnTo>
                <a:lnTo>
                  <a:pt x="191" y="238"/>
                </a:lnTo>
                <a:lnTo>
                  <a:pt x="195" y="232"/>
                </a:lnTo>
                <a:lnTo>
                  <a:pt x="198" y="227"/>
                </a:lnTo>
                <a:lnTo>
                  <a:pt x="200" y="221"/>
                </a:lnTo>
                <a:lnTo>
                  <a:pt x="202" y="215"/>
                </a:lnTo>
                <a:lnTo>
                  <a:pt x="204" y="210"/>
                </a:lnTo>
                <a:lnTo>
                  <a:pt x="206" y="202"/>
                </a:lnTo>
                <a:lnTo>
                  <a:pt x="206" y="196"/>
                </a:lnTo>
                <a:lnTo>
                  <a:pt x="206" y="196"/>
                </a:lnTo>
                <a:lnTo>
                  <a:pt x="206" y="192"/>
                </a:lnTo>
                <a:lnTo>
                  <a:pt x="208" y="189"/>
                </a:lnTo>
                <a:lnTo>
                  <a:pt x="212" y="183"/>
                </a:lnTo>
                <a:lnTo>
                  <a:pt x="214" y="177"/>
                </a:lnTo>
                <a:lnTo>
                  <a:pt x="216" y="171"/>
                </a:lnTo>
                <a:lnTo>
                  <a:pt x="219" y="166"/>
                </a:lnTo>
                <a:lnTo>
                  <a:pt x="223" y="158"/>
                </a:lnTo>
                <a:lnTo>
                  <a:pt x="227" y="152"/>
                </a:lnTo>
                <a:lnTo>
                  <a:pt x="231" y="145"/>
                </a:lnTo>
                <a:lnTo>
                  <a:pt x="235" y="139"/>
                </a:lnTo>
                <a:lnTo>
                  <a:pt x="238" y="131"/>
                </a:lnTo>
                <a:lnTo>
                  <a:pt x="242" y="126"/>
                </a:lnTo>
                <a:lnTo>
                  <a:pt x="248" y="120"/>
                </a:lnTo>
                <a:lnTo>
                  <a:pt x="250" y="116"/>
                </a:lnTo>
                <a:lnTo>
                  <a:pt x="254" y="112"/>
                </a:lnTo>
                <a:lnTo>
                  <a:pt x="258" y="108"/>
                </a:lnTo>
                <a:lnTo>
                  <a:pt x="258" y="108"/>
                </a:lnTo>
                <a:lnTo>
                  <a:pt x="261" y="105"/>
                </a:lnTo>
                <a:lnTo>
                  <a:pt x="269" y="101"/>
                </a:lnTo>
                <a:lnTo>
                  <a:pt x="275" y="99"/>
                </a:lnTo>
                <a:lnTo>
                  <a:pt x="280" y="97"/>
                </a:lnTo>
                <a:lnTo>
                  <a:pt x="288" y="95"/>
                </a:lnTo>
                <a:lnTo>
                  <a:pt x="296" y="93"/>
                </a:lnTo>
                <a:lnTo>
                  <a:pt x="301" y="91"/>
                </a:lnTo>
                <a:lnTo>
                  <a:pt x="307" y="87"/>
                </a:lnTo>
                <a:lnTo>
                  <a:pt x="307" y="87"/>
                </a:lnTo>
                <a:lnTo>
                  <a:pt x="313" y="84"/>
                </a:lnTo>
                <a:lnTo>
                  <a:pt x="317" y="78"/>
                </a:lnTo>
                <a:lnTo>
                  <a:pt x="320" y="74"/>
                </a:lnTo>
                <a:lnTo>
                  <a:pt x="326" y="68"/>
                </a:lnTo>
                <a:lnTo>
                  <a:pt x="330" y="63"/>
                </a:lnTo>
                <a:lnTo>
                  <a:pt x="334" y="57"/>
                </a:lnTo>
                <a:lnTo>
                  <a:pt x="338" y="51"/>
                </a:lnTo>
                <a:lnTo>
                  <a:pt x="341" y="44"/>
                </a:lnTo>
                <a:lnTo>
                  <a:pt x="345" y="38"/>
                </a:lnTo>
                <a:lnTo>
                  <a:pt x="349" y="32"/>
                </a:lnTo>
                <a:lnTo>
                  <a:pt x="351" y="26"/>
                </a:lnTo>
                <a:lnTo>
                  <a:pt x="355" y="21"/>
                </a:lnTo>
                <a:lnTo>
                  <a:pt x="359" y="15"/>
                </a:lnTo>
                <a:lnTo>
                  <a:pt x="362" y="9"/>
                </a:lnTo>
                <a:lnTo>
                  <a:pt x="366" y="4"/>
                </a:lnTo>
                <a:lnTo>
                  <a:pt x="370" y="0"/>
                </a:lnTo>
                <a:lnTo>
                  <a:pt x="679" y="25"/>
                </a:lnTo>
                <a:lnTo>
                  <a:pt x="675" y="59"/>
                </a:lnTo>
                <a:lnTo>
                  <a:pt x="654" y="168"/>
                </a:lnTo>
                <a:lnTo>
                  <a:pt x="422" y="152"/>
                </a:lnTo>
                <a:lnTo>
                  <a:pt x="383" y="351"/>
                </a:lnTo>
                <a:lnTo>
                  <a:pt x="383" y="351"/>
                </a:lnTo>
                <a:lnTo>
                  <a:pt x="378" y="353"/>
                </a:lnTo>
                <a:lnTo>
                  <a:pt x="372" y="355"/>
                </a:lnTo>
                <a:lnTo>
                  <a:pt x="364" y="356"/>
                </a:lnTo>
                <a:lnTo>
                  <a:pt x="361" y="360"/>
                </a:lnTo>
                <a:lnTo>
                  <a:pt x="355" y="362"/>
                </a:lnTo>
                <a:lnTo>
                  <a:pt x="349" y="364"/>
                </a:lnTo>
                <a:lnTo>
                  <a:pt x="343" y="368"/>
                </a:lnTo>
                <a:lnTo>
                  <a:pt x="340" y="370"/>
                </a:lnTo>
                <a:lnTo>
                  <a:pt x="334" y="372"/>
                </a:lnTo>
                <a:lnTo>
                  <a:pt x="330" y="376"/>
                </a:lnTo>
                <a:lnTo>
                  <a:pt x="324" y="377"/>
                </a:lnTo>
                <a:lnTo>
                  <a:pt x="320" y="379"/>
                </a:lnTo>
                <a:lnTo>
                  <a:pt x="315" y="383"/>
                </a:lnTo>
                <a:lnTo>
                  <a:pt x="311" y="387"/>
                </a:lnTo>
                <a:lnTo>
                  <a:pt x="305" y="389"/>
                </a:lnTo>
                <a:lnTo>
                  <a:pt x="301" y="393"/>
                </a:lnTo>
                <a:lnTo>
                  <a:pt x="286" y="519"/>
                </a:lnTo>
                <a:lnTo>
                  <a:pt x="0" y="496"/>
                </a:lnTo>
                <a:lnTo>
                  <a:pt x="0" y="492"/>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1" name="Freeform 43"/>
          <p:cNvSpPr>
            <a:spLocks/>
          </p:cNvSpPr>
          <p:nvPr>
            <p:custDataLst>
              <p:tags r:id="rId43"/>
            </p:custDataLst>
          </p:nvPr>
        </p:nvSpPr>
        <p:spPr bwMode="gray">
          <a:xfrm>
            <a:off x="1844999" y="1167838"/>
            <a:ext cx="811540" cy="557192"/>
          </a:xfrm>
          <a:custGeom>
            <a:avLst/>
            <a:gdLst/>
            <a:ahLst/>
            <a:cxnLst>
              <a:cxn ang="0">
                <a:pos x="305" y="587"/>
              </a:cxn>
              <a:cxn ang="0">
                <a:pos x="309" y="557"/>
              </a:cxn>
              <a:cxn ang="0">
                <a:pos x="336" y="538"/>
              </a:cxn>
              <a:cxn ang="0">
                <a:pos x="374" y="511"/>
              </a:cxn>
              <a:cxn ang="0">
                <a:pos x="418" y="492"/>
              </a:cxn>
              <a:cxn ang="0">
                <a:pos x="443" y="488"/>
              </a:cxn>
              <a:cxn ang="0">
                <a:pos x="452" y="488"/>
              </a:cxn>
              <a:cxn ang="0">
                <a:pos x="464" y="488"/>
              </a:cxn>
              <a:cxn ang="0">
                <a:pos x="506" y="481"/>
              </a:cxn>
              <a:cxn ang="0">
                <a:pos x="555" y="467"/>
              </a:cxn>
              <a:cxn ang="0">
                <a:pos x="578" y="461"/>
              </a:cxn>
              <a:cxn ang="0">
                <a:pos x="595" y="437"/>
              </a:cxn>
              <a:cxn ang="0">
                <a:pos x="614" y="423"/>
              </a:cxn>
              <a:cxn ang="0">
                <a:pos x="639" y="418"/>
              </a:cxn>
              <a:cxn ang="0">
                <a:pos x="662" y="412"/>
              </a:cxn>
              <a:cxn ang="0">
                <a:pos x="681" y="397"/>
              </a:cxn>
              <a:cxn ang="0">
                <a:pos x="683" y="374"/>
              </a:cxn>
              <a:cxn ang="0">
                <a:pos x="744" y="334"/>
              </a:cxn>
              <a:cxn ang="0">
                <a:pos x="776" y="311"/>
              </a:cxn>
              <a:cxn ang="0">
                <a:pos x="797" y="313"/>
              </a:cxn>
              <a:cxn ang="0">
                <a:pos x="815" y="315"/>
              </a:cxn>
              <a:cxn ang="0">
                <a:pos x="834" y="318"/>
              </a:cxn>
              <a:cxn ang="0">
                <a:pos x="855" y="318"/>
              </a:cxn>
              <a:cxn ang="0">
                <a:pos x="870" y="313"/>
              </a:cxn>
              <a:cxn ang="0">
                <a:pos x="881" y="294"/>
              </a:cxn>
              <a:cxn ang="0">
                <a:pos x="872" y="269"/>
              </a:cxn>
              <a:cxn ang="0">
                <a:pos x="858" y="225"/>
              </a:cxn>
              <a:cxn ang="0">
                <a:pos x="858" y="206"/>
              </a:cxn>
              <a:cxn ang="0">
                <a:pos x="864" y="185"/>
              </a:cxn>
              <a:cxn ang="0">
                <a:pos x="866" y="162"/>
              </a:cxn>
              <a:cxn ang="0">
                <a:pos x="866" y="131"/>
              </a:cxn>
              <a:cxn ang="0">
                <a:pos x="845" y="97"/>
              </a:cxn>
              <a:cxn ang="0">
                <a:pos x="818" y="74"/>
              </a:cxn>
              <a:cxn ang="0">
                <a:pos x="799" y="57"/>
              </a:cxn>
              <a:cxn ang="0">
                <a:pos x="788" y="63"/>
              </a:cxn>
              <a:cxn ang="0">
                <a:pos x="773" y="65"/>
              </a:cxn>
              <a:cxn ang="0">
                <a:pos x="748" y="53"/>
              </a:cxn>
              <a:cxn ang="0">
                <a:pos x="717" y="42"/>
              </a:cxn>
              <a:cxn ang="0">
                <a:pos x="679" y="38"/>
              </a:cxn>
              <a:cxn ang="0">
                <a:pos x="654" y="28"/>
              </a:cxn>
              <a:cxn ang="0">
                <a:pos x="641" y="0"/>
              </a:cxn>
              <a:cxn ang="0">
                <a:pos x="599" y="32"/>
              </a:cxn>
              <a:cxn ang="0">
                <a:pos x="572" y="78"/>
              </a:cxn>
              <a:cxn ang="0">
                <a:pos x="532" y="130"/>
              </a:cxn>
              <a:cxn ang="0">
                <a:pos x="477" y="158"/>
              </a:cxn>
              <a:cxn ang="0">
                <a:pos x="403" y="183"/>
              </a:cxn>
              <a:cxn ang="0">
                <a:pos x="376" y="202"/>
              </a:cxn>
              <a:cxn ang="0">
                <a:pos x="351" y="236"/>
              </a:cxn>
              <a:cxn ang="0">
                <a:pos x="330" y="275"/>
              </a:cxn>
              <a:cxn ang="0">
                <a:pos x="313" y="295"/>
              </a:cxn>
              <a:cxn ang="0">
                <a:pos x="294" y="324"/>
              </a:cxn>
              <a:cxn ang="0">
                <a:pos x="277" y="355"/>
              </a:cxn>
              <a:cxn ang="0">
                <a:pos x="271" y="383"/>
              </a:cxn>
              <a:cxn ang="0">
                <a:pos x="277" y="395"/>
              </a:cxn>
              <a:cxn ang="0">
                <a:pos x="279" y="418"/>
              </a:cxn>
              <a:cxn ang="0">
                <a:pos x="248" y="456"/>
              </a:cxn>
              <a:cxn ang="0">
                <a:pos x="214" y="481"/>
              </a:cxn>
              <a:cxn ang="0">
                <a:pos x="164" y="511"/>
              </a:cxn>
              <a:cxn ang="0">
                <a:pos x="113" y="536"/>
              </a:cxn>
              <a:cxn ang="0">
                <a:pos x="71" y="547"/>
              </a:cxn>
              <a:cxn ang="0">
                <a:pos x="40" y="555"/>
              </a:cxn>
              <a:cxn ang="0">
                <a:pos x="17" y="570"/>
              </a:cxn>
              <a:cxn ang="0">
                <a:pos x="2" y="595"/>
              </a:cxn>
            </a:cxnLst>
            <a:rect l="0" t="0" r="r" b="b"/>
            <a:pathLst>
              <a:path w="885" h="626">
                <a:moveTo>
                  <a:pt x="303" y="626"/>
                </a:moveTo>
                <a:lnTo>
                  <a:pt x="303" y="601"/>
                </a:lnTo>
                <a:lnTo>
                  <a:pt x="303" y="601"/>
                </a:lnTo>
                <a:lnTo>
                  <a:pt x="305" y="595"/>
                </a:lnTo>
                <a:lnTo>
                  <a:pt x="305" y="587"/>
                </a:lnTo>
                <a:lnTo>
                  <a:pt x="305" y="582"/>
                </a:lnTo>
                <a:lnTo>
                  <a:pt x="305" y="576"/>
                </a:lnTo>
                <a:lnTo>
                  <a:pt x="305" y="568"/>
                </a:lnTo>
                <a:lnTo>
                  <a:pt x="307" y="563"/>
                </a:lnTo>
                <a:lnTo>
                  <a:pt x="309" y="557"/>
                </a:lnTo>
                <a:lnTo>
                  <a:pt x="315" y="553"/>
                </a:lnTo>
                <a:lnTo>
                  <a:pt x="315" y="553"/>
                </a:lnTo>
                <a:lnTo>
                  <a:pt x="321" y="547"/>
                </a:lnTo>
                <a:lnTo>
                  <a:pt x="328" y="544"/>
                </a:lnTo>
                <a:lnTo>
                  <a:pt x="336" y="538"/>
                </a:lnTo>
                <a:lnTo>
                  <a:pt x="343" y="532"/>
                </a:lnTo>
                <a:lnTo>
                  <a:pt x="351" y="526"/>
                </a:lnTo>
                <a:lnTo>
                  <a:pt x="359" y="523"/>
                </a:lnTo>
                <a:lnTo>
                  <a:pt x="366" y="517"/>
                </a:lnTo>
                <a:lnTo>
                  <a:pt x="374" y="511"/>
                </a:lnTo>
                <a:lnTo>
                  <a:pt x="384" y="507"/>
                </a:lnTo>
                <a:lnTo>
                  <a:pt x="393" y="502"/>
                </a:lnTo>
                <a:lnTo>
                  <a:pt x="401" y="498"/>
                </a:lnTo>
                <a:lnTo>
                  <a:pt x="408" y="496"/>
                </a:lnTo>
                <a:lnTo>
                  <a:pt x="418" y="492"/>
                </a:lnTo>
                <a:lnTo>
                  <a:pt x="425" y="490"/>
                </a:lnTo>
                <a:lnTo>
                  <a:pt x="435" y="488"/>
                </a:lnTo>
                <a:lnTo>
                  <a:pt x="443" y="488"/>
                </a:lnTo>
                <a:lnTo>
                  <a:pt x="443" y="488"/>
                </a:lnTo>
                <a:lnTo>
                  <a:pt x="443" y="488"/>
                </a:lnTo>
                <a:lnTo>
                  <a:pt x="445" y="488"/>
                </a:lnTo>
                <a:lnTo>
                  <a:pt x="446" y="488"/>
                </a:lnTo>
                <a:lnTo>
                  <a:pt x="448" y="488"/>
                </a:lnTo>
                <a:lnTo>
                  <a:pt x="450" y="488"/>
                </a:lnTo>
                <a:lnTo>
                  <a:pt x="452" y="488"/>
                </a:lnTo>
                <a:lnTo>
                  <a:pt x="456" y="488"/>
                </a:lnTo>
                <a:lnTo>
                  <a:pt x="460" y="488"/>
                </a:lnTo>
                <a:lnTo>
                  <a:pt x="460" y="488"/>
                </a:lnTo>
                <a:lnTo>
                  <a:pt x="462" y="488"/>
                </a:lnTo>
                <a:lnTo>
                  <a:pt x="464" y="488"/>
                </a:lnTo>
                <a:lnTo>
                  <a:pt x="469" y="486"/>
                </a:lnTo>
                <a:lnTo>
                  <a:pt x="477" y="484"/>
                </a:lnTo>
                <a:lnTo>
                  <a:pt x="485" y="482"/>
                </a:lnTo>
                <a:lnTo>
                  <a:pt x="494" y="482"/>
                </a:lnTo>
                <a:lnTo>
                  <a:pt x="506" y="481"/>
                </a:lnTo>
                <a:lnTo>
                  <a:pt x="515" y="477"/>
                </a:lnTo>
                <a:lnTo>
                  <a:pt x="527" y="475"/>
                </a:lnTo>
                <a:lnTo>
                  <a:pt x="536" y="473"/>
                </a:lnTo>
                <a:lnTo>
                  <a:pt x="546" y="471"/>
                </a:lnTo>
                <a:lnTo>
                  <a:pt x="555" y="467"/>
                </a:lnTo>
                <a:lnTo>
                  <a:pt x="563" y="465"/>
                </a:lnTo>
                <a:lnTo>
                  <a:pt x="570" y="463"/>
                </a:lnTo>
                <a:lnTo>
                  <a:pt x="576" y="463"/>
                </a:lnTo>
                <a:lnTo>
                  <a:pt x="578" y="461"/>
                </a:lnTo>
                <a:lnTo>
                  <a:pt x="578" y="461"/>
                </a:lnTo>
                <a:lnTo>
                  <a:pt x="582" y="458"/>
                </a:lnTo>
                <a:lnTo>
                  <a:pt x="586" y="452"/>
                </a:lnTo>
                <a:lnTo>
                  <a:pt x="590" y="446"/>
                </a:lnTo>
                <a:lnTo>
                  <a:pt x="593" y="442"/>
                </a:lnTo>
                <a:lnTo>
                  <a:pt x="595" y="437"/>
                </a:lnTo>
                <a:lnTo>
                  <a:pt x="599" y="433"/>
                </a:lnTo>
                <a:lnTo>
                  <a:pt x="605" y="429"/>
                </a:lnTo>
                <a:lnTo>
                  <a:pt x="610" y="425"/>
                </a:lnTo>
                <a:lnTo>
                  <a:pt x="610" y="425"/>
                </a:lnTo>
                <a:lnTo>
                  <a:pt x="614" y="423"/>
                </a:lnTo>
                <a:lnTo>
                  <a:pt x="620" y="423"/>
                </a:lnTo>
                <a:lnTo>
                  <a:pt x="624" y="421"/>
                </a:lnTo>
                <a:lnTo>
                  <a:pt x="630" y="419"/>
                </a:lnTo>
                <a:lnTo>
                  <a:pt x="633" y="419"/>
                </a:lnTo>
                <a:lnTo>
                  <a:pt x="639" y="418"/>
                </a:lnTo>
                <a:lnTo>
                  <a:pt x="643" y="418"/>
                </a:lnTo>
                <a:lnTo>
                  <a:pt x="649" y="416"/>
                </a:lnTo>
                <a:lnTo>
                  <a:pt x="652" y="414"/>
                </a:lnTo>
                <a:lnTo>
                  <a:pt x="656" y="414"/>
                </a:lnTo>
                <a:lnTo>
                  <a:pt x="662" y="412"/>
                </a:lnTo>
                <a:lnTo>
                  <a:pt x="666" y="410"/>
                </a:lnTo>
                <a:lnTo>
                  <a:pt x="670" y="406"/>
                </a:lnTo>
                <a:lnTo>
                  <a:pt x="673" y="404"/>
                </a:lnTo>
                <a:lnTo>
                  <a:pt x="677" y="400"/>
                </a:lnTo>
                <a:lnTo>
                  <a:pt x="681" y="397"/>
                </a:lnTo>
                <a:lnTo>
                  <a:pt x="681" y="397"/>
                </a:lnTo>
                <a:lnTo>
                  <a:pt x="683" y="391"/>
                </a:lnTo>
                <a:lnTo>
                  <a:pt x="685" y="385"/>
                </a:lnTo>
                <a:lnTo>
                  <a:pt x="685" y="379"/>
                </a:lnTo>
                <a:lnTo>
                  <a:pt x="683" y="374"/>
                </a:lnTo>
                <a:lnTo>
                  <a:pt x="683" y="368"/>
                </a:lnTo>
                <a:lnTo>
                  <a:pt x="683" y="362"/>
                </a:lnTo>
                <a:lnTo>
                  <a:pt x="683" y="355"/>
                </a:lnTo>
                <a:lnTo>
                  <a:pt x="687" y="349"/>
                </a:lnTo>
                <a:lnTo>
                  <a:pt x="744" y="334"/>
                </a:lnTo>
                <a:lnTo>
                  <a:pt x="763" y="313"/>
                </a:lnTo>
                <a:lnTo>
                  <a:pt x="763" y="313"/>
                </a:lnTo>
                <a:lnTo>
                  <a:pt x="769" y="313"/>
                </a:lnTo>
                <a:lnTo>
                  <a:pt x="773" y="311"/>
                </a:lnTo>
                <a:lnTo>
                  <a:pt x="776" y="311"/>
                </a:lnTo>
                <a:lnTo>
                  <a:pt x="780" y="313"/>
                </a:lnTo>
                <a:lnTo>
                  <a:pt x="784" y="313"/>
                </a:lnTo>
                <a:lnTo>
                  <a:pt x="788" y="313"/>
                </a:lnTo>
                <a:lnTo>
                  <a:pt x="792" y="313"/>
                </a:lnTo>
                <a:lnTo>
                  <a:pt x="797" y="313"/>
                </a:lnTo>
                <a:lnTo>
                  <a:pt x="797" y="313"/>
                </a:lnTo>
                <a:lnTo>
                  <a:pt x="801" y="313"/>
                </a:lnTo>
                <a:lnTo>
                  <a:pt x="807" y="315"/>
                </a:lnTo>
                <a:lnTo>
                  <a:pt x="811" y="315"/>
                </a:lnTo>
                <a:lnTo>
                  <a:pt x="815" y="315"/>
                </a:lnTo>
                <a:lnTo>
                  <a:pt x="818" y="316"/>
                </a:lnTo>
                <a:lnTo>
                  <a:pt x="822" y="316"/>
                </a:lnTo>
                <a:lnTo>
                  <a:pt x="826" y="318"/>
                </a:lnTo>
                <a:lnTo>
                  <a:pt x="830" y="318"/>
                </a:lnTo>
                <a:lnTo>
                  <a:pt x="834" y="318"/>
                </a:lnTo>
                <a:lnTo>
                  <a:pt x="837" y="318"/>
                </a:lnTo>
                <a:lnTo>
                  <a:pt x="841" y="320"/>
                </a:lnTo>
                <a:lnTo>
                  <a:pt x="847" y="320"/>
                </a:lnTo>
                <a:lnTo>
                  <a:pt x="851" y="320"/>
                </a:lnTo>
                <a:lnTo>
                  <a:pt x="855" y="318"/>
                </a:lnTo>
                <a:lnTo>
                  <a:pt x="858" y="318"/>
                </a:lnTo>
                <a:lnTo>
                  <a:pt x="864" y="316"/>
                </a:lnTo>
                <a:lnTo>
                  <a:pt x="864" y="316"/>
                </a:lnTo>
                <a:lnTo>
                  <a:pt x="866" y="315"/>
                </a:lnTo>
                <a:lnTo>
                  <a:pt x="870" y="313"/>
                </a:lnTo>
                <a:lnTo>
                  <a:pt x="872" y="309"/>
                </a:lnTo>
                <a:lnTo>
                  <a:pt x="874" y="305"/>
                </a:lnTo>
                <a:lnTo>
                  <a:pt x="876" y="301"/>
                </a:lnTo>
                <a:lnTo>
                  <a:pt x="878" y="297"/>
                </a:lnTo>
                <a:lnTo>
                  <a:pt x="881" y="294"/>
                </a:lnTo>
                <a:lnTo>
                  <a:pt x="885" y="290"/>
                </a:lnTo>
                <a:lnTo>
                  <a:pt x="885" y="290"/>
                </a:lnTo>
                <a:lnTo>
                  <a:pt x="881" y="284"/>
                </a:lnTo>
                <a:lnTo>
                  <a:pt x="878" y="276"/>
                </a:lnTo>
                <a:lnTo>
                  <a:pt x="872" y="269"/>
                </a:lnTo>
                <a:lnTo>
                  <a:pt x="868" y="261"/>
                </a:lnTo>
                <a:lnTo>
                  <a:pt x="864" y="254"/>
                </a:lnTo>
                <a:lnTo>
                  <a:pt x="860" y="246"/>
                </a:lnTo>
                <a:lnTo>
                  <a:pt x="858" y="234"/>
                </a:lnTo>
                <a:lnTo>
                  <a:pt x="858" y="225"/>
                </a:lnTo>
                <a:lnTo>
                  <a:pt x="858" y="225"/>
                </a:lnTo>
                <a:lnTo>
                  <a:pt x="858" y="219"/>
                </a:lnTo>
                <a:lnTo>
                  <a:pt x="858" y="215"/>
                </a:lnTo>
                <a:lnTo>
                  <a:pt x="858" y="212"/>
                </a:lnTo>
                <a:lnTo>
                  <a:pt x="858" y="206"/>
                </a:lnTo>
                <a:lnTo>
                  <a:pt x="860" y="202"/>
                </a:lnTo>
                <a:lnTo>
                  <a:pt x="860" y="198"/>
                </a:lnTo>
                <a:lnTo>
                  <a:pt x="862" y="192"/>
                </a:lnTo>
                <a:lnTo>
                  <a:pt x="862" y="189"/>
                </a:lnTo>
                <a:lnTo>
                  <a:pt x="864" y="185"/>
                </a:lnTo>
                <a:lnTo>
                  <a:pt x="864" y="181"/>
                </a:lnTo>
                <a:lnTo>
                  <a:pt x="866" y="175"/>
                </a:lnTo>
                <a:lnTo>
                  <a:pt x="866" y="171"/>
                </a:lnTo>
                <a:lnTo>
                  <a:pt x="866" y="166"/>
                </a:lnTo>
                <a:lnTo>
                  <a:pt x="866" y="162"/>
                </a:lnTo>
                <a:lnTo>
                  <a:pt x="868" y="156"/>
                </a:lnTo>
                <a:lnTo>
                  <a:pt x="868" y="152"/>
                </a:lnTo>
                <a:lnTo>
                  <a:pt x="868" y="152"/>
                </a:lnTo>
                <a:lnTo>
                  <a:pt x="866" y="141"/>
                </a:lnTo>
                <a:lnTo>
                  <a:pt x="866" y="131"/>
                </a:lnTo>
                <a:lnTo>
                  <a:pt x="862" y="122"/>
                </a:lnTo>
                <a:lnTo>
                  <a:pt x="858" y="116"/>
                </a:lnTo>
                <a:lnTo>
                  <a:pt x="855" y="109"/>
                </a:lnTo>
                <a:lnTo>
                  <a:pt x="851" y="103"/>
                </a:lnTo>
                <a:lnTo>
                  <a:pt x="845" y="97"/>
                </a:lnTo>
                <a:lnTo>
                  <a:pt x="841" y="91"/>
                </a:lnTo>
                <a:lnTo>
                  <a:pt x="836" y="88"/>
                </a:lnTo>
                <a:lnTo>
                  <a:pt x="830" y="84"/>
                </a:lnTo>
                <a:lnTo>
                  <a:pt x="824" y="78"/>
                </a:lnTo>
                <a:lnTo>
                  <a:pt x="818" y="74"/>
                </a:lnTo>
                <a:lnTo>
                  <a:pt x="813" y="70"/>
                </a:lnTo>
                <a:lnTo>
                  <a:pt x="807" y="67"/>
                </a:lnTo>
                <a:lnTo>
                  <a:pt x="803" y="63"/>
                </a:lnTo>
                <a:lnTo>
                  <a:pt x="799" y="57"/>
                </a:lnTo>
                <a:lnTo>
                  <a:pt x="799" y="57"/>
                </a:lnTo>
                <a:lnTo>
                  <a:pt x="797" y="59"/>
                </a:lnTo>
                <a:lnTo>
                  <a:pt x="794" y="59"/>
                </a:lnTo>
                <a:lnTo>
                  <a:pt x="792" y="61"/>
                </a:lnTo>
                <a:lnTo>
                  <a:pt x="790" y="63"/>
                </a:lnTo>
                <a:lnTo>
                  <a:pt x="788" y="63"/>
                </a:lnTo>
                <a:lnTo>
                  <a:pt x="784" y="65"/>
                </a:lnTo>
                <a:lnTo>
                  <a:pt x="782" y="65"/>
                </a:lnTo>
                <a:lnTo>
                  <a:pt x="778" y="65"/>
                </a:lnTo>
                <a:lnTo>
                  <a:pt x="778" y="65"/>
                </a:lnTo>
                <a:lnTo>
                  <a:pt x="773" y="65"/>
                </a:lnTo>
                <a:lnTo>
                  <a:pt x="767" y="63"/>
                </a:lnTo>
                <a:lnTo>
                  <a:pt x="763" y="61"/>
                </a:lnTo>
                <a:lnTo>
                  <a:pt x="757" y="59"/>
                </a:lnTo>
                <a:lnTo>
                  <a:pt x="754" y="55"/>
                </a:lnTo>
                <a:lnTo>
                  <a:pt x="748" y="53"/>
                </a:lnTo>
                <a:lnTo>
                  <a:pt x="744" y="49"/>
                </a:lnTo>
                <a:lnTo>
                  <a:pt x="738" y="47"/>
                </a:lnTo>
                <a:lnTo>
                  <a:pt x="738" y="47"/>
                </a:lnTo>
                <a:lnTo>
                  <a:pt x="727" y="44"/>
                </a:lnTo>
                <a:lnTo>
                  <a:pt x="717" y="42"/>
                </a:lnTo>
                <a:lnTo>
                  <a:pt x="710" y="40"/>
                </a:lnTo>
                <a:lnTo>
                  <a:pt x="700" y="40"/>
                </a:lnTo>
                <a:lnTo>
                  <a:pt x="693" y="38"/>
                </a:lnTo>
                <a:lnTo>
                  <a:pt x="687" y="38"/>
                </a:lnTo>
                <a:lnTo>
                  <a:pt x="679" y="38"/>
                </a:lnTo>
                <a:lnTo>
                  <a:pt x="673" y="38"/>
                </a:lnTo>
                <a:lnTo>
                  <a:pt x="668" y="36"/>
                </a:lnTo>
                <a:lnTo>
                  <a:pt x="664" y="34"/>
                </a:lnTo>
                <a:lnTo>
                  <a:pt x="658" y="32"/>
                </a:lnTo>
                <a:lnTo>
                  <a:pt x="654" y="28"/>
                </a:lnTo>
                <a:lnTo>
                  <a:pt x="651" y="25"/>
                </a:lnTo>
                <a:lnTo>
                  <a:pt x="647" y="19"/>
                </a:lnTo>
                <a:lnTo>
                  <a:pt x="643" y="9"/>
                </a:lnTo>
                <a:lnTo>
                  <a:pt x="641" y="0"/>
                </a:lnTo>
                <a:lnTo>
                  <a:pt x="641" y="0"/>
                </a:lnTo>
                <a:lnTo>
                  <a:pt x="630" y="4"/>
                </a:lnTo>
                <a:lnTo>
                  <a:pt x="620" y="9"/>
                </a:lnTo>
                <a:lnTo>
                  <a:pt x="610" y="17"/>
                </a:lnTo>
                <a:lnTo>
                  <a:pt x="605" y="25"/>
                </a:lnTo>
                <a:lnTo>
                  <a:pt x="599" y="32"/>
                </a:lnTo>
                <a:lnTo>
                  <a:pt x="591" y="42"/>
                </a:lnTo>
                <a:lnTo>
                  <a:pt x="586" y="53"/>
                </a:lnTo>
                <a:lnTo>
                  <a:pt x="578" y="63"/>
                </a:lnTo>
                <a:lnTo>
                  <a:pt x="578" y="63"/>
                </a:lnTo>
                <a:lnTo>
                  <a:pt x="572" y="78"/>
                </a:lnTo>
                <a:lnTo>
                  <a:pt x="567" y="91"/>
                </a:lnTo>
                <a:lnTo>
                  <a:pt x="559" y="103"/>
                </a:lnTo>
                <a:lnTo>
                  <a:pt x="551" y="112"/>
                </a:lnTo>
                <a:lnTo>
                  <a:pt x="542" y="122"/>
                </a:lnTo>
                <a:lnTo>
                  <a:pt x="532" y="130"/>
                </a:lnTo>
                <a:lnTo>
                  <a:pt x="523" y="135"/>
                </a:lnTo>
                <a:lnTo>
                  <a:pt x="513" y="143"/>
                </a:lnTo>
                <a:lnTo>
                  <a:pt x="502" y="149"/>
                </a:lnTo>
                <a:lnTo>
                  <a:pt x="488" y="152"/>
                </a:lnTo>
                <a:lnTo>
                  <a:pt x="477" y="158"/>
                </a:lnTo>
                <a:lnTo>
                  <a:pt x="462" y="162"/>
                </a:lnTo>
                <a:lnTo>
                  <a:pt x="448" y="168"/>
                </a:lnTo>
                <a:lnTo>
                  <a:pt x="433" y="171"/>
                </a:lnTo>
                <a:lnTo>
                  <a:pt x="420" y="177"/>
                </a:lnTo>
                <a:lnTo>
                  <a:pt x="403" y="183"/>
                </a:lnTo>
                <a:lnTo>
                  <a:pt x="403" y="183"/>
                </a:lnTo>
                <a:lnTo>
                  <a:pt x="395" y="187"/>
                </a:lnTo>
                <a:lnTo>
                  <a:pt x="389" y="191"/>
                </a:lnTo>
                <a:lnTo>
                  <a:pt x="382" y="196"/>
                </a:lnTo>
                <a:lnTo>
                  <a:pt x="376" y="202"/>
                </a:lnTo>
                <a:lnTo>
                  <a:pt x="370" y="208"/>
                </a:lnTo>
                <a:lnTo>
                  <a:pt x="364" y="215"/>
                </a:lnTo>
                <a:lnTo>
                  <a:pt x="361" y="221"/>
                </a:lnTo>
                <a:lnTo>
                  <a:pt x="355" y="229"/>
                </a:lnTo>
                <a:lnTo>
                  <a:pt x="351" y="236"/>
                </a:lnTo>
                <a:lnTo>
                  <a:pt x="347" y="244"/>
                </a:lnTo>
                <a:lnTo>
                  <a:pt x="343" y="252"/>
                </a:lnTo>
                <a:lnTo>
                  <a:pt x="340" y="259"/>
                </a:lnTo>
                <a:lnTo>
                  <a:pt x="334" y="267"/>
                </a:lnTo>
                <a:lnTo>
                  <a:pt x="330" y="275"/>
                </a:lnTo>
                <a:lnTo>
                  <a:pt x="326" y="280"/>
                </a:lnTo>
                <a:lnTo>
                  <a:pt x="321" y="288"/>
                </a:lnTo>
                <a:lnTo>
                  <a:pt x="321" y="288"/>
                </a:lnTo>
                <a:lnTo>
                  <a:pt x="317" y="292"/>
                </a:lnTo>
                <a:lnTo>
                  <a:pt x="313" y="295"/>
                </a:lnTo>
                <a:lnTo>
                  <a:pt x="309" y="301"/>
                </a:lnTo>
                <a:lnTo>
                  <a:pt x="305" y="307"/>
                </a:lnTo>
                <a:lnTo>
                  <a:pt x="301" y="311"/>
                </a:lnTo>
                <a:lnTo>
                  <a:pt x="298" y="318"/>
                </a:lnTo>
                <a:lnTo>
                  <a:pt x="294" y="324"/>
                </a:lnTo>
                <a:lnTo>
                  <a:pt x="290" y="330"/>
                </a:lnTo>
                <a:lnTo>
                  <a:pt x="286" y="336"/>
                </a:lnTo>
                <a:lnTo>
                  <a:pt x="282" y="343"/>
                </a:lnTo>
                <a:lnTo>
                  <a:pt x="279" y="349"/>
                </a:lnTo>
                <a:lnTo>
                  <a:pt x="277" y="355"/>
                </a:lnTo>
                <a:lnTo>
                  <a:pt x="275" y="362"/>
                </a:lnTo>
                <a:lnTo>
                  <a:pt x="273" y="370"/>
                </a:lnTo>
                <a:lnTo>
                  <a:pt x="271" y="378"/>
                </a:lnTo>
                <a:lnTo>
                  <a:pt x="271" y="383"/>
                </a:lnTo>
                <a:lnTo>
                  <a:pt x="271" y="383"/>
                </a:lnTo>
                <a:lnTo>
                  <a:pt x="271" y="387"/>
                </a:lnTo>
                <a:lnTo>
                  <a:pt x="273" y="389"/>
                </a:lnTo>
                <a:lnTo>
                  <a:pt x="273" y="391"/>
                </a:lnTo>
                <a:lnTo>
                  <a:pt x="275" y="393"/>
                </a:lnTo>
                <a:lnTo>
                  <a:pt x="277" y="395"/>
                </a:lnTo>
                <a:lnTo>
                  <a:pt x="279" y="399"/>
                </a:lnTo>
                <a:lnTo>
                  <a:pt x="279" y="402"/>
                </a:lnTo>
                <a:lnTo>
                  <a:pt x="279" y="406"/>
                </a:lnTo>
                <a:lnTo>
                  <a:pt x="279" y="406"/>
                </a:lnTo>
                <a:lnTo>
                  <a:pt x="279" y="418"/>
                </a:lnTo>
                <a:lnTo>
                  <a:pt x="275" y="427"/>
                </a:lnTo>
                <a:lnTo>
                  <a:pt x="269" y="437"/>
                </a:lnTo>
                <a:lnTo>
                  <a:pt x="263" y="442"/>
                </a:lnTo>
                <a:lnTo>
                  <a:pt x="256" y="450"/>
                </a:lnTo>
                <a:lnTo>
                  <a:pt x="248" y="456"/>
                </a:lnTo>
                <a:lnTo>
                  <a:pt x="240" y="461"/>
                </a:lnTo>
                <a:lnTo>
                  <a:pt x="231" y="467"/>
                </a:lnTo>
                <a:lnTo>
                  <a:pt x="231" y="467"/>
                </a:lnTo>
                <a:lnTo>
                  <a:pt x="223" y="473"/>
                </a:lnTo>
                <a:lnTo>
                  <a:pt x="214" y="481"/>
                </a:lnTo>
                <a:lnTo>
                  <a:pt x="204" y="486"/>
                </a:lnTo>
                <a:lnTo>
                  <a:pt x="195" y="492"/>
                </a:lnTo>
                <a:lnTo>
                  <a:pt x="185" y="500"/>
                </a:lnTo>
                <a:lnTo>
                  <a:pt x="176" y="505"/>
                </a:lnTo>
                <a:lnTo>
                  <a:pt x="164" y="511"/>
                </a:lnTo>
                <a:lnTo>
                  <a:pt x="155" y="517"/>
                </a:lnTo>
                <a:lnTo>
                  <a:pt x="143" y="523"/>
                </a:lnTo>
                <a:lnTo>
                  <a:pt x="134" y="526"/>
                </a:lnTo>
                <a:lnTo>
                  <a:pt x="122" y="532"/>
                </a:lnTo>
                <a:lnTo>
                  <a:pt x="113" y="536"/>
                </a:lnTo>
                <a:lnTo>
                  <a:pt x="101" y="540"/>
                </a:lnTo>
                <a:lnTo>
                  <a:pt x="92" y="542"/>
                </a:lnTo>
                <a:lnTo>
                  <a:pt x="80" y="545"/>
                </a:lnTo>
                <a:lnTo>
                  <a:pt x="71" y="547"/>
                </a:lnTo>
                <a:lnTo>
                  <a:pt x="71" y="547"/>
                </a:lnTo>
                <a:lnTo>
                  <a:pt x="63" y="549"/>
                </a:lnTo>
                <a:lnTo>
                  <a:pt x="57" y="549"/>
                </a:lnTo>
                <a:lnTo>
                  <a:pt x="52" y="551"/>
                </a:lnTo>
                <a:lnTo>
                  <a:pt x="46" y="553"/>
                </a:lnTo>
                <a:lnTo>
                  <a:pt x="40" y="555"/>
                </a:lnTo>
                <a:lnTo>
                  <a:pt x="34" y="557"/>
                </a:lnTo>
                <a:lnTo>
                  <a:pt x="29" y="561"/>
                </a:lnTo>
                <a:lnTo>
                  <a:pt x="25" y="563"/>
                </a:lnTo>
                <a:lnTo>
                  <a:pt x="21" y="566"/>
                </a:lnTo>
                <a:lnTo>
                  <a:pt x="17" y="570"/>
                </a:lnTo>
                <a:lnTo>
                  <a:pt x="13" y="574"/>
                </a:lnTo>
                <a:lnTo>
                  <a:pt x="10" y="578"/>
                </a:lnTo>
                <a:lnTo>
                  <a:pt x="6" y="584"/>
                </a:lnTo>
                <a:lnTo>
                  <a:pt x="4" y="589"/>
                </a:lnTo>
                <a:lnTo>
                  <a:pt x="2" y="595"/>
                </a:lnTo>
                <a:lnTo>
                  <a:pt x="0" y="601"/>
                </a:lnTo>
                <a:lnTo>
                  <a:pt x="309" y="626"/>
                </a:lnTo>
                <a:lnTo>
                  <a:pt x="303" y="626"/>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2" name="Freeform 44"/>
          <p:cNvSpPr>
            <a:spLocks/>
          </p:cNvSpPr>
          <p:nvPr>
            <p:custDataLst>
              <p:tags r:id="rId44"/>
            </p:custDataLst>
          </p:nvPr>
        </p:nvSpPr>
        <p:spPr bwMode="gray">
          <a:xfrm>
            <a:off x="2123612" y="1133829"/>
            <a:ext cx="1352566" cy="1260162"/>
          </a:xfrm>
          <a:custGeom>
            <a:avLst/>
            <a:gdLst/>
            <a:ahLst/>
            <a:cxnLst>
              <a:cxn ang="0">
                <a:pos x="639" y="1230"/>
              </a:cxn>
              <a:cxn ang="0">
                <a:pos x="649" y="1266"/>
              </a:cxn>
              <a:cxn ang="0">
                <a:pos x="670" y="1278"/>
              </a:cxn>
              <a:cxn ang="0">
                <a:pos x="718" y="1318"/>
              </a:cxn>
              <a:cxn ang="0">
                <a:pos x="794" y="1366"/>
              </a:cxn>
              <a:cxn ang="0">
                <a:pos x="786" y="1394"/>
              </a:cxn>
              <a:cxn ang="0">
                <a:pos x="796" y="1411"/>
              </a:cxn>
              <a:cxn ang="0">
                <a:pos x="1469" y="1051"/>
              </a:cxn>
              <a:cxn ang="0">
                <a:pos x="1442" y="1015"/>
              </a:cxn>
              <a:cxn ang="0">
                <a:pos x="1401" y="982"/>
              </a:cxn>
              <a:cxn ang="0">
                <a:pos x="1364" y="978"/>
              </a:cxn>
              <a:cxn ang="0">
                <a:pos x="1347" y="959"/>
              </a:cxn>
              <a:cxn ang="0">
                <a:pos x="1326" y="919"/>
              </a:cxn>
              <a:cxn ang="0">
                <a:pos x="1292" y="854"/>
              </a:cxn>
              <a:cxn ang="0">
                <a:pos x="1324" y="818"/>
              </a:cxn>
              <a:cxn ang="0">
                <a:pos x="1324" y="776"/>
              </a:cxn>
              <a:cxn ang="0">
                <a:pos x="1334" y="736"/>
              </a:cxn>
              <a:cxn ang="0">
                <a:pos x="1334" y="698"/>
              </a:cxn>
              <a:cxn ang="0">
                <a:pos x="1334" y="652"/>
              </a:cxn>
              <a:cxn ang="0">
                <a:pos x="1322" y="585"/>
              </a:cxn>
              <a:cxn ang="0">
                <a:pos x="1294" y="520"/>
              </a:cxn>
              <a:cxn ang="0">
                <a:pos x="1277" y="442"/>
              </a:cxn>
              <a:cxn ang="0">
                <a:pos x="1250" y="381"/>
              </a:cxn>
              <a:cxn ang="0">
                <a:pos x="1198" y="314"/>
              </a:cxn>
              <a:cxn ang="0">
                <a:pos x="1175" y="248"/>
              </a:cxn>
              <a:cxn ang="0">
                <a:pos x="1221" y="190"/>
              </a:cxn>
              <a:cxn ang="0">
                <a:pos x="1248" y="131"/>
              </a:cxn>
              <a:cxn ang="0">
                <a:pos x="1257" y="47"/>
              </a:cxn>
              <a:cxn ang="0">
                <a:pos x="1267" y="11"/>
              </a:cxn>
              <a:cxn ang="0">
                <a:pos x="1223" y="2"/>
              </a:cxn>
              <a:cxn ang="0">
                <a:pos x="1193" y="5"/>
              </a:cxn>
              <a:cxn ang="0">
                <a:pos x="1156" y="13"/>
              </a:cxn>
              <a:cxn ang="0">
                <a:pos x="1124" y="5"/>
              </a:cxn>
              <a:cxn ang="0">
                <a:pos x="1088" y="30"/>
              </a:cxn>
              <a:cxn ang="0">
                <a:pos x="1034" y="28"/>
              </a:cxn>
              <a:cxn ang="0">
                <a:pos x="876" y="17"/>
              </a:cxn>
              <a:cxn ang="0">
                <a:pos x="758" y="38"/>
              </a:cxn>
              <a:cxn ang="0">
                <a:pos x="702" y="61"/>
              </a:cxn>
              <a:cxn ang="0">
                <a:pos x="678" y="68"/>
              </a:cxn>
              <a:cxn ang="0">
                <a:pos x="634" y="76"/>
              </a:cxn>
              <a:cxn ang="0">
                <a:pos x="573" y="114"/>
              </a:cxn>
              <a:cxn ang="0">
                <a:pos x="534" y="118"/>
              </a:cxn>
              <a:cxn ang="0">
                <a:pos x="540" y="131"/>
              </a:cxn>
              <a:cxn ang="0">
                <a:pos x="563" y="175"/>
              </a:cxn>
              <a:cxn ang="0">
                <a:pos x="561" y="219"/>
              </a:cxn>
              <a:cxn ang="0">
                <a:pos x="555" y="257"/>
              </a:cxn>
              <a:cxn ang="0">
                <a:pos x="578" y="322"/>
              </a:cxn>
              <a:cxn ang="0">
                <a:pos x="563" y="353"/>
              </a:cxn>
              <a:cxn ang="0">
                <a:pos x="531" y="356"/>
              </a:cxn>
              <a:cxn ang="0">
                <a:pos x="494" y="351"/>
              </a:cxn>
              <a:cxn ang="0">
                <a:pos x="460" y="351"/>
              </a:cxn>
              <a:cxn ang="0">
                <a:pos x="382" y="423"/>
              </a:cxn>
              <a:cxn ang="0">
                <a:pos x="353" y="452"/>
              </a:cxn>
              <a:cxn ang="0">
                <a:pos x="311" y="461"/>
              </a:cxn>
              <a:cxn ang="0">
                <a:pos x="279" y="496"/>
              </a:cxn>
              <a:cxn ang="0">
                <a:pos x="224" y="513"/>
              </a:cxn>
              <a:cxn ang="0">
                <a:pos x="157" y="526"/>
              </a:cxn>
              <a:cxn ang="0">
                <a:pos x="140" y="526"/>
              </a:cxn>
              <a:cxn ang="0">
                <a:pos x="71" y="549"/>
              </a:cxn>
              <a:cxn ang="0">
                <a:pos x="12" y="591"/>
              </a:cxn>
              <a:cxn ang="0">
                <a:pos x="6" y="664"/>
              </a:cxn>
            </a:cxnLst>
            <a:rect l="0" t="0" r="r" b="b"/>
            <a:pathLst>
              <a:path w="1477" h="1415">
                <a:moveTo>
                  <a:pt x="239" y="898"/>
                </a:moveTo>
                <a:lnTo>
                  <a:pt x="615" y="1213"/>
                </a:lnTo>
                <a:lnTo>
                  <a:pt x="615" y="1213"/>
                </a:lnTo>
                <a:lnTo>
                  <a:pt x="617" y="1219"/>
                </a:lnTo>
                <a:lnTo>
                  <a:pt x="620" y="1223"/>
                </a:lnTo>
                <a:lnTo>
                  <a:pt x="624" y="1224"/>
                </a:lnTo>
                <a:lnTo>
                  <a:pt x="630" y="1226"/>
                </a:lnTo>
                <a:lnTo>
                  <a:pt x="634" y="1228"/>
                </a:lnTo>
                <a:lnTo>
                  <a:pt x="639" y="1230"/>
                </a:lnTo>
                <a:lnTo>
                  <a:pt x="643" y="1232"/>
                </a:lnTo>
                <a:lnTo>
                  <a:pt x="647" y="1238"/>
                </a:lnTo>
                <a:lnTo>
                  <a:pt x="647" y="1238"/>
                </a:lnTo>
                <a:lnTo>
                  <a:pt x="649" y="1243"/>
                </a:lnTo>
                <a:lnTo>
                  <a:pt x="649" y="1247"/>
                </a:lnTo>
                <a:lnTo>
                  <a:pt x="649" y="1253"/>
                </a:lnTo>
                <a:lnTo>
                  <a:pt x="649" y="1257"/>
                </a:lnTo>
                <a:lnTo>
                  <a:pt x="647" y="1261"/>
                </a:lnTo>
                <a:lnTo>
                  <a:pt x="649" y="1266"/>
                </a:lnTo>
                <a:lnTo>
                  <a:pt x="649" y="1270"/>
                </a:lnTo>
                <a:lnTo>
                  <a:pt x="653" y="1272"/>
                </a:lnTo>
                <a:lnTo>
                  <a:pt x="653" y="1272"/>
                </a:lnTo>
                <a:lnTo>
                  <a:pt x="655" y="1274"/>
                </a:lnTo>
                <a:lnTo>
                  <a:pt x="657" y="1276"/>
                </a:lnTo>
                <a:lnTo>
                  <a:pt x="660" y="1276"/>
                </a:lnTo>
                <a:lnTo>
                  <a:pt x="662" y="1278"/>
                </a:lnTo>
                <a:lnTo>
                  <a:pt x="666" y="1278"/>
                </a:lnTo>
                <a:lnTo>
                  <a:pt x="670" y="1278"/>
                </a:lnTo>
                <a:lnTo>
                  <a:pt x="674" y="1280"/>
                </a:lnTo>
                <a:lnTo>
                  <a:pt x="678" y="1280"/>
                </a:lnTo>
                <a:lnTo>
                  <a:pt x="678" y="1280"/>
                </a:lnTo>
                <a:lnTo>
                  <a:pt x="679" y="1289"/>
                </a:lnTo>
                <a:lnTo>
                  <a:pt x="683" y="1297"/>
                </a:lnTo>
                <a:lnTo>
                  <a:pt x="691" y="1305"/>
                </a:lnTo>
                <a:lnTo>
                  <a:pt x="699" y="1310"/>
                </a:lnTo>
                <a:lnTo>
                  <a:pt x="708" y="1314"/>
                </a:lnTo>
                <a:lnTo>
                  <a:pt x="718" y="1318"/>
                </a:lnTo>
                <a:lnTo>
                  <a:pt x="729" y="1322"/>
                </a:lnTo>
                <a:lnTo>
                  <a:pt x="739" y="1324"/>
                </a:lnTo>
                <a:lnTo>
                  <a:pt x="750" y="1327"/>
                </a:lnTo>
                <a:lnTo>
                  <a:pt x="760" y="1331"/>
                </a:lnTo>
                <a:lnTo>
                  <a:pt x="769" y="1335"/>
                </a:lnTo>
                <a:lnTo>
                  <a:pt x="777" y="1341"/>
                </a:lnTo>
                <a:lnTo>
                  <a:pt x="784" y="1347"/>
                </a:lnTo>
                <a:lnTo>
                  <a:pt x="790" y="1356"/>
                </a:lnTo>
                <a:lnTo>
                  <a:pt x="794" y="1366"/>
                </a:lnTo>
                <a:lnTo>
                  <a:pt x="796" y="1379"/>
                </a:lnTo>
                <a:lnTo>
                  <a:pt x="796" y="1379"/>
                </a:lnTo>
                <a:lnTo>
                  <a:pt x="794" y="1383"/>
                </a:lnTo>
                <a:lnTo>
                  <a:pt x="794" y="1385"/>
                </a:lnTo>
                <a:lnTo>
                  <a:pt x="792" y="1387"/>
                </a:lnTo>
                <a:lnTo>
                  <a:pt x="790" y="1387"/>
                </a:lnTo>
                <a:lnTo>
                  <a:pt x="788" y="1388"/>
                </a:lnTo>
                <a:lnTo>
                  <a:pt x="786" y="1390"/>
                </a:lnTo>
                <a:lnTo>
                  <a:pt x="786" y="1394"/>
                </a:lnTo>
                <a:lnTo>
                  <a:pt x="786" y="1396"/>
                </a:lnTo>
                <a:lnTo>
                  <a:pt x="786" y="1396"/>
                </a:lnTo>
                <a:lnTo>
                  <a:pt x="786" y="1400"/>
                </a:lnTo>
                <a:lnTo>
                  <a:pt x="786" y="1402"/>
                </a:lnTo>
                <a:lnTo>
                  <a:pt x="788" y="1404"/>
                </a:lnTo>
                <a:lnTo>
                  <a:pt x="790" y="1406"/>
                </a:lnTo>
                <a:lnTo>
                  <a:pt x="792" y="1408"/>
                </a:lnTo>
                <a:lnTo>
                  <a:pt x="794" y="1409"/>
                </a:lnTo>
                <a:lnTo>
                  <a:pt x="796" y="1411"/>
                </a:lnTo>
                <a:lnTo>
                  <a:pt x="798" y="1415"/>
                </a:lnTo>
                <a:lnTo>
                  <a:pt x="996" y="1379"/>
                </a:lnTo>
                <a:lnTo>
                  <a:pt x="1133" y="1264"/>
                </a:lnTo>
                <a:lnTo>
                  <a:pt x="1477" y="1070"/>
                </a:lnTo>
                <a:lnTo>
                  <a:pt x="1477" y="1070"/>
                </a:lnTo>
                <a:lnTo>
                  <a:pt x="1475" y="1064"/>
                </a:lnTo>
                <a:lnTo>
                  <a:pt x="1473" y="1058"/>
                </a:lnTo>
                <a:lnTo>
                  <a:pt x="1471" y="1055"/>
                </a:lnTo>
                <a:lnTo>
                  <a:pt x="1469" y="1051"/>
                </a:lnTo>
                <a:lnTo>
                  <a:pt x="1465" y="1045"/>
                </a:lnTo>
                <a:lnTo>
                  <a:pt x="1462" y="1041"/>
                </a:lnTo>
                <a:lnTo>
                  <a:pt x="1460" y="1037"/>
                </a:lnTo>
                <a:lnTo>
                  <a:pt x="1456" y="1034"/>
                </a:lnTo>
                <a:lnTo>
                  <a:pt x="1452" y="1032"/>
                </a:lnTo>
                <a:lnTo>
                  <a:pt x="1450" y="1028"/>
                </a:lnTo>
                <a:lnTo>
                  <a:pt x="1446" y="1024"/>
                </a:lnTo>
                <a:lnTo>
                  <a:pt x="1444" y="1018"/>
                </a:lnTo>
                <a:lnTo>
                  <a:pt x="1442" y="1015"/>
                </a:lnTo>
                <a:lnTo>
                  <a:pt x="1441" y="1009"/>
                </a:lnTo>
                <a:lnTo>
                  <a:pt x="1439" y="1005"/>
                </a:lnTo>
                <a:lnTo>
                  <a:pt x="1439" y="999"/>
                </a:lnTo>
                <a:lnTo>
                  <a:pt x="1439" y="999"/>
                </a:lnTo>
                <a:lnTo>
                  <a:pt x="1429" y="997"/>
                </a:lnTo>
                <a:lnTo>
                  <a:pt x="1421" y="994"/>
                </a:lnTo>
                <a:lnTo>
                  <a:pt x="1414" y="990"/>
                </a:lnTo>
                <a:lnTo>
                  <a:pt x="1408" y="986"/>
                </a:lnTo>
                <a:lnTo>
                  <a:pt x="1401" y="982"/>
                </a:lnTo>
                <a:lnTo>
                  <a:pt x="1393" y="978"/>
                </a:lnTo>
                <a:lnTo>
                  <a:pt x="1385" y="976"/>
                </a:lnTo>
                <a:lnTo>
                  <a:pt x="1376" y="974"/>
                </a:lnTo>
                <a:lnTo>
                  <a:pt x="1376" y="974"/>
                </a:lnTo>
                <a:lnTo>
                  <a:pt x="1374" y="974"/>
                </a:lnTo>
                <a:lnTo>
                  <a:pt x="1372" y="976"/>
                </a:lnTo>
                <a:lnTo>
                  <a:pt x="1368" y="976"/>
                </a:lnTo>
                <a:lnTo>
                  <a:pt x="1366" y="978"/>
                </a:lnTo>
                <a:lnTo>
                  <a:pt x="1364" y="978"/>
                </a:lnTo>
                <a:lnTo>
                  <a:pt x="1360" y="978"/>
                </a:lnTo>
                <a:lnTo>
                  <a:pt x="1359" y="978"/>
                </a:lnTo>
                <a:lnTo>
                  <a:pt x="1357" y="978"/>
                </a:lnTo>
                <a:lnTo>
                  <a:pt x="1357" y="978"/>
                </a:lnTo>
                <a:lnTo>
                  <a:pt x="1353" y="974"/>
                </a:lnTo>
                <a:lnTo>
                  <a:pt x="1351" y="971"/>
                </a:lnTo>
                <a:lnTo>
                  <a:pt x="1349" y="967"/>
                </a:lnTo>
                <a:lnTo>
                  <a:pt x="1349" y="963"/>
                </a:lnTo>
                <a:lnTo>
                  <a:pt x="1347" y="959"/>
                </a:lnTo>
                <a:lnTo>
                  <a:pt x="1347" y="955"/>
                </a:lnTo>
                <a:lnTo>
                  <a:pt x="1345" y="952"/>
                </a:lnTo>
                <a:lnTo>
                  <a:pt x="1343" y="948"/>
                </a:lnTo>
                <a:lnTo>
                  <a:pt x="1343" y="948"/>
                </a:lnTo>
                <a:lnTo>
                  <a:pt x="1341" y="944"/>
                </a:lnTo>
                <a:lnTo>
                  <a:pt x="1338" y="938"/>
                </a:lnTo>
                <a:lnTo>
                  <a:pt x="1334" y="933"/>
                </a:lnTo>
                <a:lnTo>
                  <a:pt x="1330" y="925"/>
                </a:lnTo>
                <a:lnTo>
                  <a:pt x="1326" y="919"/>
                </a:lnTo>
                <a:lnTo>
                  <a:pt x="1322" y="912"/>
                </a:lnTo>
                <a:lnTo>
                  <a:pt x="1317" y="904"/>
                </a:lnTo>
                <a:lnTo>
                  <a:pt x="1313" y="896"/>
                </a:lnTo>
                <a:lnTo>
                  <a:pt x="1309" y="889"/>
                </a:lnTo>
                <a:lnTo>
                  <a:pt x="1305" y="881"/>
                </a:lnTo>
                <a:lnTo>
                  <a:pt x="1301" y="873"/>
                </a:lnTo>
                <a:lnTo>
                  <a:pt x="1298" y="868"/>
                </a:lnTo>
                <a:lnTo>
                  <a:pt x="1294" y="860"/>
                </a:lnTo>
                <a:lnTo>
                  <a:pt x="1292" y="854"/>
                </a:lnTo>
                <a:lnTo>
                  <a:pt x="1292" y="850"/>
                </a:lnTo>
                <a:lnTo>
                  <a:pt x="1290" y="845"/>
                </a:lnTo>
                <a:lnTo>
                  <a:pt x="1290" y="845"/>
                </a:lnTo>
                <a:lnTo>
                  <a:pt x="1292" y="839"/>
                </a:lnTo>
                <a:lnTo>
                  <a:pt x="1296" y="833"/>
                </a:lnTo>
                <a:lnTo>
                  <a:pt x="1301" y="830"/>
                </a:lnTo>
                <a:lnTo>
                  <a:pt x="1309" y="826"/>
                </a:lnTo>
                <a:lnTo>
                  <a:pt x="1317" y="822"/>
                </a:lnTo>
                <a:lnTo>
                  <a:pt x="1324" y="818"/>
                </a:lnTo>
                <a:lnTo>
                  <a:pt x="1330" y="812"/>
                </a:lnTo>
                <a:lnTo>
                  <a:pt x="1334" y="807"/>
                </a:lnTo>
                <a:lnTo>
                  <a:pt x="1334" y="807"/>
                </a:lnTo>
                <a:lnTo>
                  <a:pt x="1334" y="801"/>
                </a:lnTo>
                <a:lnTo>
                  <a:pt x="1332" y="795"/>
                </a:lnTo>
                <a:lnTo>
                  <a:pt x="1330" y="789"/>
                </a:lnTo>
                <a:lnTo>
                  <a:pt x="1328" y="786"/>
                </a:lnTo>
                <a:lnTo>
                  <a:pt x="1326" y="782"/>
                </a:lnTo>
                <a:lnTo>
                  <a:pt x="1324" y="776"/>
                </a:lnTo>
                <a:lnTo>
                  <a:pt x="1324" y="770"/>
                </a:lnTo>
                <a:lnTo>
                  <a:pt x="1322" y="765"/>
                </a:lnTo>
                <a:lnTo>
                  <a:pt x="1322" y="765"/>
                </a:lnTo>
                <a:lnTo>
                  <a:pt x="1324" y="761"/>
                </a:lnTo>
                <a:lnTo>
                  <a:pt x="1324" y="755"/>
                </a:lnTo>
                <a:lnTo>
                  <a:pt x="1326" y="751"/>
                </a:lnTo>
                <a:lnTo>
                  <a:pt x="1328" y="746"/>
                </a:lnTo>
                <a:lnTo>
                  <a:pt x="1330" y="742"/>
                </a:lnTo>
                <a:lnTo>
                  <a:pt x="1334" y="736"/>
                </a:lnTo>
                <a:lnTo>
                  <a:pt x="1334" y="732"/>
                </a:lnTo>
                <a:lnTo>
                  <a:pt x="1334" y="730"/>
                </a:lnTo>
                <a:lnTo>
                  <a:pt x="1334" y="730"/>
                </a:lnTo>
                <a:lnTo>
                  <a:pt x="1334" y="723"/>
                </a:lnTo>
                <a:lnTo>
                  <a:pt x="1334" y="717"/>
                </a:lnTo>
                <a:lnTo>
                  <a:pt x="1334" y="711"/>
                </a:lnTo>
                <a:lnTo>
                  <a:pt x="1334" y="707"/>
                </a:lnTo>
                <a:lnTo>
                  <a:pt x="1334" y="702"/>
                </a:lnTo>
                <a:lnTo>
                  <a:pt x="1334" y="698"/>
                </a:lnTo>
                <a:lnTo>
                  <a:pt x="1334" y="694"/>
                </a:lnTo>
                <a:lnTo>
                  <a:pt x="1334" y="690"/>
                </a:lnTo>
                <a:lnTo>
                  <a:pt x="1334" y="686"/>
                </a:lnTo>
                <a:lnTo>
                  <a:pt x="1334" y="681"/>
                </a:lnTo>
                <a:lnTo>
                  <a:pt x="1334" y="677"/>
                </a:lnTo>
                <a:lnTo>
                  <a:pt x="1334" y="671"/>
                </a:lnTo>
                <a:lnTo>
                  <a:pt x="1334" y="665"/>
                </a:lnTo>
                <a:lnTo>
                  <a:pt x="1334" y="660"/>
                </a:lnTo>
                <a:lnTo>
                  <a:pt x="1334" y="652"/>
                </a:lnTo>
                <a:lnTo>
                  <a:pt x="1334" y="644"/>
                </a:lnTo>
                <a:lnTo>
                  <a:pt x="1334" y="644"/>
                </a:lnTo>
                <a:lnTo>
                  <a:pt x="1334" y="635"/>
                </a:lnTo>
                <a:lnTo>
                  <a:pt x="1334" y="627"/>
                </a:lnTo>
                <a:lnTo>
                  <a:pt x="1332" y="618"/>
                </a:lnTo>
                <a:lnTo>
                  <a:pt x="1330" y="610"/>
                </a:lnTo>
                <a:lnTo>
                  <a:pt x="1328" y="602"/>
                </a:lnTo>
                <a:lnTo>
                  <a:pt x="1324" y="593"/>
                </a:lnTo>
                <a:lnTo>
                  <a:pt x="1322" y="585"/>
                </a:lnTo>
                <a:lnTo>
                  <a:pt x="1318" y="580"/>
                </a:lnTo>
                <a:lnTo>
                  <a:pt x="1315" y="572"/>
                </a:lnTo>
                <a:lnTo>
                  <a:pt x="1313" y="564"/>
                </a:lnTo>
                <a:lnTo>
                  <a:pt x="1309" y="557"/>
                </a:lnTo>
                <a:lnTo>
                  <a:pt x="1305" y="549"/>
                </a:lnTo>
                <a:lnTo>
                  <a:pt x="1301" y="543"/>
                </a:lnTo>
                <a:lnTo>
                  <a:pt x="1299" y="536"/>
                </a:lnTo>
                <a:lnTo>
                  <a:pt x="1296" y="528"/>
                </a:lnTo>
                <a:lnTo>
                  <a:pt x="1294" y="520"/>
                </a:lnTo>
                <a:lnTo>
                  <a:pt x="1294" y="520"/>
                </a:lnTo>
                <a:lnTo>
                  <a:pt x="1290" y="509"/>
                </a:lnTo>
                <a:lnTo>
                  <a:pt x="1286" y="499"/>
                </a:lnTo>
                <a:lnTo>
                  <a:pt x="1284" y="488"/>
                </a:lnTo>
                <a:lnTo>
                  <a:pt x="1282" y="478"/>
                </a:lnTo>
                <a:lnTo>
                  <a:pt x="1282" y="469"/>
                </a:lnTo>
                <a:lnTo>
                  <a:pt x="1280" y="459"/>
                </a:lnTo>
                <a:lnTo>
                  <a:pt x="1278" y="450"/>
                </a:lnTo>
                <a:lnTo>
                  <a:pt x="1277" y="442"/>
                </a:lnTo>
                <a:lnTo>
                  <a:pt x="1277" y="433"/>
                </a:lnTo>
                <a:lnTo>
                  <a:pt x="1275" y="425"/>
                </a:lnTo>
                <a:lnTo>
                  <a:pt x="1271" y="417"/>
                </a:lnTo>
                <a:lnTo>
                  <a:pt x="1269" y="410"/>
                </a:lnTo>
                <a:lnTo>
                  <a:pt x="1265" y="402"/>
                </a:lnTo>
                <a:lnTo>
                  <a:pt x="1261" y="395"/>
                </a:lnTo>
                <a:lnTo>
                  <a:pt x="1256" y="387"/>
                </a:lnTo>
                <a:lnTo>
                  <a:pt x="1250" y="381"/>
                </a:lnTo>
                <a:lnTo>
                  <a:pt x="1250" y="381"/>
                </a:lnTo>
                <a:lnTo>
                  <a:pt x="1246" y="377"/>
                </a:lnTo>
                <a:lnTo>
                  <a:pt x="1240" y="372"/>
                </a:lnTo>
                <a:lnTo>
                  <a:pt x="1236" y="366"/>
                </a:lnTo>
                <a:lnTo>
                  <a:pt x="1231" y="358"/>
                </a:lnTo>
                <a:lnTo>
                  <a:pt x="1223" y="351"/>
                </a:lnTo>
                <a:lnTo>
                  <a:pt x="1217" y="341"/>
                </a:lnTo>
                <a:lnTo>
                  <a:pt x="1212" y="333"/>
                </a:lnTo>
                <a:lnTo>
                  <a:pt x="1206" y="324"/>
                </a:lnTo>
                <a:lnTo>
                  <a:pt x="1198" y="314"/>
                </a:lnTo>
                <a:lnTo>
                  <a:pt x="1193" y="305"/>
                </a:lnTo>
                <a:lnTo>
                  <a:pt x="1189" y="295"/>
                </a:lnTo>
                <a:lnTo>
                  <a:pt x="1183" y="286"/>
                </a:lnTo>
                <a:lnTo>
                  <a:pt x="1181" y="278"/>
                </a:lnTo>
                <a:lnTo>
                  <a:pt x="1177" y="271"/>
                </a:lnTo>
                <a:lnTo>
                  <a:pt x="1175" y="263"/>
                </a:lnTo>
                <a:lnTo>
                  <a:pt x="1175" y="257"/>
                </a:lnTo>
                <a:lnTo>
                  <a:pt x="1175" y="257"/>
                </a:lnTo>
                <a:lnTo>
                  <a:pt x="1175" y="248"/>
                </a:lnTo>
                <a:lnTo>
                  <a:pt x="1177" y="238"/>
                </a:lnTo>
                <a:lnTo>
                  <a:pt x="1181" y="230"/>
                </a:lnTo>
                <a:lnTo>
                  <a:pt x="1185" y="223"/>
                </a:lnTo>
                <a:lnTo>
                  <a:pt x="1191" y="217"/>
                </a:lnTo>
                <a:lnTo>
                  <a:pt x="1196" y="211"/>
                </a:lnTo>
                <a:lnTo>
                  <a:pt x="1202" y="206"/>
                </a:lnTo>
                <a:lnTo>
                  <a:pt x="1208" y="200"/>
                </a:lnTo>
                <a:lnTo>
                  <a:pt x="1214" y="196"/>
                </a:lnTo>
                <a:lnTo>
                  <a:pt x="1221" y="190"/>
                </a:lnTo>
                <a:lnTo>
                  <a:pt x="1227" y="187"/>
                </a:lnTo>
                <a:lnTo>
                  <a:pt x="1233" y="181"/>
                </a:lnTo>
                <a:lnTo>
                  <a:pt x="1236" y="175"/>
                </a:lnTo>
                <a:lnTo>
                  <a:pt x="1240" y="169"/>
                </a:lnTo>
                <a:lnTo>
                  <a:pt x="1244" y="162"/>
                </a:lnTo>
                <a:lnTo>
                  <a:pt x="1246" y="154"/>
                </a:lnTo>
                <a:lnTo>
                  <a:pt x="1246" y="154"/>
                </a:lnTo>
                <a:lnTo>
                  <a:pt x="1248" y="143"/>
                </a:lnTo>
                <a:lnTo>
                  <a:pt x="1248" y="131"/>
                </a:lnTo>
                <a:lnTo>
                  <a:pt x="1250" y="122"/>
                </a:lnTo>
                <a:lnTo>
                  <a:pt x="1250" y="110"/>
                </a:lnTo>
                <a:lnTo>
                  <a:pt x="1250" y="101"/>
                </a:lnTo>
                <a:lnTo>
                  <a:pt x="1252" y="91"/>
                </a:lnTo>
                <a:lnTo>
                  <a:pt x="1252" y="82"/>
                </a:lnTo>
                <a:lnTo>
                  <a:pt x="1252" y="72"/>
                </a:lnTo>
                <a:lnTo>
                  <a:pt x="1254" y="63"/>
                </a:lnTo>
                <a:lnTo>
                  <a:pt x="1256" y="55"/>
                </a:lnTo>
                <a:lnTo>
                  <a:pt x="1257" y="47"/>
                </a:lnTo>
                <a:lnTo>
                  <a:pt x="1261" y="40"/>
                </a:lnTo>
                <a:lnTo>
                  <a:pt x="1265" y="32"/>
                </a:lnTo>
                <a:lnTo>
                  <a:pt x="1269" y="26"/>
                </a:lnTo>
                <a:lnTo>
                  <a:pt x="1275" y="21"/>
                </a:lnTo>
                <a:lnTo>
                  <a:pt x="1282" y="15"/>
                </a:lnTo>
                <a:lnTo>
                  <a:pt x="1282" y="15"/>
                </a:lnTo>
                <a:lnTo>
                  <a:pt x="1277" y="13"/>
                </a:lnTo>
                <a:lnTo>
                  <a:pt x="1273" y="13"/>
                </a:lnTo>
                <a:lnTo>
                  <a:pt x="1267" y="11"/>
                </a:lnTo>
                <a:lnTo>
                  <a:pt x="1263" y="9"/>
                </a:lnTo>
                <a:lnTo>
                  <a:pt x="1257" y="9"/>
                </a:lnTo>
                <a:lnTo>
                  <a:pt x="1254" y="7"/>
                </a:lnTo>
                <a:lnTo>
                  <a:pt x="1248" y="7"/>
                </a:lnTo>
                <a:lnTo>
                  <a:pt x="1242" y="5"/>
                </a:lnTo>
                <a:lnTo>
                  <a:pt x="1238" y="3"/>
                </a:lnTo>
                <a:lnTo>
                  <a:pt x="1233" y="3"/>
                </a:lnTo>
                <a:lnTo>
                  <a:pt x="1227" y="3"/>
                </a:lnTo>
                <a:lnTo>
                  <a:pt x="1223" y="2"/>
                </a:lnTo>
                <a:lnTo>
                  <a:pt x="1217" y="2"/>
                </a:lnTo>
                <a:lnTo>
                  <a:pt x="1212" y="2"/>
                </a:lnTo>
                <a:lnTo>
                  <a:pt x="1208" y="0"/>
                </a:lnTo>
                <a:lnTo>
                  <a:pt x="1202" y="0"/>
                </a:lnTo>
                <a:lnTo>
                  <a:pt x="1202" y="0"/>
                </a:lnTo>
                <a:lnTo>
                  <a:pt x="1198" y="2"/>
                </a:lnTo>
                <a:lnTo>
                  <a:pt x="1196" y="2"/>
                </a:lnTo>
                <a:lnTo>
                  <a:pt x="1194" y="3"/>
                </a:lnTo>
                <a:lnTo>
                  <a:pt x="1193" y="5"/>
                </a:lnTo>
                <a:lnTo>
                  <a:pt x="1193" y="9"/>
                </a:lnTo>
                <a:lnTo>
                  <a:pt x="1191" y="11"/>
                </a:lnTo>
                <a:lnTo>
                  <a:pt x="1191" y="15"/>
                </a:lnTo>
                <a:lnTo>
                  <a:pt x="1191" y="19"/>
                </a:lnTo>
                <a:lnTo>
                  <a:pt x="1160" y="19"/>
                </a:lnTo>
                <a:lnTo>
                  <a:pt x="1160" y="19"/>
                </a:lnTo>
                <a:lnTo>
                  <a:pt x="1160" y="17"/>
                </a:lnTo>
                <a:lnTo>
                  <a:pt x="1158" y="15"/>
                </a:lnTo>
                <a:lnTo>
                  <a:pt x="1156" y="13"/>
                </a:lnTo>
                <a:lnTo>
                  <a:pt x="1153" y="9"/>
                </a:lnTo>
                <a:lnTo>
                  <a:pt x="1149" y="7"/>
                </a:lnTo>
                <a:lnTo>
                  <a:pt x="1145" y="5"/>
                </a:lnTo>
                <a:lnTo>
                  <a:pt x="1141" y="3"/>
                </a:lnTo>
                <a:lnTo>
                  <a:pt x="1139" y="3"/>
                </a:lnTo>
                <a:lnTo>
                  <a:pt x="1139" y="3"/>
                </a:lnTo>
                <a:lnTo>
                  <a:pt x="1133" y="3"/>
                </a:lnTo>
                <a:lnTo>
                  <a:pt x="1130" y="3"/>
                </a:lnTo>
                <a:lnTo>
                  <a:pt x="1124" y="5"/>
                </a:lnTo>
                <a:lnTo>
                  <a:pt x="1120" y="7"/>
                </a:lnTo>
                <a:lnTo>
                  <a:pt x="1116" y="11"/>
                </a:lnTo>
                <a:lnTo>
                  <a:pt x="1112" y="13"/>
                </a:lnTo>
                <a:lnTo>
                  <a:pt x="1109" y="17"/>
                </a:lnTo>
                <a:lnTo>
                  <a:pt x="1105" y="19"/>
                </a:lnTo>
                <a:lnTo>
                  <a:pt x="1101" y="23"/>
                </a:lnTo>
                <a:lnTo>
                  <a:pt x="1097" y="26"/>
                </a:lnTo>
                <a:lnTo>
                  <a:pt x="1093" y="28"/>
                </a:lnTo>
                <a:lnTo>
                  <a:pt x="1088" y="30"/>
                </a:lnTo>
                <a:lnTo>
                  <a:pt x="1084" y="32"/>
                </a:lnTo>
                <a:lnTo>
                  <a:pt x="1078" y="34"/>
                </a:lnTo>
                <a:lnTo>
                  <a:pt x="1072" y="36"/>
                </a:lnTo>
                <a:lnTo>
                  <a:pt x="1067" y="36"/>
                </a:lnTo>
                <a:lnTo>
                  <a:pt x="1067" y="36"/>
                </a:lnTo>
                <a:lnTo>
                  <a:pt x="1059" y="36"/>
                </a:lnTo>
                <a:lnTo>
                  <a:pt x="1051" y="34"/>
                </a:lnTo>
                <a:lnTo>
                  <a:pt x="1044" y="32"/>
                </a:lnTo>
                <a:lnTo>
                  <a:pt x="1034" y="28"/>
                </a:lnTo>
                <a:lnTo>
                  <a:pt x="1027" y="24"/>
                </a:lnTo>
                <a:lnTo>
                  <a:pt x="1019" y="21"/>
                </a:lnTo>
                <a:lnTo>
                  <a:pt x="1013" y="19"/>
                </a:lnTo>
                <a:lnTo>
                  <a:pt x="1008" y="15"/>
                </a:lnTo>
                <a:lnTo>
                  <a:pt x="910" y="15"/>
                </a:lnTo>
                <a:lnTo>
                  <a:pt x="910" y="15"/>
                </a:lnTo>
                <a:lnTo>
                  <a:pt x="899" y="15"/>
                </a:lnTo>
                <a:lnTo>
                  <a:pt x="887" y="15"/>
                </a:lnTo>
                <a:lnTo>
                  <a:pt x="876" y="17"/>
                </a:lnTo>
                <a:lnTo>
                  <a:pt x="863" y="17"/>
                </a:lnTo>
                <a:lnTo>
                  <a:pt x="849" y="19"/>
                </a:lnTo>
                <a:lnTo>
                  <a:pt x="836" y="21"/>
                </a:lnTo>
                <a:lnTo>
                  <a:pt x="823" y="23"/>
                </a:lnTo>
                <a:lnTo>
                  <a:pt x="809" y="26"/>
                </a:lnTo>
                <a:lnTo>
                  <a:pt x="796" y="28"/>
                </a:lnTo>
                <a:lnTo>
                  <a:pt x="782" y="32"/>
                </a:lnTo>
                <a:lnTo>
                  <a:pt x="769" y="34"/>
                </a:lnTo>
                <a:lnTo>
                  <a:pt x="758" y="38"/>
                </a:lnTo>
                <a:lnTo>
                  <a:pt x="744" y="40"/>
                </a:lnTo>
                <a:lnTo>
                  <a:pt x="733" y="44"/>
                </a:lnTo>
                <a:lnTo>
                  <a:pt x="723" y="47"/>
                </a:lnTo>
                <a:lnTo>
                  <a:pt x="714" y="49"/>
                </a:lnTo>
                <a:lnTo>
                  <a:pt x="714" y="49"/>
                </a:lnTo>
                <a:lnTo>
                  <a:pt x="710" y="51"/>
                </a:lnTo>
                <a:lnTo>
                  <a:pt x="706" y="55"/>
                </a:lnTo>
                <a:lnTo>
                  <a:pt x="704" y="57"/>
                </a:lnTo>
                <a:lnTo>
                  <a:pt x="702" y="61"/>
                </a:lnTo>
                <a:lnTo>
                  <a:pt x="699" y="63"/>
                </a:lnTo>
                <a:lnTo>
                  <a:pt x="697" y="66"/>
                </a:lnTo>
                <a:lnTo>
                  <a:pt x="693" y="66"/>
                </a:lnTo>
                <a:lnTo>
                  <a:pt x="689" y="68"/>
                </a:lnTo>
                <a:lnTo>
                  <a:pt x="689" y="68"/>
                </a:lnTo>
                <a:lnTo>
                  <a:pt x="685" y="68"/>
                </a:lnTo>
                <a:lnTo>
                  <a:pt x="681" y="68"/>
                </a:lnTo>
                <a:lnTo>
                  <a:pt x="679" y="68"/>
                </a:lnTo>
                <a:lnTo>
                  <a:pt x="678" y="68"/>
                </a:lnTo>
                <a:lnTo>
                  <a:pt x="674" y="68"/>
                </a:lnTo>
                <a:lnTo>
                  <a:pt x="672" y="68"/>
                </a:lnTo>
                <a:lnTo>
                  <a:pt x="668" y="68"/>
                </a:lnTo>
                <a:lnTo>
                  <a:pt x="664" y="68"/>
                </a:lnTo>
                <a:lnTo>
                  <a:pt x="664" y="68"/>
                </a:lnTo>
                <a:lnTo>
                  <a:pt x="657" y="68"/>
                </a:lnTo>
                <a:lnTo>
                  <a:pt x="647" y="70"/>
                </a:lnTo>
                <a:lnTo>
                  <a:pt x="639" y="72"/>
                </a:lnTo>
                <a:lnTo>
                  <a:pt x="634" y="76"/>
                </a:lnTo>
                <a:lnTo>
                  <a:pt x="626" y="80"/>
                </a:lnTo>
                <a:lnTo>
                  <a:pt x="620" y="84"/>
                </a:lnTo>
                <a:lnTo>
                  <a:pt x="613" y="87"/>
                </a:lnTo>
                <a:lnTo>
                  <a:pt x="607" y="93"/>
                </a:lnTo>
                <a:lnTo>
                  <a:pt x="601" y="97"/>
                </a:lnTo>
                <a:lnTo>
                  <a:pt x="594" y="103"/>
                </a:lnTo>
                <a:lnTo>
                  <a:pt x="588" y="106"/>
                </a:lnTo>
                <a:lnTo>
                  <a:pt x="580" y="110"/>
                </a:lnTo>
                <a:lnTo>
                  <a:pt x="573" y="114"/>
                </a:lnTo>
                <a:lnTo>
                  <a:pt x="565" y="116"/>
                </a:lnTo>
                <a:lnTo>
                  <a:pt x="557" y="118"/>
                </a:lnTo>
                <a:lnTo>
                  <a:pt x="550" y="118"/>
                </a:lnTo>
                <a:lnTo>
                  <a:pt x="550" y="118"/>
                </a:lnTo>
                <a:lnTo>
                  <a:pt x="546" y="118"/>
                </a:lnTo>
                <a:lnTo>
                  <a:pt x="544" y="118"/>
                </a:lnTo>
                <a:lnTo>
                  <a:pt x="540" y="118"/>
                </a:lnTo>
                <a:lnTo>
                  <a:pt x="538" y="118"/>
                </a:lnTo>
                <a:lnTo>
                  <a:pt x="534" y="118"/>
                </a:lnTo>
                <a:lnTo>
                  <a:pt x="531" y="118"/>
                </a:lnTo>
                <a:lnTo>
                  <a:pt x="527" y="118"/>
                </a:lnTo>
                <a:lnTo>
                  <a:pt x="521" y="116"/>
                </a:lnTo>
                <a:lnTo>
                  <a:pt x="521" y="116"/>
                </a:lnTo>
                <a:lnTo>
                  <a:pt x="525" y="120"/>
                </a:lnTo>
                <a:lnTo>
                  <a:pt x="529" y="122"/>
                </a:lnTo>
                <a:lnTo>
                  <a:pt x="533" y="126"/>
                </a:lnTo>
                <a:lnTo>
                  <a:pt x="536" y="127"/>
                </a:lnTo>
                <a:lnTo>
                  <a:pt x="540" y="131"/>
                </a:lnTo>
                <a:lnTo>
                  <a:pt x="544" y="135"/>
                </a:lnTo>
                <a:lnTo>
                  <a:pt x="546" y="139"/>
                </a:lnTo>
                <a:lnTo>
                  <a:pt x="550" y="143"/>
                </a:lnTo>
                <a:lnTo>
                  <a:pt x="554" y="147"/>
                </a:lnTo>
                <a:lnTo>
                  <a:pt x="555" y="152"/>
                </a:lnTo>
                <a:lnTo>
                  <a:pt x="559" y="158"/>
                </a:lnTo>
                <a:lnTo>
                  <a:pt x="561" y="162"/>
                </a:lnTo>
                <a:lnTo>
                  <a:pt x="563" y="169"/>
                </a:lnTo>
                <a:lnTo>
                  <a:pt x="563" y="175"/>
                </a:lnTo>
                <a:lnTo>
                  <a:pt x="563" y="183"/>
                </a:lnTo>
                <a:lnTo>
                  <a:pt x="565" y="190"/>
                </a:lnTo>
                <a:lnTo>
                  <a:pt x="565" y="190"/>
                </a:lnTo>
                <a:lnTo>
                  <a:pt x="565" y="194"/>
                </a:lnTo>
                <a:lnTo>
                  <a:pt x="563" y="200"/>
                </a:lnTo>
                <a:lnTo>
                  <a:pt x="563" y="204"/>
                </a:lnTo>
                <a:lnTo>
                  <a:pt x="563" y="209"/>
                </a:lnTo>
                <a:lnTo>
                  <a:pt x="563" y="213"/>
                </a:lnTo>
                <a:lnTo>
                  <a:pt x="561" y="219"/>
                </a:lnTo>
                <a:lnTo>
                  <a:pt x="561" y="223"/>
                </a:lnTo>
                <a:lnTo>
                  <a:pt x="559" y="227"/>
                </a:lnTo>
                <a:lnTo>
                  <a:pt x="559" y="230"/>
                </a:lnTo>
                <a:lnTo>
                  <a:pt x="557" y="236"/>
                </a:lnTo>
                <a:lnTo>
                  <a:pt x="557" y="240"/>
                </a:lnTo>
                <a:lnTo>
                  <a:pt x="555" y="244"/>
                </a:lnTo>
                <a:lnTo>
                  <a:pt x="555" y="250"/>
                </a:lnTo>
                <a:lnTo>
                  <a:pt x="555" y="253"/>
                </a:lnTo>
                <a:lnTo>
                  <a:pt x="555" y="257"/>
                </a:lnTo>
                <a:lnTo>
                  <a:pt x="555" y="263"/>
                </a:lnTo>
                <a:lnTo>
                  <a:pt x="555" y="263"/>
                </a:lnTo>
                <a:lnTo>
                  <a:pt x="555" y="272"/>
                </a:lnTo>
                <a:lnTo>
                  <a:pt x="557" y="284"/>
                </a:lnTo>
                <a:lnTo>
                  <a:pt x="561" y="292"/>
                </a:lnTo>
                <a:lnTo>
                  <a:pt x="565" y="299"/>
                </a:lnTo>
                <a:lnTo>
                  <a:pt x="569" y="307"/>
                </a:lnTo>
                <a:lnTo>
                  <a:pt x="575" y="314"/>
                </a:lnTo>
                <a:lnTo>
                  <a:pt x="578" y="322"/>
                </a:lnTo>
                <a:lnTo>
                  <a:pt x="582" y="328"/>
                </a:lnTo>
                <a:lnTo>
                  <a:pt x="582" y="328"/>
                </a:lnTo>
                <a:lnTo>
                  <a:pt x="578" y="332"/>
                </a:lnTo>
                <a:lnTo>
                  <a:pt x="575" y="335"/>
                </a:lnTo>
                <a:lnTo>
                  <a:pt x="573" y="339"/>
                </a:lnTo>
                <a:lnTo>
                  <a:pt x="571" y="343"/>
                </a:lnTo>
                <a:lnTo>
                  <a:pt x="569" y="347"/>
                </a:lnTo>
                <a:lnTo>
                  <a:pt x="567" y="351"/>
                </a:lnTo>
                <a:lnTo>
                  <a:pt x="563" y="353"/>
                </a:lnTo>
                <a:lnTo>
                  <a:pt x="561" y="354"/>
                </a:lnTo>
                <a:lnTo>
                  <a:pt x="561" y="354"/>
                </a:lnTo>
                <a:lnTo>
                  <a:pt x="555" y="356"/>
                </a:lnTo>
                <a:lnTo>
                  <a:pt x="552" y="356"/>
                </a:lnTo>
                <a:lnTo>
                  <a:pt x="548" y="358"/>
                </a:lnTo>
                <a:lnTo>
                  <a:pt x="544" y="358"/>
                </a:lnTo>
                <a:lnTo>
                  <a:pt x="538" y="358"/>
                </a:lnTo>
                <a:lnTo>
                  <a:pt x="534" y="356"/>
                </a:lnTo>
                <a:lnTo>
                  <a:pt x="531" y="356"/>
                </a:lnTo>
                <a:lnTo>
                  <a:pt x="527" y="356"/>
                </a:lnTo>
                <a:lnTo>
                  <a:pt x="523" y="356"/>
                </a:lnTo>
                <a:lnTo>
                  <a:pt x="519" y="354"/>
                </a:lnTo>
                <a:lnTo>
                  <a:pt x="515" y="354"/>
                </a:lnTo>
                <a:lnTo>
                  <a:pt x="512" y="353"/>
                </a:lnTo>
                <a:lnTo>
                  <a:pt x="508" y="353"/>
                </a:lnTo>
                <a:lnTo>
                  <a:pt x="504" y="353"/>
                </a:lnTo>
                <a:lnTo>
                  <a:pt x="498" y="351"/>
                </a:lnTo>
                <a:lnTo>
                  <a:pt x="494" y="351"/>
                </a:lnTo>
                <a:lnTo>
                  <a:pt x="494" y="351"/>
                </a:lnTo>
                <a:lnTo>
                  <a:pt x="489" y="351"/>
                </a:lnTo>
                <a:lnTo>
                  <a:pt x="485" y="351"/>
                </a:lnTo>
                <a:lnTo>
                  <a:pt x="481" y="351"/>
                </a:lnTo>
                <a:lnTo>
                  <a:pt x="477" y="351"/>
                </a:lnTo>
                <a:lnTo>
                  <a:pt x="473" y="349"/>
                </a:lnTo>
                <a:lnTo>
                  <a:pt x="470" y="349"/>
                </a:lnTo>
                <a:lnTo>
                  <a:pt x="466" y="351"/>
                </a:lnTo>
                <a:lnTo>
                  <a:pt x="460" y="351"/>
                </a:lnTo>
                <a:lnTo>
                  <a:pt x="441" y="372"/>
                </a:lnTo>
                <a:lnTo>
                  <a:pt x="384" y="387"/>
                </a:lnTo>
                <a:lnTo>
                  <a:pt x="384" y="387"/>
                </a:lnTo>
                <a:lnTo>
                  <a:pt x="380" y="393"/>
                </a:lnTo>
                <a:lnTo>
                  <a:pt x="380" y="400"/>
                </a:lnTo>
                <a:lnTo>
                  <a:pt x="380" y="406"/>
                </a:lnTo>
                <a:lnTo>
                  <a:pt x="380" y="412"/>
                </a:lnTo>
                <a:lnTo>
                  <a:pt x="382" y="417"/>
                </a:lnTo>
                <a:lnTo>
                  <a:pt x="382" y="423"/>
                </a:lnTo>
                <a:lnTo>
                  <a:pt x="380" y="429"/>
                </a:lnTo>
                <a:lnTo>
                  <a:pt x="378" y="435"/>
                </a:lnTo>
                <a:lnTo>
                  <a:pt x="378" y="435"/>
                </a:lnTo>
                <a:lnTo>
                  <a:pt x="374" y="438"/>
                </a:lnTo>
                <a:lnTo>
                  <a:pt x="370" y="442"/>
                </a:lnTo>
                <a:lnTo>
                  <a:pt x="367" y="444"/>
                </a:lnTo>
                <a:lnTo>
                  <a:pt x="363" y="448"/>
                </a:lnTo>
                <a:lnTo>
                  <a:pt x="359" y="450"/>
                </a:lnTo>
                <a:lnTo>
                  <a:pt x="353" y="452"/>
                </a:lnTo>
                <a:lnTo>
                  <a:pt x="349" y="452"/>
                </a:lnTo>
                <a:lnTo>
                  <a:pt x="346" y="454"/>
                </a:lnTo>
                <a:lnTo>
                  <a:pt x="340" y="456"/>
                </a:lnTo>
                <a:lnTo>
                  <a:pt x="336" y="456"/>
                </a:lnTo>
                <a:lnTo>
                  <a:pt x="330" y="457"/>
                </a:lnTo>
                <a:lnTo>
                  <a:pt x="327" y="457"/>
                </a:lnTo>
                <a:lnTo>
                  <a:pt x="321" y="459"/>
                </a:lnTo>
                <a:lnTo>
                  <a:pt x="317" y="461"/>
                </a:lnTo>
                <a:lnTo>
                  <a:pt x="311" y="461"/>
                </a:lnTo>
                <a:lnTo>
                  <a:pt x="307" y="463"/>
                </a:lnTo>
                <a:lnTo>
                  <a:pt x="307" y="463"/>
                </a:lnTo>
                <a:lnTo>
                  <a:pt x="302" y="467"/>
                </a:lnTo>
                <a:lnTo>
                  <a:pt x="296" y="471"/>
                </a:lnTo>
                <a:lnTo>
                  <a:pt x="292" y="475"/>
                </a:lnTo>
                <a:lnTo>
                  <a:pt x="290" y="480"/>
                </a:lnTo>
                <a:lnTo>
                  <a:pt x="287" y="484"/>
                </a:lnTo>
                <a:lnTo>
                  <a:pt x="283" y="490"/>
                </a:lnTo>
                <a:lnTo>
                  <a:pt x="279" y="496"/>
                </a:lnTo>
                <a:lnTo>
                  <a:pt x="275" y="499"/>
                </a:lnTo>
                <a:lnTo>
                  <a:pt x="275" y="499"/>
                </a:lnTo>
                <a:lnTo>
                  <a:pt x="273" y="501"/>
                </a:lnTo>
                <a:lnTo>
                  <a:pt x="267" y="501"/>
                </a:lnTo>
                <a:lnTo>
                  <a:pt x="260" y="503"/>
                </a:lnTo>
                <a:lnTo>
                  <a:pt x="252" y="505"/>
                </a:lnTo>
                <a:lnTo>
                  <a:pt x="243" y="509"/>
                </a:lnTo>
                <a:lnTo>
                  <a:pt x="233" y="511"/>
                </a:lnTo>
                <a:lnTo>
                  <a:pt x="224" y="513"/>
                </a:lnTo>
                <a:lnTo>
                  <a:pt x="212" y="515"/>
                </a:lnTo>
                <a:lnTo>
                  <a:pt x="203" y="519"/>
                </a:lnTo>
                <a:lnTo>
                  <a:pt x="191" y="520"/>
                </a:lnTo>
                <a:lnTo>
                  <a:pt x="182" y="520"/>
                </a:lnTo>
                <a:lnTo>
                  <a:pt x="174" y="522"/>
                </a:lnTo>
                <a:lnTo>
                  <a:pt x="166" y="524"/>
                </a:lnTo>
                <a:lnTo>
                  <a:pt x="161" y="526"/>
                </a:lnTo>
                <a:lnTo>
                  <a:pt x="159" y="526"/>
                </a:lnTo>
                <a:lnTo>
                  <a:pt x="157" y="526"/>
                </a:lnTo>
                <a:lnTo>
                  <a:pt x="157" y="526"/>
                </a:lnTo>
                <a:lnTo>
                  <a:pt x="153" y="526"/>
                </a:lnTo>
                <a:lnTo>
                  <a:pt x="149" y="526"/>
                </a:lnTo>
                <a:lnTo>
                  <a:pt x="147" y="526"/>
                </a:lnTo>
                <a:lnTo>
                  <a:pt x="145" y="526"/>
                </a:lnTo>
                <a:lnTo>
                  <a:pt x="143" y="526"/>
                </a:lnTo>
                <a:lnTo>
                  <a:pt x="142" y="526"/>
                </a:lnTo>
                <a:lnTo>
                  <a:pt x="140" y="526"/>
                </a:lnTo>
                <a:lnTo>
                  <a:pt x="140" y="526"/>
                </a:lnTo>
                <a:lnTo>
                  <a:pt x="140" y="526"/>
                </a:lnTo>
                <a:lnTo>
                  <a:pt x="132" y="526"/>
                </a:lnTo>
                <a:lnTo>
                  <a:pt x="122" y="528"/>
                </a:lnTo>
                <a:lnTo>
                  <a:pt x="115" y="530"/>
                </a:lnTo>
                <a:lnTo>
                  <a:pt x="105" y="534"/>
                </a:lnTo>
                <a:lnTo>
                  <a:pt x="98" y="536"/>
                </a:lnTo>
                <a:lnTo>
                  <a:pt x="90" y="540"/>
                </a:lnTo>
                <a:lnTo>
                  <a:pt x="81" y="545"/>
                </a:lnTo>
                <a:lnTo>
                  <a:pt x="71" y="549"/>
                </a:lnTo>
                <a:lnTo>
                  <a:pt x="63" y="555"/>
                </a:lnTo>
                <a:lnTo>
                  <a:pt x="56" y="561"/>
                </a:lnTo>
                <a:lnTo>
                  <a:pt x="48" y="564"/>
                </a:lnTo>
                <a:lnTo>
                  <a:pt x="40" y="570"/>
                </a:lnTo>
                <a:lnTo>
                  <a:pt x="33" y="576"/>
                </a:lnTo>
                <a:lnTo>
                  <a:pt x="25" y="582"/>
                </a:lnTo>
                <a:lnTo>
                  <a:pt x="18" y="585"/>
                </a:lnTo>
                <a:lnTo>
                  <a:pt x="12" y="591"/>
                </a:lnTo>
                <a:lnTo>
                  <a:pt x="12" y="591"/>
                </a:lnTo>
                <a:lnTo>
                  <a:pt x="6" y="595"/>
                </a:lnTo>
                <a:lnTo>
                  <a:pt x="4" y="601"/>
                </a:lnTo>
                <a:lnTo>
                  <a:pt x="2" y="606"/>
                </a:lnTo>
                <a:lnTo>
                  <a:pt x="2" y="614"/>
                </a:lnTo>
                <a:lnTo>
                  <a:pt x="2" y="620"/>
                </a:lnTo>
                <a:lnTo>
                  <a:pt x="2" y="625"/>
                </a:lnTo>
                <a:lnTo>
                  <a:pt x="2" y="633"/>
                </a:lnTo>
                <a:lnTo>
                  <a:pt x="0" y="639"/>
                </a:lnTo>
                <a:lnTo>
                  <a:pt x="6" y="664"/>
                </a:lnTo>
                <a:lnTo>
                  <a:pt x="2" y="698"/>
                </a:lnTo>
                <a:lnTo>
                  <a:pt x="245" y="898"/>
                </a:lnTo>
                <a:lnTo>
                  <a:pt x="239" y="898"/>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3" name="Freeform 45"/>
          <p:cNvSpPr>
            <a:spLocks/>
          </p:cNvSpPr>
          <p:nvPr>
            <p:custDataLst>
              <p:tags r:id="rId45"/>
            </p:custDataLst>
          </p:nvPr>
        </p:nvSpPr>
        <p:spPr bwMode="gray">
          <a:xfrm>
            <a:off x="3199192" y="1120871"/>
            <a:ext cx="268894" cy="498881"/>
          </a:xfrm>
          <a:custGeom>
            <a:avLst/>
            <a:gdLst/>
            <a:ahLst/>
            <a:cxnLst>
              <a:cxn ang="0">
                <a:pos x="124" y="554"/>
              </a:cxn>
              <a:cxn ang="0">
                <a:pos x="121" y="542"/>
              </a:cxn>
              <a:cxn ang="0">
                <a:pos x="115" y="525"/>
              </a:cxn>
              <a:cxn ang="0">
                <a:pos x="107" y="485"/>
              </a:cxn>
              <a:cxn ang="0">
                <a:pos x="102" y="449"/>
              </a:cxn>
              <a:cxn ang="0">
                <a:pos x="90" y="418"/>
              </a:cxn>
              <a:cxn ang="0">
                <a:pos x="75" y="397"/>
              </a:cxn>
              <a:cxn ang="0">
                <a:pos x="56" y="374"/>
              </a:cxn>
              <a:cxn ang="0">
                <a:pos x="31" y="340"/>
              </a:cxn>
              <a:cxn ang="0">
                <a:pos x="8" y="302"/>
              </a:cxn>
              <a:cxn ang="0">
                <a:pos x="0" y="273"/>
              </a:cxn>
              <a:cxn ang="0">
                <a:pos x="6" y="246"/>
              </a:cxn>
              <a:cxn ang="0">
                <a:pos x="27" y="222"/>
              </a:cxn>
              <a:cxn ang="0">
                <a:pos x="52" y="203"/>
              </a:cxn>
              <a:cxn ang="0">
                <a:pos x="69" y="178"/>
              </a:cxn>
              <a:cxn ang="0">
                <a:pos x="73" y="147"/>
              </a:cxn>
              <a:cxn ang="0">
                <a:pos x="77" y="107"/>
              </a:cxn>
              <a:cxn ang="0">
                <a:pos x="81" y="71"/>
              </a:cxn>
              <a:cxn ang="0">
                <a:pos x="94" y="42"/>
              </a:cxn>
              <a:cxn ang="0">
                <a:pos x="113" y="29"/>
              </a:cxn>
              <a:cxn ang="0">
                <a:pos x="130" y="19"/>
              </a:cxn>
              <a:cxn ang="0">
                <a:pos x="145" y="10"/>
              </a:cxn>
              <a:cxn ang="0">
                <a:pos x="161" y="2"/>
              </a:cxn>
              <a:cxn ang="0">
                <a:pos x="178" y="0"/>
              </a:cxn>
              <a:cxn ang="0">
                <a:pos x="210" y="21"/>
              </a:cxn>
              <a:cxn ang="0">
                <a:pos x="233" y="42"/>
              </a:cxn>
              <a:cxn ang="0">
                <a:pos x="246" y="39"/>
              </a:cxn>
              <a:cxn ang="0">
                <a:pos x="262" y="29"/>
              </a:cxn>
              <a:cxn ang="0">
                <a:pos x="269" y="33"/>
              </a:cxn>
              <a:cxn ang="0">
                <a:pos x="271" y="46"/>
              </a:cxn>
              <a:cxn ang="0">
                <a:pos x="243" y="71"/>
              </a:cxn>
              <a:cxn ang="0">
                <a:pos x="231" y="90"/>
              </a:cxn>
              <a:cxn ang="0">
                <a:pos x="235" y="107"/>
              </a:cxn>
              <a:cxn ang="0">
                <a:pos x="245" y="124"/>
              </a:cxn>
              <a:cxn ang="0">
                <a:pos x="256" y="143"/>
              </a:cxn>
              <a:cxn ang="0">
                <a:pos x="260" y="166"/>
              </a:cxn>
              <a:cxn ang="0">
                <a:pos x="254" y="189"/>
              </a:cxn>
              <a:cxn ang="0">
                <a:pos x="235" y="210"/>
              </a:cxn>
              <a:cxn ang="0">
                <a:pos x="212" y="225"/>
              </a:cxn>
              <a:cxn ang="0">
                <a:pos x="199" y="246"/>
              </a:cxn>
              <a:cxn ang="0">
                <a:pos x="203" y="269"/>
              </a:cxn>
              <a:cxn ang="0">
                <a:pos x="229" y="287"/>
              </a:cxn>
              <a:cxn ang="0">
                <a:pos x="264" y="290"/>
              </a:cxn>
              <a:cxn ang="0">
                <a:pos x="279" y="317"/>
              </a:cxn>
              <a:cxn ang="0">
                <a:pos x="292" y="338"/>
              </a:cxn>
              <a:cxn ang="0">
                <a:pos x="290" y="355"/>
              </a:cxn>
              <a:cxn ang="0">
                <a:pos x="288" y="372"/>
              </a:cxn>
              <a:cxn ang="0">
                <a:pos x="281" y="386"/>
              </a:cxn>
              <a:cxn ang="0">
                <a:pos x="250" y="405"/>
              </a:cxn>
              <a:cxn ang="0">
                <a:pos x="218" y="428"/>
              </a:cxn>
              <a:cxn ang="0">
                <a:pos x="195" y="451"/>
              </a:cxn>
              <a:cxn ang="0">
                <a:pos x="193" y="468"/>
              </a:cxn>
              <a:cxn ang="0">
                <a:pos x="191" y="483"/>
              </a:cxn>
              <a:cxn ang="0">
                <a:pos x="193" y="491"/>
              </a:cxn>
              <a:cxn ang="0">
                <a:pos x="193" y="515"/>
              </a:cxn>
              <a:cxn ang="0">
                <a:pos x="178" y="536"/>
              </a:cxn>
              <a:cxn ang="0">
                <a:pos x="155" y="552"/>
              </a:cxn>
              <a:cxn ang="0">
                <a:pos x="134" y="559"/>
              </a:cxn>
            </a:cxnLst>
            <a:rect l="0" t="0" r="r" b="b"/>
            <a:pathLst>
              <a:path w="292" h="561">
                <a:moveTo>
                  <a:pt x="126" y="559"/>
                </a:moveTo>
                <a:lnTo>
                  <a:pt x="126" y="559"/>
                </a:lnTo>
                <a:lnTo>
                  <a:pt x="126" y="556"/>
                </a:lnTo>
                <a:lnTo>
                  <a:pt x="124" y="554"/>
                </a:lnTo>
                <a:lnTo>
                  <a:pt x="124" y="550"/>
                </a:lnTo>
                <a:lnTo>
                  <a:pt x="123" y="548"/>
                </a:lnTo>
                <a:lnTo>
                  <a:pt x="121" y="544"/>
                </a:lnTo>
                <a:lnTo>
                  <a:pt x="121" y="542"/>
                </a:lnTo>
                <a:lnTo>
                  <a:pt x="119" y="538"/>
                </a:lnTo>
                <a:lnTo>
                  <a:pt x="119" y="536"/>
                </a:lnTo>
                <a:lnTo>
                  <a:pt x="119" y="536"/>
                </a:lnTo>
                <a:lnTo>
                  <a:pt x="115" y="525"/>
                </a:lnTo>
                <a:lnTo>
                  <a:pt x="111" y="515"/>
                </a:lnTo>
                <a:lnTo>
                  <a:pt x="109" y="504"/>
                </a:lnTo>
                <a:lnTo>
                  <a:pt x="107" y="494"/>
                </a:lnTo>
                <a:lnTo>
                  <a:pt x="107" y="485"/>
                </a:lnTo>
                <a:lnTo>
                  <a:pt x="105" y="475"/>
                </a:lnTo>
                <a:lnTo>
                  <a:pt x="103" y="466"/>
                </a:lnTo>
                <a:lnTo>
                  <a:pt x="102" y="458"/>
                </a:lnTo>
                <a:lnTo>
                  <a:pt x="102" y="449"/>
                </a:lnTo>
                <a:lnTo>
                  <a:pt x="100" y="441"/>
                </a:lnTo>
                <a:lnTo>
                  <a:pt x="96" y="433"/>
                </a:lnTo>
                <a:lnTo>
                  <a:pt x="94" y="426"/>
                </a:lnTo>
                <a:lnTo>
                  <a:pt x="90" y="418"/>
                </a:lnTo>
                <a:lnTo>
                  <a:pt x="86" y="411"/>
                </a:lnTo>
                <a:lnTo>
                  <a:pt x="81" y="403"/>
                </a:lnTo>
                <a:lnTo>
                  <a:pt x="75" y="397"/>
                </a:lnTo>
                <a:lnTo>
                  <a:pt x="75" y="397"/>
                </a:lnTo>
                <a:lnTo>
                  <a:pt x="71" y="393"/>
                </a:lnTo>
                <a:lnTo>
                  <a:pt x="65" y="388"/>
                </a:lnTo>
                <a:lnTo>
                  <a:pt x="61" y="382"/>
                </a:lnTo>
                <a:lnTo>
                  <a:pt x="56" y="374"/>
                </a:lnTo>
                <a:lnTo>
                  <a:pt x="48" y="367"/>
                </a:lnTo>
                <a:lnTo>
                  <a:pt x="42" y="357"/>
                </a:lnTo>
                <a:lnTo>
                  <a:pt x="37" y="349"/>
                </a:lnTo>
                <a:lnTo>
                  <a:pt x="31" y="340"/>
                </a:lnTo>
                <a:lnTo>
                  <a:pt x="23" y="330"/>
                </a:lnTo>
                <a:lnTo>
                  <a:pt x="18" y="321"/>
                </a:lnTo>
                <a:lnTo>
                  <a:pt x="14" y="311"/>
                </a:lnTo>
                <a:lnTo>
                  <a:pt x="8" y="302"/>
                </a:lnTo>
                <a:lnTo>
                  <a:pt x="6" y="294"/>
                </a:lnTo>
                <a:lnTo>
                  <a:pt x="2" y="287"/>
                </a:lnTo>
                <a:lnTo>
                  <a:pt x="0" y="279"/>
                </a:lnTo>
                <a:lnTo>
                  <a:pt x="0" y="273"/>
                </a:lnTo>
                <a:lnTo>
                  <a:pt x="0" y="273"/>
                </a:lnTo>
                <a:lnTo>
                  <a:pt x="0" y="264"/>
                </a:lnTo>
                <a:lnTo>
                  <a:pt x="2" y="254"/>
                </a:lnTo>
                <a:lnTo>
                  <a:pt x="6" y="246"/>
                </a:lnTo>
                <a:lnTo>
                  <a:pt x="10" y="239"/>
                </a:lnTo>
                <a:lnTo>
                  <a:pt x="16" y="233"/>
                </a:lnTo>
                <a:lnTo>
                  <a:pt x="21" y="227"/>
                </a:lnTo>
                <a:lnTo>
                  <a:pt x="27" y="222"/>
                </a:lnTo>
                <a:lnTo>
                  <a:pt x="33" y="216"/>
                </a:lnTo>
                <a:lnTo>
                  <a:pt x="39" y="212"/>
                </a:lnTo>
                <a:lnTo>
                  <a:pt x="46" y="206"/>
                </a:lnTo>
                <a:lnTo>
                  <a:pt x="52" y="203"/>
                </a:lnTo>
                <a:lnTo>
                  <a:pt x="58" y="197"/>
                </a:lnTo>
                <a:lnTo>
                  <a:pt x="61" y="191"/>
                </a:lnTo>
                <a:lnTo>
                  <a:pt x="65" y="185"/>
                </a:lnTo>
                <a:lnTo>
                  <a:pt x="69" y="178"/>
                </a:lnTo>
                <a:lnTo>
                  <a:pt x="71" y="170"/>
                </a:lnTo>
                <a:lnTo>
                  <a:pt x="71" y="170"/>
                </a:lnTo>
                <a:lnTo>
                  <a:pt x="73" y="159"/>
                </a:lnTo>
                <a:lnTo>
                  <a:pt x="73" y="147"/>
                </a:lnTo>
                <a:lnTo>
                  <a:pt x="75" y="138"/>
                </a:lnTo>
                <a:lnTo>
                  <a:pt x="75" y="126"/>
                </a:lnTo>
                <a:lnTo>
                  <a:pt x="75" y="117"/>
                </a:lnTo>
                <a:lnTo>
                  <a:pt x="77" y="107"/>
                </a:lnTo>
                <a:lnTo>
                  <a:pt x="77" y="98"/>
                </a:lnTo>
                <a:lnTo>
                  <a:pt x="77" y="88"/>
                </a:lnTo>
                <a:lnTo>
                  <a:pt x="79" y="79"/>
                </a:lnTo>
                <a:lnTo>
                  <a:pt x="81" y="71"/>
                </a:lnTo>
                <a:lnTo>
                  <a:pt x="82" y="63"/>
                </a:lnTo>
                <a:lnTo>
                  <a:pt x="86" y="56"/>
                </a:lnTo>
                <a:lnTo>
                  <a:pt x="90" y="48"/>
                </a:lnTo>
                <a:lnTo>
                  <a:pt x="94" y="42"/>
                </a:lnTo>
                <a:lnTo>
                  <a:pt x="100" y="37"/>
                </a:lnTo>
                <a:lnTo>
                  <a:pt x="107" y="31"/>
                </a:lnTo>
                <a:lnTo>
                  <a:pt x="107" y="31"/>
                </a:lnTo>
                <a:lnTo>
                  <a:pt x="113" y="29"/>
                </a:lnTo>
                <a:lnTo>
                  <a:pt x="117" y="27"/>
                </a:lnTo>
                <a:lnTo>
                  <a:pt x="123" y="25"/>
                </a:lnTo>
                <a:lnTo>
                  <a:pt x="126" y="23"/>
                </a:lnTo>
                <a:lnTo>
                  <a:pt x="130" y="19"/>
                </a:lnTo>
                <a:lnTo>
                  <a:pt x="134" y="18"/>
                </a:lnTo>
                <a:lnTo>
                  <a:pt x="138" y="16"/>
                </a:lnTo>
                <a:lnTo>
                  <a:pt x="142" y="12"/>
                </a:lnTo>
                <a:lnTo>
                  <a:pt x="145" y="10"/>
                </a:lnTo>
                <a:lnTo>
                  <a:pt x="149" y="8"/>
                </a:lnTo>
                <a:lnTo>
                  <a:pt x="153" y="6"/>
                </a:lnTo>
                <a:lnTo>
                  <a:pt x="157" y="4"/>
                </a:lnTo>
                <a:lnTo>
                  <a:pt x="161" y="2"/>
                </a:lnTo>
                <a:lnTo>
                  <a:pt x="166" y="2"/>
                </a:lnTo>
                <a:lnTo>
                  <a:pt x="172" y="0"/>
                </a:lnTo>
                <a:lnTo>
                  <a:pt x="178" y="0"/>
                </a:lnTo>
                <a:lnTo>
                  <a:pt x="178" y="0"/>
                </a:lnTo>
                <a:lnTo>
                  <a:pt x="185" y="2"/>
                </a:lnTo>
                <a:lnTo>
                  <a:pt x="195" y="8"/>
                </a:lnTo>
                <a:lnTo>
                  <a:pt x="203" y="14"/>
                </a:lnTo>
                <a:lnTo>
                  <a:pt x="210" y="21"/>
                </a:lnTo>
                <a:lnTo>
                  <a:pt x="216" y="29"/>
                </a:lnTo>
                <a:lnTo>
                  <a:pt x="224" y="35"/>
                </a:lnTo>
                <a:lnTo>
                  <a:pt x="229" y="40"/>
                </a:lnTo>
                <a:lnTo>
                  <a:pt x="233" y="42"/>
                </a:lnTo>
                <a:lnTo>
                  <a:pt x="233" y="42"/>
                </a:lnTo>
                <a:lnTo>
                  <a:pt x="239" y="42"/>
                </a:lnTo>
                <a:lnTo>
                  <a:pt x="243" y="40"/>
                </a:lnTo>
                <a:lnTo>
                  <a:pt x="246" y="39"/>
                </a:lnTo>
                <a:lnTo>
                  <a:pt x="252" y="37"/>
                </a:lnTo>
                <a:lnTo>
                  <a:pt x="256" y="35"/>
                </a:lnTo>
                <a:lnTo>
                  <a:pt x="260" y="33"/>
                </a:lnTo>
                <a:lnTo>
                  <a:pt x="262" y="29"/>
                </a:lnTo>
                <a:lnTo>
                  <a:pt x="264" y="29"/>
                </a:lnTo>
                <a:lnTo>
                  <a:pt x="264" y="29"/>
                </a:lnTo>
                <a:lnTo>
                  <a:pt x="267" y="31"/>
                </a:lnTo>
                <a:lnTo>
                  <a:pt x="269" y="33"/>
                </a:lnTo>
                <a:lnTo>
                  <a:pt x="273" y="35"/>
                </a:lnTo>
                <a:lnTo>
                  <a:pt x="275" y="37"/>
                </a:lnTo>
                <a:lnTo>
                  <a:pt x="275" y="37"/>
                </a:lnTo>
                <a:lnTo>
                  <a:pt x="271" y="46"/>
                </a:lnTo>
                <a:lnTo>
                  <a:pt x="266" y="54"/>
                </a:lnTo>
                <a:lnTo>
                  <a:pt x="258" y="61"/>
                </a:lnTo>
                <a:lnTo>
                  <a:pt x="250" y="67"/>
                </a:lnTo>
                <a:lnTo>
                  <a:pt x="243" y="71"/>
                </a:lnTo>
                <a:lnTo>
                  <a:pt x="237" y="77"/>
                </a:lnTo>
                <a:lnTo>
                  <a:pt x="233" y="82"/>
                </a:lnTo>
                <a:lnTo>
                  <a:pt x="231" y="90"/>
                </a:lnTo>
                <a:lnTo>
                  <a:pt x="231" y="90"/>
                </a:lnTo>
                <a:lnTo>
                  <a:pt x="231" y="94"/>
                </a:lnTo>
                <a:lnTo>
                  <a:pt x="231" y="98"/>
                </a:lnTo>
                <a:lnTo>
                  <a:pt x="233" y="103"/>
                </a:lnTo>
                <a:lnTo>
                  <a:pt x="235" y="107"/>
                </a:lnTo>
                <a:lnTo>
                  <a:pt x="237" y="111"/>
                </a:lnTo>
                <a:lnTo>
                  <a:pt x="239" y="115"/>
                </a:lnTo>
                <a:lnTo>
                  <a:pt x="243" y="121"/>
                </a:lnTo>
                <a:lnTo>
                  <a:pt x="245" y="124"/>
                </a:lnTo>
                <a:lnTo>
                  <a:pt x="248" y="128"/>
                </a:lnTo>
                <a:lnTo>
                  <a:pt x="250" y="134"/>
                </a:lnTo>
                <a:lnTo>
                  <a:pt x="254" y="138"/>
                </a:lnTo>
                <a:lnTo>
                  <a:pt x="256" y="143"/>
                </a:lnTo>
                <a:lnTo>
                  <a:pt x="258" y="149"/>
                </a:lnTo>
                <a:lnTo>
                  <a:pt x="258" y="155"/>
                </a:lnTo>
                <a:lnTo>
                  <a:pt x="260" y="161"/>
                </a:lnTo>
                <a:lnTo>
                  <a:pt x="260" y="166"/>
                </a:lnTo>
                <a:lnTo>
                  <a:pt x="260" y="166"/>
                </a:lnTo>
                <a:lnTo>
                  <a:pt x="260" y="176"/>
                </a:lnTo>
                <a:lnTo>
                  <a:pt x="258" y="182"/>
                </a:lnTo>
                <a:lnTo>
                  <a:pt x="254" y="189"/>
                </a:lnTo>
                <a:lnTo>
                  <a:pt x="250" y="195"/>
                </a:lnTo>
                <a:lnTo>
                  <a:pt x="245" y="201"/>
                </a:lnTo>
                <a:lnTo>
                  <a:pt x="241" y="205"/>
                </a:lnTo>
                <a:lnTo>
                  <a:pt x="235" y="210"/>
                </a:lnTo>
                <a:lnTo>
                  <a:pt x="229" y="212"/>
                </a:lnTo>
                <a:lnTo>
                  <a:pt x="224" y="216"/>
                </a:lnTo>
                <a:lnTo>
                  <a:pt x="218" y="222"/>
                </a:lnTo>
                <a:lnTo>
                  <a:pt x="212" y="225"/>
                </a:lnTo>
                <a:lnTo>
                  <a:pt x="208" y="229"/>
                </a:lnTo>
                <a:lnTo>
                  <a:pt x="205" y="235"/>
                </a:lnTo>
                <a:lnTo>
                  <a:pt x="201" y="239"/>
                </a:lnTo>
                <a:lnTo>
                  <a:pt x="199" y="246"/>
                </a:lnTo>
                <a:lnTo>
                  <a:pt x="199" y="252"/>
                </a:lnTo>
                <a:lnTo>
                  <a:pt x="199" y="252"/>
                </a:lnTo>
                <a:lnTo>
                  <a:pt x="199" y="262"/>
                </a:lnTo>
                <a:lnTo>
                  <a:pt x="203" y="269"/>
                </a:lnTo>
                <a:lnTo>
                  <a:pt x="208" y="275"/>
                </a:lnTo>
                <a:lnTo>
                  <a:pt x="214" y="281"/>
                </a:lnTo>
                <a:lnTo>
                  <a:pt x="222" y="285"/>
                </a:lnTo>
                <a:lnTo>
                  <a:pt x="229" y="287"/>
                </a:lnTo>
                <a:lnTo>
                  <a:pt x="239" y="288"/>
                </a:lnTo>
                <a:lnTo>
                  <a:pt x="246" y="290"/>
                </a:lnTo>
                <a:lnTo>
                  <a:pt x="264" y="290"/>
                </a:lnTo>
                <a:lnTo>
                  <a:pt x="264" y="290"/>
                </a:lnTo>
                <a:lnTo>
                  <a:pt x="266" y="300"/>
                </a:lnTo>
                <a:lnTo>
                  <a:pt x="267" y="308"/>
                </a:lnTo>
                <a:lnTo>
                  <a:pt x="273" y="313"/>
                </a:lnTo>
                <a:lnTo>
                  <a:pt x="279" y="317"/>
                </a:lnTo>
                <a:lnTo>
                  <a:pt x="285" y="319"/>
                </a:lnTo>
                <a:lnTo>
                  <a:pt x="288" y="323"/>
                </a:lnTo>
                <a:lnTo>
                  <a:pt x="292" y="329"/>
                </a:lnTo>
                <a:lnTo>
                  <a:pt x="292" y="338"/>
                </a:lnTo>
                <a:lnTo>
                  <a:pt x="292" y="338"/>
                </a:lnTo>
                <a:lnTo>
                  <a:pt x="292" y="346"/>
                </a:lnTo>
                <a:lnTo>
                  <a:pt x="292" y="351"/>
                </a:lnTo>
                <a:lnTo>
                  <a:pt x="290" y="355"/>
                </a:lnTo>
                <a:lnTo>
                  <a:pt x="288" y="359"/>
                </a:lnTo>
                <a:lnTo>
                  <a:pt x="287" y="363"/>
                </a:lnTo>
                <a:lnTo>
                  <a:pt x="288" y="367"/>
                </a:lnTo>
                <a:lnTo>
                  <a:pt x="288" y="372"/>
                </a:lnTo>
                <a:lnTo>
                  <a:pt x="292" y="378"/>
                </a:lnTo>
                <a:lnTo>
                  <a:pt x="292" y="378"/>
                </a:lnTo>
                <a:lnTo>
                  <a:pt x="288" y="382"/>
                </a:lnTo>
                <a:lnTo>
                  <a:pt x="281" y="386"/>
                </a:lnTo>
                <a:lnTo>
                  <a:pt x="275" y="390"/>
                </a:lnTo>
                <a:lnTo>
                  <a:pt x="267" y="393"/>
                </a:lnTo>
                <a:lnTo>
                  <a:pt x="258" y="399"/>
                </a:lnTo>
                <a:lnTo>
                  <a:pt x="250" y="405"/>
                </a:lnTo>
                <a:lnTo>
                  <a:pt x="243" y="411"/>
                </a:lnTo>
                <a:lnTo>
                  <a:pt x="233" y="416"/>
                </a:lnTo>
                <a:lnTo>
                  <a:pt x="226" y="422"/>
                </a:lnTo>
                <a:lnTo>
                  <a:pt x="218" y="428"/>
                </a:lnTo>
                <a:lnTo>
                  <a:pt x="210" y="433"/>
                </a:lnTo>
                <a:lnTo>
                  <a:pt x="205" y="441"/>
                </a:lnTo>
                <a:lnTo>
                  <a:pt x="199" y="447"/>
                </a:lnTo>
                <a:lnTo>
                  <a:pt x="195" y="451"/>
                </a:lnTo>
                <a:lnTo>
                  <a:pt x="193" y="456"/>
                </a:lnTo>
                <a:lnTo>
                  <a:pt x="193" y="462"/>
                </a:lnTo>
                <a:lnTo>
                  <a:pt x="193" y="462"/>
                </a:lnTo>
                <a:lnTo>
                  <a:pt x="193" y="468"/>
                </a:lnTo>
                <a:lnTo>
                  <a:pt x="191" y="473"/>
                </a:lnTo>
                <a:lnTo>
                  <a:pt x="191" y="477"/>
                </a:lnTo>
                <a:lnTo>
                  <a:pt x="191" y="481"/>
                </a:lnTo>
                <a:lnTo>
                  <a:pt x="191" y="483"/>
                </a:lnTo>
                <a:lnTo>
                  <a:pt x="191" y="487"/>
                </a:lnTo>
                <a:lnTo>
                  <a:pt x="191" y="489"/>
                </a:lnTo>
                <a:lnTo>
                  <a:pt x="193" y="491"/>
                </a:lnTo>
                <a:lnTo>
                  <a:pt x="193" y="491"/>
                </a:lnTo>
                <a:lnTo>
                  <a:pt x="195" y="498"/>
                </a:lnTo>
                <a:lnTo>
                  <a:pt x="195" y="504"/>
                </a:lnTo>
                <a:lnTo>
                  <a:pt x="195" y="510"/>
                </a:lnTo>
                <a:lnTo>
                  <a:pt x="193" y="515"/>
                </a:lnTo>
                <a:lnTo>
                  <a:pt x="191" y="521"/>
                </a:lnTo>
                <a:lnTo>
                  <a:pt x="187" y="527"/>
                </a:lnTo>
                <a:lnTo>
                  <a:pt x="184" y="531"/>
                </a:lnTo>
                <a:lnTo>
                  <a:pt x="178" y="536"/>
                </a:lnTo>
                <a:lnTo>
                  <a:pt x="174" y="540"/>
                </a:lnTo>
                <a:lnTo>
                  <a:pt x="166" y="544"/>
                </a:lnTo>
                <a:lnTo>
                  <a:pt x="161" y="548"/>
                </a:lnTo>
                <a:lnTo>
                  <a:pt x="155" y="552"/>
                </a:lnTo>
                <a:lnTo>
                  <a:pt x="149" y="556"/>
                </a:lnTo>
                <a:lnTo>
                  <a:pt x="143" y="557"/>
                </a:lnTo>
                <a:lnTo>
                  <a:pt x="138" y="559"/>
                </a:lnTo>
                <a:lnTo>
                  <a:pt x="134" y="559"/>
                </a:lnTo>
                <a:lnTo>
                  <a:pt x="134" y="561"/>
                </a:lnTo>
                <a:lnTo>
                  <a:pt x="126" y="559"/>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4" name="Freeform 46"/>
          <p:cNvSpPr>
            <a:spLocks/>
          </p:cNvSpPr>
          <p:nvPr>
            <p:custDataLst>
              <p:tags r:id="rId46"/>
            </p:custDataLst>
          </p:nvPr>
        </p:nvSpPr>
        <p:spPr bwMode="gray">
          <a:xfrm>
            <a:off x="2198131" y="2658003"/>
            <a:ext cx="566944" cy="393598"/>
          </a:xfrm>
          <a:custGeom>
            <a:avLst/>
            <a:gdLst/>
            <a:ahLst/>
            <a:cxnLst>
              <a:cxn ang="0">
                <a:pos x="596" y="238"/>
              </a:cxn>
              <a:cxn ang="0">
                <a:pos x="594" y="219"/>
              </a:cxn>
              <a:cxn ang="0">
                <a:pos x="605" y="219"/>
              </a:cxn>
              <a:cxn ang="0">
                <a:pos x="605" y="200"/>
              </a:cxn>
              <a:cxn ang="0">
                <a:pos x="584" y="193"/>
              </a:cxn>
              <a:cxn ang="0">
                <a:pos x="567" y="200"/>
              </a:cxn>
              <a:cxn ang="0">
                <a:pos x="536" y="185"/>
              </a:cxn>
              <a:cxn ang="0">
                <a:pos x="517" y="160"/>
              </a:cxn>
              <a:cxn ang="0">
                <a:pos x="535" y="151"/>
              </a:cxn>
              <a:cxn ang="0">
                <a:pos x="514" y="124"/>
              </a:cxn>
              <a:cxn ang="0">
                <a:pos x="472" y="76"/>
              </a:cxn>
              <a:cxn ang="0">
                <a:pos x="462" y="15"/>
              </a:cxn>
              <a:cxn ang="0">
                <a:pos x="426" y="4"/>
              </a:cxn>
              <a:cxn ang="0">
                <a:pos x="386" y="0"/>
              </a:cxn>
              <a:cxn ang="0">
                <a:pos x="346" y="17"/>
              </a:cxn>
              <a:cxn ang="0">
                <a:pos x="308" y="40"/>
              </a:cxn>
              <a:cxn ang="0">
                <a:pos x="290" y="53"/>
              </a:cxn>
              <a:cxn ang="0">
                <a:pos x="275" y="69"/>
              </a:cxn>
              <a:cxn ang="0">
                <a:pos x="260" y="59"/>
              </a:cxn>
              <a:cxn ang="0">
                <a:pos x="233" y="70"/>
              </a:cxn>
              <a:cxn ang="0">
                <a:pos x="206" y="105"/>
              </a:cxn>
              <a:cxn ang="0">
                <a:pos x="184" y="109"/>
              </a:cxn>
              <a:cxn ang="0">
                <a:pos x="180" y="128"/>
              </a:cxn>
              <a:cxn ang="0">
                <a:pos x="163" y="141"/>
              </a:cxn>
              <a:cxn ang="0">
                <a:pos x="140" y="126"/>
              </a:cxn>
              <a:cxn ang="0">
                <a:pos x="117" y="130"/>
              </a:cxn>
              <a:cxn ang="0">
                <a:pos x="102" y="147"/>
              </a:cxn>
              <a:cxn ang="0">
                <a:pos x="107" y="158"/>
              </a:cxn>
              <a:cxn ang="0">
                <a:pos x="58" y="233"/>
              </a:cxn>
              <a:cxn ang="0">
                <a:pos x="23" y="254"/>
              </a:cxn>
              <a:cxn ang="0">
                <a:pos x="23" y="263"/>
              </a:cxn>
              <a:cxn ang="0">
                <a:pos x="21" y="288"/>
              </a:cxn>
              <a:cxn ang="0">
                <a:pos x="0" y="318"/>
              </a:cxn>
              <a:cxn ang="0">
                <a:pos x="4" y="341"/>
              </a:cxn>
              <a:cxn ang="0">
                <a:pos x="18" y="362"/>
              </a:cxn>
              <a:cxn ang="0">
                <a:pos x="42" y="387"/>
              </a:cxn>
              <a:cxn ang="0">
                <a:pos x="67" y="414"/>
              </a:cxn>
              <a:cxn ang="0">
                <a:pos x="109" y="412"/>
              </a:cxn>
              <a:cxn ang="0">
                <a:pos x="145" y="401"/>
              </a:cxn>
              <a:cxn ang="0">
                <a:pos x="193" y="429"/>
              </a:cxn>
              <a:cxn ang="0">
                <a:pos x="203" y="433"/>
              </a:cxn>
              <a:cxn ang="0">
                <a:pos x="201" y="420"/>
              </a:cxn>
              <a:cxn ang="0">
                <a:pos x="201" y="391"/>
              </a:cxn>
              <a:cxn ang="0">
                <a:pos x="201" y="370"/>
              </a:cxn>
              <a:cxn ang="0">
                <a:pos x="203" y="343"/>
              </a:cxn>
              <a:cxn ang="0">
                <a:pos x="225" y="317"/>
              </a:cxn>
              <a:cxn ang="0">
                <a:pos x="359" y="332"/>
              </a:cxn>
              <a:cxn ang="0">
                <a:pos x="390" y="336"/>
              </a:cxn>
              <a:cxn ang="0">
                <a:pos x="414" y="322"/>
              </a:cxn>
              <a:cxn ang="0">
                <a:pos x="432" y="320"/>
              </a:cxn>
              <a:cxn ang="0">
                <a:pos x="458" y="324"/>
              </a:cxn>
              <a:cxn ang="0">
                <a:pos x="494" y="336"/>
              </a:cxn>
              <a:cxn ang="0">
                <a:pos x="514" y="311"/>
              </a:cxn>
              <a:cxn ang="0">
                <a:pos x="542" y="297"/>
              </a:cxn>
              <a:cxn ang="0">
                <a:pos x="576" y="294"/>
              </a:cxn>
              <a:cxn ang="0">
                <a:pos x="609" y="254"/>
              </a:cxn>
              <a:cxn ang="0">
                <a:pos x="618" y="236"/>
              </a:cxn>
            </a:cxnLst>
            <a:rect l="0" t="0" r="r" b="b"/>
            <a:pathLst>
              <a:path w="618" h="442">
                <a:moveTo>
                  <a:pt x="609" y="248"/>
                </a:moveTo>
                <a:lnTo>
                  <a:pt x="609" y="248"/>
                </a:lnTo>
                <a:lnTo>
                  <a:pt x="605" y="246"/>
                </a:lnTo>
                <a:lnTo>
                  <a:pt x="601" y="244"/>
                </a:lnTo>
                <a:lnTo>
                  <a:pt x="597" y="240"/>
                </a:lnTo>
                <a:lnTo>
                  <a:pt x="596" y="238"/>
                </a:lnTo>
                <a:lnTo>
                  <a:pt x="594" y="235"/>
                </a:lnTo>
                <a:lnTo>
                  <a:pt x="592" y="231"/>
                </a:lnTo>
                <a:lnTo>
                  <a:pt x="592" y="225"/>
                </a:lnTo>
                <a:lnTo>
                  <a:pt x="592" y="217"/>
                </a:lnTo>
                <a:lnTo>
                  <a:pt x="592" y="217"/>
                </a:lnTo>
                <a:lnTo>
                  <a:pt x="594" y="219"/>
                </a:lnTo>
                <a:lnTo>
                  <a:pt x="596" y="221"/>
                </a:lnTo>
                <a:lnTo>
                  <a:pt x="597" y="221"/>
                </a:lnTo>
                <a:lnTo>
                  <a:pt x="597" y="221"/>
                </a:lnTo>
                <a:lnTo>
                  <a:pt x="599" y="221"/>
                </a:lnTo>
                <a:lnTo>
                  <a:pt x="603" y="219"/>
                </a:lnTo>
                <a:lnTo>
                  <a:pt x="605" y="219"/>
                </a:lnTo>
                <a:lnTo>
                  <a:pt x="609" y="217"/>
                </a:lnTo>
                <a:lnTo>
                  <a:pt x="609" y="217"/>
                </a:lnTo>
                <a:lnTo>
                  <a:pt x="609" y="214"/>
                </a:lnTo>
                <a:lnTo>
                  <a:pt x="607" y="208"/>
                </a:lnTo>
                <a:lnTo>
                  <a:pt x="607" y="204"/>
                </a:lnTo>
                <a:lnTo>
                  <a:pt x="605" y="200"/>
                </a:lnTo>
                <a:lnTo>
                  <a:pt x="601" y="196"/>
                </a:lnTo>
                <a:lnTo>
                  <a:pt x="599" y="194"/>
                </a:lnTo>
                <a:lnTo>
                  <a:pt x="594" y="193"/>
                </a:lnTo>
                <a:lnTo>
                  <a:pt x="590" y="193"/>
                </a:lnTo>
                <a:lnTo>
                  <a:pt x="590" y="193"/>
                </a:lnTo>
                <a:lnTo>
                  <a:pt x="584" y="193"/>
                </a:lnTo>
                <a:lnTo>
                  <a:pt x="580" y="193"/>
                </a:lnTo>
                <a:lnTo>
                  <a:pt x="578" y="194"/>
                </a:lnTo>
                <a:lnTo>
                  <a:pt x="575" y="196"/>
                </a:lnTo>
                <a:lnTo>
                  <a:pt x="573" y="198"/>
                </a:lnTo>
                <a:lnTo>
                  <a:pt x="571" y="198"/>
                </a:lnTo>
                <a:lnTo>
                  <a:pt x="567" y="200"/>
                </a:lnTo>
                <a:lnTo>
                  <a:pt x="565" y="200"/>
                </a:lnTo>
                <a:lnTo>
                  <a:pt x="565" y="200"/>
                </a:lnTo>
                <a:lnTo>
                  <a:pt x="559" y="198"/>
                </a:lnTo>
                <a:lnTo>
                  <a:pt x="552" y="196"/>
                </a:lnTo>
                <a:lnTo>
                  <a:pt x="544" y="191"/>
                </a:lnTo>
                <a:lnTo>
                  <a:pt x="536" y="185"/>
                </a:lnTo>
                <a:lnTo>
                  <a:pt x="529" y="179"/>
                </a:lnTo>
                <a:lnTo>
                  <a:pt x="523" y="173"/>
                </a:lnTo>
                <a:lnTo>
                  <a:pt x="517" y="168"/>
                </a:lnTo>
                <a:lnTo>
                  <a:pt x="514" y="162"/>
                </a:lnTo>
                <a:lnTo>
                  <a:pt x="514" y="162"/>
                </a:lnTo>
                <a:lnTo>
                  <a:pt x="517" y="160"/>
                </a:lnTo>
                <a:lnTo>
                  <a:pt x="519" y="158"/>
                </a:lnTo>
                <a:lnTo>
                  <a:pt x="523" y="158"/>
                </a:lnTo>
                <a:lnTo>
                  <a:pt x="525" y="156"/>
                </a:lnTo>
                <a:lnTo>
                  <a:pt x="529" y="154"/>
                </a:lnTo>
                <a:lnTo>
                  <a:pt x="531" y="153"/>
                </a:lnTo>
                <a:lnTo>
                  <a:pt x="535" y="151"/>
                </a:lnTo>
                <a:lnTo>
                  <a:pt x="538" y="149"/>
                </a:lnTo>
                <a:lnTo>
                  <a:pt x="538" y="149"/>
                </a:lnTo>
                <a:lnTo>
                  <a:pt x="533" y="143"/>
                </a:lnTo>
                <a:lnTo>
                  <a:pt x="527" y="137"/>
                </a:lnTo>
                <a:lnTo>
                  <a:pt x="521" y="132"/>
                </a:lnTo>
                <a:lnTo>
                  <a:pt x="514" y="124"/>
                </a:lnTo>
                <a:lnTo>
                  <a:pt x="506" y="118"/>
                </a:lnTo>
                <a:lnTo>
                  <a:pt x="498" y="111"/>
                </a:lnTo>
                <a:lnTo>
                  <a:pt x="493" y="103"/>
                </a:lnTo>
                <a:lnTo>
                  <a:pt x="485" y="93"/>
                </a:lnTo>
                <a:lnTo>
                  <a:pt x="477" y="86"/>
                </a:lnTo>
                <a:lnTo>
                  <a:pt x="472" y="76"/>
                </a:lnTo>
                <a:lnTo>
                  <a:pt x="468" y="67"/>
                </a:lnTo>
                <a:lnTo>
                  <a:pt x="462" y="57"/>
                </a:lnTo>
                <a:lnTo>
                  <a:pt x="460" y="48"/>
                </a:lnTo>
                <a:lnTo>
                  <a:pt x="458" y="36"/>
                </a:lnTo>
                <a:lnTo>
                  <a:pt x="458" y="27"/>
                </a:lnTo>
                <a:lnTo>
                  <a:pt x="462" y="15"/>
                </a:lnTo>
                <a:lnTo>
                  <a:pt x="462" y="15"/>
                </a:lnTo>
                <a:lnTo>
                  <a:pt x="454" y="13"/>
                </a:lnTo>
                <a:lnTo>
                  <a:pt x="447" y="11"/>
                </a:lnTo>
                <a:lnTo>
                  <a:pt x="439" y="9"/>
                </a:lnTo>
                <a:lnTo>
                  <a:pt x="433" y="6"/>
                </a:lnTo>
                <a:lnTo>
                  <a:pt x="426" y="4"/>
                </a:lnTo>
                <a:lnTo>
                  <a:pt x="418" y="2"/>
                </a:lnTo>
                <a:lnTo>
                  <a:pt x="409" y="0"/>
                </a:lnTo>
                <a:lnTo>
                  <a:pt x="399" y="0"/>
                </a:lnTo>
                <a:lnTo>
                  <a:pt x="399" y="0"/>
                </a:lnTo>
                <a:lnTo>
                  <a:pt x="393" y="0"/>
                </a:lnTo>
                <a:lnTo>
                  <a:pt x="386" y="0"/>
                </a:lnTo>
                <a:lnTo>
                  <a:pt x="378" y="2"/>
                </a:lnTo>
                <a:lnTo>
                  <a:pt x="372" y="4"/>
                </a:lnTo>
                <a:lnTo>
                  <a:pt x="365" y="8"/>
                </a:lnTo>
                <a:lnTo>
                  <a:pt x="359" y="9"/>
                </a:lnTo>
                <a:lnTo>
                  <a:pt x="351" y="13"/>
                </a:lnTo>
                <a:lnTo>
                  <a:pt x="346" y="17"/>
                </a:lnTo>
                <a:lnTo>
                  <a:pt x="340" y="21"/>
                </a:lnTo>
                <a:lnTo>
                  <a:pt x="332" y="25"/>
                </a:lnTo>
                <a:lnTo>
                  <a:pt x="327" y="29"/>
                </a:lnTo>
                <a:lnTo>
                  <a:pt x="321" y="32"/>
                </a:lnTo>
                <a:lnTo>
                  <a:pt x="313" y="36"/>
                </a:lnTo>
                <a:lnTo>
                  <a:pt x="308" y="40"/>
                </a:lnTo>
                <a:lnTo>
                  <a:pt x="302" y="44"/>
                </a:lnTo>
                <a:lnTo>
                  <a:pt x="296" y="46"/>
                </a:lnTo>
                <a:lnTo>
                  <a:pt x="296" y="46"/>
                </a:lnTo>
                <a:lnTo>
                  <a:pt x="294" y="48"/>
                </a:lnTo>
                <a:lnTo>
                  <a:pt x="292" y="51"/>
                </a:lnTo>
                <a:lnTo>
                  <a:pt x="290" y="53"/>
                </a:lnTo>
                <a:lnTo>
                  <a:pt x="288" y="57"/>
                </a:lnTo>
                <a:lnTo>
                  <a:pt x="285" y="61"/>
                </a:lnTo>
                <a:lnTo>
                  <a:pt x="283" y="65"/>
                </a:lnTo>
                <a:lnTo>
                  <a:pt x="279" y="67"/>
                </a:lnTo>
                <a:lnTo>
                  <a:pt x="275" y="69"/>
                </a:lnTo>
                <a:lnTo>
                  <a:pt x="275" y="69"/>
                </a:lnTo>
                <a:lnTo>
                  <a:pt x="273" y="67"/>
                </a:lnTo>
                <a:lnTo>
                  <a:pt x="269" y="67"/>
                </a:lnTo>
                <a:lnTo>
                  <a:pt x="267" y="65"/>
                </a:lnTo>
                <a:lnTo>
                  <a:pt x="266" y="63"/>
                </a:lnTo>
                <a:lnTo>
                  <a:pt x="264" y="61"/>
                </a:lnTo>
                <a:lnTo>
                  <a:pt x="260" y="59"/>
                </a:lnTo>
                <a:lnTo>
                  <a:pt x="258" y="59"/>
                </a:lnTo>
                <a:lnTo>
                  <a:pt x="254" y="59"/>
                </a:lnTo>
                <a:lnTo>
                  <a:pt x="254" y="59"/>
                </a:lnTo>
                <a:lnTo>
                  <a:pt x="246" y="59"/>
                </a:lnTo>
                <a:lnTo>
                  <a:pt x="239" y="65"/>
                </a:lnTo>
                <a:lnTo>
                  <a:pt x="233" y="70"/>
                </a:lnTo>
                <a:lnTo>
                  <a:pt x="227" y="80"/>
                </a:lnTo>
                <a:lnTo>
                  <a:pt x="224" y="88"/>
                </a:lnTo>
                <a:lnTo>
                  <a:pt x="220" y="95"/>
                </a:lnTo>
                <a:lnTo>
                  <a:pt x="214" y="101"/>
                </a:lnTo>
                <a:lnTo>
                  <a:pt x="206" y="105"/>
                </a:lnTo>
                <a:lnTo>
                  <a:pt x="206" y="105"/>
                </a:lnTo>
                <a:lnTo>
                  <a:pt x="205" y="105"/>
                </a:lnTo>
                <a:lnTo>
                  <a:pt x="201" y="105"/>
                </a:lnTo>
                <a:lnTo>
                  <a:pt x="197" y="105"/>
                </a:lnTo>
                <a:lnTo>
                  <a:pt x="191" y="105"/>
                </a:lnTo>
                <a:lnTo>
                  <a:pt x="187" y="107"/>
                </a:lnTo>
                <a:lnTo>
                  <a:pt x="184" y="109"/>
                </a:lnTo>
                <a:lnTo>
                  <a:pt x="182" y="111"/>
                </a:lnTo>
                <a:lnTo>
                  <a:pt x="182" y="114"/>
                </a:lnTo>
                <a:lnTo>
                  <a:pt x="182" y="114"/>
                </a:lnTo>
                <a:lnTo>
                  <a:pt x="182" y="118"/>
                </a:lnTo>
                <a:lnTo>
                  <a:pt x="182" y="124"/>
                </a:lnTo>
                <a:lnTo>
                  <a:pt x="180" y="128"/>
                </a:lnTo>
                <a:lnTo>
                  <a:pt x="180" y="132"/>
                </a:lnTo>
                <a:lnTo>
                  <a:pt x="176" y="135"/>
                </a:lnTo>
                <a:lnTo>
                  <a:pt x="174" y="137"/>
                </a:lnTo>
                <a:lnTo>
                  <a:pt x="168" y="139"/>
                </a:lnTo>
                <a:lnTo>
                  <a:pt x="163" y="141"/>
                </a:lnTo>
                <a:lnTo>
                  <a:pt x="163" y="141"/>
                </a:lnTo>
                <a:lnTo>
                  <a:pt x="159" y="139"/>
                </a:lnTo>
                <a:lnTo>
                  <a:pt x="155" y="137"/>
                </a:lnTo>
                <a:lnTo>
                  <a:pt x="151" y="135"/>
                </a:lnTo>
                <a:lnTo>
                  <a:pt x="147" y="132"/>
                </a:lnTo>
                <a:lnTo>
                  <a:pt x="143" y="130"/>
                </a:lnTo>
                <a:lnTo>
                  <a:pt x="140" y="126"/>
                </a:lnTo>
                <a:lnTo>
                  <a:pt x="136" y="124"/>
                </a:lnTo>
                <a:lnTo>
                  <a:pt x="130" y="124"/>
                </a:lnTo>
                <a:lnTo>
                  <a:pt x="130" y="124"/>
                </a:lnTo>
                <a:lnTo>
                  <a:pt x="126" y="124"/>
                </a:lnTo>
                <a:lnTo>
                  <a:pt x="121" y="126"/>
                </a:lnTo>
                <a:lnTo>
                  <a:pt x="117" y="130"/>
                </a:lnTo>
                <a:lnTo>
                  <a:pt x="111" y="132"/>
                </a:lnTo>
                <a:lnTo>
                  <a:pt x="107" y="135"/>
                </a:lnTo>
                <a:lnTo>
                  <a:pt x="103" y="139"/>
                </a:lnTo>
                <a:lnTo>
                  <a:pt x="102" y="143"/>
                </a:lnTo>
                <a:lnTo>
                  <a:pt x="102" y="147"/>
                </a:lnTo>
                <a:lnTo>
                  <a:pt x="102" y="147"/>
                </a:lnTo>
                <a:lnTo>
                  <a:pt x="102" y="149"/>
                </a:lnTo>
                <a:lnTo>
                  <a:pt x="102" y="151"/>
                </a:lnTo>
                <a:lnTo>
                  <a:pt x="103" y="153"/>
                </a:lnTo>
                <a:lnTo>
                  <a:pt x="103" y="154"/>
                </a:lnTo>
                <a:lnTo>
                  <a:pt x="105" y="156"/>
                </a:lnTo>
                <a:lnTo>
                  <a:pt x="107" y="158"/>
                </a:lnTo>
                <a:lnTo>
                  <a:pt x="109" y="160"/>
                </a:lnTo>
                <a:lnTo>
                  <a:pt x="111" y="162"/>
                </a:lnTo>
                <a:lnTo>
                  <a:pt x="75" y="229"/>
                </a:lnTo>
                <a:lnTo>
                  <a:pt x="75" y="229"/>
                </a:lnTo>
                <a:lnTo>
                  <a:pt x="67" y="233"/>
                </a:lnTo>
                <a:lnTo>
                  <a:pt x="58" y="233"/>
                </a:lnTo>
                <a:lnTo>
                  <a:pt x="50" y="235"/>
                </a:lnTo>
                <a:lnTo>
                  <a:pt x="42" y="236"/>
                </a:lnTo>
                <a:lnTo>
                  <a:pt x="35" y="238"/>
                </a:lnTo>
                <a:lnTo>
                  <a:pt x="29" y="242"/>
                </a:lnTo>
                <a:lnTo>
                  <a:pt x="25" y="246"/>
                </a:lnTo>
                <a:lnTo>
                  <a:pt x="23" y="254"/>
                </a:lnTo>
                <a:lnTo>
                  <a:pt x="23" y="254"/>
                </a:lnTo>
                <a:lnTo>
                  <a:pt x="23" y="254"/>
                </a:lnTo>
                <a:lnTo>
                  <a:pt x="23" y="256"/>
                </a:lnTo>
                <a:lnTo>
                  <a:pt x="23" y="257"/>
                </a:lnTo>
                <a:lnTo>
                  <a:pt x="23" y="259"/>
                </a:lnTo>
                <a:lnTo>
                  <a:pt x="23" y="263"/>
                </a:lnTo>
                <a:lnTo>
                  <a:pt x="23" y="267"/>
                </a:lnTo>
                <a:lnTo>
                  <a:pt x="23" y="271"/>
                </a:lnTo>
                <a:lnTo>
                  <a:pt x="23" y="275"/>
                </a:lnTo>
                <a:lnTo>
                  <a:pt x="23" y="275"/>
                </a:lnTo>
                <a:lnTo>
                  <a:pt x="23" y="282"/>
                </a:lnTo>
                <a:lnTo>
                  <a:pt x="21" y="288"/>
                </a:lnTo>
                <a:lnTo>
                  <a:pt x="18" y="294"/>
                </a:lnTo>
                <a:lnTo>
                  <a:pt x="14" y="297"/>
                </a:lnTo>
                <a:lnTo>
                  <a:pt x="10" y="301"/>
                </a:lnTo>
                <a:lnTo>
                  <a:pt x="6" y="307"/>
                </a:lnTo>
                <a:lnTo>
                  <a:pt x="2" y="313"/>
                </a:lnTo>
                <a:lnTo>
                  <a:pt x="0" y="318"/>
                </a:lnTo>
                <a:lnTo>
                  <a:pt x="0" y="318"/>
                </a:lnTo>
                <a:lnTo>
                  <a:pt x="0" y="324"/>
                </a:lnTo>
                <a:lnTo>
                  <a:pt x="0" y="328"/>
                </a:lnTo>
                <a:lnTo>
                  <a:pt x="2" y="334"/>
                </a:lnTo>
                <a:lnTo>
                  <a:pt x="2" y="338"/>
                </a:lnTo>
                <a:lnTo>
                  <a:pt x="4" y="341"/>
                </a:lnTo>
                <a:lnTo>
                  <a:pt x="4" y="347"/>
                </a:lnTo>
                <a:lnTo>
                  <a:pt x="4" y="353"/>
                </a:lnTo>
                <a:lnTo>
                  <a:pt x="4" y="360"/>
                </a:lnTo>
                <a:lnTo>
                  <a:pt x="4" y="360"/>
                </a:lnTo>
                <a:lnTo>
                  <a:pt x="12" y="360"/>
                </a:lnTo>
                <a:lnTo>
                  <a:pt x="18" y="362"/>
                </a:lnTo>
                <a:lnTo>
                  <a:pt x="23" y="364"/>
                </a:lnTo>
                <a:lnTo>
                  <a:pt x="27" y="368"/>
                </a:lnTo>
                <a:lnTo>
                  <a:pt x="31" y="374"/>
                </a:lnTo>
                <a:lnTo>
                  <a:pt x="35" y="378"/>
                </a:lnTo>
                <a:lnTo>
                  <a:pt x="39" y="383"/>
                </a:lnTo>
                <a:lnTo>
                  <a:pt x="42" y="387"/>
                </a:lnTo>
                <a:lnTo>
                  <a:pt x="46" y="393"/>
                </a:lnTo>
                <a:lnTo>
                  <a:pt x="48" y="399"/>
                </a:lnTo>
                <a:lnTo>
                  <a:pt x="52" y="402"/>
                </a:lnTo>
                <a:lnTo>
                  <a:pt x="58" y="408"/>
                </a:lnTo>
                <a:lnTo>
                  <a:pt x="61" y="410"/>
                </a:lnTo>
                <a:lnTo>
                  <a:pt x="67" y="414"/>
                </a:lnTo>
                <a:lnTo>
                  <a:pt x="75" y="416"/>
                </a:lnTo>
                <a:lnTo>
                  <a:pt x="82" y="416"/>
                </a:lnTo>
                <a:lnTo>
                  <a:pt x="82" y="416"/>
                </a:lnTo>
                <a:lnTo>
                  <a:pt x="94" y="416"/>
                </a:lnTo>
                <a:lnTo>
                  <a:pt x="102" y="414"/>
                </a:lnTo>
                <a:lnTo>
                  <a:pt x="109" y="412"/>
                </a:lnTo>
                <a:lnTo>
                  <a:pt x="117" y="408"/>
                </a:lnTo>
                <a:lnTo>
                  <a:pt x="122" y="406"/>
                </a:lnTo>
                <a:lnTo>
                  <a:pt x="130" y="404"/>
                </a:lnTo>
                <a:lnTo>
                  <a:pt x="138" y="402"/>
                </a:lnTo>
                <a:lnTo>
                  <a:pt x="145" y="401"/>
                </a:lnTo>
                <a:lnTo>
                  <a:pt x="145" y="401"/>
                </a:lnTo>
                <a:lnTo>
                  <a:pt x="157" y="402"/>
                </a:lnTo>
                <a:lnTo>
                  <a:pt x="168" y="406"/>
                </a:lnTo>
                <a:lnTo>
                  <a:pt x="176" y="410"/>
                </a:lnTo>
                <a:lnTo>
                  <a:pt x="182" y="416"/>
                </a:lnTo>
                <a:lnTo>
                  <a:pt x="187" y="423"/>
                </a:lnTo>
                <a:lnTo>
                  <a:pt x="193" y="429"/>
                </a:lnTo>
                <a:lnTo>
                  <a:pt x="199" y="437"/>
                </a:lnTo>
                <a:lnTo>
                  <a:pt x="205" y="442"/>
                </a:lnTo>
                <a:lnTo>
                  <a:pt x="205" y="442"/>
                </a:lnTo>
                <a:lnTo>
                  <a:pt x="205" y="441"/>
                </a:lnTo>
                <a:lnTo>
                  <a:pt x="205" y="437"/>
                </a:lnTo>
                <a:lnTo>
                  <a:pt x="203" y="433"/>
                </a:lnTo>
                <a:lnTo>
                  <a:pt x="203" y="431"/>
                </a:lnTo>
                <a:lnTo>
                  <a:pt x="203" y="427"/>
                </a:lnTo>
                <a:lnTo>
                  <a:pt x="203" y="425"/>
                </a:lnTo>
                <a:lnTo>
                  <a:pt x="201" y="421"/>
                </a:lnTo>
                <a:lnTo>
                  <a:pt x="201" y="420"/>
                </a:lnTo>
                <a:lnTo>
                  <a:pt x="201" y="420"/>
                </a:lnTo>
                <a:lnTo>
                  <a:pt x="201" y="414"/>
                </a:lnTo>
                <a:lnTo>
                  <a:pt x="201" y="408"/>
                </a:lnTo>
                <a:lnTo>
                  <a:pt x="201" y="402"/>
                </a:lnTo>
                <a:lnTo>
                  <a:pt x="201" y="399"/>
                </a:lnTo>
                <a:lnTo>
                  <a:pt x="201" y="395"/>
                </a:lnTo>
                <a:lnTo>
                  <a:pt x="201" y="391"/>
                </a:lnTo>
                <a:lnTo>
                  <a:pt x="201" y="387"/>
                </a:lnTo>
                <a:lnTo>
                  <a:pt x="201" y="385"/>
                </a:lnTo>
                <a:lnTo>
                  <a:pt x="201" y="381"/>
                </a:lnTo>
                <a:lnTo>
                  <a:pt x="201" y="378"/>
                </a:lnTo>
                <a:lnTo>
                  <a:pt x="201" y="374"/>
                </a:lnTo>
                <a:lnTo>
                  <a:pt x="201" y="370"/>
                </a:lnTo>
                <a:lnTo>
                  <a:pt x="201" y="366"/>
                </a:lnTo>
                <a:lnTo>
                  <a:pt x="201" y="362"/>
                </a:lnTo>
                <a:lnTo>
                  <a:pt x="201" y="357"/>
                </a:lnTo>
                <a:lnTo>
                  <a:pt x="201" y="351"/>
                </a:lnTo>
                <a:lnTo>
                  <a:pt x="201" y="351"/>
                </a:lnTo>
                <a:lnTo>
                  <a:pt x="203" y="343"/>
                </a:lnTo>
                <a:lnTo>
                  <a:pt x="205" y="338"/>
                </a:lnTo>
                <a:lnTo>
                  <a:pt x="206" y="332"/>
                </a:lnTo>
                <a:lnTo>
                  <a:pt x="210" y="326"/>
                </a:lnTo>
                <a:lnTo>
                  <a:pt x="214" y="322"/>
                </a:lnTo>
                <a:lnTo>
                  <a:pt x="220" y="320"/>
                </a:lnTo>
                <a:lnTo>
                  <a:pt x="225" y="317"/>
                </a:lnTo>
                <a:lnTo>
                  <a:pt x="231" y="317"/>
                </a:lnTo>
                <a:lnTo>
                  <a:pt x="330" y="330"/>
                </a:lnTo>
                <a:lnTo>
                  <a:pt x="330" y="330"/>
                </a:lnTo>
                <a:lnTo>
                  <a:pt x="342" y="330"/>
                </a:lnTo>
                <a:lnTo>
                  <a:pt x="351" y="330"/>
                </a:lnTo>
                <a:lnTo>
                  <a:pt x="359" y="332"/>
                </a:lnTo>
                <a:lnTo>
                  <a:pt x="365" y="332"/>
                </a:lnTo>
                <a:lnTo>
                  <a:pt x="372" y="334"/>
                </a:lnTo>
                <a:lnTo>
                  <a:pt x="378" y="336"/>
                </a:lnTo>
                <a:lnTo>
                  <a:pt x="384" y="336"/>
                </a:lnTo>
                <a:lnTo>
                  <a:pt x="390" y="336"/>
                </a:lnTo>
                <a:lnTo>
                  <a:pt x="390" y="336"/>
                </a:lnTo>
                <a:lnTo>
                  <a:pt x="391" y="336"/>
                </a:lnTo>
                <a:lnTo>
                  <a:pt x="395" y="332"/>
                </a:lnTo>
                <a:lnTo>
                  <a:pt x="399" y="330"/>
                </a:lnTo>
                <a:lnTo>
                  <a:pt x="403" y="326"/>
                </a:lnTo>
                <a:lnTo>
                  <a:pt x="409" y="324"/>
                </a:lnTo>
                <a:lnTo>
                  <a:pt x="414" y="322"/>
                </a:lnTo>
                <a:lnTo>
                  <a:pt x="422" y="324"/>
                </a:lnTo>
                <a:lnTo>
                  <a:pt x="430" y="330"/>
                </a:lnTo>
                <a:lnTo>
                  <a:pt x="426" y="328"/>
                </a:lnTo>
                <a:lnTo>
                  <a:pt x="426" y="328"/>
                </a:lnTo>
                <a:lnTo>
                  <a:pt x="428" y="324"/>
                </a:lnTo>
                <a:lnTo>
                  <a:pt x="432" y="320"/>
                </a:lnTo>
                <a:lnTo>
                  <a:pt x="433" y="318"/>
                </a:lnTo>
                <a:lnTo>
                  <a:pt x="437" y="318"/>
                </a:lnTo>
                <a:lnTo>
                  <a:pt x="437" y="318"/>
                </a:lnTo>
                <a:lnTo>
                  <a:pt x="445" y="318"/>
                </a:lnTo>
                <a:lnTo>
                  <a:pt x="452" y="320"/>
                </a:lnTo>
                <a:lnTo>
                  <a:pt x="458" y="324"/>
                </a:lnTo>
                <a:lnTo>
                  <a:pt x="464" y="326"/>
                </a:lnTo>
                <a:lnTo>
                  <a:pt x="472" y="330"/>
                </a:lnTo>
                <a:lnTo>
                  <a:pt x="477" y="334"/>
                </a:lnTo>
                <a:lnTo>
                  <a:pt x="485" y="336"/>
                </a:lnTo>
                <a:lnTo>
                  <a:pt x="494" y="336"/>
                </a:lnTo>
                <a:lnTo>
                  <a:pt x="494" y="336"/>
                </a:lnTo>
                <a:lnTo>
                  <a:pt x="496" y="330"/>
                </a:lnTo>
                <a:lnTo>
                  <a:pt x="498" y="326"/>
                </a:lnTo>
                <a:lnTo>
                  <a:pt x="502" y="322"/>
                </a:lnTo>
                <a:lnTo>
                  <a:pt x="506" y="317"/>
                </a:lnTo>
                <a:lnTo>
                  <a:pt x="510" y="315"/>
                </a:lnTo>
                <a:lnTo>
                  <a:pt x="514" y="311"/>
                </a:lnTo>
                <a:lnTo>
                  <a:pt x="517" y="307"/>
                </a:lnTo>
                <a:lnTo>
                  <a:pt x="523" y="305"/>
                </a:lnTo>
                <a:lnTo>
                  <a:pt x="527" y="301"/>
                </a:lnTo>
                <a:lnTo>
                  <a:pt x="533" y="299"/>
                </a:lnTo>
                <a:lnTo>
                  <a:pt x="536" y="297"/>
                </a:lnTo>
                <a:lnTo>
                  <a:pt x="542" y="297"/>
                </a:lnTo>
                <a:lnTo>
                  <a:pt x="548" y="296"/>
                </a:lnTo>
                <a:lnTo>
                  <a:pt x="554" y="296"/>
                </a:lnTo>
                <a:lnTo>
                  <a:pt x="559" y="296"/>
                </a:lnTo>
                <a:lnTo>
                  <a:pt x="565" y="296"/>
                </a:lnTo>
                <a:lnTo>
                  <a:pt x="565" y="296"/>
                </a:lnTo>
                <a:lnTo>
                  <a:pt x="576" y="294"/>
                </a:lnTo>
                <a:lnTo>
                  <a:pt x="586" y="290"/>
                </a:lnTo>
                <a:lnTo>
                  <a:pt x="594" y="284"/>
                </a:lnTo>
                <a:lnTo>
                  <a:pt x="599" y="278"/>
                </a:lnTo>
                <a:lnTo>
                  <a:pt x="603" y="271"/>
                </a:lnTo>
                <a:lnTo>
                  <a:pt x="607" y="263"/>
                </a:lnTo>
                <a:lnTo>
                  <a:pt x="609" y="254"/>
                </a:lnTo>
                <a:lnTo>
                  <a:pt x="609" y="246"/>
                </a:lnTo>
                <a:lnTo>
                  <a:pt x="609" y="246"/>
                </a:lnTo>
                <a:lnTo>
                  <a:pt x="609" y="244"/>
                </a:lnTo>
                <a:lnTo>
                  <a:pt x="611" y="242"/>
                </a:lnTo>
                <a:lnTo>
                  <a:pt x="615" y="238"/>
                </a:lnTo>
                <a:lnTo>
                  <a:pt x="618" y="236"/>
                </a:lnTo>
                <a:lnTo>
                  <a:pt x="609" y="248"/>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5" name="Freeform 47"/>
          <p:cNvSpPr>
            <a:spLocks/>
          </p:cNvSpPr>
          <p:nvPr>
            <p:custDataLst>
              <p:tags r:id="rId47"/>
            </p:custDataLst>
          </p:nvPr>
        </p:nvSpPr>
        <p:spPr bwMode="gray">
          <a:xfrm>
            <a:off x="1738097" y="1933983"/>
            <a:ext cx="1180863" cy="1060933"/>
          </a:xfrm>
          <a:custGeom>
            <a:avLst/>
            <a:gdLst/>
            <a:ahLst/>
            <a:cxnLst>
              <a:cxn ang="0">
                <a:pos x="910" y="813"/>
              </a:cxn>
              <a:cxn ang="0">
                <a:pos x="852" y="826"/>
              </a:cxn>
              <a:cxn ang="0">
                <a:pos x="797" y="859"/>
              </a:cxn>
              <a:cxn ang="0">
                <a:pos x="776" y="882"/>
              </a:cxn>
              <a:cxn ang="0">
                <a:pos x="755" y="872"/>
              </a:cxn>
              <a:cxn ang="0">
                <a:pos x="707" y="918"/>
              </a:cxn>
              <a:cxn ang="0">
                <a:pos x="683" y="927"/>
              </a:cxn>
              <a:cxn ang="0">
                <a:pos x="664" y="954"/>
              </a:cxn>
              <a:cxn ang="0">
                <a:pos x="631" y="937"/>
              </a:cxn>
              <a:cxn ang="0">
                <a:pos x="603" y="960"/>
              </a:cxn>
              <a:cxn ang="0">
                <a:pos x="612" y="975"/>
              </a:cxn>
              <a:cxn ang="0">
                <a:pos x="526" y="1059"/>
              </a:cxn>
              <a:cxn ang="0">
                <a:pos x="524" y="1084"/>
              </a:cxn>
              <a:cxn ang="0">
                <a:pos x="503" y="1126"/>
              </a:cxn>
              <a:cxn ang="0">
                <a:pos x="505" y="1166"/>
              </a:cxn>
              <a:cxn ang="0">
                <a:pos x="463" y="1189"/>
              </a:cxn>
              <a:cxn ang="0">
                <a:pos x="444" y="1160"/>
              </a:cxn>
              <a:cxn ang="0">
                <a:pos x="414" y="1156"/>
              </a:cxn>
              <a:cxn ang="0">
                <a:pos x="385" y="1187"/>
              </a:cxn>
              <a:cxn ang="0">
                <a:pos x="343" y="1173"/>
              </a:cxn>
              <a:cxn ang="0">
                <a:pos x="313" y="1183"/>
              </a:cxn>
              <a:cxn ang="0">
                <a:pos x="295" y="1152"/>
              </a:cxn>
              <a:cxn ang="0">
                <a:pos x="265" y="1116"/>
              </a:cxn>
              <a:cxn ang="0">
                <a:pos x="280" y="1099"/>
              </a:cxn>
              <a:cxn ang="0">
                <a:pos x="257" y="1048"/>
              </a:cxn>
              <a:cxn ang="0">
                <a:pos x="231" y="996"/>
              </a:cxn>
              <a:cxn ang="0">
                <a:pos x="181" y="1030"/>
              </a:cxn>
              <a:cxn ang="0">
                <a:pos x="147" y="1017"/>
              </a:cxn>
              <a:cxn ang="0">
                <a:pos x="122" y="1034"/>
              </a:cxn>
              <a:cxn ang="0">
                <a:pos x="93" y="1013"/>
              </a:cxn>
              <a:cxn ang="0">
                <a:pos x="70" y="1023"/>
              </a:cxn>
              <a:cxn ang="0">
                <a:pos x="57" y="1007"/>
              </a:cxn>
              <a:cxn ang="0">
                <a:pos x="57" y="994"/>
              </a:cxn>
              <a:cxn ang="0">
                <a:pos x="65" y="960"/>
              </a:cxn>
              <a:cxn ang="0">
                <a:pos x="36" y="918"/>
              </a:cxn>
              <a:cxn ang="0">
                <a:pos x="19" y="887"/>
              </a:cxn>
              <a:cxn ang="0">
                <a:pos x="26" y="853"/>
              </a:cxn>
              <a:cxn ang="0">
                <a:pos x="9" y="826"/>
              </a:cxn>
              <a:cxn ang="0">
                <a:pos x="0" y="800"/>
              </a:cxn>
              <a:cxn ang="0">
                <a:pos x="47" y="780"/>
              </a:cxn>
              <a:cxn ang="0">
                <a:pos x="80" y="729"/>
              </a:cxn>
              <a:cxn ang="0">
                <a:pos x="122" y="769"/>
              </a:cxn>
              <a:cxn ang="0">
                <a:pos x="147" y="750"/>
              </a:cxn>
              <a:cxn ang="0">
                <a:pos x="194" y="759"/>
              </a:cxn>
              <a:cxn ang="0">
                <a:pos x="236" y="738"/>
              </a:cxn>
              <a:cxn ang="0">
                <a:pos x="528" y="765"/>
              </a:cxn>
              <a:cxn ang="0">
                <a:pos x="1039" y="325"/>
              </a:cxn>
              <a:cxn ang="0">
                <a:pos x="1068" y="349"/>
              </a:cxn>
              <a:cxn ang="0">
                <a:pos x="1076" y="378"/>
              </a:cxn>
              <a:cxn ang="0">
                <a:pos x="1102" y="399"/>
              </a:cxn>
              <a:cxn ang="0">
                <a:pos x="1188" y="437"/>
              </a:cxn>
              <a:cxn ang="0">
                <a:pos x="1211" y="489"/>
              </a:cxn>
              <a:cxn ang="0">
                <a:pos x="1207" y="506"/>
              </a:cxn>
              <a:cxn ang="0">
                <a:pos x="1283" y="519"/>
              </a:cxn>
              <a:cxn ang="0">
                <a:pos x="1283" y="586"/>
              </a:cxn>
              <a:cxn ang="0">
                <a:pos x="1285" y="677"/>
              </a:cxn>
              <a:cxn ang="0">
                <a:pos x="1242" y="775"/>
              </a:cxn>
              <a:cxn ang="0">
                <a:pos x="1047" y="807"/>
              </a:cxn>
              <a:cxn ang="0">
                <a:pos x="1005" y="834"/>
              </a:cxn>
            </a:cxnLst>
            <a:rect l="0" t="0" r="r" b="b"/>
            <a:pathLst>
              <a:path w="1287" h="1191">
                <a:moveTo>
                  <a:pt x="963" y="828"/>
                </a:moveTo>
                <a:lnTo>
                  <a:pt x="963" y="828"/>
                </a:lnTo>
                <a:lnTo>
                  <a:pt x="955" y="826"/>
                </a:lnTo>
                <a:lnTo>
                  <a:pt x="948" y="824"/>
                </a:lnTo>
                <a:lnTo>
                  <a:pt x="940" y="822"/>
                </a:lnTo>
                <a:lnTo>
                  <a:pt x="934" y="819"/>
                </a:lnTo>
                <a:lnTo>
                  <a:pt x="927" y="817"/>
                </a:lnTo>
                <a:lnTo>
                  <a:pt x="919" y="815"/>
                </a:lnTo>
                <a:lnTo>
                  <a:pt x="910" y="813"/>
                </a:lnTo>
                <a:lnTo>
                  <a:pt x="900" y="813"/>
                </a:lnTo>
                <a:lnTo>
                  <a:pt x="900" y="813"/>
                </a:lnTo>
                <a:lnTo>
                  <a:pt x="894" y="813"/>
                </a:lnTo>
                <a:lnTo>
                  <a:pt x="887" y="813"/>
                </a:lnTo>
                <a:lnTo>
                  <a:pt x="879" y="815"/>
                </a:lnTo>
                <a:lnTo>
                  <a:pt x="873" y="817"/>
                </a:lnTo>
                <a:lnTo>
                  <a:pt x="866" y="821"/>
                </a:lnTo>
                <a:lnTo>
                  <a:pt x="860" y="822"/>
                </a:lnTo>
                <a:lnTo>
                  <a:pt x="852" y="826"/>
                </a:lnTo>
                <a:lnTo>
                  <a:pt x="847" y="830"/>
                </a:lnTo>
                <a:lnTo>
                  <a:pt x="841" y="834"/>
                </a:lnTo>
                <a:lnTo>
                  <a:pt x="833" y="838"/>
                </a:lnTo>
                <a:lnTo>
                  <a:pt x="828" y="842"/>
                </a:lnTo>
                <a:lnTo>
                  <a:pt x="822" y="845"/>
                </a:lnTo>
                <a:lnTo>
                  <a:pt x="814" y="849"/>
                </a:lnTo>
                <a:lnTo>
                  <a:pt x="809" y="853"/>
                </a:lnTo>
                <a:lnTo>
                  <a:pt x="803" y="857"/>
                </a:lnTo>
                <a:lnTo>
                  <a:pt x="797" y="859"/>
                </a:lnTo>
                <a:lnTo>
                  <a:pt x="797" y="859"/>
                </a:lnTo>
                <a:lnTo>
                  <a:pt x="795" y="861"/>
                </a:lnTo>
                <a:lnTo>
                  <a:pt x="793" y="864"/>
                </a:lnTo>
                <a:lnTo>
                  <a:pt x="791" y="866"/>
                </a:lnTo>
                <a:lnTo>
                  <a:pt x="789" y="870"/>
                </a:lnTo>
                <a:lnTo>
                  <a:pt x="786" y="874"/>
                </a:lnTo>
                <a:lnTo>
                  <a:pt x="784" y="878"/>
                </a:lnTo>
                <a:lnTo>
                  <a:pt x="780" y="880"/>
                </a:lnTo>
                <a:lnTo>
                  <a:pt x="776" y="882"/>
                </a:lnTo>
                <a:lnTo>
                  <a:pt x="776" y="882"/>
                </a:lnTo>
                <a:lnTo>
                  <a:pt x="774" y="880"/>
                </a:lnTo>
                <a:lnTo>
                  <a:pt x="770" y="880"/>
                </a:lnTo>
                <a:lnTo>
                  <a:pt x="768" y="878"/>
                </a:lnTo>
                <a:lnTo>
                  <a:pt x="767" y="876"/>
                </a:lnTo>
                <a:lnTo>
                  <a:pt x="765" y="874"/>
                </a:lnTo>
                <a:lnTo>
                  <a:pt x="761" y="872"/>
                </a:lnTo>
                <a:lnTo>
                  <a:pt x="759" y="872"/>
                </a:lnTo>
                <a:lnTo>
                  <a:pt x="755" y="872"/>
                </a:lnTo>
                <a:lnTo>
                  <a:pt x="755" y="872"/>
                </a:lnTo>
                <a:lnTo>
                  <a:pt x="747" y="872"/>
                </a:lnTo>
                <a:lnTo>
                  <a:pt x="740" y="878"/>
                </a:lnTo>
                <a:lnTo>
                  <a:pt x="734" y="883"/>
                </a:lnTo>
                <a:lnTo>
                  <a:pt x="728" y="893"/>
                </a:lnTo>
                <a:lnTo>
                  <a:pt x="725" y="901"/>
                </a:lnTo>
                <a:lnTo>
                  <a:pt x="721" y="908"/>
                </a:lnTo>
                <a:lnTo>
                  <a:pt x="715" y="914"/>
                </a:lnTo>
                <a:lnTo>
                  <a:pt x="707" y="918"/>
                </a:lnTo>
                <a:lnTo>
                  <a:pt x="707" y="918"/>
                </a:lnTo>
                <a:lnTo>
                  <a:pt x="706" y="918"/>
                </a:lnTo>
                <a:lnTo>
                  <a:pt x="702" y="918"/>
                </a:lnTo>
                <a:lnTo>
                  <a:pt x="698" y="918"/>
                </a:lnTo>
                <a:lnTo>
                  <a:pt x="692" y="918"/>
                </a:lnTo>
                <a:lnTo>
                  <a:pt x="688" y="920"/>
                </a:lnTo>
                <a:lnTo>
                  <a:pt x="685" y="922"/>
                </a:lnTo>
                <a:lnTo>
                  <a:pt x="683" y="924"/>
                </a:lnTo>
                <a:lnTo>
                  <a:pt x="683" y="927"/>
                </a:lnTo>
                <a:lnTo>
                  <a:pt x="683" y="927"/>
                </a:lnTo>
                <a:lnTo>
                  <a:pt x="683" y="931"/>
                </a:lnTo>
                <a:lnTo>
                  <a:pt x="683" y="937"/>
                </a:lnTo>
                <a:lnTo>
                  <a:pt x="681" y="941"/>
                </a:lnTo>
                <a:lnTo>
                  <a:pt x="681" y="945"/>
                </a:lnTo>
                <a:lnTo>
                  <a:pt x="677" y="948"/>
                </a:lnTo>
                <a:lnTo>
                  <a:pt x="675" y="950"/>
                </a:lnTo>
                <a:lnTo>
                  <a:pt x="669" y="952"/>
                </a:lnTo>
                <a:lnTo>
                  <a:pt x="664" y="954"/>
                </a:lnTo>
                <a:lnTo>
                  <a:pt x="664" y="954"/>
                </a:lnTo>
                <a:lnTo>
                  <a:pt x="660" y="952"/>
                </a:lnTo>
                <a:lnTo>
                  <a:pt x="656" y="950"/>
                </a:lnTo>
                <a:lnTo>
                  <a:pt x="652" y="948"/>
                </a:lnTo>
                <a:lnTo>
                  <a:pt x="648" y="945"/>
                </a:lnTo>
                <a:lnTo>
                  <a:pt x="644" y="943"/>
                </a:lnTo>
                <a:lnTo>
                  <a:pt x="641" y="939"/>
                </a:lnTo>
                <a:lnTo>
                  <a:pt x="637" y="937"/>
                </a:lnTo>
                <a:lnTo>
                  <a:pt x="631" y="937"/>
                </a:lnTo>
                <a:lnTo>
                  <a:pt x="631" y="937"/>
                </a:lnTo>
                <a:lnTo>
                  <a:pt x="627" y="937"/>
                </a:lnTo>
                <a:lnTo>
                  <a:pt x="622" y="939"/>
                </a:lnTo>
                <a:lnTo>
                  <a:pt x="618" y="943"/>
                </a:lnTo>
                <a:lnTo>
                  <a:pt x="612" y="945"/>
                </a:lnTo>
                <a:lnTo>
                  <a:pt x="608" y="948"/>
                </a:lnTo>
                <a:lnTo>
                  <a:pt x="604" y="952"/>
                </a:lnTo>
                <a:lnTo>
                  <a:pt x="603" y="956"/>
                </a:lnTo>
                <a:lnTo>
                  <a:pt x="603" y="960"/>
                </a:lnTo>
                <a:lnTo>
                  <a:pt x="603" y="960"/>
                </a:lnTo>
                <a:lnTo>
                  <a:pt x="603" y="962"/>
                </a:lnTo>
                <a:lnTo>
                  <a:pt x="603" y="964"/>
                </a:lnTo>
                <a:lnTo>
                  <a:pt x="604" y="966"/>
                </a:lnTo>
                <a:lnTo>
                  <a:pt x="604" y="967"/>
                </a:lnTo>
                <a:lnTo>
                  <a:pt x="606" y="969"/>
                </a:lnTo>
                <a:lnTo>
                  <a:pt x="608" y="971"/>
                </a:lnTo>
                <a:lnTo>
                  <a:pt x="610" y="973"/>
                </a:lnTo>
                <a:lnTo>
                  <a:pt x="612" y="975"/>
                </a:lnTo>
                <a:lnTo>
                  <a:pt x="576" y="1042"/>
                </a:lnTo>
                <a:lnTo>
                  <a:pt x="576" y="1042"/>
                </a:lnTo>
                <a:lnTo>
                  <a:pt x="568" y="1046"/>
                </a:lnTo>
                <a:lnTo>
                  <a:pt x="559" y="1046"/>
                </a:lnTo>
                <a:lnTo>
                  <a:pt x="551" y="1048"/>
                </a:lnTo>
                <a:lnTo>
                  <a:pt x="543" y="1049"/>
                </a:lnTo>
                <a:lnTo>
                  <a:pt x="536" y="1051"/>
                </a:lnTo>
                <a:lnTo>
                  <a:pt x="530" y="1055"/>
                </a:lnTo>
                <a:lnTo>
                  <a:pt x="526" y="1059"/>
                </a:lnTo>
                <a:lnTo>
                  <a:pt x="524" y="1067"/>
                </a:lnTo>
                <a:lnTo>
                  <a:pt x="524" y="1067"/>
                </a:lnTo>
                <a:lnTo>
                  <a:pt x="524" y="1067"/>
                </a:lnTo>
                <a:lnTo>
                  <a:pt x="524" y="1069"/>
                </a:lnTo>
                <a:lnTo>
                  <a:pt x="524" y="1070"/>
                </a:lnTo>
                <a:lnTo>
                  <a:pt x="524" y="1072"/>
                </a:lnTo>
                <a:lnTo>
                  <a:pt x="524" y="1076"/>
                </a:lnTo>
                <a:lnTo>
                  <a:pt x="524" y="1080"/>
                </a:lnTo>
                <a:lnTo>
                  <a:pt x="524" y="1084"/>
                </a:lnTo>
                <a:lnTo>
                  <a:pt x="524" y="1088"/>
                </a:lnTo>
                <a:lnTo>
                  <a:pt x="524" y="1088"/>
                </a:lnTo>
                <a:lnTo>
                  <a:pt x="524" y="1095"/>
                </a:lnTo>
                <a:lnTo>
                  <a:pt x="522" y="1101"/>
                </a:lnTo>
                <a:lnTo>
                  <a:pt x="519" y="1107"/>
                </a:lnTo>
                <a:lnTo>
                  <a:pt x="515" y="1110"/>
                </a:lnTo>
                <a:lnTo>
                  <a:pt x="511" y="1114"/>
                </a:lnTo>
                <a:lnTo>
                  <a:pt x="507" y="1120"/>
                </a:lnTo>
                <a:lnTo>
                  <a:pt x="503" y="1126"/>
                </a:lnTo>
                <a:lnTo>
                  <a:pt x="501" y="1131"/>
                </a:lnTo>
                <a:lnTo>
                  <a:pt x="501" y="1131"/>
                </a:lnTo>
                <a:lnTo>
                  <a:pt x="501" y="1137"/>
                </a:lnTo>
                <a:lnTo>
                  <a:pt x="501" y="1141"/>
                </a:lnTo>
                <a:lnTo>
                  <a:pt x="503" y="1147"/>
                </a:lnTo>
                <a:lnTo>
                  <a:pt x="503" y="1151"/>
                </a:lnTo>
                <a:lnTo>
                  <a:pt x="505" y="1154"/>
                </a:lnTo>
                <a:lnTo>
                  <a:pt x="505" y="1160"/>
                </a:lnTo>
                <a:lnTo>
                  <a:pt x="505" y="1166"/>
                </a:lnTo>
                <a:lnTo>
                  <a:pt x="505" y="1173"/>
                </a:lnTo>
                <a:lnTo>
                  <a:pt x="505" y="1173"/>
                </a:lnTo>
                <a:lnTo>
                  <a:pt x="498" y="1173"/>
                </a:lnTo>
                <a:lnTo>
                  <a:pt x="492" y="1175"/>
                </a:lnTo>
                <a:lnTo>
                  <a:pt x="486" y="1179"/>
                </a:lnTo>
                <a:lnTo>
                  <a:pt x="480" y="1181"/>
                </a:lnTo>
                <a:lnTo>
                  <a:pt x="475" y="1185"/>
                </a:lnTo>
                <a:lnTo>
                  <a:pt x="469" y="1187"/>
                </a:lnTo>
                <a:lnTo>
                  <a:pt x="463" y="1189"/>
                </a:lnTo>
                <a:lnTo>
                  <a:pt x="458" y="1191"/>
                </a:lnTo>
                <a:lnTo>
                  <a:pt x="458" y="1191"/>
                </a:lnTo>
                <a:lnTo>
                  <a:pt x="454" y="1189"/>
                </a:lnTo>
                <a:lnTo>
                  <a:pt x="450" y="1187"/>
                </a:lnTo>
                <a:lnTo>
                  <a:pt x="448" y="1183"/>
                </a:lnTo>
                <a:lnTo>
                  <a:pt x="446" y="1177"/>
                </a:lnTo>
                <a:lnTo>
                  <a:pt x="446" y="1172"/>
                </a:lnTo>
                <a:lnTo>
                  <a:pt x="446" y="1166"/>
                </a:lnTo>
                <a:lnTo>
                  <a:pt x="444" y="1160"/>
                </a:lnTo>
                <a:lnTo>
                  <a:pt x="444" y="1154"/>
                </a:lnTo>
                <a:lnTo>
                  <a:pt x="444" y="1154"/>
                </a:lnTo>
                <a:lnTo>
                  <a:pt x="440" y="1154"/>
                </a:lnTo>
                <a:lnTo>
                  <a:pt x="438" y="1154"/>
                </a:lnTo>
                <a:lnTo>
                  <a:pt x="433" y="1154"/>
                </a:lnTo>
                <a:lnTo>
                  <a:pt x="429" y="1154"/>
                </a:lnTo>
                <a:lnTo>
                  <a:pt x="423" y="1154"/>
                </a:lnTo>
                <a:lnTo>
                  <a:pt x="417" y="1156"/>
                </a:lnTo>
                <a:lnTo>
                  <a:pt x="414" y="1156"/>
                </a:lnTo>
                <a:lnTo>
                  <a:pt x="410" y="1158"/>
                </a:lnTo>
                <a:lnTo>
                  <a:pt x="410" y="1158"/>
                </a:lnTo>
                <a:lnTo>
                  <a:pt x="408" y="1162"/>
                </a:lnTo>
                <a:lnTo>
                  <a:pt x="404" y="1166"/>
                </a:lnTo>
                <a:lnTo>
                  <a:pt x="402" y="1172"/>
                </a:lnTo>
                <a:lnTo>
                  <a:pt x="400" y="1175"/>
                </a:lnTo>
                <a:lnTo>
                  <a:pt x="396" y="1181"/>
                </a:lnTo>
                <a:lnTo>
                  <a:pt x="391" y="1185"/>
                </a:lnTo>
                <a:lnTo>
                  <a:pt x="385" y="1187"/>
                </a:lnTo>
                <a:lnTo>
                  <a:pt x="376" y="1189"/>
                </a:lnTo>
                <a:lnTo>
                  <a:pt x="376" y="1189"/>
                </a:lnTo>
                <a:lnTo>
                  <a:pt x="370" y="1187"/>
                </a:lnTo>
                <a:lnTo>
                  <a:pt x="364" y="1185"/>
                </a:lnTo>
                <a:lnTo>
                  <a:pt x="358" y="1183"/>
                </a:lnTo>
                <a:lnTo>
                  <a:pt x="355" y="1179"/>
                </a:lnTo>
                <a:lnTo>
                  <a:pt x="351" y="1177"/>
                </a:lnTo>
                <a:lnTo>
                  <a:pt x="347" y="1175"/>
                </a:lnTo>
                <a:lnTo>
                  <a:pt x="343" y="1173"/>
                </a:lnTo>
                <a:lnTo>
                  <a:pt x="339" y="1173"/>
                </a:lnTo>
                <a:lnTo>
                  <a:pt x="339" y="1173"/>
                </a:lnTo>
                <a:lnTo>
                  <a:pt x="335" y="1173"/>
                </a:lnTo>
                <a:lnTo>
                  <a:pt x="332" y="1173"/>
                </a:lnTo>
                <a:lnTo>
                  <a:pt x="328" y="1175"/>
                </a:lnTo>
                <a:lnTo>
                  <a:pt x="324" y="1175"/>
                </a:lnTo>
                <a:lnTo>
                  <a:pt x="320" y="1177"/>
                </a:lnTo>
                <a:lnTo>
                  <a:pt x="316" y="1179"/>
                </a:lnTo>
                <a:lnTo>
                  <a:pt x="313" y="1183"/>
                </a:lnTo>
                <a:lnTo>
                  <a:pt x="311" y="1185"/>
                </a:lnTo>
                <a:lnTo>
                  <a:pt x="311" y="1185"/>
                </a:lnTo>
                <a:lnTo>
                  <a:pt x="307" y="1181"/>
                </a:lnTo>
                <a:lnTo>
                  <a:pt x="305" y="1177"/>
                </a:lnTo>
                <a:lnTo>
                  <a:pt x="303" y="1172"/>
                </a:lnTo>
                <a:lnTo>
                  <a:pt x="301" y="1168"/>
                </a:lnTo>
                <a:lnTo>
                  <a:pt x="299" y="1162"/>
                </a:lnTo>
                <a:lnTo>
                  <a:pt x="297" y="1158"/>
                </a:lnTo>
                <a:lnTo>
                  <a:pt x="295" y="1152"/>
                </a:lnTo>
                <a:lnTo>
                  <a:pt x="293" y="1149"/>
                </a:lnTo>
                <a:lnTo>
                  <a:pt x="292" y="1143"/>
                </a:lnTo>
                <a:lnTo>
                  <a:pt x="290" y="1139"/>
                </a:lnTo>
                <a:lnTo>
                  <a:pt x="286" y="1133"/>
                </a:lnTo>
                <a:lnTo>
                  <a:pt x="284" y="1130"/>
                </a:lnTo>
                <a:lnTo>
                  <a:pt x="280" y="1126"/>
                </a:lnTo>
                <a:lnTo>
                  <a:pt x="276" y="1122"/>
                </a:lnTo>
                <a:lnTo>
                  <a:pt x="271" y="1118"/>
                </a:lnTo>
                <a:lnTo>
                  <a:pt x="265" y="1116"/>
                </a:lnTo>
                <a:lnTo>
                  <a:pt x="265" y="1116"/>
                </a:lnTo>
                <a:lnTo>
                  <a:pt x="267" y="1114"/>
                </a:lnTo>
                <a:lnTo>
                  <a:pt x="271" y="1112"/>
                </a:lnTo>
                <a:lnTo>
                  <a:pt x="273" y="1110"/>
                </a:lnTo>
                <a:lnTo>
                  <a:pt x="276" y="1110"/>
                </a:lnTo>
                <a:lnTo>
                  <a:pt x="278" y="1109"/>
                </a:lnTo>
                <a:lnTo>
                  <a:pt x="278" y="1107"/>
                </a:lnTo>
                <a:lnTo>
                  <a:pt x="280" y="1103"/>
                </a:lnTo>
                <a:lnTo>
                  <a:pt x="280" y="1099"/>
                </a:lnTo>
                <a:lnTo>
                  <a:pt x="280" y="1099"/>
                </a:lnTo>
                <a:lnTo>
                  <a:pt x="280" y="1099"/>
                </a:lnTo>
                <a:lnTo>
                  <a:pt x="278" y="1095"/>
                </a:lnTo>
                <a:lnTo>
                  <a:pt x="276" y="1090"/>
                </a:lnTo>
                <a:lnTo>
                  <a:pt x="274" y="1084"/>
                </a:lnTo>
                <a:lnTo>
                  <a:pt x="271" y="1076"/>
                </a:lnTo>
                <a:lnTo>
                  <a:pt x="267" y="1067"/>
                </a:lnTo>
                <a:lnTo>
                  <a:pt x="263" y="1057"/>
                </a:lnTo>
                <a:lnTo>
                  <a:pt x="257" y="1048"/>
                </a:lnTo>
                <a:lnTo>
                  <a:pt x="253" y="1038"/>
                </a:lnTo>
                <a:lnTo>
                  <a:pt x="250" y="1028"/>
                </a:lnTo>
                <a:lnTo>
                  <a:pt x="246" y="1019"/>
                </a:lnTo>
                <a:lnTo>
                  <a:pt x="240" y="1011"/>
                </a:lnTo>
                <a:lnTo>
                  <a:pt x="238" y="1006"/>
                </a:lnTo>
                <a:lnTo>
                  <a:pt x="234" y="1000"/>
                </a:lnTo>
                <a:lnTo>
                  <a:pt x="232" y="996"/>
                </a:lnTo>
                <a:lnTo>
                  <a:pt x="231" y="996"/>
                </a:lnTo>
                <a:lnTo>
                  <a:pt x="231" y="996"/>
                </a:lnTo>
                <a:lnTo>
                  <a:pt x="225" y="996"/>
                </a:lnTo>
                <a:lnTo>
                  <a:pt x="219" y="1000"/>
                </a:lnTo>
                <a:lnTo>
                  <a:pt x="213" y="1006"/>
                </a:lnTo>
                <a:lnTo>
                  <a:pt x="210" y="1013"/>
                </a:lnTo>
                <a:lnTo>
                  <a:pt x="204" y="1019"/>
                </a:lnTo>
                <a:lnTo>
                  <a:pt x="196" y="1025"/>
                </a:lnTo>
                <a:lnTo>
                  <a:pt x="189" y="1028"/>
                </a:lnTo>
                <a:lnTo>
                  <a:pt x="181" y="1030"/>
                </a:lnTo>
                <a:lnTo>
                  <a:pt x="181" y="1030"/>
                </a:lnTo>
                <a:lnTo>
                  <a:pt x="175" y="1030"/>
                </a:lnTo>
                <a:lnTo>
                  <a:pt x="171" y="1028"/>
                </a:lnTo>
                <a:lnTo>
                  <a:pt x="168" y="1027"/>
                </a:lnTo>
                <a:lnTo>
                  <a:pt x="164" y="1025"/>
                </a:lnTo>
                <a:lnTo>
                  <a:pt x="160" y="1021"/>
                </a:lnTo>
                <a:lnTo>
                  <a:pt x="156" y="1019"/>
                </a:lnTo>
                <a:lnTo>
                  <a:pt x="152" y="1017"/>
                </a:lnTo>
                <a:lnTo>
                  <a:pt x="147" y="1017"/>
                </a:lnTo>
                <a:lnTo>
                  <a:pt x="147" y="1017"/>
                </a:lnTo>
                <a:lnTo>
                  <a:pt x="143" y="1017"/>
                </a:lnTo>
                <a:lnTo>
                  <a:pt x="141" y="1019"/>
                </a:lnTo>
                <a:lnTo>
                  <a:pt x="137" y="1023"/>
                </a:lnTo>
                <a:lnTo>
                  <a:pt x="135" y="1025"/>
                </a:lnTo>
                <a:lnTo>
                  <a:pt x="133" y="1028"/>
                </a:lnTo>
                <a:lnTo>
                  <a:pt x="129" y="1030"/>
                </a:lnTo>
                <a:lnTo>
                  <a:pt x="126" y="1034"/>
                </a:lnTo>
                <a:lnTo>
                  <a:pt x="122" y="1034"/>
                </a:lnTo>
                <a:lnTo>
                  <a:pt x="122" y="1034"/>
                </a:lnTo>
                <a:lnTo>
                  <a:pt x="118" y="1034"/>
                </a:lnTo>
                <a:lnTo>
                  <a:pt x="114" y="1032"/>
                </a:lnTo>
                <a:lnTo>
                  <a:pt x="108" y="1030"/>
                </a:lnTo>
                <a:lnTo>
                  <a:pt x="107" y="1027"/>
                </a:lnTo>
                <a:lnTo>
                  <a:pt x="103" y="1025"/>
                </a:lnTo>
                <a:lnTo>
                  <a:pt x="99" y="1021"/>
                </a:lnTo>
                <a:lnTo>
                  <a:pt x="97" y="1017"/>
                </a:lnTo>
                <a:lnTo>
                  <a:pt x="93" y="1013"/>
                </a:lnTo>
                <a:lnTo>
                  <a:pt x="93" y="1013"/>
                </a:lnTo>
                <a:lnTo>
                  <a:pt x="91" y="1015"/>
                </a:lnTo>
                <a:lnTo>
                  <a:pt x="87" y="1017"/>
                </a:lnTo>
                <a:lnTo>
                  <a:pt x="86" y="1017"/>
                </a:lnTo>
                <a:lnTo>
                  <a:pt x="84" y="1019"/>
                </a:lnTo>
                <a:lnTo>
                  <a:pt x="80" y="1021"/>
                </a:lnTo>
                <a:lnTo>
                  <a:pt x="78" y="1021"/>
                </a:lnTo>
                <a:lnTo>
                  <a:pt x="74" y="1023"/>
                </a:lnTo>
                <a:lnTo>
                  <a:pt x="70" y="1023"/>
                </a:lnTo>
                <a:lnTo>
                  <a:pt x="70" y="1023"/>
                </a:lnTo>
                <a:lnTo>
                  <a:pt x="66" y="1023"/>
                </a:lnTo>
                <a:lnTo>
                  <a:pt x="63" y="1021"/>
                </a:lnTo>
                <a:lnTo>
                  <a:pt x="61" y="1019"/>
                </a:lnTo>
                <a:lnTo>
                  <a:pt x="59" y="1015"/>
                </a:lnTo>
                <a:lnTo>
                  <a:pt x="57" y="1013"/>
                </a:lnTo>
                <a:lnTo>
                  <a:pt x="57" y="1011"/>
                </a:lnTo>
                <a:lnTo>
                  <a:pt x="57" y="1009"/>
                </a:lnTo>
                <a:lnTo>
                  <a:pt x="57" y="1007"/>
                </a:lnTo>
                <a:lnTo>
                  <a:pt x="57" y="1007"/>
                </a:lnTo>
                <a:lnTo>
                  <a:pt x="55" y="1006"/>
                </a:lnTo>
                <a:lnTo>
                  <a:pt x="55" y="1006"/>
                </a:lnTo>
                <a:lnTo>
                  <a:pt x="55" y="1004"/>
                </a:lnTo>
                <a:lnTo>
                  <a:pt x="53" y="1002"/>
                </a:lnTo>
                <a:lnTo>
                  <a:pt x="53" y="1002"/>
                </a:lnTo>
                <a:lnTo>
                  <a:pt x="53" y="1000"/>
                </a:lnTo>
                <a:lnTo>
                  <a:pt x="55" y="998"/>
                </a:lnTo>
                <a:lnTo>
                  <a:pt x="57" y="994"/>
                </a:lnTo>
                <a:lnTo>
                  <a:pt x="57" y="994"/>
                </a:lnTo>
                <a:lnTo>
                  <a:pt x="55" y="992"/>
                </a:lnTo>
                <a:lnTo>
                  <a:pt x="55" y="988"/>
                </a:lnTo>
                <a:lnTo>
                  <a:pt x="55" y="985"/>
                </a:lnTo>
                <a:lnTo>
                  <a:pt x="59" y="979"/>
                </a:lnTo>
                <a:lnTo>
                  <a:pt x="61" y="975"/>
                </a:lnTo>
                <a:lnTo>
                  <a:pt x="63" y="969"/>
                </a:lnTo>
                <a:lnTo>
                  <a:pt x="65" y="964"/>
                </a:lnTo>
                <a:lnTo>
                  <a:pt x="65" y="960"/>
                </a:lnTo>
                <a:lnTo>
                  <a:pt x="65" y="960"/>
                </a:lnTo>
                <a:lnTo>
                  <a:pt x="65" y="954"/>
                </a:lnTo>
                <a:lnTo>
                  <a:pt x="63" y="948"/>
                </a:lnTo>
                <a:lnTo>
                  <a:pt x="61" y="943"/>
                </a:lnTo>
                <a:lnTo>
                  <a:pt x="57" y="937"/>
                </a:lnTo>
                <a:lnTo>
                  <a:pt x="53" y="933"/>
                </a:lnTo>
                <a:lnTo>
                  <a:pt x="49" y="929"/>
                </a:lnTo>
                <a:lnTo>
                  <a:pt x="46" y="925"/>
                </a:lnTo>
                <a:lnTo>
                  <a:pt x="42" y="922"/>
                </a:lnTo>
                <a:lnTo>
                  <a:pt x="36" y="918"/>
                </a:lnTo>
                <a:lnTo>
                  <a:pt x="32" y="914"/>
                </a:lnTo>
                <a:lnTo>
                  <a:pt x="28" y="910"/>
                </a:lnTo>
                <a:lnTo>
                  <a:pt x="25" y="906"/>
                </a:lnTo>
                <a:lnTo>
                  <a:pt x="23" y="903"/>
                </a:lnTo>
                <a:lnTo>
                  <a:pt x="19" y="897"/>
                </a:lnTo>
                <a:lnTo>
                  <a:pt x="19" y="893"/>
                </a:lnTo>
                <a:lnTo>
                  <a:pt x="17" y="889"/>
                </a:lnTo>
                <a:lnTo>
                  <a:pt x="17" y="889"/>
                </a:lnTo>
                <a:lnTo>
                  <a:pt x="19" y="887"/>
                </a:lnTo>
                <a:lnTo>
                  <a:pt x="19" y="883"/>
                </a:lnTo>
                <a:lnTo>
                  <a:pt x="21" y="880"/>
                </a:lnTo>
                <a:lnTo>
                  <a:pt x="23" y="874"/>
                </a:lnTo>
                <a:lnTo>
                  <a:pt x="25" y="870"/>
                </a:lnTo>
                <a:lnTo>
                  <a:pt x="25" y="864"/>
                </a:lnTo>
                <a:lnTo>
                  <a:pt x="26" y="861"/>
                </a:lnTo>
                <a:lnTo>
                  <a:pt x="26" y="857"/>
                </a:lnTo>
                <a:lnTo>
                  <a:pt x="26" y="857"/>
                </a:lnTo>
                <a:lnTo>
                  <a:pt x="26" y="853"/>
                </a:lnTo>
                <a:lnTo>
                  <a:pt x="25" y="849"/>
                </a:lnTo>
                <a:lnTo>
                  <a:pt x="23" y="847"/>
                </a:lnTo>
                <a:lnTo>
                  <a:pt x="21" y="843"/>
                </a:lnTo>
                <a:lnTo>
                  <a:pt x="17" y="840"/>
                </a:lnTo>
                <a:lnTo>
                  <a:pt x="15" y="838"/>
                </a:lnTo>
                <a:lnTo>
                  <a:pt x="13" y="834"/>
                </a:lnTo>
                <a:lnTo>
                  <a:pt x="11" y="830"/>
                </a:lnTo>
                <a:lnTo>
                  <a:pt x="11" y="830"/>
                </a:lnTo>
                <a:lnTo>
                  <a:pt x="9" y="826"/>
                </a:lnTo>
                <a:lnTo>
                  <a:pt x="9" y="822"/>
                </a:lnTo>
                <a:lnTo>
                  <a:pt x="7" y="819"/>
                </a:lnTo>
                <a:lnTo>
                  <a:pt x="5" y="815"/>
                </a:lnTo>
                <a:lnTo>
                  <a:pt x="5" y="811"/>
                </a:lnTo>
                <a:lnTo>
                  <a:pt x="4" y="807"/>
                </a:lnTo>
                <a:lnTo>
                  <a:pt x="2" y="803"/>
                </a:lnTo>
                <a:lnTo>
                  <a:pt x="0" y="800"/>
                </a:lnTo>
                <a:lnTo>
                  <a:pt x="0" y="800"/>
                </a:lnTo>
                <a:lnTo>
                  <a:pt x="0" y="800"/>
                </a:lnTo>
                <a:lnTo>
                  <a:pt x="5" y="800"/>
                </a:lnTo>
                <a:lnTo>
                  <a:pt x="11" y="800"/>
                </a:lnTo>
                <a:lnTo>
                  <a:pt x="19" y="798"/>
                </a:lnTo>
                <a:lnTo>
                  <a:pt x="26" y="796"/>
                </a:lnTo>
                <a:lnTo>
                  <a:pt x="34" y="794"/>
                </a:lnTo>
                <a:lnTo>
                  <a:pt x="40" y="790"/>
                </a:lnTo>
                <a:lnTo>
                  <a:pt x="44" y="786"/>
                </a:lnTo>
                <a:lnTo>
                  <a:pt x="47" y="780"/>
                </a:lnTo>
                <a:lnTo>
                  <a:pt x="47" y="780"/>
                </a:lnTo>
                <a:lnTo>
                  <a:pt x="49" y="773"/>
                </a:lnTo>
                <a:lnTo>
                  <a:pt x="49" y="763"/>
                </a:lnTo>
                <a:lnTo>
                  <a:pt x="51" y="756"/>
                </a:lnTo>
                <a:lnTo>
                  <a:pt x="55" y="746"/>
                </a:lnTo>
                <a:lnTo>
                  <a:pt x="57" y="740"/>
                </a:lnTo>
                <a:lnTo>
                  <a:pt x="63" y="735"/>
                </a:lnTo>
                <a:lnTo>
                  <a:pt x="70" y="731"/>
                </a:lnTo>
                <a:lnTo>
                  <a:pt x="80" y="729"/>
                </a:lnTo>
                <a:lnTo>
                  <a:pt x="80" y="729"/>
                </a:lnTo>
                <a:lnTo>
                  <a:pt x="87" y="731"/>
                </a:lnTo>
                <a:lnTo>
                  <a:pt x="93" y="735"/>
                </a:lnTo>
                <a:lnTo>
                  <a:pt x="97" y="738"/>
                </a:lnTo>
                <a:lnTo>
                  <a:pt x="103" y="746"/>
                </a:lnTo>
                <a:lnTo>
                  <a:pt x="107" y="752"/>
                </a:lnTo>
                <a:lnTo>
                  <a:pt x="110" y="758"/>
                </a:lnTo>
                <a:lnTo>
                  <a:pt x="116" y="763"/>
                </a:lnTo>
                <a:lnTo>
                  <a:pt x="122" y="769"/>
                </a:lnTo>
                <a:lnTo>
                  <a:pt x="122" y="769"/>
                </a:lnTo>
                <a:lnTo>
                  <a:pt x="124" y="765"/>
                </a:lnTo>
                <a:lnTo>
                  <a:pt x="126" y="763"/>
                </a:lnTo>
                <a:lnTo>
                  <a:pt x="129" y="759"/>
                </a:lnTo>
                <a:lnTo>
                  <a:pt x="131" y="758"/>
                </a:lnTo>
                <a:lnTo>
                  <a:pt x="135" y="754"/>
                </a:lnTo>
                <a:lnTo>
                  <a:pt x="139" y="752"/>
                </a:lnTo>
                <a:lnTo>
                  <a:pt x="143" y="752"/>
                </a:lnTo>
                <a:lnTo>
                  <a:pt x="147" y="750"/>
                </a:lnTo>
                <a:lnTo>
                  <a:pt x="147" y="750"/>
                </a:lnTo>
                <a:lnTo>
                  <a:pt x="154" y="752"/>
                </a:lnTo>
                <a:lnTo>
                  <a:pt x="160" y="752"/>
                </a:lnTo>
                <a:lnTo>
                  <a:pt x="164" y="754"/>
                </a:lnTo>
                <a:lnTo>
                  <a:pt x="169" y="756"/>
                </a:lnTo>
                <a:lnTo>
                  <a:pt x="175" y="756"/>
                </a:lnTo>
                <a:lnTo>
                  <a:pt x="181" y="758"/>
                </a:lnTo>
                <a:lnTo>
                  <a:pt x="187" y="759"/>
                </a:lnTo>
                <a:lnTo>
                  <a:pt x="194" y="759"/>
                </a:lnTo>
                <a:lnTo>
                  <a:pt x="194" y="759"/>
                </a:lnTo>
                <a:lnTo>
                  <a:pt x="202" y="759"/>
                </a:lnTo>
                <a:lnTo>
                  <a:pt x="210" y="759"/>
                </a:lnTo>
                <a:lnTo>
                  <a:pt x="215" y="759"/>
                </a:lnTo>
                <a:lnTo>
                  <a:pt x="221" y="758"/>
                </a:lnTo>
                <a:lnTo>
                  <a:pt x="227" y="756"/>
                </a:lnTo>
                <a:lnTo>
                  <a:pt x="231" y="752"/>
                </a:lnTo>
                <a:lnTo>
                  <a:pt x="234" y="746"/>
                </a:lnTo>
                <a:lnTo>
                  <a:pt x="236" y="738"/>
                </a:lnTo>
                <a:lnTo>
                  <a:pt x="236" y="738"/>
                </a:lnTo>
                <a:lnTo>
                  <a:pt x="238" y="738"/>
                </a:lnTo>
                <a:lnTo>
                  <a:pt x="238" y="740"/>
                </a:lnTo>
                <a:lnTo>
                  <a:pt x="240" y="742"/>
                </a:lnTo>
                <a:lnTo>
                  <a:pt x="242" y="744"/>
                </a:lnTo>
                <a:lnTo>
                  <a:pt x="244" y="746"/>
                </a:lnTo>
                <a:lnTo>
                  <a:pt x="246" y="746"/>
                </a:lnTo>
                <a:lnTo>
                  <a:pt x="246" y="750"/>
                </a:lnTo>
                <a:lnTo>
                  <a:pt x="248" y="750"/>
                </a:lnTo>
                <a:lnTo>
                  <a:pt x="528" y="765"/>
                </a:lnTo>
                <a:lnTo>
                  <a:pt x="547" y="700"/>
                </a:lnTo>
                <a:lnTo>
                  <a:pt x="524" y="679"/>
                </a:lnTo>
                <a:lnTo>
                  <a:pt x="534" y="0"/>
                </a:lnTo>
                <a:lnTo>
                  <a:pt x="664" y="0"/>
                </a:lnTo>
                <a:lnTo>
                  <a:pt x="658" y="0"/>
                </a:lnTo>
                <a:lnTo>
                  <a:pt x="1034" y="315"/>
                </a:lnTo>
                <a:lnTo>
                  <a:pt x="1034" y="315"/>
                </a:lnTo>
                <a:lnTo>
                  <a:pt x="1036" y="321"/>
                </a:lnTo>
                <a:lnTo>
                  <a:pt x="1039" y="325"/>
                </a:lnTo>
                <a:lnTo>
                  <a:pt x="1043" y="326"/>
                </a:lnTo>
                <a:lnTo>
                  <a:pt x="1049" y="328"/>
                </a:lnTo>
                <a:lnTo>
                  <a:pt x="1053" y="330"/>
                </a:lnTo>
                <a:lnTo>
                  <a:pt x="1058" y="332"/>
                </a:lnTo>
                <a:lnTo>
                  <a:pt x="1062" y="334"/>
                </a:lnTo>
                <a:lnTo>
                  <a:pt x="1066" y="340"/>
                </a:lnTo>
                <a:lnTo>
                  <a:pt x="1066" y="340"/>
                </a:lnTo>
                <a:lnTo>
                  <a:pt x="1068" y="345"/>
                </a:lnTo>
                <a:lnTo>
                  <a:pt x="1068" y="349"/>
                </a:lnTo>
                <a:lnTo>
                  <a:pt x="1068" y="355"/>
                </a:lnTo>
                <a:lnTo>
                  <a:pt x="1068" y="359"/>
                </a:lnTo>
                <a:lnTo>
                  <a:pt x="1066" y="363"/>
                </a:lnTo>
                <a:lnTo>
                  <a:pt x="1068" y="368"/>
                </a:lnTo>
                <a:lnTo>
                  <a:pt x="1068" y="372"/>
                </a:lnTo>
                <a:lnTo>
                  <a:pt x="1072" y="374"/>
                </a:lnTo>
                <a:lnTo>
                  <a:pt x="1072" y="374"/>
                </a:lnTo>
                <a:lnTo>
                  <a:pt x="1074" y="376"/>
                </a:lnTo>
                <a:lnTo>
                  <a:pt x="1076" y="378"/>
                </a:lnTo>
                <a:lnTo>
                  <a:pt x="1079" y="378"/>
                </a:lnTo>
                <a:lnTo>
                  <a:pt x="1081" y="380"/>
                </a:lnTo>
                <a:lnTo>
                  <a:pt x="1085" y="380"/>
                </a:lnTo>
                <a:lnTo>
                  <a:pt x="1089" y="380"/>
                </a:lnTo>
                <a:lnTo>
                  <a:pt x="1093" y="382"/>
                </a:lnTo>
                <a:lnTo>
                  <a:pt x="1097" y="382"/>
                </a:lnTo>
                <a:lnTo>
                  <a:pt x="1097" y="382"/>
                </a:lnTo>
                <a:lnTo>
                  <a:pt x="1098" y="391"/>
                </a:lnTo>
                <a:lnTo>
                  <a:pt x="1102" y="399"/>
                </a:lnTo>
                <a:lnTo>
                  <a:pt x="1110" y="407"/>
                </a:lnTo>
                <a:lnTo>
                  <a:pt x="1118" y="412"/>
                </a:lnTo>
                <a:lnTo>
                  <a:pt x="1127" y="416"/>
                </a:lnTo>
                <a:lnTo>
                  <a:pt x="1137" y="420"/>
                </a:lnTo>
                <a:lnTo>
                  <a:pt x="1148" y="424"/>
                </a:lnTo>
                <a:lnTo>
                  <a:pt x="1158" y="426"/>
                </a:lnTo>
                <a:lnTo>
                  <a:pt x="1169" y="429"/>
                </a:lnTo>
                <a:lnTo>
                  <a:pt x="1179" y="433"/>
                </a:lnTo>
                <a:lnTo>
                  <a:pt x="1188" y="437"/>
                </a:lnTo>
                <a:lnTo>
                  <a:pt x="1196" y="443"/>
                </a:lnTo>
                <a:lnTo>
                  <a:pt x="1203" y="449"/>
                </a:lnTo>
                <a:lnTo>
                  <a:pt x="1209" y="458"/>
                </a:lnTo>
                <a:lnTo>
                  <a:pt x="1213" y="468"/>
                </a:lnTo>
                <a:lnTo>
                  <a:pt x="1215" y="481"/>
                </a:lnTo>
                <a:lnTo>
                  <a:pt x="1215" y="481"/>
                </a:lnTo>
                <a:lnTo>
                  <a:pt x="1213" y="485"/>
                </a:lnTo>
                <a:lnTo>
                  <a:pt x="1213" y="487"/>
                </a:lnTo>
                <a:lnTo>
                  <a:pt x="1211" y="489"/>
                </a:lnTo>
                <a:lnTo>
                  <a:pt x="1209" y="489"/>
                </a:lnTo>
                <a:lnTo>
                  <a:pt x="1207" y="490"/>
                </a:lnTo>
                <a:lnTo>
                  <a:pt x="1205" y="492"/>
                </a:lnTo>
                <a:lnTo>
                  <a:pt x="1205" y="496"/>
                </a:lnTo>
                <a:lnTo>
                  <a:pt x="1205" y="498"/>
                </a:lnTo>
                <a:lnTo>
                  <a:pt x="1205" y="498"/>
                </a:lnTo>
                <a:lnTo>
                  <a:pt x="1205" y="502"/>
                </a:lnTo>
                <a:lnTo>
                  <a:pt x="1205" y="504"/>
                </a:lnTo>
                <a:lnTo>
                  <a:pt x="1207" y="506"/>
                </a:lnTo>
                <a:lnTo>
                  <a:pt x="1209" y="508"/>
                </a:lnTo>
                <a:lnTo>
                  <a:pt x="1211" y="510"/>
                </a:lnTo>
                <a:lnTo>
                  <a:pt x="1213" y="511"/>
                </a:lnTo>
                <a:lnTo>
                  <a:pt x="1215" y="513"/>
                </a:lnTo>
                <a:lnTo>
                  <a:pt x="1217" y="517"/>
                </a:lnTo>
                <a:lnTo>
                  <a:pt x="1287" y="504"/>
                </a:lnTo>
                <a:lnTo>
                  <a:pt x="1287" y="504"/>
                </a:lnTo>
                <a:lnTo>
                  <a:pt x="1285" y="511"/>
                </a:lnTo>
                <a:lnTo>
                  <a:pt x="1283" y="519"/>
                </a:lnTo>
                <a:lnTo>
                  <a:pt x="1282" y="529"/>
                </a:lnTo>
                <a:lnTo>
                  <a:pt x="1282" y="534"/>
                </a:lnTo>
                <a:lnTo>
                  <a:pt x="1282" y="542"/>
                </a:lnTo>
                <a:lnTo>
                  <a:pt x="1282" y="550"/>
                </a:lnTo>
                <a:lnTo>
                  <a:pt x="1282" y="557"/>
                </a:lnTo>
                <a:lnTo>
                  <a:pt x="1282" y="563"/>
                </a:lnTo>
                <a:lnTo>
                  <a:pt x="1283" y="571"/>
                </a:lnTo>
                <a:lnTo>
                  <a:pt x="1283" y="578"/>
                </a:lnTo>
                <a:lnTo>
                  <a:pt x="1283" y="586"/>
                </a:lnTo>
                <a:lnTo>
                  <a:pt x="1285" y="593"/>
                </a:lnTo>
                <a:lnTo>
                  <a:pt x="1285" y="603"/>
                </a:lnTo>
                <a:lnTo>
                  <a:pt x="1287" y="611"/>
                </a:lnTo>
                <a:lnTo>
                  <a:pt x="1287" y="620"/>
                </a:lnTo>
                <a:lnTo>
                  <a:pt x="1287" y="630"/>
                </a:lnTo>
                <a:lnTo>
                  <a:pt x="1287" y="630"/>
                </a:lnTo>
                <a:lnTo>
                  <a:pt x="1287" y="645"/>
                </a:lnTo>
                <a:lnTo>
                  <a:pt x="1285" y="662"/>
                </a:lnTo>
                <a:lnTo>
                  <a:pt x="1285" y="677"/>
                </a:lnTo>
                <a:lnTo>
                  <a:pt x="1283" y="691"/>
                </a:lnTo>
                <a:lnTo>
                  <a:pt x="1282" y="704"/>
                </a:lnTo>
                <a:lnTo>
                  <a:pt x="1278" y="716"/>
                </a:lnTo>
                <a:lnTo>
                  <a:pt x="1274" y="727"/>
                </a:lnTo>
                <a:lnTo>
                  <a:pt x="1270" y="738"/>
                </a:lnTo>
                <a:lnTo>
                  <a:pt x="1264" y="748"/>
                </a:lnTo>
                <a:lnTo>
                  <a:pt x="1259" y="758"/>
                </a:lnTo>
                <a:lnTo>
                  <a:pt x="1251" y="767"/>
                </a:lnTo>
                <a:lnTo>
                  <a:pt x="1242" y="775"/>
                </a:lnTo>
                <a:lnTo>
                  <a:pt x="1234" y="782"/>
                </a:lnTo>
                <a:lnTo>
                  <a:pt x="1222" y="788"/>
                </a:lnTo>
                <a:lnTo>
                  <a:pt x="1211" y="794"/>
                </a:lnTo>
                <a:lnTo>
                  <a:pt x="1198" y="800"/>
                </a:lnTo>
                <a:lnTo>
                  <a:pt x="1133" y="800"/>
                </a:lnTo>
                <a:lnTo>
                  <a:pt x="1133" y="803"/>
                </a:lnTo>
                <a:lnTo>
                  <a:pt x="1051" y="803"/>
                </a:lnTo>
                <a:lnTo>
                  <a:pt x="1051" y="803"/>
                </a:lnTo>
                <a:lnTo>
                  <a:pt x="1047" y="807"/>
                </a:lnTo>
                <a:lnTo>
                  <a:pt x="1043" y="811"/>
                </a:lnTo>
                <a:lnTo>
                  <a:pt x="1039" y="815"/>
                </a:lnTo>
                <a:lnTo>
                  <a:pt x="1034" y="821"/>
                </a:lnTo>
                <a:lnTo>
                  <a:pt x="1028" y="826"/>
                </a:lnTo>
                <a:lnTo>
                  <a:pt x="1024" y="830"/>
                </a:lnTo>
                <a:lnTo>
                  <a:pt x="1018" y="832"/>
                </a:lnTo>
                <a:lnTo>
                  <a:pt x="1013" y="834"/>
                </a:lnTo>
                <a:lnTo>
                  <a:pt x="1013" y="834"/>
                </a:lnTo>
                <a:lnTo>
                  <a:pt x="1005" y="834"/>
                </a:lnTo>
                <a:lnTo>
                  <a:pt x="997" y="832"/>
                </a:lnTo>
                <a:lnTo>
                  <a:pt x="990" y="830"/>
                </a:lnTo>
                <a:lnTo>
                  <a:pt x="984" y="828"/>
                </a:lnTo>
                <a:lnTo>
                  <a:pt x="978" y="826"/>
                </a:lnTo>
                <a:lnTo>
                  <a:pt x="973" y="824"/>
                </a:lnTo>
                <a:lnTo>
                  <a:pt x="967" y="826"/>
                </a:lnTo>
                <a:lnTo>
                  <a:pt x="963" y="828"/>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6" name="Freeform 48"/>
          <p:cNvSpPr>
            <a:spLocks/>
          </p:cNvSpPr>
          <p:nvPr>
            <p:custDataLst>
              <p:tags r:id="rId48"/>
            </p:custDataLst>
          </p:nvPr>
        </p:nvSpPr>
        <p:spPr bwMode="gray">
          <a:xfrm>
            <a:off x="3557170" y="2084612"/>
            <a:ext cx="756466" cy="1140300"/>
          </a:xfrm>
          <a:custGeom>
            <a:avLst/>
            <a:gdLst/>
            <a:ahLst/>
            <a:cxnLst>
              <a:cxn ang="0">
                <a:pos x="145" y="177"/>
              </a:cxn>
              <a:cxn ang="0">
                <a:pos x="173" y="221"/>
              </a:cxn>
              <a:cxn ang="0">
                <a:pos x="186" y="252"/>
              </a:cxn>
              <a:cxn ang="0">
                <a:pos x="173" y="271"/>
              </a:cxn>
              <a:cxn ang="0">
                <a:pos x="129" y="548"/>
              </a:cxn>
              <a:cxn ang="0">
                <a:pos x="72" y="624"/>
              </a:cxn>
              <a:cxn ang="0">
                <a:pos x="21" y="694"/>
              </a:cxn>
              <a:cxn ang="0">
                <a:pos x="0" y="725"/>
              </a:cxn>
              <a:cxn ang="0">
                <a:pos x="7" y="769"/>
              </a:cxn>
              <a:cxn ang="0">
                <a:pos x="36" y="807"/>
              </a:cxn>
              <a:cxn ang="0">
                <a:pos x="70" y="843"/>
              </a:cxn>
              <a:cxn ang="0">
                <a:pos x="106" y="948"/>
              </a:cxn>
              <a:cxn ang="0">
                <a:pos x="124" y="992"/>
              </a:cxn>
              <a:cxn ang="0">
                <a:pos x="137" y="1042"/>
              </a:cxn>
              <a:cxn ang="0">
                <a:pos x="120" y="1063"/>
              </a:cxn>
              <a:cxn ang="0">
                <a:pos x="63" y="1068"/>
              </a:cxn>
              <a:cxn ang="0">
                <a:pos x="42" y="1099"/>
              </a:cxn>
              <a:cxn ang="0">
                <a:pos x="57" y="1139"/>
              </a:cxn>
              <a:cxn ang="0">
                <a:pos x="89" y="1164"/>
              </a:cxn>
              <a:cxn ang="0">
                <a:pos x="120" y="1194"/>
              </a:cxn>
              <a:cxn ang="0">
                <a:pos x="146" y="1240"/>
              </a:cxn>
              <a:cxn ang="0">
                <a:pos x="167" y="1280"/>
              </a:cxn>
              <a:cxn ang="0">
                <a:pos x="204" y="1271"/>
              </a:cxn>
              <a:cxn ang="0">
                <a:pos x="234" y="1259"/>
              </a:cxn>
              <a:cxn ang="0">
                <a:pos x="249" y="1271"/>
              </a:cxn>
              <a:cxn ang="0">
                <a:pos x="274" y="1271"/>
              </a:cxn>
              <a:cxn ang="0">
                <a:pos x="299" y="1253"/>
              </a:cxn>
              <a:cxn ang="0">
                <a:pos x="354" y="1246"/>
              </a:cxn>
              <a:cxn ang="0">
                <a:pos x="406" y="1236"/>
              </a:cxn>
              <a:cxn ang="0">
                <a:pos x="440" y="1200"/>
              </a:cxn>
              <a:cxn ang="0">
                <a:pos x="448" y="1173"/>
              </a:cxn>
              <a:cxn ang="0">
                <a:pos x="459" y="1164"/>
              </a:cxn>
              <a:cxn ang="0">
                <a:pos x="543" y="1143"/>
              </a:cxn>
              <a:cxn ang="0">
                <a:pos x="604" y="1095"/>
              </a:cxn>
              <a:cxn ang="0">
                <a:pos x="652" y="1057"/>
              </a:cxn>
              <a:cxn ang="0">
                <a:pos x="679" y="1017"/>
              </a:cxn>
              <a:cxn ang="0">
                <a:pos x="717" y="1002"/>
              </a:cxn>
              <a:cxn ang="0">
                <a:pos x="751" y="1015"/>
              </a:cxn>
              <a:cxn ang="0">
                <a:pos x="743" y="1002"/>
              </a:cxn>
              <a:cxn ang="0">
                <a:pos x="749" y="986"/>
              </a:cxn>
              <a:cxn ang="0">
                <a:pos x="749" y="965"/>
              </a:cxn>
              <a:cxn ang="0">
                <a:pos x="730" y="948"/>
              </a:cxn>
              <a:cxn ang="0">
                <a:pos x="715" y="901"/>
              </a:cxn>
              <a:cxn ang="0">
                <a:pos x="688" y="860"/>
              </a:cxn>
              <a:cxn ang="0">
                <a:pos x="663" y="853"/>
              </a:cxn>
              <a:cxn ang="0">
                <a:pos x="663" y="832"/>
              </a:cxn>
              <a:cxn ang="0">
                <a:pos x="682" y="813"/>
              </a:cxn>
              <a:cxn ang="0">
                <a:pos x="694" y="803"/>
              </a:cxn>
              <a:cxn ang="0">
                <a:pos x="690" y="780"/>
              </a:cxn>
              <a:cxn ang="0">
                <a:pos x="690" y="763"/>
              </a:cxn>
              <a:cxn ang="0">
                <a:pos x="721" y="736"/>
              </a:cxn>
              <a:cxn ang="0">
                <a:pos x="705" y="717"/>
              </a:cxn>
              <a:cxn ang="0">
                <a:pos x="723" y="700"/>
              </a:cxn>
              <a:cxn ang="0">
                <a:pos x="736" y="677"/>
              </a:cxn>
              <a:cxn ang="0">
                <a:pos x="745" y="641"/>
              </a:cxn>
              <a:cxn ang="0">
                <a:pos x="761" y="624"/>
              </a:cxn>
              <a:cxn ang="0">
                <a:pos x="793" y="620"/>
              </a:cxn>
              <a:cxn ang="0">
                <a:pos x="816" y="307"/>
              </a:cxn>
            </a:cxnLst>
            <a:rect l="0" t="0" r="r" b="b"/>
            <a:pathLst>
              <a:path w="824" h="1282">
                <a:moveTo>
                  <a:pt x="209" y="0"/>
                </a:moveTo>
                <a:lnTo>
                  <a:pt x="135" y="42"/>
                </a:lnTo>
                <a:lnTo>
                  <a:pt x="135" y="170"/>
                </a:lnTo>
                <a:lnTo>
                  <a:pt x="135" y="170"/>
                </a:lnTo>
                <a:lnTo>
                  <a:pt x="137" y="172"/>
                </a:lnTo>
                <a:lnTo>
                  <a:pt x="141" y="174"/>
                </a:lnTo>
                <a:lnTo>
                  <a:pt x="145" y="177"/>
                </a:lnTo>
                <a:lnTo>
                  <a:pt x="146" y="183"/>
                </a:lnTo>
                <a:lnTo>
                  <a:pt x="150" y="189"/>
                </a:lnTo>
                <a:lnTo>
                  <a:pt x="156" y="195"/>
                </a:lnTo>
                <a:lnTo>
                  <a:pt x="160" y="200"/>
                </a:lnTo>
                <a:lnTo>
                  <a:pt x="164" y="208"/>
                </a:lnTo>
                <a:lnTo>
                  <a:pt x="169" y="214"/>
                </a:lnTo>
                <a:lnTo>
                  <a:pt x="173" y="221"/>
                </a:lnTo>
                <a:lnTo>
                  <a:pt x="177" y="227"/>
                </a:lnTo>
                <a:lnTo>
                  <a:pt x="181" y="235"/>
                </a:lnTo>
                <a:lnTo>
                  <a:pt x="183" y="240"/>
                </a:lnTo>
                <a:lnTo>
                  <a:pt x="185" y="244"/>
                </a:lnTo>
                <a:lnTo>
                  <a:pt x="186" y="248"/>
                </a:lnTo>
                <a:lnTo>
                  <a:pt x="186" y="252"/>
                </a:lnTo>
                <a:lnTo>
                  <a:pt x="186" y="252"/>
                </a:lnTo>
                <a:lnTo>
                  <a:pt x="186" y="256"/>
                </a:lnTo>
                <a:lnTo>
                  <a:pt x="185" y="258"/>
                </a:lnTo>
                <a:lnTo>
                  <a:pt x="183" y="261"/>
                </a:lnTo>
                <a:lnTo>
                  <a:pt x="181" y="263"/>
                </a:lnTo>
                <a:lnTo>
                  <a:pt x="179" y="267"/>
                </a:lnTo>
                <a:lnTo>
                  <a:pt x="175" y="269"/>
                </a:lnTo>
                <a:lnTo>
                  <a:pt x="173" y="271"/>
                </a:lnTo>
                <a:lnTo>
                  <a:pt x="171" y="271"/>
                </a:lnTo>
                <a:lnTo>
                  <a:pt x="171" y="382"/>
                </a:lnTo>
                <a:lnTo>
                  <a:pt x="154" y="519"/>
                </a:lnTo>
                <a:lnTo>
                  <a:pt x="154" y="519"/>
                </a:lnTo>
                <a:lnTo>
                  <a:pt x="145" y="529"/>
                </a:lnTo>
                <a:lnTo>
                  <a:pt x="137" y="538"/>
                </a:lnTo>
                <a:lnTo>
                  <a:pt x="129" y="548"/>
                </a:lnTo>
                <a:lnTo>
                  <a:pt x="120" y="557"/>
                </a:lnTo>
                <a:lnTo>
                  <a:pt x="112" y="569"/>
                </a:lnTo>
                <a:lnTo>
                  <a:pt x="104" y="578"/>
                </a:lnTo>
                <a:lnTo>
                  <a:pt x="95" y="590"/>
                </a:lnTo>
                <a:lnTo>
                  <a:pt x="87" y="601"/>
                </a:lnTo>
                <a:lnTo>
                  <a:pt x="80" y="612"/>
                </a:lnTo>
                <a:lnTo>
                  <a:pt x="72" y="624"/>
                </a:lnTo>
                <a:lnTo>
                  <a:pt x="63" y="635"/>
                </a:lnTo>
                <a:lnTo>
                  <a:pt x="55" y="647"/>
                </a:lnTo>
                <a:lnTo>
                  <a:pt x="47" y="660"/>
                </a:lnTo>
                <a:lnTo>
                  <a:pt x="38" y="672"/>
                </a:lnTo>
                <a:lnTo>
                  <a:pt x="30" y="683"/>
                </a:lnTo>
                <a:lnTo>
                  <a:pt x="21" y="694"/>
                </a:lnTo>
                <a:lnTo>
                  <a:pt x="21" y="694"/>
                </a:lnTo>
                <a:lnTo>
                  <a:pt x="19" y="700"/>
                </a:lnTo>
                <a:lnTo>
                  <a:pt x="15" y="704"/>
                </a:lnTo>
                <a:lnTo>
                  <a:pt x="11" y="708"/>
                </a:lnTo>
                <a:lnTo>
                  <a:pt x="7" y="712"/>
                </a:lnTo>
                <a:lnTo>
                  <a:pt x="3" y="715"/>
                </a:lnTo>
                <a:lnTo>
                  <a:pt x="1" y="719"/>
                </a:lnTo>
                <a:lnTo>
                  <a:pt x="0" y="725"/>
                </a:lnTo>
                <a:lnTo>
                  <a:pt x="0" y="731"/>
                </a:lnTo>
                <a:lnTo>
                  <a:pt x="0" y="731"/>
                </a:lnTo>
                <a:lnTo>
                  <a:pt x="0" y="738"/>
                </a:lnTo>
                <a:lnTo>
                  <a:pt x="1" y="748"/>
                </a:lnTo>
                <a:lnTo>
                  <a:pt x="3" y="756"/>
                </a:lnTo>
                <a:lnTo>
                  <a:pt x="5" y="761"/>
                </a:lnTo>
                <a:lnTo>
                  <a:pt x="7" y="769"/>
                </a:lnTo>
                <a:lnTo>
                  <a:pt x="11" y="775"/>
                </a:lnTo>
                <a:lnTo>
                  <a:pt x="15" y="780"/>
                </a:lnTo>
                <a:lnTo>
                  <a:pt x="19" y="786"/>
                </a:lnTo>
                <a:lnTo>
                  <a:pt x="22" y="792"/>
                </a:lnTo>
                <a:lnTo>
                  <a:pt x="28" y="798"/>
                </a:lnTo>
                <a:lnTo>
                  <a:pt x="32" y="801"/>
                </a:lnTo>
                <a:lnTo>
                  <a:pt x="36" y="807"/>
                </a:lnTo>
                <a:lnTo>
                  <a:pt x="42" y="811"/>
                </a:lnTo>
                <a:lnTo>
                  <a:pt x="45" y="817"/>
                </a:lnTo>
                <a:lnTo>
                  <a:pt x="49" y="822"/>
                </a:lnTo>
                <a:lnTo>
                  <a:pt x="53" y="828"/>
                </a:lnTo>
                <a:lnTo>
                  <a:pt x="53" y="828"/>
                </a:lnTo>
                <a:lnTo>
                  <a:pt x="63" y="836"/>
                </a:lnTo>
                <a:lnTo>
                  <a:pt x="70" y="843"/>
                </a:lnTo>
                <a:lnTo>
                  <a:pt x="76" y="849"/>
                </a:lnTo>
                <a:lnTo>
                  <a:pt x="82" y="859"/>
                </a:lnTo>
                <a:lnTo>
                  <a:pt x="87" y="866"/>
                </a:lnTo>
                <a:lnTo>
                  <a:pt x="93" y="874"/>
                </a:lnTo>
                <a:lnTo>
                  <a:pt x="101" y="883"/>
                </a:lnTo>
                <a:lnTo>
                  <a:pt x="106" y="893"/>
                </a:lnTo>
                <a:lnTo>
                  <a:pt x="106" y="948"/>
                </a:lnTo>
                <a:lnTo>
                  <a:pt x="106" y="948"/>
                </a:lnTo>
                <a:lnTo>
                  <a:pt x="110" y="956"/>
                </a:lnTo>
                <a:lnTo>
                  <a:pt x="114" y="963"/>
                </a:lnTo>
                <a:lnTo>
                  <a:pt x="116" y="971"/>
                </a:lnTo>
                <a:lnTo>
                  <a:pt x="120" y="979"/>
                </a:lnTo>
                <a:lnTo>
                  <a:pt x="122" y="984"/>
                </a:lnTo>
                <a:lnTo>
                  <a:pt x="124" y="992"/>
                </a:lnTo>
                <a:lnTo>
                  <a:pt x="125" y="1000"/>
                </a:lnTo>
                <a:lnTo>
                  <a:pt x="127" y="1007"/>
                </a:lnTo>
                <a:lnTo>
                  <a:pt x="129" y="1013"/>
                </a:lnTo>
                <a:lnTo>
                  <a:pt x="131" y="1021"/>
                </a:lnTo>
                <a:lnTo>
                  <a:pt x="133" y="1028"/>
                </a:lnTo>
                <a:lnTo>
                  <a:pt x="135" y="1034"/>
                </a:lnTo>
                <a:lnTo>
                  <a:pt x="137" y="1042"/>
                </a:lnTo>
                <a:lnTo>
                  <a:pt x="139" y="1049"/>
                </a:lnTo>
                <a:lnTo>
                  <a:pt x="143" y="1055"/>
                </a:lnTo>
                <a:lnTo>
                  <a:pt x="145" y="1063"/>
                </a:lnTo>
                <a:lnTo>
                  <a:pt x="145" y="1063"/>
                </a:lnTo>
                <a:lnTo>
                  <a:pt x="137" y="1063"/>
                </a:lnTo>
                <a:lnTo>
                  <a:pt x="129" y="1063"/>
                </a:lnTo>
                <a:lnTo>
                  <a:pt x="120" y="1063"/>
                </a:lnTo>
                <a:lnTo>
                  <a:pt x="112" y="1063"/>
                </a:lnTo>
                <a:lnTo>
                  <a:pt x="103" y="1063"/>
                </a:lnTo>
                <a:lnTo>
                  <a:pt x="95" y="1065"/>
                </a:lnTo>
                <a:lnTo>
                  <a:pt x="85" y="1065"/>
                </a:lnTo>
                <a:lnTo>
                  <a:pt x="78" y="1065"/>
                </a:lnTo>
                <a:lnTo>
                  <a:pt x="70" y="1066"/>
                </a:lnTo>
                <a:lnTo>
                  <a:pt x="63" y="1068"/>
                </a:lnTo>
                <a:lnTo>
                  <a:pt x="57" y="1070"/>
                </a:lnTo>
                <a:lnTo>
                  <a:pt x="51" y="1074"/>
                </a:lnTo>
                <a:lnTo>
                  <a:pt x="47" y="1078"/>
                </a:lnTo>
                <a:lnTo>
                  <a:pt x="43" y="1084"/>
                </a:lnTo>
                <a:lnTo>
                  <a:pt x="42" y="1091"/>
                </a:lnTo>
                <a:lnTo>
                  <a:pt x="42" y="1099"/>
                </a:lnTo>
                <a:lnTo>
                  <a:pt x="42" y="1099"/>
                </a:lnTo>
                <a:lnTo>
                  <a:pt x="42" y="1107"/>
                </a:lnTo>
                <a:lnTo>
                  <a:pt x="43" y="1114"/>
                </a:lnTo>
                <a:lnTo>
                  <a:pt x="45" y="1120"/>
                </a:lnTo>
                <a:lnTo>
                  <a:pt x="47" y="1126"/>
                </a:lnTo>
                <a:lnTo>
                  <a:pt x="51" y="1131"/>
                </a:lnTo>
                <a:lnTo>
                  <a:pt x="53" y="1135"/>
                </a:lnTo>
                <a:lnTo>
                  <a:pt x="57" y="1139"/>
                </a:lnTo>
                <a:lnTo>
                  <a:pt x="63" y="1143"/>
                </a:lnTo>
                <a:lnTo>
                  <a:pt x="66" y="1147"/>
                </a:lnTo>
                <a:lnTo>
                  <a:pt x="72" y="1150"/>
                </a:lnTo>
                <a:lnTo>
                  <a:pt x="76" y="1154"/>
                </a:lnTo>
                <a:lnTo>
                  <a:pt x="80" y="1156"/>
                </a:lnTo>
                <a:lnTo>
                  <a:pt x="85" y="1160"/>
                </a:lnTo>
                <a:lnTo>
                  <a:pt x="89" y="1164"/>
                </a:lnTo>
                <a:lnTo>
                  <a:pt x="95" y="1166"/>
                </a:lnTo>
                <a:lnTo>
                  <a:pt x="97" y="1170"/>
                </a:lnTo>
                <a:lnTo>
                  <a:pt x="97" y="1170"/>
                </a:lnTo>
                <a:lnTo>
                  <a:pt x="103" y="1175"/>
                </a:lnTo>
                <a:lnTo>
                  <a:pt x="108" y="1183"/>
                </a:lnTo>
                <a:lnTo>
                  <a:pt x="114" y="1189"/>
                </a:lnTo>
                <a:lnTo>
                  <a:pt x="120" y="1194"/>
                </a:lnTo>
                <a:lnTo>
                  <a:pt x="124" y="1200"/>
                </a:lnTo>
                <a:lnTo>
                  <a:pt x="127" y="1206"/>
                </a:lnTo>
                <a:lnTo>
                  <a:pt x="133" y="1213"/>
                </a:lnTo>
                <a:lnTo>
                  <a:pt x="137" y="1219"/>
                </a:lnTo>
                <a:lnTo>
                  <a:pt x="141" y="1227"/>
                </a:lnTo>
                <a:lnTo>
                  <a:pt x="145" y="1232"/>
                </a:lnTo>
                <a:lnTo>
                  <a:pt x="146" y="1240"/>
                </a:lnTo>
                <a:lnTo>
                  <a:pt x="150" y="1248"/>
                </a:lnTo>
                <a:lnTo>
                  <a:pt x="154" y="1255"/>
                </a:lnTo>
                <a:lnTo>
                  <a:pt x="156" y="1265"/>
                </a:lnTo>
                <a:lnTo>
                  <a:pt x="160" y="1273"/>
                </a:lnTo>
                <a:lnTo>
                  <a:pt x="162" y="1282"/>
                </a:lnTo>
                <a:lnTo>
                  <a:pt x="162" y="1282"/>
                </a:lnTo>
                <a:lnTo>
                  <a:pt x="167" y="1280"/>
                </a:lnTo>
                <a:lnTo>
                  <a:pt x="173" y="1278"/>
                </a:lnTo>
                <a:lnTo>
                  <a:pt x="177" y="1276"/>
                </a:lnTo>
                <a:lnTo>
                  <a:pt x="183" y="1274"/>
                </a:lnTo>
                <a:lnTo>
                  <a:pt x="188" y="1274"/>
                </a:lnTo>
                <a:lnTo>
                  <a:pt x="192" y="1273"/>
                </a:lnTo>
                <a:lnTo>
                  <a:pt x="198" y="1273"/>
                </a:lnTo>
                <a:lnTo>
                  <a:pt x="204" y="1271"/>
                </a:lnTo>
                <a:lnTo>
                  <a:pt x="207" y="1271"/>
                </a:lnTo>
                <a:lnTo>
                  <a:pt x="213" y="1269"/>
                </a:lnTo>
                <a:lnTo>
                  <a:pt x="217" y="1269"/>
                </a:lnTo>
                <a:lnTo>
                  <a:pt x="221" y="1267"/>
                </a:lnTo>
                <a:lnTo>
                  <a:pt x="227" y="1265"/>
                </a:lnTo>
                <a:lnTo>
                  <a:pt x="230" y="1263"/>
                </a:lnTo>
                <a:lnTo>
                  <a:pt x="234" y="1259"/>
                </a:lnTo>
                <a:lnTo>
                  <a:pt x="238" y="1255"/>
                </a:lnTo>
                <a:lnTo>
                  <a:pt x="238" y="1255"/>
                </a:lnTo>
                <a:lnTo>
                  <a:pt x="240" y="1259"/>
                </a:lnTo>
                <a:lnTo>
                  <a:pt x="244" y="1261"/>
                </a:lnTo>
                <a:lnTo>
                  <a:pt x="246" y="1265"/>
                </a:lnTo>
                <a:lnTo>
                  <a:pt x="248" y="1267"/>
                </a:lnTo>
                <a:lnTo>
                  <a:pt x="249" y="1271"/>
                </a:lnTo>
                <a:lnTo>
                  <a:pt x="253" y="1273"/>
                </a:lnTo>
                <a:lnTo>
                  <a:pt x="255" y="1273"/>
                </a:lnTo>
                <a:lnTo>
                  <a:pt x="259" y="1274"/>
                </a:lnTo>
                <a:lnTo>
                  <a:pt x="259" y="1274"/>
                </a:lnTo>
                <a:lnTo>
                  <a:pt x="265" y="1273"/>
                </a:lnTo>
                <a:lnTo>
                  <a:pt x="270" y="1273"/>
                </a:lnTo>
                <a:lnTo>
                  <a:pt x="274" y="1271"/>
                </a:lnTo>
                <a:lnTo>
                  <a:pt x="278" y="1267"/>
                </a:lnTo>
                <a:lnTo>
                  <a:pt x="280" y="1265"/>
                </a:lnTo>
                <a:lnTo>
                  <a:pt x="284" y="1261"/>
                </a:lnTo>
                <a:lnTo>
                  <a:pt x="288" y="1257"/>
                </a:lnTo>
                <a:lnTo>
                  <a:pt x="293" y="1255"/>
                </a:lnTo>
                <a:lnTo>
                  <a:pt x="293" y="1255"/>
                </a:lnTo>
                <a:lnTo>
                  <a:pt x="299" y="1253"/>
                </a:lnTo>
                <a:lnTo>
                  <a:pt x="309" y="1252"/>
                </a:lnTo>
                <a:lnTo>
                  <a:pt x="316" y="1252"/>
                </a:lnTo>
                <a:lnTo>
                  <a:pt x="324" y="1250"/>
                </a:lnTo>
                <a:lnTo>
                  <a:pt x="331" y="1248"/>
                </a:lnTo>
                <a:lnTo>
                  <a:pt x="339" y="1248"/>
                </a:lnTo>
                <a:lnTo>
                  <a:pt x="347" y="1248"/>
                </a:lnTo>
                <a:lnTo>
                  <a:pt x="354" y="1246"/>
                </a:lnTo>
                <a:lnTo>
                  <a:pt x="364" y="1246"/>
                </a:lnTo>
                <a:lnTo>
                  <a:pt x="372" y="1246"/>
                </a:lnTo>
                <a:lnTo>
                  <a:pt x="379" y="1244"/>
                </a:lnTo>
                <a:lnTo>
                  <a:pt x="385" y="1242"/>
                </a:lnTo>
                <a:lnTo>
                  <a:pt x="393" y="1240"/>
                </a:lnTo>
                <a:lnTo>
                  <a:pt x="400" y="1238"/>
                </a:lnTo>
                <a:lnTo>
                  <a:pt x="406" y="1236"/>
                </a:lnTo>
                <a:lnTo>
                  <a:pt x="413" y="1232"/>
                </a:lnTo>
                <a:lnTo>
                  <a:pt x="413" y="1232"/>
                </a:lnTo>
                <a:lnTo>
                  <a:pt x="421" y="1227"/>
                </a:lnTo>
                <a:lnTo>
                  <a:pt x="427" y="1221"/>
                </a:lnTo>
                <a:lnTo>
                  <a:pt x="433" y="1213"/>
                </a:lnTo>
                <a:lnTo>
                  <a:pt x="436" y="1208"/>
                </a:lnTo>
                <a:lnTo>
                  <a:pt x="440" y="1200"/>
                </a:lnTo>
                <a:lnTo>
                  <a:pt x="444" y="1192"/>
                </a:lnTo>
                <a:lnTo>
                  <a:pt x="448" y="1187"/>
                </a:lnTo>
                <a:lnTo>
                  <a:pt x="454" y="1179"/>
                </a:lnTo>
                <a:lnTo>
                  <a:pt x="454" y="1179"/>
                </a:lnTo>
                <a:lnTo>
                  <a:pt x="452" y="1177"/>
                </a:lnTo>
                <a:lnTo>
                  <a:pt x="450" y="1175"/>
                </a:lnTo>
                <a:lnTo>
                  <a:pt x="448" y="1173"/>
                </a:lnTo>
                <a:lnTo>
                  <a:pt x="448" y="1171"/>
                </a:lnTo>
                <a:lnTo>
                  <a:pt x="446" y="1170"/>
                </a:lnTo>
                <a:lnTo>
                  <a:pt x="444" y="1168"/>
                </a:lnTo>
                <a:lnTo>
                  <a:pt x="444" y="1166"/>
                </a:lnTo>
                <a:lnTo>
                  <a:pt x="442" y="1164"/>
                </a:lnTo>
                <a:lnTo>
                  <a:pt x="442" y="1164"/>
                </a:lnTo>
                <a:lnTo>
                  <a:pt x="459" y="1164"/>
                </a:lnTo>
                <a:lnTo>
                  <a:pt x="473" y="1162"/>
                </a:lnTo>
                <a:lnTo>
                  <a:pt x="488" y="1162"/>
                </a:lnTo>
                <a:lnTo>
                  <a:pt x="501" y="1158"/>
                </a:lnTo>
                <a:lnTo>
                  <a:pt x="513" y="1156"/>
                </a:lnTo>
                <a:lnTo>
                  <a:pt x="524" y="1152"/>
                </a:lnTo>
                <a:lnTo>
                  <a:pt x="534" y="1149"/>
                </a:lnTo>
                <a:lnTo>
                  <a:pt x="543" y="1143"/>
                </a:lnTo>
                <a:lnTo>
                  <a:pt x="553" y="1139"/>
                </a:lnTo>
                <a:lnTo>
                  <a:pt x="562" y="1133"/>
                </a:lnTo>
                <a:lnTo>
                  <a:pt x="570" y="1128"/>
                </a:lnTo>
                <a:lnTo>
                  <a:pt x="579" y="1120"/>
                </a:lnTo>
                <a:lnTo>
                  <a:pt x="587" y="1112"/>
                </a:lnTo>
                <a:lnTo>
                  <a:pt x="597" y="1105"/>
                </a:lnTo>
                <a:lnTo>
                  <a:pt x="604" y="1095"/>
                </a:lnTo>
                <a:lnTo>
                  <a:pt x="614" y="1087"/>
                </a:lnTo>
                <a:lnTo>
                  <a:pt x="614" y="1087"/>
                </a:lnTo>
                <a:lnTo>
                  <a:pt x="621" y="1082"/>
                </a:lnTo>
                <a:lnTo>
                  <a:pt x="629" y="1076"/>
                </a:lnTo>
                <a:lnTo>
                  <a:pt x="637" y="1070"/>
                </a:lnTo>
                <a:lnTo>
                  <a:pt x="644" y="1063"/>
                </a:lnTo>
                <a:lnTo>
                  <a:pt x="652" y="1057"/>
                </a:lnTo>
                <a:lnTo>
                  <a:pt x="656" y="1047"/>
                </a:lnTo>
                <a:lnTo>
                  <a:pt x="660" y="1038"/>
                </a:lnTo>
                <a:lnTo>
                  <a:pt x="658" y="1026"/>
                </a:lnTo>
                <a:lnTo>
                  <a:pt x="658" y="1026"/>
                </a:lnTo>
                <a:lnTo>
                  <a:pt x="665" y="1025"/>
                </a:lnTo>
                <a:lnTo>
                  <a:pt x="673" y="1021"/>
                </a:lnTo>
                <a:lnTo>
                  <a:pt x="679" y="1017"/>
                </a:lnTo>
                <a:lnTo>
                  <a:pt x="684" y="1013"/>
                </a:lnTo>
                <a:lnTo>
                  <a:pt x="690" y="1009"/>
                </a:lnTo>
                <a:lnTo>
                  <a:pt x="698" y="1005"/>
                </a:lnTo>
                <a:lnTo>
                  <a:pt x="703" y="1004"/>
                </a:lnTo>
                <a:lnTo>
                  <a:pt x="711" y="1002"/>
                </a:lnTo>
                <a:lnTo>
                  <a:pt x="711" y="1002"/>
                </a:lnTo>
                <a:lnTo>
                  <a:pt x="717" y="1002"/>
                </a:lnTo>
                <a:lnTo>
                  <a:pt x="723" y="1004"/>
                </a:lnTo>
                <a:lnTo>
                  <a:pt x="728" y="1005"/>
                </a:lnTo>
                <a:lnTo>
                  <a:pt x="734" y="1007"/>
                </a:lnTo>
                <a:lnTo>
                  <a:pt x="740" y="1011"/>
                </a:lnTo>
                <a:lnTo>
                  <a:pt x="743" y="1013"/>
                </a:lnTo>
                <a:lnTo>
                  <a:pt x="747" y="1015"/>
                </a:lnTo>
                <a:lnTo>
                  <a:pt x="751" y="1015"/>
                </a:lnTo>
                <a:lnTo>
                  <a:pt x="751" y="1015"/>
                </a:lnTo>
                <a:lnTo>
                  <a:pt x="749" y="1013"/>
                </a:lnTo>
                <a:lnTo>
                  <a:pt x="749" y="1011"/>
                </a:lnTo>
                <a:lnTo>
                  <a:pt x="747" y="1009"/>
                </a:lnTo>
                <a:lnTo>
                  <a:pt x="745" y="1005"/>
                </a:lnTo>
                <a:lnTo>
                  <a:pt x="745" y="1004"/>
                </a:lnTo>
                <a:lnTo>
                  <a:pt x="743" y="1002"/>
                </a:lnTo>
                <a:lnTo>
                  <a:pt x="743" y="998"/>
                </a:lnTo>
                <a:lnTo>
                  <a:pt x="743" y="996"/>
                </a:lnTo>
                <a:lnTo>
                  <a:pt x="743" y="996"/>
                </a:lnTo>
                <a:lnTo>
                  <a:pt x="743" y="994"/>
                </a:lnTo>
                <a:lnTo>
                  <a:pt x="745" y="992"/>
                </a:lnTo>
                <a:lnTo>
                  <a:pt x="747" y="990"/>
                </a:lnTo>
                <a:lnTo>
                  <a:pt x="749" y="986"/>
                </a:lnTo>
                <a:lnTo>
                  <a:pt x="749" y="986"/>
                </a:lnTo>
                <a:lnTo>
                  <a:pt x="751" y="983"/>
                </a:lnTo>
                <a:lnTo>
                  <a:pt x="753" y="981"/>
                </a:lnTo>
                <a:lnTo>
                  <a:pt x="753" y="979"/>
                </a:lnTo>
                <a:lnTo>
                  <a:pt x="753" y="979"/>
                </a:lnTo>
                <a:lnTo>
                  <a:pt x="753" y="971"/>
                </a:lnTo>
                <a:lnTo>
                  <a:pt x="749" y="965"/>
                </a:lnTo>
                <a:lnTo>
                  <a:pt x="747" y="962"/>
                </a:lnTo>
                <a:lnTo>
                  <a:pt x="743" y="960"/>
                </a:lnTo>
                <a:lnTo>
                  <a:pt x="740" y="956"/>
                </a:lnTo>
                <a:lnTo>
                  <a:pt x="736" y="954"/>
                </a:lnTo>
                <a:lnTo>
                  <a:pt x="732" y="952"/>
                </a:lnTo>
                <a:lnTo>
                  <a:pt x="730" y="948"/>
                </a:lnTo>
                <a:lnTo>
                  <a:pt x="730" y="948"/>
                </a:lnTo>
                <a:lnTo>
                  <a:pt x="726" y="944"/>
                </a:lnTo>
                <a:lnTo>
                  <a:pt x="724" y="937"/>
                </a:lnTo>
                <a:lnTo>
                  <a:pt x="723" y="931"/>
                </a:lnTo>
                <a:lnTo>
                  <a:pt x="721" y="923"/>
                </a:lnTo>
                <a:lnTo>
                  <a:pt x="719" y="916"/>
                </a:lnTo>
                <a:lnTo>
                  <a:pt x="717" y="908"/>
                </a:lnTo>
                <a:lnTo>
                  <a:pt x="715" y="901"/>
                </a:lnTo>
                <a:lnTo>
                  <a:pt x="713" y="893"/>
                </a:lnTo>
                <a:lnTo>
                  <a:pt x="711" y="887"/>
                </a:lnTo>
                <a:lnTo>
                  <a:pt x="709" y="880"/>
                </a:lnTo>
                <a:lnTo>
                  <a:pt x="705" y="874"/>
                </a:lnTo>
                <a:lnTo>
                  <a:pt x="700" y="868"/>
                </a:lnTo>
                <a:lnTo>
                  <a:pt x="696" y="862"/>
                </a:lnTo>
                <a:lnTo>
                  <a:pt x="688" y="860"/>
                </a:lnTo>
                <a:lnTo>
                  <a:pt x="681" y="859"/>
                </a:lnTo>
                <a:lnTo>
                  <a:pt x="673" y="857"/>
                </a:lnTo>
                <a:lnTo>
                  <a:pt x="673" y="857"/>
                </a:lnTo>
                <a:lnTo>
                  <a:pt x="669" y="857"/>
                </a:lnTo>
                <a:lnTo>
                  <a:pt x="667" y="857"/>
                </a:lnTo>
                <a:lnTo>
                  <a:pt x="665" y="855"/>
                </a:lnTo>
                <a:lnTo>
                  <a:pt x="663" y="853"/>
                </a:lnTo>
                <a:lnTo>
                  <a:pt x="661" y="851"/>
                </a:lnTo>
                <a:lnTo>
                  <a:pt x="661" y="849"/>
                </a:lnTo>
                <a:lnTo>
                  <a:pt x="661" y="845"/>
                </a:lnTo>
                <a:lnTo>
                  <a:pt x="661" y="843"/>
                </a:lnTo>
                <a:lnTo>
                  <a:pt x="661" y="843"/>
                </a:lnTo>
                <a:lnTo>
                  <a:pt x="661" y="838"/>
                </a:lnTo>
                <a:lnTo>
                  <a:pt x="663" y="832"/>
                </a:lnTo>
                <a:lnTo>
                  <a:pt x="667" y="828"/>
                </a:lnTo>
                <a:lnTo>
                  <a:pt x="669" y="824"/>
                </a:lnTo>
                <a:lnTo>
                  <a:pt x="673" y="820"/>
                </a:lnTo>
                <a:lnTo>
                  <a:pt x="679" y="817"/>
                </a:lnTo>
                <a:lnTo>
                  <a:pt x="681" y="815"/>
                </a:lnTo>
                <a:lnTo>
                  <a:pt x="684" y="813"/>
                </a:lnTo>
                <a:lnTo>
                  <a:pt x="682" y="813"/>
                </a:lnTo>
                <a:lnTo>
                  <a:pt x="682" y="813"/>
                </a:lnTo>
                <a:lnTo>
                  <a:pt x="684" y="813"/>
                </a:lnTo>
                <a:lnTo>
                  <a:pt x="688" y="811"/>
                </a:lnTo>
                <a:lnTo>
                  <a:pt x="688" y="809"/>
                </a:lnTo>
                <a:lnTo>
                  <a:pt x="690" y="807"/>
                </a:lnTo>
                <a:lnTo>
                  <a:pt x="692" y="805"/>
                </a:lnTo>
                <a:lnTo>
                  <a:pt x="694" y="803"/>
                </a:lnTo>
                <a:lnTo>
                  <a:pt x="694" y="799"/>
                </a:lnTo>
                <a:lnTo>
                  <a:pt x="694" y="798"/>
                </a:lnTo>
                <a:lnTo>
                  <a:pt x="694" y="798"/>
                </a:lnTo>
                <a:lnTo>
                  <a:pt x="694" y="794"/>
                </a:lnTo>
                <a:lnTo>
                  <a:pt x="692" y="790"/>
                </a:lnTo>
                <a:lnTo>
                  <a:pt x="690" y="784"/>
                </a:lnTo>
                <a:lnTo>
                  <a:pt x="690" y="780"/>
                </a:lnTo>
                <a:lnTo>
                  <a:pt x="688" y="778"/>
                </a:lnTo>
                <a:lnTo>
                  <a:pt x="686" y="775"/>
                </a:lnTo>
                <a:lnTo>
                  <a:pt x="684" y="771"/>
                </a:lnTo>
                <a:lnTo>
                  <a:pt x="682" y="769"/>
                </a:lnTo>
                <a:lnTo>
                  <a:pt x="682" y="769"/>
                </a:lnTo>
                <a:lnTo>
                  <a:pt x="686" y="765"/>
                </a:lnTo>
                <a:lnTo>
                  <a:pt x="690" y="763"/>
                </a:lnTo>
                <a:lnTo>
                  <a:pt x="698" y="759"/>
                </a:lnTo>
                <a:lnTo>
                  <a:pt x="703" y="756"/>
                </a:lnTo>
                <a:lnTo>
                  <a:pt x="709" y="750"/>
                </a:lnTo>
                <a:lnTo>
                  <a:pt x="715" y="746"/>
                </a:lnTo>
                <a:lnTo>
                  <a:pt x="719" y="740"/>
                </a:lnTo>
                <a:lnTo>
                  <a:pt x="721" y="736"/>
                </a:lnTo>
                <a:lnTo>
                  <a:pt x="721" y="736"/>
                </a:lnTo>
                <a:lnTo>
                  <a:pt x="719" y="735"/>
                </a:lnTo>
                <a:lnTo>
                  <a:pt x="719" y="731"/>
                </a:lnTo>
                <a:lnTo>
                  <a:pt x="715" y="729"/>
                </a:lnTo>
                <a:lnTo>
                  <a:pt x="713" y="727"/>
                </a:lnTo>
                <a:lnTo>
                  <a:pt x="711" y="723"/>
                </a:lnTo>
                <a:lnTo>
                  <a:pt x="707" y="721"/>
                </a:lnTo>
                <a:lnTo>
                  <a:pt x="705" y="717"/>
                </a:lnTo>
                <a:lnTo>
                  <a:pt x="705" y="714"/>
                </a:lnTo>
                <a:lnTo>
                  <a:pt x="705" y="714"/>
                </a:lnTo>
                <a:lnTo>
                  <a:pt x="705" y="710"/>
                </a:lnTo>
                <a:lnTo>
                  <a:pt x="705" y="708"/>
                </a:lnTo>
                <a:lnTo>
                  <a:pt x="705" y="706"/>
                </a:lnTo>
                <a:lnTo>
                  <a:pt x="705" y="704"/>
                </a:lnTo>
                <a:lnTo>
                  <a:pt x="723" y="700"/>
                </a:lnTo>
                <a:lnTo>
                  <a:pt x="723" y="700"/>
                </a:lnTo>
                <a:lnTo>
                  <a:pt x="726" y="698"/>
                </a:lnTo>
                <a:lnTo>
                  <a:pt x="728" y="694"/>
                </a:lnTo>
                <a:lnTo>
                  <a:pt x="730" y="691"/>
                </a:lnTo>
                <a:lnTo>
                  <a:pt x="732" y="687"/>
                </a:lnTo>
                <a:lnTo>
                  <a:pt x="734" y="683"/>
                </a:lnTo>
                <a:lnTo>
                  <a:pt x="736" y="677"/>
                </a:lnTo>
                <a:lnTo>
                  <a:pt x="738" y="674"/>
                </a:lnTo>
                <a:lnTo>
                  <a:pt x="740" y="668"/>
                </a:lnTo>
                <a:lnTo>
                  <a:pt x="742" y="662"/>
                </a:lnTo>
                <a:lnTo>
                  <a:pt x="743" y="656"/>
                </a:lnTo>
                <a:lnTo>
                  <a:pt x="743" y="653"/>
                </a:lnTo>
                <a:lnTo>
                  <a:pt x="745" y="647"/>
                </a:lnTo>
                <a:lnTo>
                  <a:pt x="745" y="641"/>
                </a:lnTo>
                <a:lnTo>
                  <a:pt x="747" y="635"/>
                </a:lnTo>
                <a:lnTo>
                  <a:pt x="747" y="632"/>
                </a:lnTo>
                <a:lnTo>
                  <a:pt x="747" y="626"/>
                </a:lnTo>
                <a:lnTo>
                  <a:pt x="747" y="626"/>
                </a:lnTo>
                <a:lnTo>
                  <a:pt x="751" y="626"/>
                </a:lnTo>
                <a:lnTo>
                  <a:pt x="757" y="624"/>
                </a:lnTo>
                <a:lnTo>
                  <a:pt x="761" y="624"/>
                </a:lnTo>
                <a:lnTo>
                  <a:pt x="764" y="622"/>
                </a:lnTo>
                <a:lnTo>
                  <a:pt x="770" y="622"/>
                </a:lnTo>
                <a:lnTo>
                  <a:pt x="774" y="622"/>
                </a:lnTo>
                <a:lnTo>
                  <a:pt x="778" y="620"/>
                </a:lnTo>
                <a:lnTo>
                  <a:pt x="784" y="620"/>
                </a:lnTo>
                <a:lnTo>
                  <a:pt x="787" y="620"/>
                </a:lnTo>
                <a:lnTo>
                  <a:pt x="793" y="620"/>
                </a:lnTo>
                <a:lnTo>
                  <a:pt x="797" y="618"/>
                </a:lnTo>
                <a:lnTo>
                  <a:pt x="803" y="618"/>
                </a:lnTo>
                <a:lnTo>
                  <a:pt x="806" y="618"/>
                </a:lnTo>
                <a:lnTo>
                  <a:pt x="812" y="618"/>
                </a:lnTo>
                <a:lnTo>
                  <a:pt x="818" y="618"/>
                </a:lnTo>
                <a:lnTo>
                  <a:pt x="824" y="618"/>
                </a:lnTo>
                <a:lnTo>
                  <a:pt x="816" y="307"/>
                </a:lnTo>
                <a:lnTo>
                  <a:pt x="209" y="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7" name="Freeform 49"/>
          <p:cNvSpPr>
            <a:spLocks/>
          </p:cNvSpPr>
          <p:nvPr>
            <p:custDataLst>
              <p:tags r:id="rId49"/>
            </p:custDataLst>
          </p:nvPr>
        </p:nvSpPr>
        <p:spPr bwMode="gray">
          <a:xfrm>
            <a:off x="2617671" y="2086233"/>
            <a:ext cx="1111211" cy="814732"/>
          </a:xfrm>
          <a:custGeom>
            <a:avLst/>
            <a:gdLst/>
            <a:ahLst/>
            <a:cxnLst>
              <a:cxn ang="0">
                <a:pos x="225" y="883"/>
              </a:cxn>
              <a:cxn ang="0">
                <a:pos x="183" y="862"/>
              </a:cxn>
              <a:cxn ang="0">
                <a:pos x="151" y="887"/>
              </a:cxn>
              <a:cxn ang="0">
                <a:pos x="134" y="864"/>
              </a:cxn>
              <a:cxn ang="0">
                <a:pos x="141" y="862"/>
              </a:cxn>
              <a:cxn ang="0">
                <a:pos x="149" y="845"/>
              </a:cxn>
              <a:cxn ang="0">
                <a:pos x="126" y="834"/>
              </a:cxn>
              <a:cxn ang="0">
                <a:pos x="107" y="841"/>
              </a:cxn>
              <a:cxn ang="0">
                <a:pos x="65" y="814"/>
              </a:cxn>
              <a:cxn ang="0">
                <a:pos x="67" y="797"/>
              </a:cxn>
              <a:cxn ang="0">
                <a:pos x="69" y="778"/>
              </a:cxn>
              <a:cxn ang="0">
                <a:pos x="19" y="727"/>
              </a:cxn>
              <a:cxn ang="0">
                <a:pos x="4" y="656"/>
              </a:cxn>
              <a:cxn ang="0">
                <a:pos x="38" y="660"/>
              </a:cxn>
              <a:cxn ang="0">
                <a:pos x="75" y="649"/>
              </a:cxn>
              <a:cxn ang="0">
                <a:pos x="239" y="628"/>
              </a:cxn>
              <a:cxn ang="0">
                <a:pos x="300" y="586"/>
              </a:cxn>
              <a:cxn ang="0">
                <a:pos x="326" y="505"/>
              </a:cxn>
              <a:cxn ang="0">
                <a:pos x="326" y="431"/>
              </a:cxn>
              <a:cxn ang="0">
                <a:pos x="323" y="378"/>
              </a:cxn>
              <a:cxn ang="0">
                <a:pos x="456" y="309"/>
              </a:cxn>
              <a:cxn ang="0">
                <a:pos x="969" y="2"/>
              </a:cxn>
              <a:cxn ang="0">
                <a:pos x="1013" y="15"/>
              </a:cxn>
              <a:cxn ang="0">
                <a:pos x="1053" y="32"/>
              </a:cxn>
              <a:cxn ang="0">
                <a:pos x="1095" y="65"/>
              </a:cxn>
              <a:cxn ang="0">
                <a:pos x="1149" y="46"/>
              </a:cxn>
              <a:cxn ang="0">
                <a:pos x="1170" y="173"/>
              </a:cxn>
              <a:cxn ang="0">
                <a:pos x="1198" y="217"/>
              </a:cxn>
              <a:cxn ang="0">
                <a:pos x="1211" y="248"/>
              </a:cxn>
              <a:cxn ang="0">
                <a:pos x="1198" y="267"/>
              </a:cxn>
              <a:cxn ang="0">
                <a:pos x="1154" y="544"/>
              </a:cxn>
              <a:cxn ang="0">
                <a:pos x="1097" y="620"/>
              </a:cxn>
              <a:cxn ang="0">
                <a:pos x="1046" y="690"/>
              </a:cxn>
              <a:cxn ang="0">
                <a:pos x="1025" y="721"/>
              </a:cxn>
              <a:cxn ang="0">
                <a:pos x="1032" y="757"/>
              </a:cxn>
              <a:cxn ang="0">
                <a:pos x="1015" y="780"/>
              </a:cxn>
              <a:cxn ang="0">
                <a:pos x="965" y="811"/>
              </a:cxn>
              <a:cxn ang="0">
                <a:pos x="931" y="828"/>
              </a:cxn>
              <a:cxn ang="0">
                <a:pos x="889" y="813"/>
              </a:cxn>
              <a:cxn ang="0">
                <a:pos x="847" y="795"/>
              </a:cxn>
              <a:cxn ang="0">
                <a:pos x="792" y="801"/>
              </a:cxn>
              <a:cxn ang="0">
                <a:pos x="742" y="828"/>
              </a:cxn>
              <a:cxn ang="0">
                <a:pos x="691" y="837"/>
              </a:cxn>
              <a:cxn ang="0">
                <a:pos x="643" y="818"/>
              </a:cxn>
              <a:cxn ang="0">
                <a:pos x="599" y="797"/>
              </a:cxn>
              <a:cxn ang="0">
                <a:pos x="569" y="803"/>
              </a:cxn>
              <a:cxn ang="0">
                <a:pos x="540" y="816"/>
              </a:cxn>
              <a:cxn ang="0">
                <a:pos x="510" y="816"/>
              </a:cxn>
              <a:cxn ang="0">
                <a:pos x="485" y="782"/>
              </a:cxn>
              <a:cxn ang="0">
                <a:pos x="454" y="765"/>
              </a:cxn>
              <a:cxn ang="0">
                <a:pos x="408" y="753"/>
              </a:cxn>
              <a:cxn ang="0">
                <a:pos x="365" y="753"/>
              </a:cxn>
              <a:cxn ang="0">
                <a:pos x="313" y="769"/>
              </a:cxn>
              <a:cxn ang="0">
                <a:pos x="294" y="805"/>
              </a:cxn>
              <a:cxn ang="0">
                <a:pos x="267" y="843"/>
              </a:cxn>
              <a:cxn ang="0">
                <a:pos x="248" y="898"/>
              </a:cxn>
            </a:cxnLst>
            <a:rect l="0" t="0" r="r" b="b"/>
            <a:pathLst>
              <a:path w="1211" h="916">
                <a:moveTo>
                  <a:pt x="252" y="908"/>
                </a:moveTo>
                <a:lnTo>
                  <a:pt x="256" y="916"/>
                </a:lnTo>
                <a:lnTo>
                  <a:pt x="256" y="916"/>
                </a:lnTo>
                <a:lnTo>
                  <a:pt x="248" y="910"/>
                </a:lnTo>
                <a:lnTo>
                  <a:pt x="242" y="902"/>
                </a:lnTo>
                <a:lnTo>
                  <a:pt x="233" y="895"/>
                </a:lnTo>
                <a:lnTo>
                  <a:pt x="225" y="883"/>
                </a:lnTo>
                <a:lnTo>
                  <a:pt x="216" y="874"/>
                </a:lnTo>
                <a:lnTo>
                  <a:pt x="208" y="866"/>
                </a:lnTo>
                <a:lnTo>
                  <a:pt x="199" y="860"/>
                </a:lnTo>
                <a:lnTo>
                  <a:pt x="193" y="858"/>
                </a:lnTo>
                <a:lnTo>
                  <a:pt x="193" y="858"/>
                </a:lnTo>
                <a:lnTo>
                  <a:pt x="189" y="860"/>
                </a:lnTo>
                <a:lnTo>
                  <a:pt x="183" y="862"/>
                </a:lnTo>
                <a:lnTo>
                  <a:pt x="176" y="866"/>
                </a:lnTo>
                <a:lnTo>
                  <a:pt x="168" y="872"/>
                </a:lnTo>
                <a:lnTo>
                  <a:pt x="162" y="876"/>
                </a:lnTo>
                <a:lnTo>
                  <a:pt x="157" y="879"/>
                </a:lnTo>
                <a:lnTo>
                  <a:pt x="153" y="883"/>
                </a:lnTo>
                <a:lnTo>
                  <a:pt x="151" y="887"/>
                </a:lnTo>
                <a:lnTo>
                  <a:pt x="151" y="887"/>
                </a:lnTo>
                <a:lnTo>
                  <a:pt x="147" y="885"/>
                </a:lnTo>
                <a:lnTo>
                  <a:pt x="143" y="883"/>
                </a:lnTo>
                <a:lnTo>
                  <a:pt x="141" y="879"/>
                </a:lnTo>
                <a:lnTo>
                  <a:pt x="138" y="877"/>
                </a:lnTo>
                <a:lnTo>
                  <a:pt x="136" y="874"/>
                </a:lnTo>
                <a:lnTo>
                  <a:pt x="134" y="870"/>
                </a:lnTo>
                <a:lnTo>
                  <a:pt x="134" y="864"/>
                </a:lnTo>
                <a:lnTo>
                  <a:pt x="134" y="858"/>
                </a:lnTo>
                <a:lnTo>
                  <a:pt x="134" y="858"/>
                </a:lnTo>
                <a:lnTo>
                  <a:pt x="136" y="860"/>
                </a:lnTo>
                <a:lnTo>
                  <a:pt x="138" y="862"/>
                </a:lnTo>
                <a:lnTo>
                  <a:pt x="139" y="862"/>
                </a:lnTo>
                <a:lnTo>
                  <a:pt x="139" y="862"/>
                </a:lnTo>
                <a:lnTo>
                  <a:pt x="141" y="862"/>
                </a:lnTo>
                <a:lnTo>
                  <a:pt x="145" y="860"/>
                </a:lnTo>
                <a:lnTo>
                  <a:pt x="147" y="860"/>
                </a:lnTo>
                <a:lnTo>
                  <a:pt x="151" y="858"/>
                </a:lnTo>
                <a:lnTo>
                  <a:pt x="151" y="858"/>
                </a:lnTo>
                <a:lnTo>
                  <a:pt x="151" y="855"/>
                </a:lnTo>
                <a:lnTo>
                  <a:pt x="149" y="849"/>
                </a:lnTo>
                <a:lnTo>
                  <a:pt x="149" y="845"/>
                </a:lnTo>
                <a:lnTo>
                  <a:pt x="147" y="841"/>
                </a:lnTo>
                <a:lnTo>
                  <a:pt x="143" y="837"/>
                </a:lnTo>
                <a:lnTo>
                  <a:pt x="141" y="835"/>
                </a:lnTo>
                <a:lnTo>
                  <a:pt x="136" y="834"/>
                </a:lnTo>
                <a:lnTo>
                  <a:pt x="132" y="834"/>
                </a:lnTo>
                <a:lnTo>
                  <a:pt x="132" y="834"/>
                </a:lnTo>
                <a:lnTo>
                  <a:pt x="126" y="834"/>
                </a:lnTo>
                <a:lnTo>
                  <a:pt x="122" y="834"/>
                </a:lnTo>
                <a:lnTo>
                  <a:pt x="120" y="835"/>
                </a:lnTo>
                <a:lnTo>
                  <a:pt x="117" y="837"/>
                </a:lnTo>
                <a:lnTo>
                  <a:pt x="115" y="839"/>
                </a:lnTo>
                <a:lnTo>
                  <a:pt x="113" y="839"/>
                </a:lnTo>
                <a:lnTo>
                  <a:pt x="109" y="841"/>
                </a:lnTo>
                <a:lnTo>
                  <a:pt x="107" y="841"/>
                </a:lnTo>
                <a:lnTo>
                  <a:pt x="107" y="841"/>
                </a:lnTo>
                <a:lnTo>
                  <a:pt x="101" y="839"/>
                </a:lnTo>
                <a:lnTo>
                  <a:pt x="94" y="837"/>
                </a:lnTo>
                <a:lnTo>
                  <a:pt x="86" y="832"/>
                </a:lnTo>
                <a:lnTo>
                  <a:pt x="78" y="826"/>
                </a:lnTo>
                <a:lnTo>
                  <a:pt x="71" y="820"/>
                </a:lnTo>
                <a:lnTo>
                  <a:pt x="65" y="814"/>
                </a:lnTo>
                <a:lnTo>
                  <a:pt x="59" y="809"/>
                </a:lnTo>
                <a:lnTo>
                  <a:pt x="56" y="803"/>
                </a:lnTo>
                <a:lnTo>
                  <a:pt x="56" y="803"/>
                </a:lnTo>
                <a:lnTo>
                  <a:pt x="59" y="801"/>
                </a:lnTo>
                <a:lnTo>
                  <a:pt x="61" y="799"/>
                </a:lnTo>
                <a:lnTo>
                  <a:pt x="65" y="799"/>
                </a:lnTo>
                <a:lnTo>
                  <a:pt x="67" y="797"/>
                </a:lnTo>
                <a:lnTo>
                  <a:pt x="71" y="795"/>
                </a:lnTo>
                <a:lnTo>
                  <a:pt x="73" y="794"/>
                </a:lnTo>
                <a:lnTo>
                  <a:pt x="77" y="792"/>
                </a:lnTo>
                <a:lnTo>
                  <a:pt x="80" y="790"/>
                </a:lnTo>
                <a:lnTo>
                  <a:pt x="80" y="790"/>
                </a:lnTo>
                <a:lnTo>
                  <a:pt x="75" y="784"/>
                </a:lnTo>
                <a:lnTo>
                  <a:pt x="69" y="778"/>
                </a:lnTo>
                <a:lnTo>
                  <a:pt x="63" y="773"/>
                </a:lnTo>
                <a:lnTo>
                  <a:pt x="56" y="765"/>
                </a:lnTo>
                <a:lnTo>
                  <a:pt x="48" y="759"/>
                </a:lnTo>
                <a:lnTo>
                  <a:pt x="40" y="752"/>
                </a:lnTo>
                <a:lnTo>
                  <a:pt x="35" y="744"/>
                </a:lnTo>
                <a:lnTo>
                  <a:pt x="27" y="734"/>
                </a:lnTo>
                <a:lnTo>
                  <a:pt x="19" y="727"/>
                </a:lnTo>
                <a:lnTo>
                  <a:pt x="14" y="717"/>
                </a:lnTo>
                <a:lnTo>
                  <a:pt x="10" y="708"/>
                </a:lnTo>
                <a:lnTo>
                  <a:pt x="4" y="698"/>
                </a:lnTo>
                <a:lnTo>
                  <a:pt x="2" y="689"/>
                </a:lnTo>
                <a:lnTo>
                  <a:pt x="0" y="677"/>
                </a:lnTo>
                <a:lnTo>
                  <a:pt x="0" y="668"/>
                </a:lnTo>
                <a:lnTo>
                  <a:pt x="4" y="656"/>
                </a:lnTo>
                <a:lnTo>
                  <a:pt x="4" y="656"/>
                </a:lnTo>
                <a:lnTo>
                  <a:pt x="8" y="654"/>
                </a:lnTo>
                <a:lnTo>
                  <a:pt x="14" y="652"/>
                </a:lnTo>
                <a:lnTo>
                  <a:pt x="19" y="654"/>
                </a:lnTo>
                <a:lnTo>
                  <a:pt x="25" y="656"/>
                </a:lnTo>
                <a:lnTo>
                  <a:pt x="31" y="658"/>
                </a:lnTo>
                <a:lnTo>
                  <a:pt x="38" y="660"/>
                </a:lnTo>
                <a:lnTo>
                  <a:pt x="46" y="662"/>
                </a:lnTo>
                <a:lnTo>
                  <a:pt x="54" y="662"/>
                </a:lnTo>
                <a:lnTo>
                  <a:pt x="54" y="662"/>
                </a:lnTo>
                <a:lnTo>
                  <a:pt x="59" y="660"/>
                </a:lnTo>
                <a:lnTo>
                  <a:pt x="65" y="658"/>
                </a:lnTo>
                <a:lnTo>
                  <a:pt x="69" y="654"/>
                </a:lnTo>
                <a:lnTo>
                  <a:pt x="75" y="649"/>
                </a:lnTo>
                <a:lnTo>
                  <a:pt x="80" y="643"/>
                </a:lnTo>
                <a:lnTo>
                  <a:pt x="84" y="639"/>
                </a:lnTo>
                <a:lnTo>
                  <a:pt x="88" y="635"/>
                </a:lnTo>
                <a:lnTo>
                  <a:pt x="92" y="631"/>
                </a:lnTo>
                <a:lnTo>
                  <a:pt x="174" y="631"/>
                </a:lnTo>
                <a:lnTo>
                  <a:pt x="174" y="628"/>
                </a:lnTo>
                <a:lnTo>
                  <a:pt x="239" y="628"/>
                </a:lnTo>
                <a:lnTo>
                  <a:pt x="239" y="628"/>
                </a:lnTo>
                <a:lnTo>
                  <a:pt x="252" y="622"/>
                </a:lnTo>
                <a:lnTo>
                  <a:pt x="263" y="616"/>
                </a:lnTo>
                <a:lnTo>
                  <a:pt x="275" y="610"/>
                </a:lnTo>
                <a:lnTo>
                  <a:pt x="283" y="603"/>
                </a:lnTo>
                <a:lnTo>
                  <a:pt x="292" y="595"/>
                </a:lnTo>
                <a:lnTo>
                  <a:pt x="300" y="586"/>
                </a:lnTo>
                <a:lnTo>
                  <a:pt x="305" y="576"/>
                </a:lnTo>
                <a:lnTo>
                  <a:pt x="311" y="566"/>
                </a:lnTo>
                <a:lnTo>
                  <a:pt x="315" y="555"/>
                </a:lnTo>
                <a:lnTo>
                  <a:pt x="319" y="544"/>
                </a:lnTo>
                <a:lnTo>
                  <a:pt x="323" y="532"/>
                </a:lnTo>
                <a:lnTo>
                  <a:pt x="324" y="519"/>
                </a:lnTo>
                <a:lnTo>
                  <a:pt x="326" y="505"/>
                </a:lnTo>
                <a:lnTo>
                  <a:pt x="326" y="490"/>
                </a:lnTo>
                <a:lnTo>
                  <a:pt x="328" y="473"/>
                </a:lnTo>
                <a:lnTo>
                  <a:pt x="328" y="458"/>
                </a:lnTo>
                <a:lnTo>
                  <a:pt x="328" y="458"/>
                </a:lnTo>
                <a:lnTo>
                  <a:pt x="328" y="448"/>
                </a:lnTo>
                <a:lnTo>
                  <a:pt x="328" y="439"/>
                </a:lnTo>
                <a:lnTo>
                  <a:pt x="326" y="431"/>
                </a:lnTo>
                <a:lnTo>
                  <a:pt x="326" y="421"/>
                </a:lnTo>
                <a:lnTo>
                  <a:pt x="324" y="414"/>
                </a:lnTo>
                <a:lnTo>
                  <a:pt x="324" y="406"/>
                </a:lnTo>
                <a:lnTo>
                  <a:pt x="324" y="399"/>
                </a:lnTo>
                <a:lnTo>
                  <a:pt x="323" y="391"/>
                </a:lnTo>
                <a:lnTo>
                  <a:pt x="323" y="385"/>
                </a:lnTo>
                <a:lnTo>
                  <a:pt x="323" y="378"/>
                </a:lnTo>
                <a:lnTo>
                  <a:pt x="323" y="370"/>
                </a:lnTo>
                <a:lnTo>
                  <a:pt x="323" y="362"/>
                </a:lnTo>
                <a:lnTo>
                  <a:pt x="323" y="357"/>
                </a:lnTo>
                <a:lnTo>
                  <a:pt x="324" y="347"/>
                </a:lnTo>
                <a:lnTo>
                  <a:pt x="326" y="339"/>
                </a:lnTo>
                <a:lnTo>
                  <a:pt x="328" y="332"/>
                </a:lnTo>
                <a:lnTo>
                  <a:pt x="456" y="309"/>
                </a:lnTo>
                <a:lnTo>
                  <a:pt x="593" y="194"/>
                </a:lnTo>
                <a:lnTo>
                  <a:pt x="937" y="0"/>
                </a:lnTo>
                <a:lnTo>
                  <a:pt x="937" y="0"/>
                </a:lnTo>
                <a:lnTo>
                  <a:pt x="944" y="0"/>
                </a:lnTo>
                <a:lnTo>
                  <a:pt x="954" y="0"/>
                </a:lnTo>
                <a:lnTo>
                  <a:pt x="962" y="2"/>
                </a:lnTo>
                <a:lnTo>
                  <a:pt x="969" y="2"/>
                </a:lnTo>
                <a:lnTo>
                  <a:pt x="977" y="4"/>
                </a:lnTo>
                <a:lnTo>
                  <a:pt x="983" y="6"/>
                </a:lnTo>
                <a:lnTo>
                  <a:pt x="990" y="8"/>
                </a:lnTo>
                <a:lnTo>
                  <a:pt x="996" y="9"/>
                </a:lnTo>
                <a:lnTo>
                  <a:pt x="1002" y="11"/>
                </a:lnTo>
                <a:lnTo>
                  <a:pt x="1007" y="13"/>
                </a:lnTo>
                <a:lnTo>
                  <a:pt x="1013" y="15"/>
                </a:lnTo>
                <a:lnTo>
                  <a:pt x="1021" y="19"/>
                </a:lnTo>
                <a:lnTo>
                  <a:pt x="1026" y="21"/>
                </a:lnTo>
                <a:lnTo>
                  <a:pt x="1032" y="25"/>
                </a:lnTo>
                <a:lnTo>
                  <a:pt x="1040" y="27"/>
                </a:lnTo>
                <a:lnTo>
                  <a:pt x="1046" y="28"/>
                </a:lnTo>
                <a:lnTo>
                  <a:pt x="1046" y="28"/>
                </a:lnTo>
                <a:lnTo>
                  <a:pt x="1053" y="32"/>
                </a:lnTo>
                <a:lnTo>
                  <a:pt x="1059" y="38"/>
                </a:lnTo>
                <a:lnTo>
                  <a:pt x="1065" y="44"/>
                </a:lnTo>
                <a:lnTo>
                  <a:pt x="1070" y="49"/>
                </a:lnTo>
                <a:lnTo>
                  <a:pt x="1074" y="55"/>
                </a:lnTo>
                <a:lnTo>
                  <a:pt x="1082" y="61"/>
                </a:lnTo>
                <a:lnTo>
                  <a:pt x="1088" y="63"/>
                </a:lnTo>
                <a:lnTo>
                  <a:pt x="1095" y="65"/>
                </a:lnTo>
                <a:lnTo>
                  <a:pt x="1095" y="65"/>
                </a:lnTo>
                <a:lnTo>
                  <a:pt x="1105" y="65"/>
                </a:lnTo>
                <a:lnTo>
                  <a:pt x="1112" y="61"/>
                </a:lnTo>
                <a:lnTo>
                  <a:pt x="1122" y="59"/>
                </a:lnTo>
                <a:lnTo>
                  <a:pt x="1131" y="55"/>
                </a:lnTo>
                <a:lnTo>
                  <a:pt x="1141" y="51"/>
                </a:lnTo>
                <a:lnTo>
                  <a:pt x="1149" y="46"/>
                </a:lnTo>
                <a:lnTo>
                  <a:pt x="1156" y="42"/>
                </a:lnTo>
                <a:lnTo>
                  <a:pt x="1160" y="38"/>
                </a:lnTo>
                <a:lnTo>
                  <a:pt x="1160" y="166"/>
                </a:lnTo>
                <a:lnTo>
                  <a:pt x="1160" y="166"/>
                </a:lnTo>
                <a:lnTo>
                  <a:pt x="1162" y="168"/>
                </a:lnTo>
                <a:lnTo>
                  <a:pt x="1166" y="170"/>
                </a:lnTo>
                <a:lnTo>
                  <a:pt x="1170" y="173"/>
                </a:lnTo>
                <a:lnTo>
                  <a:pt x="1171" y="179"/>
                </a:lnTo>
                <a:lnTo>
                  <a:pt x="1175" y="185"/>
                </a:lnTo>
                <a:lnTo>
                  <a:pt x="1181" y="191"/>
                </a:lnTo>
                <a:lnTo>
                  <a:pt x="1185" y="196"/>
                </a:lnTo>
                <a:lnTo>
                  <a:pt x="1189" y="204"/>
                </a:lnTo>
                <a:lnTo>
                  <a:pt x="1194" y="210"/>
                </a:lnTo>
                <a:lnTo>
                  <a:pt x="1198" y="217"/>
                </a:lnTo>
                <a:lnTo>
                  <a:pt x="1202" y="223"/>
                </a:lnTo>
                <a:lnTo>
                  <a:pt x="1206" y="231"/>
                </a:lnTo>
                <a:lnTo>
                  <a:pt x="1208" y="236"/>
                </a:lnTo>
                <a:lnTo>
                  <a:pt x="1210" y="240"/>
                </a:lnTo>
                <a:lnTo>
                  <a:pt x="1211" y="244"/>
                </a:lnTo>
                <a:lnTo>
                  <a:pt x="1211" y="248"/>
                </a:lnTo>
                <a:lnTo>
                  <a:pt x="1211" y="248"/>
                </a:lnTo>
                <a:lnTo>
                  <a:pt x="1211" y="252"/>
                </a:lnTo>
                <a:lnTo>
                  <a:pt x="1210" y="254"/>
                </a:lnTo>
                <a:lnTo>
                  <a:pt x="1208" y="257"/>
                </a:lnTo>
                <a:lnTo>
                  <a:pt x="1206" y="259"/>
                </a:lnTo>
                <a:lnTo>
                  <a:pt x="1204" y="263"/>
                </a:lnTo>
                <a:lnTo>
                  <a:pt x="1200" y="265"/>
                </a:lnTo>
                <a:lnTo>
                  <a:pt x="1198" y="267"/>
                </a:lnTo>
                <a:lnTo>
                  <a:pt x="1196" y="267"/>
                </a:lnTo>
                <a:lnTo>
                  <a:pt x="1196" y="378"/>
                </a:lnTo>
                <a:lnTo>
                  <a:pt x="1179" y="515"/>
                </a:lnTo>
                <a:lnTo>
                  <a:pt x="1179" y="515"/>
                </a:lnTo>
                <a:lnTo>
                  <a:pt x="1170" y="525"/>
                </a:lnTo>
                <a:lnTo>
                  <a:pt x="1162" y="534"/>
                </a:lnTo>
                <a:lnTo>
                  <a:pt x="1154" y="544"/>
                </a:lnTo>
                <a:lnTo>
                  <a:pt x="1145" y="553"/>
                </a:lnTo>
                <a:lnTo>
                  <a:pt x="1137" y="565"/>
                </a:lnTo>
                <a:lnTo>
                  <a:pt x="1129" y="574"/>
                </a:lnTo>
                <a:lnTo>
                  <a:pt x="1120" y="586"/>
                </a:lnTo>
                <a:lnTo>
                  <a:pt x="1112" y="597"/>
                </a:lnTo>
                <a:lnTo>
                  <a:pt x="1105" y="608"/>
                </a:lnTo>
                <a:lnTo>
                  <a:pt x="1097" y="620"/>
                </a:lnTo>
                <a:lnTo>
                  <a:pt x="1088" y="631"/>
                </a:lnTo>
                <a:lnTo>
                  <a:pt x="1080" y="643"/>
                </a:lnTo>
                <a:lnTo>
                  <a:pt x="1072" y="656"/>
                </a:lnTo>
                <a:lnTo>
                  <a:pt x="1063" y="668"/>
                </a:lnTo>
                <a:lnTo>
                  <a:pt x="1055" y="679"/>
                </a:lnTo>
                <a:lnTo>
                  <a:pt x="1046" y="690"/>
                </a:lnTo>
                <a:lnTo>
                  <a:pt x="1046" y="690"/>
                </a:lnTo>
                <a:lnTo>
                  <a:pt x="1044" y="696"/>
                </a:lnTo>
                <a:lnTo>
                  <a:pt x="1040" y="700"/>
                </a:lnTo>
                <a:lnTo>
                  <a:pt x="1036" y="704"/>
                </a:lnTo>
                <a:lnTo>
                  <a:pt x="1032" y="708"/>
                </a:lnTo>
                <a:lnTo>
                  <a:pt x="1028" y="711"/>
                </a:lnTo>
                <a:lnTo>
                  <a:pt x="1026" y="715"/>
                </a:lnTo>
                <a:lnTo>
                  <a:pt x="1025" y="721"/>
                </a:lnTo>
                <a:lnTo>
                  <a:pt x="1025" y="727"/>
                </a:lnTo>
                <a:lnTo>
                  <a:pt x="1025" y="727"/>
                </a:lnTo>
                <a:lnTo>
                  <a:pt x="1025" y="732"/>
                </a:lnTo>
                <a:lnTo>
                  <a:pt x="1026" y="740"/>
                </a:lnTo>
                <a:lnTo>
                  <a:pt x="1026" y="746"/>
                </a:lnTo>
                <a:lnTo>
                  <a:pt x="1028" y="752"/>
                </a:lnTo>
                <a:lnTo>
                  <a:pt x="1032" y="757"/>
                </a:lnTo>
                <a:lnTo>
                  <a:pt x="1034" y="763"/>
                </a:lnTo>
                <a:lnTo>
                  <a:pt x="1036" y="769"/>
                </a:lnTo>
                <a:lnTo>
                  <a:pt x="1038" y="773"/>
                </a:lnTo>
                <a:lnTo>
                  <a:pt x="1038" y="773"/>
                </a:lnTo>
                <a:lnTo>
                  <a:pt x="1030" y="774"/>
                </a:lnTo>
                <a:lnTo>
                  <a:pt x="1023" y="776"/>
                </a:lnTo>
                <a:lnTo>
                  <a:pt x="1015" y="780"/>
                </a:lnTo>
                <a:lnTo>
                  <a:pt x="1007" y="784"/>
                </a:lnTo>
                <a:lnTo>
                  <a:pt x="1002" y="788"/>
                </a:lnTo>
                <a:lnTo>
                  <a:pt x="994" y="792"/>
                </a:lnTo>
                <a:lnTo>
                  <a:pt x="986" y="797"/>
                </a:lnTo>
                <a:lnTo>
                  <a:pt x="979" y="801"/>
                </a:lnTo>
                <a:lnTo>
                  <a:pt x="973" y="807"/>
                </a:lnTo>
                <a:lnTo>
                  <a:pt x="965" y="811"/>
                </a:lnTo>
                <a:lnTo>
                  <a:pt x="960" y="814"/>
                </a:lnTo>
                <a:lnTo>
                  <a:pt x="954" y="818"/>
                </a:lnTo>
                <a:lnTo>
                  <a:pt x="946" y="822"/>
                </a:lnTo>
                <a:lnTo>
                  <a:pt x="941" y="824"/>
                </a:lnTo>
                <a:lnTo>
                  <a:pt x="935" y="826"/>
                </a:lnTo>
                <a:lnTo>
                  <a:pt x="931" y="828"/>
                </a:lnTo>
                <a:lnTo>
                  <a:pt x="931" y="828"/>
                </a:lnTo>
                <a:lnTo>
                  <a:pt x="923" y="826"/>
                </a:lnTo>
                <a:lnTo>
                  <a:pt x="918" y="826"/>
                </a:lnTo>
                <a:lnTo>
                  <a:pt x="910" y="824"/>
                </a:lnTo>
                <a:lnTo>
                  <a:pt x="904" y="822"/>
                </a:lnTo>
                <a:lnTo>
                  <a:pt x="899" y="818"/>
                </a:lnTo>
                <a:lnTo>
                  <a:pt x="895" y="816"/>
                </a:lnTo>
                <a:lnTo>
                  <a:pt x="889" y="813"/>
                </a:lnTo>
                <a:lnTo>
                  <a:pt x="883" y="811"/>
                </a:lnTo>
                <a:lnTo>
                  <a:pt x="878" y="807"/>
                </a:lnTo>
                <a:lnTo>
                  <a:pt x="874" y="805"/>
                </a:lnTo>
                <a:lnTo>
                  <a:pt x="868" y="801"/>
                </a:lnTo>
                <a:lnTo>
                  <a:pt x="861" y="799"/>
                </a:lnTo>
                <a:lnTo>
                  <a:pt x="855" y="797"/>
                </a:lnTo>
                <a:lnTo>
                  <a:pt x="847" y="795"/>
                </a:lnTo>
                <a:lnTo>
                  <a:pt x="840" y="794"/>
                </a:lnTo>
                <a:lnTo>
                  <a:pt x="830" y="794"/>
                </a:lnTo>
                <a:lnTo>
                  <a:pt x="830" y="794"/>
                </a:lnTo>
                <a:lnTo>
                  <a:pt x="819" y="794"/>
                </a:lnTo>
                <a:lnTo>
                  <a:pt x="809" y="795"/>
                </a:lnTo>
                <a:lnTo>
                  <a:pt x="799" y="797"/>
                </a:lnTo>
                <a:lnTo>
                  <a:pt x="792" y="801"/>
                </a:lnTo>
                <a:lnTo>
                  <a:pt x="784" y="805"/>
                </a:lnTo>
                <a:lnTo>
                  <a:pt x="777" y="809"/>
                </a:lnTo>
                <a:lnTo>
                  <a:pt x="769" y="813"/>
                </a:lnTo>
                <a:lnTo>
                  <a:pt x="763" y="816"/>
                </a:lnTo>
                <a:lnTo>
                  <a:pt x="758" y="820"/>
                </a:lnTo>
                <a:lnTo>
                  <a:pt x="750" y="824"/>
                </a:lnTo>
                <a:lnTo>
                  <a:pt x="742" y="828"/>
                </a:lnTo>
                <a:lnTo>
                  <a:pt x="737" y="832"/>
                </a:lnTo>
                <a:lnTo>
                  <a:pt x="729" y="834"/>
                </a:lnTo>
                <a:lnTo>
                  <a:pt x="719" y="837"/>
                </a:lnTo>
                <a:lnTo>
                  <a:pt x="710" y="837"/>
                </a:lnTo>
                <a:lnTo>
                  <a:pt x="700" y="839"/>
                </a:lnTo>
                <a:lnTo>
                  <a:pt x="700" y="839"/>
                </a:lnTo>
                <a:lnTo>
                  <a:pt x="691" y="837"/>
                </a:lnTo>
                <a:lnTo>
                  <a:pt x="683" y="837"/>
                </a:lnTo>
                <a:lnTo>
                  <a:pt x="675" y="835"/>
                </a:lnTo>
                <a:lnTo>
                  <a:pt x="668" y="832"/>
                </a:lnTo>
                <a:lnTo>
                  <a:pt x="662" y="830"/>
                </a:lnTo>
                <a:lnTo>
                  <a:pt x="654" y="826"/>
                </a:lnTo>
                <a:lnTo>
                  <a:pt x="649" y="822"/>
                </a:lnTo>
                <a:lnTo>
                  <a:pt x="643" y="818"/>
                </a:lnTo>
                <a:lnTo>
                  <a:pt x="637" y="814"/>
                </a:lnTo>
                <a:lnTo>
                  <a:pt x="632" y="811"/>
                </a:lnTo>
                <a:lnTo>
                  <a:pt x="626" y="807"/>
                </a:lnTo>
                <a:lnTo>
                  <a:pt x="620" y="803"/>
                </a:lnTo>
                <a:lnTo>
                  <a:pt x="613" y="801"/>
                </a:lnTo>
                <a:lnTo>
                  <a:pt x="607" y="799"/>
                </a:lnTo>
                <a:lnTo>
                  <a:pt x="599" y="797"/>
                </a:lnTo>
                <a:lnTo>
                  <a:pt x="592" y="797"/>
                </a:lnTo>
                <a:lnTo>
                  <a:pt x="592" y="797"/>
                </a:lnTo>
                <a:lnTo>
                  <a:pt x="586" y="797"/>
                </a:lnTo>
                <a:lnTo>
                  <a:pt x="582" y="797"/>
                </a:lnTo>
                <a:lnTo>
                  <a:pt x="576" y="799"/>
                </a:lnTo>
                <a:lnTo>
                  <a:pt x="572" y="801"/>
                </a:lnTo>
                <a:lnTo>
                  <a:pt x="569" y="803"/>
                </a:lnTo>
                <a:lnTo>
                  <a:pt x="563" y="805"/>
                </a:lnTo>
                <a:lnTo>
                  <a:pt x="559" y="807"/>
                </a:lnTo>
                <a:lnTo>
                  <a:pt x="555" y="809"/>
                </a:lnTo>
                <a:lnTo>
                  <a:pt x="551" y="811"/>
                </a:lnTo>
                <a:lnTo>
                  <a:pt x="548" y="813"/>
                </a:lnTo>
                <a:lnTo>
                  <a:pt x="544" y="814"/>
                </a:lnTo>
                <a:lnTo>
                  <a:pt x="540" y="816"/>
                </a:lnTo>
                <a:lnTo>
                  <a:pt x="534" y="818"/>
                </a:lnTo>
                <a:lnTo>
                  <a:pt x="531" y="820"/>
                </a:lnTo>
                <a:lnTo>
                  <a:pt x="525" y="820"/>
                </a:lnTo>
                <a:lnTo>
                  <a:pt x="521" y="820"/>
                </a:lnTo>
                <a:lnTo>
                  <a:pt x="521" y="820"/>
                </a:lnTo>
                <a:lnTo>
                  <a:pt x="513" y="820"/>
                </a:lnTo>
                <a:lnTo>
                  <a:pt x="510" y="816"/>
                </a:lnTo>
                <a:lnTo>
                  <a:pt x="504" y="813"/>
                </a:lnTo>
                <a:lnTo>
                  <a:pt x="500" y="807"/>
                </a:lnTo>
                <a:lnTo>
                  <a:pt x="496" y="799"/>
                </a:lnTo>
                <a:lnTo>
                  <a:pt x="492" y="794"/>
                </a:lnTo>
                <a:lnTo>
                  <a:pt x="489" y="788"/>
                </a:lnTo>
                <a:lnTo>
                  <a:pt x="485" y="782"/>
                </a:lnTo>
                <a:lnTo>
                  <a:pt x="485" y="782"/>
                </a:lnTo>
                <a:lnTo>
                  <a:pt x="483" y="780"/>
                </a:lnTo>
                <a:lnTo>
                  <a:pt x="479" y="776"/>
                </a:lnTo>
                <a:lnTo>
                  <a:pt x="475" y="774"/>
                </a:lnTo>
                <a:lnTo>
                  <a:pt x="471" y="773"/>
                </a:lnTo>
                <a:lnTo>
                  <a:pt x="466" y="769"/>
                </a:lnTo>
                <a:lnTo>
                  <a:pt x="460" y="767"/>
                </a:lnTo>
                <a:lnTo>
                  <a:pt x="454" y="765"/>
                </a:lnTo>
                <a:lnTo>
                  <a:pt x="447" y="763"/>
                </a:lnTo>
                <a:lnTo>
                  <a:pt x="441" y="761"/>
                </a:lnTo>
                <a:lnTo>
                  <a:pt x="433" y="759"/>
                </a:lnTo>
                <a:lnTo>
                  <a:pt x="428" y="757"/>
                </a:lnTo>
                <a:lnTo>
                  <a:pt x="420" y="755"/>
                </a:lnTo>
                <a:lnTo>
                  <a:pt x="414" y="753"/>
                </a:lnTo>
                <a:lnTo>
                  <a:pt x="408" y="753"/>
                </a:lnTo>
                <a:lnTo>
                  <a:pt x="403" y="752"/>
                </a:lnTo>
                <a:lnTo>
                  <a:pt x="399" y="752"/>
                </a:lnTo>
                <a:lnTo>
                  <a:pt x="399" y="752"/>
                </a:lnTo>
                <a:lnTo>
                  <a:pt x="391" y="752"/>
                </a:lnTo>
                <a:lnTo>
                  <a:pt x="382" y="753"/>
                </a:lnTo>
                <a:lnTo>
                  <a:pt x="374" y="753"/>
                </a:lnTo>
                <a:lnTo>
                  <a:pt x="365" y="753"/>
                </a:lnTo>
                <a:lnTo>
                  <a:pt x="357" y="755"/>
                </a:lnTo>
                <a:lnTo>
                  <a:pt x="349" y="757"/>
                </a:lnTo>
                <a:lnTo>
                  <a:pt x="340" y="759"/>
                </a:lnTo>
                <a:lnTo>
                  <a:pt x="332" y="761"/>
                </a:lnTo>
                <a:lnTo>
                  <a:pt x="326" y="763"/>
                </a:lnTo>
                <a:lnTo>
                  <a:pt x="319" y="765"/>
                </a:lnTo>
                <a:lnTo>
                  <a:pt x="313" y="769"/>
                </a:lnTo>
                <a:lnTo>
                  <a:pt x="309" y="773"/>
                </a:lnTo>
                <a:lnTo>
                  <a:pt x="304" y="778"/>
                </a:lnTo>
                <a:lnTo>
                  <a:pt x="302" y="782"/>
                </a:lnTo>
                <a:lnTo>
                  <a:pt x="298" y="788"/>
                </a:lnTo>
                <a:lnTo>
                  <a:pt x="296" y="795"/>
                </a:lnTo>
                <a:lnTo>
                  <a:pt x="296" y="795"/>
                </a:lnTo>
                <a:lnTo>
                  <a:pt x="294" y="805"/>
                </a:lnTo>
                <a:lnTo>
                  <a:pt x="292" y="814"/>
                </a:lnTo>
                <a:lnTo>
                  <a:pt x="288" y="822"/>
                </a:lnTo>
                <a:lnTo>
                  <a:pt x="284" y="828"/>
                </a:lnTo>
                <a:lnTo>
                  <a:pt x="281" y="832"/>
                </a:lnTo>
                <a:lnTo>
                  <a:pt x="277" y="835"/>
                </a:lnTo>
                <a:lnTo>
                  <a:pt x="273" y="839"/>
                </a:lnTo>
                <a:lnTo>
                  <a:pt x="267" y="843"/>
                </a:lnTo>
                <a:lnTo>
                  <a:pt x="263" y="847"/>
                </a:lnTo>
                <a:lnTo>
                  <a:pt x="260" y="851"/>
                </a:lnTo>
                <a:lnTo>
                  <a:pt x="256" y="856"/>
                </a:lnTo>
                <a:lnTo>
                  <a:pt x="254" y="864"/>
                </a:lnTo>
                <a:lnTo>
                  <a:pt x="252" y="874"/>
                </a:lnTo>
                <a:lnTo>
                  <a:pt x="250" y="885"/>
                </a:lnTo>
                <a:lnTo>
                  <a:pt x="248" y="898"/>
                </a:lnTo>
                <a:lnTo>
                  <a:pt x="250" y="916"/>
                </a:lnTo>
                <a:lnTo>
                  <a:pt x="252" y="908"/>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8" name="Freeform 50"/>
          <p:cNvSpPr>
            <a:spLocks/>
          </p:cNvSpPr>
          <p:nvPr>
            <p:custDataLst>
              <p:tags r:id="rId50"/>
            </p:custDataLst>
          </p:nvPr>
        </p:nvSpPr>
        <p:spPr bwMode="gray">
          <a:xfrm>
            <a:off x="4164615" y="2076513"/>
            <a:ext cx="1156566" cy="1414038"/>
          </a:xfrm>
          <a:custGeom>
            <a:avLst/>
            <a:gdLst/>
            <a:ahLst/>
            <a:cxnLst>
              <a:cxn ang="0">
                <a:pos x="857" y="117"/>
              </a:cxn>
              <a:cxn ang="0">
                <a:pos x="891" y="84"/>
              </a:cxn>
              <a:cxn ang="0">
                <a:pos x="943" y="67"/>
              </a:cxn>
              <a:cxn ang="0">
                <a:pos x="998" y="10"/>
              </a:cxn>
              <a:cxn ang="0">
                <a:pos x="1061" y="40"/>
              </a:cxn>
              <a:cxn ang="0">
                <a:pos x="1137" y="149"/>
              </a:cxn>
              <a:cxn ang="0">
                <a:pos x="1156" y="268"/>
              </a:cxn>
              <a:cxn ang="0">
                <a:pos x="1198" y="353"/>
              </a:cxn>
              <a:cxn ang="0">
                <a:pos x="1259" y="392"/>
              </a:cxn>
              <a:cxn ang="0">
                <a:pos x="1195" y="468"/>
              </a:cxn>
              <a:cxn ang="0">
                <a:pos x="1149" y="537"/>
              </a:cxn>
              <a:cxn ang="0">
                <a:pos x="1139" y="588"/>
              </a:cxn>
              <a:cxn ang="0">
                <a:pos x="1126" y="653"/>
              </a:cxn>
              <a:cxn ang="0">
                <a:pos x="1134" y="706"/>
              </a:cxn>
              <a:cxn ang="0">
                <a:pos x="1116" y="773"/>
              </a:cxn>
              <a:cxn ang="0">
                <a:pos x="1105" y="840"/>
              </a:cxn>
              <a:cxn ang="0">
                <a:pos x="1069" y="867"/>
              </a:cxn>
              <a:cxn ang="0">
                <a:pos x="1040" y="937"/>
              </a:cxn>
              <a:cxn ang="0">
                <a:pos x="1006" y="998"/>
              </a:cxn>
              <a:cxn ang="0">
                <a:pos x="987" y="1040"/>
              </a:cxn>
              <a:cxn ang="0">
                <a:pos x="968" y="1113"/>
              </a:cxn>
              <a:cxn ang="0">
                <a:pos x="958" y="1179"/>
              </a:cxn>
              <a:cxn ang="0">
                <a:pos x="901" y="1208"/>
              </a:cxn>
              <a:cxn ang="0">
                <a:pos x="893" y="1239"/>
              </a:cxn>
              <a:cxn ang="0">
                <a:pos x="964" y="1265"/>
              </a:cxn>
              <a:cxn ang="0">
                <a:pos x="1027" y="1332"/>
              </a:cxn>
              <a:cxn ang="0">
                <a:pos x="1046" y="1391"/>
              </a:cxn>
              <a:cxn ang="0">
                <a:pos x="1092" y="1422"/>
              </a:cxn>
              <a:cxn ang="0">
                <a:pos x="1116" y="1475"/>
              </a:cxn>
              <a:cxn ang="0">
                <a:pos x="992" y="1504"/>
              </a:cxn>
              <a:cxn ang="0">
                <a:pos x="928" y="1561"/>
              </a:cxn>
              <a:cxn ang="0">
                <a:pos x="893" y="1561"/>
              </a:cxn>
              <a:cxn ang="0">
                <a:pos x="844" y="1576"/>
              </a:cxn>
              <a:cxn ang="0">
                <a:pos x="783" y="1565"/>
              </a:cxn>
              <a:cxn ang="0">
                <a:pos x="729" y="1584"/>
              </a:cxn>
              <a:cxn ang="0">
                <a:pos x="701" y="1571"/>
              </a:cxn>
              <a:cxn ang="0">
                <a:pos x="676" y="1559"/>
              </a:cxn>
              <a:cxn ang="0">
                <a:pos x="611" y="1513"/>
              </a:cxn>
              <a:cxn ang="0">
                <a:pos x="563" y="1519"/>
              </a:cxn>
              <a:cxn ang="0">
                <a:pos x="519" y="1532"/>
              </a:cxn>
              <a:cxn ang="0">
                <a:pos x="462" y="1483"/>
              </a:cxn>
              <a:cxn ang="0">
                <a:pos x="435" y="1441"/>
              </a:cxn>
              <a:cxn ang="0">
                <a:pos x="388" y="1401"/>
              </a:cxn>
              <a:cxn ang="0">
                <a:pos x="355" y="1343"/>
              </a:cxn>
              <a:cxn ang="0">
                <a:pos x="304" y="1303"/>
              </a:cxn>
              <a:cxn ang="0">
                <a:pos x="269" y="1263"/>
              </a:cxn>
              <a:cxn ang="0">
                <a:pos x="248" y="1233"/>
              </a:cxn>
              <a:cxn ang="0">
                <a:pos x="189" y="1183"/>
              </a:cxn>
              <a:cxn ang="0">
                <a:pos x="147" y="1181"/>
              </a:cxn>
              <a:cxn ang="0">
                <a:pos x="142" y="1126"/>
              </a:cxn>
              <a:cxn ang="0">
                <a:pos x="115" y="1054"/>
              </a:cxn>
              <a:cxn ang="0">
                <a:pos x="86" y="998"/>
              </a:cxn>
              <a:cxn ang="0">
                <a:pos x="75" y="962"/>
              </a:cxn>
              <a:cxn ang="0">
                <a:pos x="50" y="895"/>
              </a:cxn>
              <a:cxn ang="0">
                <a:pos x="2" y="861"/>
              </a:cxn>
              <a:cxn ang="0">
                <a:pos x="20" y="823"/>
              </a:cxn>
              <a:cxn ang="0">
                <a:pos x="33" y="806"/>
              </a:cxn>
              <a:cxn ang="0">
                <a:pos x="37" y="767"/>
              </a:cxn>
              <a:cxn ang="0">
                <a:pos x="46" y="729"/>
              </a:cxn>
              <a:cxn ang="0">
                <a:pos x="69" y="699"/>
              </a:cxn>
              <a:cxn ang="0">
                <a:pos x="86" y="640"/>
              </a:cxn>
              <a:cxn ang="0">
                <a:pos x="132" y="628"/>
              </a:cxn>
            </a:cxnLst>
            <a:rect l="0" t="0" r="r" b="b"/>
            <a:pathLst>
              <a:path w="1261" h="1590">
                <a:moveTo>
                  <a:pt x="155" y="315"/>
                </a:moveTo>
                <a:lnTo>
                  <a:pt x="153" y="279"/>
                </a:lnTo>
                <a:lnTo>
                  <a:pt x="227" y="279"/>
                </a:lnTo>
                <a:lnTo>
                  <a:pt x="218" y="121"/>
                </a:lnTo>
                <a:lnTo>
                  <a:pt x="830" y="105"/>
                </a:lnTo>
                <a:lnTo>
                  <a:pt x="830" y="105"/>
                </a:lnTo>
                <a:lnTo>
                  <a:pt x="838" y="107"/>
                </a:lnTo>
                <a:lnTo>
                  <a:pt x="842" y="109"/>
                </a:lnTo>
                <a:lnTo>
                  <a:pt x="847" y="111"/>
                </a:lnTo>
                <a:lnTo>
                  <a:pt x="849" y="113"/>
                </a:lnTo>
                <a:lnTo>
                  <a:pt x="853" y="115"/>
                </a:lnTo>
                <a:lnTo>
                  <a:pt x="857" y="117"/>
                </a:lnTo>
                <a:lnTo>
                  <a:pt x="863" y="117"/>
                </a:lnTo>
                <a:lnTo>
                  <a:pt x="868" y="119"/>
                </a:lnTo>
                <a:lnTo>
                  <a:pt x="868" y="119"/>
                </a:lnTo>
                <a:lnTo>
                  <a:pt x="874" y="117"/>
                </a:lnTo>
                <a:lnTo>
                  <a:pt x="880" y="113"/>
                </a:lnTo>
                <a:lnTo>
                  <a:pt x="884" y="109"/>
                </a:lnTo>
                <a:lnTo>
                  <a:pt x="884" y="103"/>
                </a:lnTo>
                <a:lnTo>
                  <a:pt x="886" y="98"/>
                </a:lnTo>
                <a:lnTo>
                  <a:pt x="887" y="94"/>
                </a:lnTo>
                <a:lnTo>
                  <a:pt x="889" y="88"/>
                </a:lnTo>
                <a:lnTo>
                  <a:pt x="891" y="84"/>
                </a:lnTo>
                <a:lnTo>
                  <a:pt x="891" y="84"/>
                </a:lnTo>
                <a:lnTo>
                  <a:pt x="897" y="82"/>
                </a:lnTo>
                <a:lnTo>
                  <a:pt x="903" y="81"/>
                </a:lnTo>
                <a:lnTo>
                  <a:pt x="908" y="81"/>
                </a:lnTo>
                <a:lnTo>
                  <a:pt x="914" y="79"/>
                </a:lnTo>
                <a:lnTo>
                  <a:pt x="920" y="79"/>
                </a:lnTo>
                <a:lnTo>
                  <a:pt x="924" y="79"/>
                </a:lnTo>
                <a:lnTo>
                  <a:pt x="929" y="79"/>
                </a:lnTo>
                <a:lnTo>
                  <a:pt x="933" y="77"/>
                </a:lnTo>
                <a:lnTo>
                  <a:pt x="933" y="77"/>
                </a:lnTo>
                <a:lnTo>
                  <a:pt x="937" y="73"/>
                </a:lnTo>
                <a:lnTo>
                  <a:pt x="941" y="69"/>
                </a:lnTo>
                <a:lnTo>
                  <a:pt x="943" y="67"/>
                </a:lnTo>
                <a:lnTo>
                  <a:pt x="947" y="61"/>
                </a:lnTo>
                <a:lnTo>
                  <a:pt x="947" y="58"/>
                </a:lnTo>
                <a:lnTo>
                  <a:pt x="949" y="54"/>
                </a:lnTo>
                <a:lnTo>
                  <a:pt x="950" y="48"/>
                </a:lnTo>
                <a:lnTo>
                  <a:pt x="954" y="44"/>
                </a:lnTo>
                <a:lnTo>
                  <a:pt x="954" y="44"/>
                </a:lnTo>
                <a:lnTo>
                  <a:pt x="960" y="37"/>
                </a:lnTo>
                <a:lnTo>
                  <a:pt x="966" y="29"/>
                </a:lnTo>
                <a:lnTo>
                  <a:pt x="973" y="23"/>
                </a:lnTo>
                <a:lnTo>
                  <a:pt x="981" y="20"/>
                </a:lnTo>
                <a:lnTo>
                  <a:pt x="990" y="14"/>
                </a:lnTo>
                <a:lnTo>
                  <a:pt x="998" y="10"/>
                </a:lnTo>
                <a:lnTo>
                  <a:pt x="1006" y="4"/>
                </a:lnTo>
                <a:lnTo>
                  <a:pt x="1013" y="0"/>
                </a:lnTo>
                <a:lnTo>
                  <a:pt x="1013" y="0"/>
                </a:lnTo>
                <a:lnTo>
                  <a:pt x="1017" y="10"/>
                </a:lnTo>
                <a:lnTo>
                  <a:pt x="1023" y="16"/>
                </a:lnTo>
                <a:lnTo>
                  <a:pt x="1029" y="20"/>
                </a:lnTo>
                <a:lnTo>
                  <a:pt x="1034" y="23"/>
                </a:lnTo>
                <a:lnTo>
                  <a:pt x="1042" y="27"/>
                </a:lnTo>
                <a:lnTo>
                  <a:pt x="1048" y="31"/>
                </a:lnTo>
                <a:lnTo>
                  <a:pt x="1055" y="37"/>
                </a:lnTo>
                <a:lnTo>
                  <a:pt x="1061" y="40"/>
                </a:lnTo>
                <a:lnTo>
                  <a:pt x="1061" y="40"/>
                </a:lnTo>
                <a:lnTo>
                  <a:pt x="1069" y="50"/>
                </a:lnTo>
                <a:lnTo>
                  <a:pt x="1076" y="58"/>
                </a:lnTo>
                <a:lnTo>
                  <a:pt x="1086" y="65"/>
                </a:lnTo>
                <a:lnTo>
                  <a:pt x="1092" y="75"/>
                </a:lnTo>
                <a:lnTo>
                  <a:pt x="1099" y="82"/>
                </a:lnTo>
                <a:lnTo>
                  <a:pt x="1107" y="92"/>
                </a:lnTo>
                <a:lnTo>
                  <a:pt x="1113" y="100"/>
                </a:lnTo>
                <a:lnTo>
                  <a:pt x="1118" y="109"/>
                </a:lnTo>
                <a:lnTo>
                  <a:pt x="1124" y="119"/>
                </a:lnTo>
                <a:lnTo>
                  <a:pt x="1130" y="128"/>
                </a:lnTo>
                <a:lnTo>
                  <a:pt x="1134" y="138"/>
                </a:lnTo>
                <a:lnTo>
                  <a:pt x="1137" y="149"/>
                </a:lnTo>
                <a:lnTo>
                  <a:pt x="1139" y="161"/>
                </a:lnTo>
                <a:lnTo>
                  <a:pt x="1141" y="174"/>
                </a:lnTo>
                <a:lnTo>
                  <a:pt x="1143" y="187"/>
                </a:lnTo>
                <a:lnTo>
                  <a:pt x="1143" y="201"/>
                </a:lnTo>
                <a:lnTo>
                  <a:pt x="1143" y="201"/>
                </a:lnTo>
                <a:lnTo>
                  <a:pt x="1143" y="206"/>
                </a:lnTo>
                <a:lnTo>
                  <a:pt x="1145" y="214"/>
                </a:lnTo>
                <a:lnTo>
                  <a:pt x="1147" y="224"/>
                </a:lnTo>
                <a:lnTo>
                  <a:pt x="1149" y="233"/>
                </a:lnTo>
                <a:lnTo>
                  <a:pt x="1151" y="245"/>
                </a:lnTo>
                <a:lnTo>
                  <a:pt x="1153" y="256"/>
                </a:lnTo>
                <a:lnTo>
                  <a:pt x="1156" y="268"/>
                </a:lnTo>
                <a:lnTo>
                  <a:pt x="1160" y="281"/>
                </a:lnTo>
                <a:lnTo>
                  <a:pt x="1164" y="292"/>
                </a:lnTo>
                <a:lnTo>
                  <a:pt x="1168" y="304"/>
                </a:lnTo>
                <a:lnTo>
                  <a:pt x="1172" y="313"/>
                </a:lnTo>
                <a:lnTo>
                  <a:pt x="1176" y="323"/>
                </a:lnTo>
                <a:lnTo>
                  <a:pt x="1179" y="332"/>
                </a:lnTo>
                <a:lnTo>
                  <a:pt x="1183" y="340"/>
                </a:lnTo>
                <a:lnTo>
                  <a:pt x="1187" y="344"/>
                </a:lnTo>
                <a:lnTo>
                  <a:pt x="1191" y="348"/>
                </a:lnTo>
                <a:lnTo>
                  <a:pt x="1191" y="348"/>
                </a:lnTo>
                <a:lnTo>
                  <a:pt x="1195" y="351"/>
                </a:lnTo>
                <a:lnTo>
                  <a:pt x="1198" y="353"/>
                </a:lnTo>
                <a:lnTo>
                  <a:pt x="1204" y="357"/>
                </a:lnTo>
                <a:lnTo>
                  <a:pt x="1210" y="359"/>
                </a:lnTo>
                <a:lnTo>
                  <a:pt x="1216" y="361"/>
                </a:lnTo>
                <a:lnTo>
                  <a:pt x="1221" y="365"/>
                </a:lnTo>
                <a:lnTo>
                  <a:pt x="1227" y="369"/>
                </a:lnTo>
                <a:lnTo>
                  <a:pt x="1233" y="371"/>
                </a:lnTo>
                <a:lnTo>
                  <a:pt x="1238" y="374"/>
                </a:lnTo>
                <a:lnTo>
                  <a:pt x="1244" y="376"/>
                </a:lnTo>
                <a:lnTo>
                  <a:pt x="1248" y="380"/>
                </a:lnTo>
                <a:lnTo>
                  <a:pt x="1252" y="384"/>
                </a:lnTo>
                <a:lnTo>
                  <a:pt x="1256" y="388"/>
                </a:lnTo>
                <a:lnTo>
                  <a:pt x="1259" y="392"/>
                </a:lnTo>
                <a:lnTo>
                  <a:pt x="1261" y="393"/>
                </a:lnTo>
                <a:lnTo>
                  <a:pt x="1261" y="397"/>
                </a:lnTo>
                <a:lnTo>
                  <a:pt x="1261" y="397"/>
                </a:lnTo>
                <a:lnTo>
                  <a:pt x="1259" y="411"/>
                </a:lnTo>
                <a:lnTo>
                  <a:pt x="1256" y="420"/>
                </a:lnTo>
                <a:lnTo>
                  <a:pt x="1250" y="430"/>
                </a:lnTo>
                <a:lnTo>
                  <a:pt x="1244" y="437"/>
                </a:lnTo>
                <a:lnTo>
                  <a:pt x="1235" y="445"/>
                </a:lnTo>
                <a:lnTo>
                  <a:pt x="1225" y="451"/>
                </a:lnTo>
                <a:lnTo>
                  <a:pt x="1216" y="456"/>
                </a:lnTo>
                <a:lnTo>
                  <a:pt x="1206" y="462"/>
                </a:lnTo>
                <a:lnTo>
                  <a:pt x="1195" y="468"/>
                </a:lnTo>
                <a:lnTo>
                  <a:pt x="1185" y="474"/>
                </a:lnTo>
                <a:lnTo>
                  <a:pt x="1176" y="479"/>
                </a:lnTo>
                <a:lnTo>
                  <a:pt x="1166" y="487"/>
                </a:lnTo>
                <a:lnTo>
                  <a:pt x="1160" y="495"/>
                </a:lnTo>
                <a:lnTo>
                  <a:pt x="1155" y="504"/>
                </a:lnTo>
                <a:lnTo>
                  <a:pt x="1151" y="514"/>
                </a:lnTo>
                <a:lnTo>
                  <a:pt x="1149" y="525"/>
                </a:lnTo>
                <a:lnTo>
                  <a:pt x="1149" y="525"/>
                </a:lnTo>
                <a:lnTo>
                  <a:pt x="1149" y="529"/>
                </a:lnTo>
                <a:lnTo>
                  <a:pt x="1149" y="533"/>
                </a:lnTo>
                <a:lnTo>
                  <a:pt x="1149" y="535"/>
                </a:lnTo>
                <a:lnTo>
                  <a:pt x="1149" y="537"/>
                </a:lnTo>
                <a:lnTo>
                  <a:pt x="1149" y="540"/>
                </a:lnTo>
                <a:lnTo>
                  <a:pt x="1149" y="544"/>
                </a:lnTo>
                <a:lnTo>
                  <a:pt x="1149" y="546"/>
                </a:lnTo>
                <a:lnTo>
                  <a:pt x="1149" y="550"/>
                </a:lnTo>
                <a:lnTo>
                  <a:pt x="1149" y="550"/>
                </a:lnTo>
                <a:lnTo>
                  <a:pt x="1149" y="554"/>
                </a:lnTo>
                <a:lnTo>
                  <a:pt x="1149" y="559"/>
                </a:lnTo>
                <a:lnTo>
                  <a:pt x="1147" y="565"/>
                </a:lnTo>
                <a:lnTo>
                  <a:pt x="1145" y="569"/>
                </a:lnTo>
                <a:lnTo>
                  <a:pt x="1143" y="575"/>
                </a:lnTo>
                <a:lnTo>
                  <a:pt x="1141" y="582"/>
                </a:lnTo>
                <a:lnTo>
                  <a:pt x="1139" y="588"/>
                </a:lnTo>
                <a:lnTo>
                  <a:pt x="1137" y="594"/>
                </a:lnTo>
                <a:lnTo>
                  <a:pt x="1135" y="599"/>
                </a:lnTo>
                <a:lnTo>
                  <a:pt x="1134" y="607"/>
                </a:lnTo>
                <a:lnTo>
                  <a:pt x="1132" y="613"/>
                </a:lnTo>
                <a:lnTo>
                  <a:pt x="1130" y="619"/>
                </a:lnTo>
                <a:lnTo>
                  <a:pt x="1128" y="626"/>
                </a:lnTo>
                <a:lnTo>
                  <a:pt x="1126" y="632"/>
                </a:lnTo>
                <a:lnTo>
                  <a:pt x="1126" y="638"/>
                </a:lnTo>
                <a:lnTo>
                  <a:pt x="1126" y="643"/>
                </a:lnTo>
                <a:lnTo>
                  <a:pt x="1126" y="643"/>
                </a:lnTo>
                <a:lnTo>
                  <a:pt x="1126" y="649"/>
                </a:lnTo>
                <a:lnTo>
                  <a:pt x="1126" y="653"/>
                </a:lnTo>
                <a:lnTo>
                  <a:pt x="1126" y="657"/>
                </a:lnTo>
                <a:lnTo>
                  <a:pt x="1126" y="662"/>
                </a:lnTo>
                <a:lnTo>
                  <a:pt x="1128" y="666"/>
                </a:lnTo>
                <a:lnTo>
                  <a:pt x="1128" y="670"/>
                </a:lnTo>
                <a:lnTo>
                  <a:pt x="1130" y="676"/>
                </a:lnTo>
                <a:lnTo>
                  <a:pt x="1130" y="680"/>
                </a:lnTo>
                <a:lnTo>
                  <a:pt x="1130" y="683"/>
                </a:lnTo>
                <a:lnTo>
                  <a:pt x="1132" y="689"/>
                </a:lnTo>
                <a:lnTo>
                  <a:pt x="1132" y="693"/>
                </a:lnTo>
                <a:lnTo>
                  <a:pt x="1134" y="697"/>
                </a:lnTo>
                <a:lnTo>
                  <a:pt x="1134" y="702"/>
                </a:lnTo>
                <a:lnTo>
                  <a:pt x="1134" y="706"/>
                </a:lnTo>
                <a:lnTo>
                  <a:pt x="1134" y="710"/>
                </a:lnTo>
                <a:lnTo>
                  <a:pt x="1134" y="714"/>
                </a:lnTo>
                <a:lnTo>
                  <a:pt x="1134" y="714"/>
                </a:lnTo>
                <a:lnTo>
                  <a:pt x="1134" y="723"/>
                </a:lnTo>
                <a:lnTo>
                  <a:pt x="1132" y="733"/>
                </a:lnTo>
                <a:lnTo>
                  <a:pt x="1130" y="741"/>
                </a:lnTo>
                <a:lnTo>
                  <a:pt x="1126" y="748"/>
                </a:lnTo>
                <a:lnTo>
                  <a:pt x="1122" y="756"/>
                </a:lnTo>
                <a:lnTo>
                  <a:pt x="1120" y="762"/>
                </a:lnTo>
                <a:lnTo>
                  <a:pt x="1118" y="767"/>
                </a:lnTo>
                <a:lnTo>
                  <a:pt x="1116" y="773"/>
                </a:lnTo>
                <a:lnTo>
                  <a:pt x="1116" y="773"/>
                </a:lnTo>
                <a:lnTo>
                  <a:pt x="1116" y="783"/>
                </a:lnTo>
                <a:lnTo>
                  <a:pt x="1116" y="790"/>
                </a:lnTo>
                <a:lnTo>
                  <a:pt x="1118" y="798"/>
                </a:lnTo>
                <a:lnTo>
                  <a:pt x="1118" y="806"/>
                </a:lnTo>
                <a:lnTo>
                  <a:pt x="1120" y="813"/>
                </a:lnTo>
                <a:lnTo>
                  <a:pt x="1120" y="821"/>
                </a:lnTo>
                <a:lnTo>
                  <a:pt x="1116" y="828"/>
                </a:lnTo>
                <a:lnTo>
                  <a:pt x="1114" y="836"/>
                </a:lnTo>
                <a:lnTo>
                  <a:pt x="1114" y="836"/>
                </a:lnTo>
                <a:lnTo>
                  <a:pt x="1111" y="838"/>
                </a:lnTo>
                <a:lnTo>
                  <a:pt x="1109" y="840"/>
                </a:lnTo>
                <a:lnTo>
                  <a:pt x="1105" y="840"/>
                </a:lnTo>
                <a:lnTo>
                  <a:pt x="1099" y="840"/>
                </a:lnTo>
                <a:lnTo>
                  <a:pt x="1095" y="840"/>
                </a:lnTo>
                <a:lnTo>
                  <a:pt x="1092" y="840"/>
                </a:lnTo>
                <a:lnTo>
                  <a:pt x="1090" y="840"/>
                </a:lnTo>
                <a:lnTo>
                  <a:pt x="1086" y="842"/>
                </a:lnTo>
                <a:lnTo>
                  <a:pt x="1086" y="842"/>
                </a:lnTo>
                <a:lnTo>
                  <a:pt x="1080" y="846"/>
                </a:lnTo>
                <a:lnTo>
                  <a:pt x="1076" y="849"/>
                </a:lnTo>
                <a:lnTo>
                  <a:pt x="1074" y="853"/>
                </a:lnTo>
                <a:lnTo>
                  <a:pt x="1073" y="857"/>
                </a:lnTo>
                <a:lnTo>
                  <a:pt x="1071" y="863"/>
                </a:lnTo>
                <a:lnTo>
                  <a:pt x="1069" y="867"/>
                </a:lnTo>
                <a:lnTo>
                  <a:pt x="1065" y="872"/>
                </a:lnTo>
                <a:lnTo>
                  <a:pt x="1063" y="876"/>
                </a:lnTo>
                <a:lnTo>
                  <a:pt x="1063" y="876"/>
                </a:lnTo>
                <a:lnTo>
                  <a:pt x="1057" y="884"/>
                </a:lnTo>
                <a:lnTo>
                  <a:pt x="1053" y="889"/>
                </a:lnTo>
                <a:lnTo>
                  <a:pt x="1052" y="897"/>
                </a:lnTo>
                <a:lnTo>
                  <a:pt x="1048" y="903"/>
                </a:lnTo>
                <a:lnTo>
                  <a:pt x="1046" y="910"/>
                </a:lnTo>
                <a:lnTo>
                  <a:pt x="1044" y="916"/>
                </a:lnTo>
                <a:lnTo>
                  <a:pt x="1042" y="924"/>
                </a:lnTo>
                <a:lnTo>
                  <a:pt x="1042" y="931"/>
                </a:lnTo>
                <a:lnTo>
                  <a:pt x="1040" y="937"/>
                </a:lnTo>
                <a:lnTo>
                  <a:pt x="1038" y="945"/>
                </a:lnTo>
                <a:lnTo>
                  <a:pt x="1038" y="952"/>
                </a:lnTo>
                <a:lnTo>
                  <a:pt x="1036" y="960"/>
                </a:lnTo>
                <a:lnTo>
                  <a:pt x="1034" y="968"/>
                </a:lnTo>
                <a:lnTo>
                  <a:pt x="1032" y="975"/>
                </a:lnTo>
                <a:lnTo>
                  <a:pt x="1031" y="985"/>
                </a:lnTo>
                <a:lnTo>
                  <a:pt x="1027" y="992"/>
                </a:lnTo>
                <a:lnTo>
                  <a:pt x="1027" y="992"/>
                </a:lnTo>
                <a:lnTo>
                  <a:pt x="1025" y="994"/>
                </a:lnTo>
                <a:lnTo>
                  <a:pt x="1021" y="994"/>
                </a:lnTo>
                <a:lnTo>
                  <a:pt x="1013" y="996"/>
                </a:lnTo>
                <a:lnTo>
                  <a:pt x="1006" y="998"/>
                </a:lnTo>
                <a:lnTo>
                  <a:pt x="998" y="1000"/>
                </a:lnTo>
                <a:lnTo>
                  <a:pt x="992" y="1004"/>
                </a:lnTo>
                <a:lnTo>
                  <a:pt x="989" y="1010"/>
                </a:lnTo>
                <a:lnTo>
                  <a:pt x="987" y="1019"/>
                </a:lnTo>
                <a:lnTo>
                  <a:pt x="987" y="1019"/>
                </a:lnTo>
                <a:lnTo>
                  <a:pt x="987" y="1023"/>
                </a:lnTo>
                <a:lnTo>
                  <a:pt x="987" y="1027"/>
                </a:lnTo>
                <a:lnTo>
                  <a:pt x="987" y="1031"/>
                </a:lnTo>
                <a:lnTo>
                  <a:pt x="987" y="1033"/>
                </a:lnTo>
                <a:lnTo>
                  <a:pt x="987" y="1036"/>
                </a:lnTo>
                <a:lnTo>
                  <a:pt x="987" y="1038"/>
                </a:lnTo>
                <a:lnTo>
                  <a:pt x="987" y="1040"/>
                </a:lnTo>
                <a:lnTo>
                  <a:pt x="987" y="1042"/>
                </a:lnTo>
                <a:lnTo>
                  <a:pt x="987" y="1042"/>
                </a:lnTo>
                <a:lnTo>
                  <a:pt x="983" y="1052"/>
                </a:lnTo>
                <a:lnTo>
                  <a:pt x="981" y="1059"/>
                </a:lnTo>
                <a:lnTo>
                  <a:pt x="977" y="1067"/>
                </a:lnTo>
                <a:lnTo>
                  <a:pt x="975" y="1073"/>
                </a:lnTo>
                <a:lnTo>
                  <a:pt x="973" y="1080"/>
                </a:lnTo>
                <a:lnTo>
                  <a:pt x="971" y="1088"/>
                </a:lnTo>
                <a:lnTo>
                  <a:pt x="969" y="1095"/>
                </a:lnTo>
                <a:lnTo>
                  <a:pt x="968" y="1105"/>
                </a:lnTo>
                <a:lnTo>
                  <a:pt x="968" y="1105"/>
                </a:lnTo>
                <a:lnTo>
                  <a:pt x="968" y="1113"/>
                </a:lnTo>
                <a:lnTo>
                  <a:pt x="968" y="1120"/>
                </a:lnTo>
                <a:lnTo>
                  <a:pt x="968" y="1128"/>
                </a:lnTo>
                <a:lnTo>
                  <a:pt x="968" y="1136"/>
                </a:lnTo>
                <a:lnTo>
                  <a:pt x="968" y="1141"/>
                </a:lnTo>
                <a:lnTo>
                  <a:pt x="968" y="1147"/>
                </a:lnTo>
                <a:lnTo>
                  <a:pt x="968" y="1153"/>
                </a:lnTo>
                <a:lnTo>
                  <a:pt x="968" y="1158"/>
                </a:lnTo>
                <a:lnTo>
                  <a:pt x="968" y="1158"/>
                </a:lnTo>
                <a:lnTo>
                  <a:pt x="968" y="1166"/>
                </a:lnTo>
                <a:lnTo>
                  <a:pt x="966" y="1172"/>
                </a:lnTo>
                <a:lnTo>
                  <a:pt x="962" y="1176"/>
                </a:lnTo>
                <a:lnTo>
                  <a:pt x="958" y="1179"/>
                </a:lnTo>
                <a:lnTo>
                  <a:pt x="952" y="1181"/>
                </a:lnTo>
                <a:lnTo>
                  <a:pt x="947" y="1185"/>
                </a:lnTo>
                <a:lnTo>
                  <a:pt x="941" y="1187"/>
                </a:lnTo>
                <a:lnTo>
                  <a:pt x="935" y="1187"/>
                </a:lnTo>
                <a:lnTo>
                  <a:pt x="928" y="1189"/>
                </a:lnTo>
                <a:lnTo>
                  <a:pt x="922" y="1191"/>
                </a:lnTo>
                <a:lnTo>
                  <a:pt x="916" y="1191"/>
                </a:lnTo>
                <a:lnTo>
                  <a:pt x="912" y="1193"/>
                </a:lnTo>
                <a:lnTo>
                  <a:pt x="907" y="1195"/>
                </a:lnTo>
                <a:lnTo>
                  <a:pt x="905" y="1198"/>
                </a:lnTo>
                <a:lnTo>
                  <a:pt x="903" y="1202"/>
                </a:lnTo>
                <a:lnTo>
                  <a:pt x="901" y="1208"/>
                </a:lnTo>
                <a:lnTo>
                  <a:pt x="901" y="1208"/>
                </a:lnTo>
                <a:lnTo>
                  <a:pt x="901" y="1210"/>
                </a:lnTo>
                <a:lnTo>
                  <a:pt x="899" y="1214"/>
                </a:lnTo>
                <a:lnTo>
                  <a:pt x="897" y="1216"/>
                </a:lnTo>
                <a:lnTo>
                  <a:pt x="895" y="1218"/>
                </a:lnTo>
                <a:lnTo>
                  <a:pt x="893" y="1219"/>
                </a:lnTo>
                <a:lnTo>
                  <a:pt x="891" y="1223"/>
                </a:lnTo>
                <a:lnTo>
                  <a:pt x="889" y="1225"/>
                </a:lnTo>
                <a:lnTo>
                  <a:pt x="889" y="1229"/>
                </a:lnTo>
                <a:lnTo>
                  <a:pt x="889" y="1229"/>
                </a:lnTo>
                <a:lnTo>
                  <a:pt x="891" y="1235"/>
                </a:lnTo>
                <a:lnTo>
                  <a:pt x="893" y="1239"/>
                </a:lnTo>
                <a:lnTo>
                  <a:pt x="899" y="1240"/>
                </a:lnTo>
                <a:lnTo>
                  <a:pt x="907" y="1240"/>
                </a:lnTo>
                <a:lnTo>
                  <a:pt x="914" y="1240"/>
                </a:lnTo>
                <a:lnTo>
                  <a:pt x="920" y="1240"/>
                </a:lnTo>
                <a:lnTo>
                  <a:pt x="928" y="1240"/>
                </a:lnTo>
                <a:lnTo>
                  <a:pt x="933" y="1242"/>
                </a:lnTo>
                <a:lnTo>
                  <a:pt x="933" y="1242"/>
                </a:lnTo>
                <a:lnTo>
                  <a:pt x="939" y="1246"/>
                </a:lnTo>
                <a:lnTo>
                  <a:pt x="945" y="1250"/>
                </a:lnTo>
                <a:lnTo>
                  <a:pt x="950" y="1256"/>
                </a:lnTo>
                <a:lnTo>
                  <a:pt x="958" y="1260"/>
                </a:lnTo>
                <a:lnTo>
                  <a:pt x="964" y="1265"/>
                </a:lnTo>
                <a:lnTo>
                  <a:pt x="971" y="1271"/>
                </a:lnTo>
                <a:lnTo>
                  <a:pt x="977" y="1277"/>
                </a:lnTo>
                <a:lnTo>
                  <a:pt x="983" y="1282"/>
                </a:lnTo>
                <a:lnTo>
                  <a:pt x="990" y="1290"/>
                </a:lnTo>
                <a:lnTo>
                  <a:pt x="996" y="1296"/>
                </a:lnTo>
                <a:lnTo>
                  <a:pt x="1002" y="1302"/>
                </a:lnTo>
                <a:lnTo>
                  <a:pt x="1008" y="1307"/>
                </a:lnTo>
                <a:lnTo>
                  <a:pt x="1013" y="1315"/>
                </a:lnTo>
                <a:lnTo>
                  <a:pt x="1019" y="1321"/>
                </a:lnTo>
                <a:lnTo>
                  <a:pt x="1023" y="1326"/>
                </a:lnTo>
                <a:lnTo>
                  <a:pt x="1027" y="1332"/>
                </a:lnTo>
                <a:lnTo>
                  <a:pt x="1027" y="1332"/>
                </a:lnTo>
                <a:lnTo>
                  <a:pt x="1031" y="1336"/>
                </a:lnTo>
                <a:lnTo>
                  <a:pt x="1032" y="1340"/>
                </a:lnTo>
                <a:lnTo>
                  <a:pt x="1034" y="1345"/>
                </a:lnTo>
                <a:lnTo>
                  <a:pt x="1036" y="1351"/>
                </a:lnTo>
                <a:lnTo>
                  <a:pt x="1038" y="1355"/>
                </a:lnTo>
                <a:lnTo>
                  <a:pt x="1040" y="1361"/>
                </a:lnTo>
                <a:lnTo>
                  <a:pt x="1040" y="1366"/>
                </a:lnTo>
                <a:lnTo>
                  <a:pt x="1042" y="1372"/>
                </a:lnTo>
                <a:lnTo>
                  <a:pt x="1042" y="1376"/>
                </a:lnTo>
                <a:lnTo>
                  <a:pt x="1044" y="1382"/>
                </a:lnTo>
                <a:lnTo>
                  <a:pt x="1046" y="1387"/>
                </a:lnTo>
                <a:lnTo>
                  <a:pt x="1046" y="1391"/>
                </a:lnTo>
                <a:lnTo>
                  <a:pt x="1050" y="1397"/>
                </a:lnTo>
                <a:lnTo>
                  <a:pt x="1052" y="1403"/>
                </a:lnTo>
                <a:lnTo>
                  <a:pt x="1053" y="1406"/>
                </a:lnTo>
                <a:lnTo>
                  <a:pt x="1057" y="1412"/>
                </a:lnTo>
                <a:lnTo>
                  <a:pt x="1057" y="1412"/>
                </a:lnTo>
                <a:lnTo>
                  <a:pt x="1061" y="1416"/>
                </a:lnTo>
                <a:lnTo>
                  <a:pt x="1065" y="1418"/>
                </a:lnTo>
                <a:lnTo>
                  <a:pt x="1071" y="1420"/>
                </a:lnTo>
                <a:lnTo>
                  <a:pt x="1074" y="1422"/>
                </a:lnTo>
                <a:lnTo>
                  <a:pt x="1080" y="1422"/>
                </a:lnTo>
                <a:lnTo>
                  <a:pt x="1086" y="1422"/>
                </a:lnTo>
                <a:lnTo>
                  <a:pt x="1092" y="1422"/>
                </a:lnTo>
                <a:lnTo>
                  <a:pt x="1099" y="1424"/>
                </a:lnTo>
                <a:lnTo>
                  <a:pt x="1099" y="1424"/>
                </a:lnTo>
                <a:lnTo>
                  <a:pt x="1105" y="1427"/>
                </a:lnTo>
                <a:lnTo>
                  <a:pt x="1109" y="1431"/>
                </a:lnTo>
                <a:lnTo>
                  <a:pt x="1113" y="1437"/>
                </a:lnTo>
                <a:lnTo>
                  <a:pt x="1114" y="1445"/>
                </a:lnTo>
                <a:lnTo>
                  <a:pt x="1116" y="1452"/>
                </a:lnTo>
                <a:lnTo>
                  <a:pt x="1116" y="1460"/>
                </a:lnTo>
                <a:lnTo>
                  <a:pt x="1116" y="1467"/>
                </a:lnTo>
                <a:lnTo>
                  <a:pt x="1116" y="1473"/>
                </a:lnTo>
                <a:lnTo>
                  <a:pt x="1116" y="1473"/>
                </a:lnTo>
                <a:lnTo>
                  <a:pt x="1116" y="1475"/>
                </a:lnTo>
                <a:lnTo>
                  <a:pt x="1116" y="1477"/>
                </a:lnTo>
                <a:lnTo>
                  <a:pt x="1118" y="1481"/>
                </a:lnTo>
                <a:lnTo>
                  <a:pt x="1118" y="1483"/>
                </a:lnTo>
                <a:lnTo>
                  <a:pt x="1120" y="1485"/>
                </a:lnTo>
                <a:lnTo>
                  <a:pt x="1120" y="1487"/>
                </a:lnTo>
                <a:lnTo>
                  <a:pt x="1122" y="1490"/>
                </a:lnTo>
                <a:lnTo>
                  <a:pt x="1122" y="1490"/>
                </a:lnTo>
                <a:lnTo>
                  <a:pt x="1004" y="1490"/>
                </a:lnTo>
                <a:lnTo>
                  <a:pt x="1004" y="1490"/>
                </a:lnTo>
                <a:lnTo>
                  <a:pt x="1002" y="1494"/>
                </a:lnTo>
                <a:lnTo>
                  <a:pt x="998" y="1500"/>
                </a:lnTo>
                <a:lnTo>
                  <a:pt x="992" y="1504"/>
                </a:lnTo>
                <a:lnTo>
                  <a:pt x="989" y="1509"/>
                </a:lnTo>
                <a:lnTo>
                  <a:pt x="983" y="1515"/>
                </a:lnTo>
                <a:lnTo>
                  <a:pt x="977" y="1521"/>
                </a:lnTo>
                <a:lnTo>
                  <a:pt x="971" y="1527"/>
                </a:lnTo>
                <a:lnTo>
                  <a:pt x="966" y="1532"/>
                </a:lnTo>
                <a:lnTo>
                  <a:pt x="960" y="1538"/>
                </a:lnTo>
                <a:lnTo>
                  <a:pt x="954" y="1544"/>
                </a:lnTo>
                <a:lnTo>
                  <a:pt x="949" y="1550"/>
                </a:lnTo>
                <a:lnTo>
                  <a:pt x="943" y="1553"/>
                </a:lnTo>
                <a:lnTo>
                  <a:pt x="937" y="1557"/>
                </a:lnTo>
                <a:lnTo>
                  <a:pt x="933" y="1559"/>
                </a:lnTo>
                <a:lnTo>
                  <a:pt x="928" y="1561"/>
                </a:lnTo>
                <a:lnTo>
                  <a:pt x="924" y="1561"/>
                </a:lnTo>
                <a:lnTo>
                  <a:pt x="924" y="1561"/>
                </a:lnTo>
                <a:lnTo>
                  <a:pt x="920" y="1561"/>
                </a:lnTo>
                <a:lnTo>
                  <a:pt x="916" y="1561"/>
                </a:lnTo>
                <a:lnTo>
                  <a:pt x="912" y="1561"/>
                </a:lnTo>
                <a:lnTo>
                  <a:pt x="908" y="1561"/>
                </a:lnTo>
                <a:lnTo>
                  <a:pt x="905" y="1561"/>
                </a:lnTo>
                <a:lnTo>
                  <a:pt x="903" y="1561"/>
                </a:lnTo>
                <a:lnTo>
                  <a:pt x="899" y="1561"/>
                </a:lnTo>
                <a:lnTo>
                  <a:pt x="897" y="1561"/>
                </a:lnTo>
                <a:lnTo>
                  <a:pt x="897" y="1561"/>
                </a:lnTo>
                <a:lnTo>
                  <a:pt x="893" y="1561"/>
                </a:lnTo>
                <a:lnTo>
                  <a:pt x="891" y="1563"/>
                </a:lnTo>
                <a:lnTo>
                  <a:pt x="887" y="1563"/>
                </a:lnTo>
                <a:lnTo>
                  <a:pt x="884" y="1565"/>
                </a:lnTo>
                <a:lnTo>
                  <a:pt x="878" y="1565"/>
                </a:lnTo>
                <a:lnTo>
                  <a:pt x="874" y="1567"/>
                </a:lnTo>
                <a:lnTo>
                  <a:pt x="870" y="1569"/>
                </a:lnTo>
                <a:lnTo>
                  <a:pt x="866" y="1569"/>
                </a:lnTo>
                <a:lnTo>
                  <a:pt x="863" y="1571"/>
                </a:lnTo>
                <a:lnTo>
                  <a:pt x="857" y="1572"/>
                </a:lnTo>
                <a:lnTo>
                  <a:pt x="853" y="1572"/>
                </a:lnTo>
                <a:lnTo>
                  <a:pt x="849" y="1574"/>
                </a:lnTo>
                <a:lnTo>
                  <a:pt x="844" y="1576"/>
                </a:lnTo>
                <a:lnTo>
                  <a:pt x="840" y="1576"/>
                </a:lnTo>
                <a:lnTo>
                  <a:pt x="834" y="1576"/>
                </a:lnTo>
                <a:lnTo>
                  <a:pt x="830" y="1576"/>
                </a:lnTo>
                <a:lnTo>
                  <a:pt x="830" y="1576"/>
                </a:lnTo>
                <a:lnTo>
                  <a:pt x="825" y="1576"/>
                </a:lnTo>
                <a:lnTo>
                  <a:pt x="819" y="1574"/>
                </a:lnTo>
                <a:lnTo>
                  <a:pt x="815" y="1572"/>
                </a:lnTo>
                <a:lnTo>
                  <a:pt x="809" y="1571"/>
                </a:lnTo>
                <a:lnTo>
                  <a:pt x="804" y="1569"/>
                </a:lnTo>
                <a:lnTo>
                  <a:pt x="798" y="1567"/>
                </a:lnTo>
                <a:lnTo>
                  <a:pt x="790" y="1565"/>
                </a:lnTo>
                <a:lnTo>
                  <a:pt x="783" y="1565"/>
                </a:lnTo>
                <a:lnTo>
                  <a:pt x="783" y="1565"/>
                </a:lnTo>
                <a:lnTo>
                  <a:pt x="775" y="1565"/>
                </a:lnTo>
                <a:lnTo>
                  <a:pt x="769" y="1567"/>
                </a:lnTo>
                <a:lnTo>
                  <a:pt x="763" y="1567"/>
                </a:lnTo>
                <a:lnTo>
                  <a:pt x="758" y="1569"/>
                </a:lnTo>
                <a:lnTo>
                  <a:pt x="754" y="1571"/>
                </a:lnTo>
                <a:lnTo>
                  <a:pt x="748" y="1572"/>
                </a:lnTo>
                <a:lnTo>
                  <a:pt x="744" y="1574"/>
                </a:lnTo>
                <a:lnTo>
                  <a:pt x="741" y="1576"/>
                </a:lnTo>
                <a:lnTo>
                  <a:pt x="737" y="1580"/>
                </a:lnTo>
                <a:lnTo>
                  <a:pt x="733" y="1582"/>
                </a:lnTo>
                <a:lnTo>
                  <a:pt x="729" y="1584"/>
                </a:lnTo>
                <a:lnTo>
                  <a:pt x="727" y="1586"/>
                </a:lnTo>
                <a:lnTo>
                  <a:pt x="723" y="1586"/>
                </a:lnTo>
                <a:lnTo>
                  <a:pt x="720" y="1588"/>
                </a:lnTo>
                <a:lnTo>
                  <a:pt x="716" y="1588"/>
                </a:lnTo>
                <a:lnTo>
                  <a:pt x="712" y="1590"/>
                </a:lnTo>
                <a:lnTo>
                  <a:pt x="712" y="1590"/>
                </a:lnTo>
                <a:lnTo>
                  <a:pt x="706" y="1588"/>
                </a:lnTo>
                <a:lnTo>
                  <a:pt x="704" y="1586"/>
                </a:lnTo>
                <a:lnTo>
                  <a:pt x="702" y="1582"/>
                </a:lnTo>
                <a:lnTo>
                  <a:pt x="701" y="1578"/>
                </a:lnTo>
                <a:lnTo>
                  <a:pt x="701" y="1574"/>
                </a:lnTo>
                <a:lnTo>
                  <a:pt x="701" y="1571"/>
                </a:lnTo>
                <a:lnTo>
                  <a:pt x="701" y="1569"/>
                </a:lnTo>
                <a:lnTo>
                  <a:pt x="701" y="1565"/>
                </a:lnTo>
                <a:lnTo>
                  <a:pt x="701" y="1565"/>
                </a:lnTo>
                <a:lnTo>
                  <a:pt x="699" y="1563"/>
                </a:lnTo>
                <a:lnTo>
                  <a:pt x="695" y="1561"/>
                </a:lnTo>
                <a:lnTo>
                  <a:pt x="693" y="1561"/>
                </a:lnTo>
                <a:lnTo>
                  <a:pt x="689" y="1561"/>
                </a:lnTo>
                <a:lnTo>
                  <a:pt x="687" y="1561"/>
                </a:lnTo>
                <a:lnTo>
                  <a:pt x="683" y="1559"/>
                </a:lnTo>
                <a:lnTo>
                  <a:pt x="680" y="1559"/>
                </a:lnTo>
                <a:lnTo>
                  <a:pt x="676" y="1559"/>
                </a:lnTo>
                <a:lnTo>
                  <a:pt x="676" y="1559"/>
                </a:lnTo>
                <a:lnTo>
                  <a:pt x="668" y="1553"/>
                </a:lnTo>
                <a:lnTo>
                  <a:pt x="662" y="1548"/>
                </a:lnTo>
                <a:lnTo>
                  <a:pt x="657" y="1538"/>
                </a:lnTo>
                <a:lnTo>
                  <a:pt x="651" y="1529"/>
                </a:lnTo>
                <a:lnTo>
                  <a:pt x="645" y="1521"/>
                </a:lnTo>
                <a:lnTo>
                  <a:pt x="638" y="1513"/>
                </a:lnTo>
                <a:lnTo>
                  <a:pt x="630" y="1509"/>
                </a:lnTo>
                <a:lnTo>
                  <a:pt x="620" y="1506"/>
                </a:lnTo>
                <a:lnTo>
                  <a:pt x="620" y="1506"/>
                </a:lnTo>
                <a:lnTo>
                  <a:pt x="617" y="1508"/>
                </a:lnTo>
                <a:lnTo>
                  <a:pt x="613" y="1509"/>
                </a:lnTo>
                <a:lnTo>
                  <a:pt x="611" y="1513"/>
                </a:lnTo>
                <a:lnTo>
                  <a:pt x="607" y="1515"/>
                </a:lnTo>
                <a:lnTo>
                  <a:pt x="605" y="1519"/>
                </a:lnTo>
                <a:lnTo>
                  <a:pt x="603" y="1523"/>
                </a:lnTo>
                <a:lnTo>
                  <a:pt x="599" y="1525"/>
                </a:lnTo>
                <a:lnTo>
                  <a:pt x="596" y="1527"/>
                </a:lnTo>
                <a:lnTo>
                  <a:pt x="596" y="1527"/>
                </a:lnTo>
                <a:lnTo>
                  <a:pt x="590" y="1525"/>
                </a:lnTo>
                <a:lnTo>
                  <a:pt x="584" y="1525"/>
                </a:lnTo>
                <a:lnTo>
                  <a:pt x="580" y="1523"/>
                </a:lnTo>
                <a:lnTo>
                  <a:pt x="575" y="1521"/>
                </a:lnTo>
                <a:lnTo>
                  <a:pt x="569" y="1521"/>
                </a:lnTo>
                <a:lnTo>
                  <a:pt x="563" y="1519"/>
                </a:lnTo>
                <a:lnTo>
                  <a:pt x="557" y="1519"/>
                </a:lnTo>
                <a:lnTo>
                  <a:pt x="552" y="1519"/>
                </a:lnTo>
                <a:lnTo>
                  <a:pt x="552" y="1519"/>
                </a:lnTo>
                <a:lnTo>
                  <a:pt x="546" y="1519"/>
                </a:lnTo>
                <a:lnTo>
                  <a:pt x="542" y="1521"/>
                </a:lnTo>
                <a:lnTo>
                  <a:pt x="538" y="1523"/>
                </a:lnTo>
                <a:lnTo>
                  <a:pt x="535" y="1525"/>
                </a:lnTo>
                <a:lnTo>
                  <a:pt x="533" y="1527"/>
                </a:lnTo>
                <a:lnTo>
                  <a:pt x="529" y="1530"/>
                </a:lnTo>
                <a:lnTo>
                  <a:pt x="525" y="1532"/>
                </a:lnTo>
                <a:lnTo>
                  <a:pt x="519" y="1532"/>
                </a:lnTo>
                <a:lnTo>
                  <a:pt x="519" y="1532"/>
                </a:lnTo>
                <a:lnTo>
                  <a:pt x="510" y="1530"/>
                </a:lnTo>
                <a:lnTo>
                  <a:pt x="502" y="1529"/>
                </a:lnTo>
                <a:lnTo>
                  <a:pt x="496" y="1525"/>
                </a:lnTo>
                <a:lnTo>
                  <a:pt x="491" y="1519"/>
                </a:lnTo>
                <a:lnTo>
                  <a:pt x="487" y="1511"/>
                </a:lnTo>
                <a:lnTo>
                  <a:pt x="483" y="1506"/>
                </a:lnTo>
                <a:lnTo>
                  <a:pt x="479" y="1500"/>
                </a:lnTo>
                <a:lnTo>
                  <a:pt x="475" y="1494"/>
                </a:lnTo>
                <a:lnTo>
                  <a:pt x="475" y="1494"/>
                </a:lnTo>
                <a:lnTo>
                  <a:pt x="472" y="1490"/>
                </a:lnTo>
                <a:lnTo>
                  <a:pt x="466" y="1485"/>
                </a:lnTo>
                <a:lnTo>
                  <a:pt x="462" y="1483"/>
                </a:lnTo>
                <a:lnTo>
                  <a:pt x="454" y="1479"/>
                </a:lnTo>
                <a:lnTo>
                  <a:pt x="451" y="1475"/>
                </a:lnTo>
                <a:lnTo>
                  <a:pt x="445" y="1473"/>
                </a:lnTo>
                <a:lnTo>
                  <a:pt x="441" y="1471"/>
                </a:lnTo>
                <a:lnTo>
                  <a:pt x="437" y="1467"/>
                </a:lnTo>
                <a:lnTo>
                  <a:pt x="437" y="1467"/>
                </a:lnTo>
                <a:lnTo>
                  <a:pt x="433" y="1464"/>
                </a:lnTo>
                <a:lnTo>
                  <a:pt x="433" y="1460"/>
                </a:lnTo>
                <a:lnTo>
                  <a:pt x="433" y="1454"/>
                </a:lnTo>
                <a:lnTo>
                  <a:pt x="433" y="1450"/>
                </a:lnTo>
                <a:lnTo>
                  <a:pt x="433" y="1445"/>
                </a:lnTo>
                <a:lnTo>
                  <a:pt x="435" y="1441"/>
                </a:lnTo>
                <a:lnTo>
                  <a:pt x="435" y="1435"/>
                </a:lnTo>
                <a:lnTo>
                  <a:pt x="433" y="1431"/>
                </a:lnTo>
                <a:lnTo>
                  <a:pt x="433" y="1431"/>
                </a:lnTo>
                <a:lnTo>
                  <a:pt x="430" y="1426"/>
                </a:lnTo>
                <a:lnTo>
                  <a:pt x="426" y="1420"/>
                </a:lnTo>
                <a:lnTo>
                  <a:pt x="420" y="1416"/>
                </a:lnTo>
                <a:lnTo>
                  <a:pt x="414" y="1412"/>
                </a:lnTo>
                <a:lnTo>
                  <a:pt x="407" y="1408"/>
                </a:lnTo>
                <a:lnTo>
                  <a:pt x="401" y="1405"/>
                </a:lnTo>
                <a:lnTo>
                  <a:pt x="393" y="1403"/>
                </a:lnTo>
                <a:lnTo>
                  <a:pt x="388" y="1401"/>
                </a:lnTo>
                <a:lnTo>
                  <a:pt x="388" y="1401"/>
                </a:lnTo>
                <a:lnTo>
                  <a:pt x="382" y="1397"/>
                </a:lnTo>
                <a:lnTo>
                  <a:pt x="378" y="1395"/>
                </a:lnTo>
                <a:lnTo>
                  <a:pt x="374" y="1391"/>
                </a:lnTo>
                <a:lnTo>
                  <a:pt x="371" y="1385"/>
                </a:lnTo>
                <a:lnTo>
                  <a:pt x="369" y="1382"/>
                </a:lnTo>
                <a:lnTo>
                  <a:pt x="367" y="1376"/>
                </a:lnTo>
                <a:lnTo>
                  <a:pt x="365" y="1370"/>
                </a:lnTo>
                <a:lnTo>
                  <a:pt x="363" y="1364"/>
                </a:lnTo>
                <a:lnTo>
                  <a:pt x="361" y="1359"/>
                </a:lnTo>
                <a:lnTo>
                  <a:pt x="359" y="1353"/>
                </a:lnTo>
                <a:lnTo>
                  <a:pt x="357" y="1349"/>
                </a:lnTo>
                <a:lnTo>
                  <a:pt x="355" y="1343"/>
                </a:lnTo>
                <a:lnTo>
                  <a:pt x="353" y="1338"/>
                </a:lnTo>
                <a:lnTo>
                  <a:pt x="350" y="1334"/>
                </a:lnTo>
                <a:lnTo>
                  <a:pt x="346" y="1330"/>
                </a:lnTo>
                <a:lnTo>
                  <a:pt x="342" y="1326"/>
                </a:lnTo>
                <a:lnTo>
                  <a:pt x="342" y="1326"/>
                </a:lnTo>
                <a:lnTo>
                  <a:pt x="338" y="1323"/>
                </a:lnTo>
                <a:lnTo>
                  <a:pt x="334" y="1321"/>
                </a:lnTo>
                <a:lnTo>
                  <a:pt x="329" y="1317"/>
                </a:lnTo>
                <a:lnTo>
                  <a:pt x="323" y="1313"/>
                </a:lnTo>
                <a:lnTo>
                  <a:pt x="317" y="1309"/>
                </a:lnTo>
                <a:lnTo>
                  <a:pt x="311" y="1307"/>
                </a:lnTo>
                <a:lnTo>
                  <a:pt x="304" y="1303"/>
                </a:lnTo>
                <a:lnTo>
                  <a:pt x="298" y="1300"/>
                </a:lnTo>
                <a:lnTo>
                  <a:pt x="292" y="1296"/>
                </a:lnTo>
                <a:lnTo>
                  <a:pt x="287" y="1292"/>
                </a:lnTo>
                <a:lnTo>
                  <a:pt x="283" y="1288"/>
                </a:lnTo>
                <a:lnTo>
                  <a:pt x="277" y="1284"/>
                </a:lnTo>
                <a:lnTo>
                  <a:pt x="273" y="1281"/>
                </a:lnTo>
                <a:lnTo>
                  <a:pt x="271" y="1277"/>
                </a:lnTo>
                <a:lnTo>
                  <a:pt x="269" y="1273"/>
                </a:lnTo>
                <a:lnTo>
                  <a:pt x="269" y="1269"/>
                </a:lnTo>
                <a:lnTo>
                  <a:pt x="269" y="1269"/>
                </a:lnTo>
                <a:lnTo>
                  <a:pt x="269" y="1265"/>
                </a:lnTo>
                <a:lnTo>
                  <a:pt x="269" y="1263"/>
                </a:lnTo>
                <a:lnTo>
                  <a:pt x="269" y="1261"/>
                </a:lnTo>
                <a:lnTo>
                  <a:pt x="269" y="1260"/>
                </a:lnTo>
                <a:lnTo>
                  <a:pt x="269" y="1258"/>
                </a:lnTo>
                <a:lnTo>
                  <a:pt x="269" y="1258"/>
                </a:lnTo>
                <a:lnTo>
                  <a:pt x="269" y="1256"/>
                </a:lnTo>
                <a:lnTo>
                  <a:pt x="269" y="1252"/>
                </a:lnTo>
                <a:lnTo>
                  <a:pt x="269" y="1252"/>
                </a:lnTo>
                <a:lnTo>
                  <a:pt x="268" y="1246"/>
                </a:lnTo>
                <a:lnTo>
                  <a:pt x="266" y="1242"/>
                </a:lnTo>
                <a:lnTo>
                  <a:pt x="260" y="1239"/>
                </a:lnTo>
                <a:lnTo>
                  <a:pt x="254" y="1235"/>
                </a:lnTo>
                <a:lnTo>
                  <a:pt x="248" y="1233"/>
                </a:lnTo>
                <a:lnTo>
                  <a:pt x="241" y="1231"/>
                </a:lnTo>
                <a:lnTo>
                  <a:pt x="231" y="1229"/>
                </a:lnTo>
                <a:lnTo>
                  <a:pt x="224" y="1227"/>
                </a:lnTo>
                <a:lnTo>
                  <a:pt x="216" y="1225"/>
                </a:lnTo>
                <a:lnTo>
                  <a:pt x="208" y="1221"/>
                </a:lnTo>
                <a:lnTo>
                  <a:pt x="201" y="1219"/>
                </a:lnTo>
                <a:lnTo>
                  <a:pt x="195" y="1218"/>
                </a:lnTo>
                <a:lnTo>
                  <a:pt x="191" y="1214"/>
                </a:lnTo>
                <a:lnTo>
                  <a:pt x="187" y="1210"/>
                </a:lnTo>
                <a:lnTo>
                  <a:pt x="187" y="1204"/>
                </a:lnTo>
                <a:lnTo>
                  <a:pt x="189" y="1198"/>
                </a:lnTo>
                <a:lnTo>
                  <a:pt x="189" y="1183"/>
                </a:lnTo>
                <a:lnTo>
                  <a:pt x="189" y="1183"/>
                </a:lnTo>
                <a:lnTo>
                  <a:pt x="184" y="1183"/>
                </a:lnTo>
                <a:lnTo>
                  <a:pt x="178" y="1183"/>
                </a:lnTo>
                <a:lnTo>
                  <a:pt x="174" y="1183"/>
                </a:lnTo>
                <a:lnTo>
                  <a:pt x="170" y="1183"/>
                </a:lnTo>
                <a:lnTo>
                  <a:pt x="166" y="1183"/>
                </a:lnTo>
                <a:lnTo>
                  <a:pt x="163" y="1183"/>
                </a:lnTo>
                <a:lnTo>
                  <a:pt x="161" y="1183"/>
                </a:lnTo>
                <a:lnTo>
                  <a:pt x="157" y="1183"/>
                </a:lnTo>
                <a:lnTo>
                  <a:pt x="157" y="1183"/>
                </a:lnTo>
                <a:lnTo>
                  <a:pt x="151" y="1183"/>
                </a:lnTo>
                <a:lnTo>
                  <a:pt x="147" y="1181"/>
                </a:lnTo>
                <a:lnTo>
                  <a:pt x="142" y="1178"/>
                </a:lnTo>
                <a:lnTo>
                  <a:pt x="138" y="1174"/>
                </a:lnTo>
                <a:lnTo>
                  <a:pt x="136" y="1168"/>
                </a:lnTo>
                <a:lnTo>
                  <a:pt x="132" y="1162"/>
                </a:lnTo>
                <a:lnTo>
                  <a:pt x="130" y="1157"/>
                </a:lnTo>
                <a:lnTo>
                  <a:pt x="130" y="1149"/>
                </a:lnTo>
                <a:lnTo>
                  <a:pt x="130" y="1149"/>
                </a:lnTo>
                <a:lnTo>
                  <a:pt x="130" y="1143"/>
                </a:lnTo>
                <a:lnTo>
                  <a:pt x="132" y="1137"/>
                </a:lnTo>
                <a:lnTo>
                  <a:pt x="136" y="1134"/>
                </a:lnTo>
                <a:lnTo>
                  <a:pt x="138" y="1130"/>
                </a:lnTo>
                <a:lnTo>
                  <a:pt x="142" y="1126"/>
                </a:lnTo>
                <a:lnTo>
                  <a:pt x="145" y="1120"/>
                </a:lnTo>
                <a:lnTo>
                  <a:pt x="147" y="1116"/>
                </a:lnTo>
                <a:lnTo>
                  <a:pt x="147" y="1111"/>
                </a:lnTo>
                <a:lnTo>
                  <a:pt x="147" y="1111"/>
                </a:lnTo>
                <a:lnTo>
                  <a:pt x="147" y="1103"/>
                </a:lnTo>
                <a:lnTo>
                  <a:pt x="145" y="1095"/>
                </a:lnTo>
                <a:lnTo>
                  <a:pt x="142" y="1088"/>
                </a:lnTo>
                <a:lnTo>
                  <a:pt x="138" y="1080"/>
                </a:lnTo>
                <a:lnTo>
                  <a:pt x="132" y="1073"/>
                </a:lnTo>
                <a:lnTo>
                  <a:pt x="126" y="1067"/>
                </a:lnTo>
                <a:lnTo>
                  <a:pt x="121" y="1059"/>
                </a:lnTo>
                <a:lnTo>
                  <a:pt x="115" y="1054"/>
                </a:lnTo>
                <a:lnTo>
                  <a:pt x="109" y="1046"/>
                </a:lnTo>
                <a:lnTo>
                  <a:pt x="103" y="1040"/>
                </a:lnTo>
                <a:lnTo>
                  <a:pt x="98" y="1034"/>
                </a:lnTo>
                <a:lnTo>
                  <a:pt x="92" y="1029"/>
                </a:lnTo>
                <a:lnTo>
                  <a:pt x="88" y="1021"/>
                </a:lnTo>
                <a:lnTo>
                  <a:pt x="86" y="1015"/>
                </a:lnTo>
                <a:lnTo>
                  <a:pt x="82" y="1010"/>
                </a:lnTo>
                <a:lnTo>
                  <a:pt x="82" y="1004"/>
                </a:lnTo>
                <a:lnTo>
                  <a:pt x="82" y="1004"/>
                </a:lnTo>
                <a:lnTo>
                  <a:pt x="82" y="1002"/>
                </a:lnTo>
                <a:lnTo>
                  <a:pt x="84" y="1000"/>
                </a:lnTo>
                <a:lnTo>
                  <a:pt x="86" y="998"/>
                </a:lnTo>
                <a:lnTo>
                  <a:pt x="88" y="994"/>
                </a:lnTo>
                <a:lnTo>
                  <a:pt x="88" y="994"/>
                </a:lnTo>
                <a:lnTo>
                  <a:pt x="90" y="991"/>
                </a:lnTo>
                <a:lnTo>
                  <a:pt x="92" y="989"/>
                </a:lnTo>
                <a:lnTo>
                  <a:pt x="92" y="987"/>
                </a:lnTo>
                <a:lnTo>
                  <a:pt x="92" y="987"/>
                </a:lnTo>
                <a:lnTo>
                  <a:pt x="92" y="979"/>
                </a:lnTo>
                <a:lnTo>
                  <a:pt x="88" y="973"/>
                </a:lnTo>
                <a:lnTo>
                  <a:pt x="86" y="970"/>
                </a:lnTo>
                <a:lnTo>
                  <a:pt x="82" y="968"/>
                </a:lnTo>
                <a:lnTo>
                  <a:pt x="79" y="964"/>
                </a:lnTo>
                <a:lnTo>
                  <a:pt x="75" y="962"/>
                </a:lnTo>
                <a:lnTo>
                  <a:pt x="71" y="960"/>
                </a:lnTo>
                <a:lnTo>
                  <a:pt x="69" y="956"/>
                </a:lnTo>
                <a:lnTo>
                  <a:pt x="69" y="956"/>
                </a:lnTo>
                <a:lnTo>
                  <a:pt x="65" y="952"/>
                </a:lnTo>
                <a:lnTo>
                  <a:pt x="63" y="945"/>
                </a:lnTo>
                <a:lnTo>
                  <a:pt x="62" y="939"/>
                </a:lnTo>
                <a:lnTo>
                  <a:pt x="60" y="931"/>
                </a:lnTo>
                <a:lnTo>
                  <a:pt x="58" y="924"/>
                </a:lnTo>
                <a:lnTo>
                  <a:pt x="56" y="916"/>
                </a:lnTo>
                <a:lnTo>
                  <a:pt x="54" y="909"/>
                </a:lnTo>
                <a:lnTo>
                  <a:pt x="52" y="901"/>
                </a:lnTo>
                <a:lnTo>
                  <a:pt x="50" y="895"/>
                </a:lnTo>
                <a:lnTo>
                  <a:pt x="48" y="888"/>
                </a:lnTo>
                <a:lnTo>
                  <a:pt x="44" y="882"/>
                </a:lnTo>
                <a:lnTo>
                  <a:pt x="39" y="876"/>
                </a:lnTo>
                <a:lnTo>
                  <a:pt x="35" y="870"/>
                </a:lnTo>
                <a:lnTo>
                  <a:pt x="27" y="868"/>
                </a:lnTo>
                <a:lnTo>
                  <a:pt x="20" y="867"/>
                </a:lnTo>
                <a:lnTo>
                  <a:pt x="12" y="865"/>
                </a:lnTo>
                <a:lnTo>
                  <a:pt x="12" y="865"/>
                </a:lnTo>
                <a:lnTo>
                  <a:pt x="8" y="865"/>
                </a:lnTo>
                <a:lnTo>
                  <a:pt x="6" y="865"/>
                </a:lnTo>
                <a:lnTo>
                  <a:pt x="4" y="863"/>
                </a:lnTo>
                <a:lnTo>
                  <a:pt x="2" y="861"/>
                </a:lnTo>
                <a:lnTo>
                  <a:pt x="0" y="859"/>
                </a:lnTo>
                <a:lnTo>
                  <a:pt x="0" y="857"/>
                </a:lnTo>
                <a:lnTo>
                  <a:pt x="0" y="853"/>
                </a:lnTo>
                <a:lnTo>
                  <a:pt x="0" y="851"/>
                </a:lnTo>
                <a:lnTo>
                  <a:pt x="0" y="851"/>
                </a:lnTo>
                <a:lnTo>
                  <a:pt x="0" y="846"/>
                </a:lnTo>
                <a:lnTo>
                  <a:pt x="2" y="840"/>
                </a:lnTo>
                <a:lnTo>
                  <a:pt x="6" y="836"/>
                </a:lnTo>
                <a:lnTo>
                  <a:pt x="8" y="832"/>
                </a:lnTo>
                <a:lnTo>
                  <a:pt x="12" y="828"/>
                </a:lnTo>
                <a:lnTo>
                  <a:pt x="18" y="825"/>
                </a:lnTo>
                <a:lnTo>
                  <a:pt x="20" y="823"/>
                </a:lnTo>
                <a:lnTo>
                  <a:pt x="23" y="821"/>
                </a:lnTo>
                <a:lnTo>
                  <a:pt x="21" y="821"/>
                </a:lnTo>
                <a:lnTo>
                  <a:pt x="21" y="821"/>
                </a:lnTo>
                <a:lnTo>
                  <a:pt x="23" y="821"/>
                </a:lnTo>
                <a:lnTo>
                  <a:pt x="27" y="819"/>
                </a:lnTo>
                <a:lnTo>
                  <a:pt x="27" y="817"/>
                </a:lnTo>
                <a:lnTo>
                  <a:pt x="29" y="815"/>
                </a:lnTo>
                <a:lnTo>
                  <a:pt x="31" y="813"/>
                </a:lnTo>
                <a:lnTo>
                  <a:pt x="33" y="811"/>
                </a:lnTo>
                <a:lnTo>
                  <a:pt x="33" y="807"/>
                </a:lnTo>
                <a:lnTo>
                  <a:pt x="33" y="806"/>
                </a:lnTo>
                <a:lnTo>
                  <a:pt x="33" y="806"/>
                </a:lnTo>
                <a:lnTo>
                  <a:pt x="33" y="802"/>
                </a:lnTo>
                <a:lnTo>
                  <a:pt x="31" y="798"/>
                </a:lnTo>
                <a:lnTo>
                  <a:pt x="29" y="792"/>
                </a:lnTo>
                <a:lnTo>
                  <a:pt x="29" y="788"/>
                </a:lnTo>
                <a:lnTo>
                  <a:pt x="27" y="786"/>
                </a:lnTo>
                <a:lnTo>
                  <a:pt x="25" y="783"/>
                </a:lnTo>
                <a:lnTo>
                  <a:pt x="23" y="779"/>
                </a:lnTo>
                <a:lnTo>
                  <a:pt x="21" y="777"/>
                </a:lnTo>
                <a:lnTo>
                  <a:pt x="21" y="777"/>
                </a:lnTo>
                <a:lnTo>
                  <a:pt x="25" y="773"/>
                </a:lnTo>
                <a:lnTo>
                  <a:pt x="29" y="771"/>
                </a:lnTo>
                <a:lnTo>
                  <a:pt x="37" y="767"/>
                </a:lnTo>
                <a:lnTo>
                  <a:pt x="42" y="764"/>
                </a:lnTo>
                <a:lnTo>
                  <a:pt x="48" y="758"/>
                </a:lnTo>
                <a:lnTo>
                  <a:pt x="54" y="754"/>
                </a:lnTo>
                <a:lnTo>
                  <a:pt x="58" y="748"/>
                </a:lnTo>
                <a:lnTo>
                  <a:pt x="60" y="744"/>
                </a:lnTo>
                <a:lnTo>
                  <a:pt x="60" y="744"/>
                </a:lnTo>
                <a:lnTo>
                  <a:pt x="58" y="743"/>
                </a:lnTo>
                <a:lnTo>
                  <a:pt x="58" y="739"/>
                </a:lnTo>
                <a:lnTo>
                  <a:pt x="54" y="737"/>
                </a:lnTo>
                <a:lnTo>
                  <a:pt x="52" y="735"/>
                </a:lnTo>
                <a:lnTo>
                  <a:pt x="50" y="731"/>
                </a:lnTo>
                <a:lnTo>
                  <a:pt x="46" y="729"/>
                </a:lnTo>
                <a:lnTo>
                  <a:pt x="44" y="725"/>
                </a:lnTo>
                <a:lnTo>
                  <a:pt x="44" y="722"/>
                </a:lnTo>
                <a:lnTo>
                  <a:pt x="44" y="722"/>
                </a:lnTo>
                <a:lnTo>
                  <a:pt x="44" y="718"/>
                </a:lnTo>
                <a:lnTo>
                  <a:pt x="44" y="716"/>
                </a:lnTo>
                <a:lnTo>
                  <a:pt x="44" y="714"/>
                </a:lnTo>
                <a:lnTo>
                  <a:pt x="44" y="712"/>
                </a:lnTo>
                <a:lnTo>
                  <a:pt x="62" y="708"/>
                </a:lnTo>
                <a:lnTo>
                  <a:pt x="62" y="708"/>
                </a:lnTo>
                <a:lnTo>
                  <a:pt x="65" y="706"/>
                </a:lnTo>
                <a:lnTo>
                  <a:pt x="67" y="702"/>
                </a:lnTo>
                <a:lnTo>
                  <a:pt x="69" y="699"/>
                </a:lnTo>
                <a:lnTo>
                  <a:pt x="71" y="695"/>
                </a:lnTo>
                <a:lnTo>
                  <a:pt x="73" y="691"/>
                </a:lnTo>
                <a:lnTo>
                  <a:pt x="75" y="685"/>
                </a:lnTo>
                <a:lnTo>
                  <a:pt x="77" y="682"/>
                </a:lnTo>
                <a:lnTo>
                  <a:pt x="79" y="676"/>
                </a:lnTo>
                <a:lnTo>
                  <a:pt x="81" y="670"/>
                </a:lnTo>
                <a:lnTo>
                  <a:pt x="82" y="664"/>
                </a:lnTo>
                <a:lnTo>
                  <a:pt x="82" y="661"/>
                </a:lnTo>
                <a:lnTo>
                  <a:pt x="84" y="655"/>
                </a:lnTo>
                <a:lnTo>
                  <a:pt x="84" y="649"/>
                </a:lnTo>
                <a:lnTo>
                  <a:pt x="86" y="643"/>
                </a:lnTo>
                <a:lnTo>
                  <a:pt x="86" y="640"/>
                </a:lnTo>
                <a:lnTo>
                  <a:pt x="86" y="634"/>
                </a:lnTo>
                <a:lnTo>
                  <a:pt x="86" y="634"/>
                </a:lnTo>
                <a:lnTo>
                  <a:pt x="90" y="634"/>
                </a:lnTo>
                <a:lnTo>
                  <a:pt x="96" y="632"/>
                </a:lnTo>
                <a:lnTo>
                  <a:pt x="100" y="632"/>
                </a:lnTo>
                <a:lnTo>
                  <a:pt x="103" y="630"/>
                </a:lnTo>
                <a:lnTo>
                  <a:pt x="109" y="630"/>
                </a:lnTo>
                <a:lnTo>
                  <a:pt x="113" y="630"/>
                </a:lnTo>
                <a:lnTo>
                  <a:pt x="117" y="628"/>
                </a:lnTo>
                <a:lnTo>
                  <a:pt x="123" y="628"/>
                </a:lnTo>
                <a:lnTo>
                  <a:pt x="126" y="628"/>
                </a:lnTo>
                <a:lnTo>
                  <a:pt x="132" y="628"/>
                </a:lnTo>
                <a:lnTo>
                  <a:pt x="136" y="626"/>
                </a:lnTo>
                <a:lnTo>
                  <a:pt x="142" y="626"/>
                </a:lnTo>
                <a:lnTo>
                  <a:pt x="145" y="626"/>
                </a:lnTo>
                <a:lnTo>
                  <a:pt x="151" y="626"/>
                </a:lnTo>
                <a:lnTo>
                  <a:pt x="157" y="626"/>
                </a:lnTo>
                <a:lnTo>
                  <a:pt x="163" y="626"/>
                </a:lnTo>
                <a:lnTo>
                  <a:pt x="155" y="315"/>
                </a:lnTo>
                <a:lnTo>
                  <a:pt x="155" y="315"/>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79" name="Freeform 51"/>
          <p:cNvSpPr>
            <a:spLocks/>
          </p:cNvSpPr>
          <p:nvPr>
            <p:custDataLst>
              <p:tags r:id="rId51"/>
            </p:custDataLst>
          </p:nvPr>
        </p:nvSpPr>
        <p:spPr bwMode="gray">
          <a:xfrm>
            <a:off x="3304483" y="1422137"/>
            <a:ext cx="1067475" cy="934593"/>
          </a:xfrm>
          <a:custGeom>
            <a:avLst/>
            <a:gdLst/>
            <a:ahLst/>
            <a:cxnLst>
              <a:cxn ang="0">
                <a:pos x="1116" y="92"/>
              </a:cxn>
              <a:cxn ang="0">
                <a:pos x="1087" y="88"/>
              </a:cxn>
              <a:cxn ang="0">
                <a:pos x="1057" y="94"/>
              </a:cxn>
              <a:cxn ang="0">
                <a:pos x="1001" y="94"/>
              </a:cxn>
              <a:cxn ang="0">
                <a:pos x="967" y="63"/>
              </a:cxn>
              <a:cxn ang="0">
                <a:pos x="935" y="44"/>
              </a:cxn>
              <a:cxn ang="0">
                <a:pos x="895" y="31"/>
              </a:cxn>
              <a:cxn ang="0">
                <a:pos x="853" y="27"/>
              </a:cxn>
              <a:cxn ang="0">
                <a:pos x="793" y="46"/>
              </a:cxn>
              <a:cxn ang="0">
                <a:pos x="757" y="88"/>
              </a:cxn>
              <a:cxn ang="0">
                <a:pos x="776" y="135"/>
              </a:cxn>
              <a:cxn ang="0">
                <a:pos x="776" y="177"/>
              </a:cxn>
              <a:cxn ang="0">
                <a:pos x="717" y="212"/>
              </a:cxn>
              <a:cxn ang="0">
                <a:pos x="666" y="197"/>
              </a:cxn>
              <a:cxn ang="0">
                <a:pos x="622" y="174"/>
              </a:cxn>
              <a:cxn ang="0">
                <a:pos x="587" y="156"/>
              </a:cxn>
              <a:cxn ang="0">
                <a:pos x="553" y="145"/>
              </a:cxn>
              <a:cxn ang="0">
                <a:pos x="509" y="143"/>
              </a:cxn>
              <a:cxn ang="0">
                <a:pos x="479" y="135"/>
              </a:cxn>
              <a:cxn ang="0">
                <a:pos x="450" y="97"/>
              </a:cxn>
              <a:cxn ang="0">
                <a:pos x="441" y="61"/>
              </a:cxn>
              <a:cxn ang="0">
                <a:pos x="410" y="38"/>
              </a:cxn>
              <a:cxn ang="0">
                <a:pos x="345" y="17"/>
              </a:cxn>
              <a:cxn ang="0">
                <a:pos x="303" y="11"/>
              </a:cxn>
              <a:cxn ang="0">
                <a:pos x="263" y="29"/>
              </a:cxn>
              <a:cxn ang="0">
                <a:pos x="227" y="23"/>
              </a:cxn>
              <a:cxn ang="0">
                <a:pos x="194" y="6"/>
              </a:cxn>
              <a:cxn ang="0">
                <a:pos x="175" y="17"/>
              </a:cxn>
              <a:cxn ang="0">
                <a:pos x="173" y="44"/>
              </a:cxn>
              <a:cxn ang="0">
                <a:pos x="118" y="78"/>
              </a:cxn>
              <a:cxn ang="0">
                <a:pos x="78" y="118"/>
              </a:cxn>
              <a:cxn ang="0">
                <a:pos x="76" y="145"/>
              </a:cxn>
              <a:cxn ang="0">
                <a:pos x="80" y="172"/>
              </a:cxn>
              <a:cxn ang="0">
                <a:pos x="51" y="204"/>
              </a:cxn>
              <a:cxn ang="0">
                <a:pos x="13" y="221"/>
              </a:cxn>
              <a:cxn ang="0">
                <a:pos x="32" y="261"/>
              </a:cxn>
              <a:cxn ang="0">
                <a:pos x="44" y="307"/>
              </a:cxn>
              <a:cxn ang="0">
                <a:pos x="44" y="349"/>
              </a:cxn>
              <a:cxn ang="0">
                <a:pos x="44" y="380"/>
              </a:cxn>
              <a:cxn ang="0">
                <a:pos x="44" y="410"/>
              </a:cxn>
              <a:cxn ang="0">
                <a:pos x="32" y="443"/>
              </a:cxn>
              <a:cxn ang="0">
                <a:pos x="42" y="473"/>
              </a:cxn>
              <a:cxn ang="0">
                <a:pos x="19" y="504"/>
              </a:cxn>
              <a:cxn ang="0">
                <a:pos x="2" y="532"/>
              </a:cxn>
              <a:cxn ang="0">
                <a:pos x="27" y="582"/>
              </a:cxn>
              <a:cxn ang="0">
                <a:pos x="53" y="626"/>
              </a:cxn>
              <a:cxn ang="0">
                <a:pos x="61" y="649"/>
              </a:cxn>
              <a:cxn ang="0">
                <a:pos x="76" y="656"/>
              </a:cxn>
              <a:cxn ang="0">
                <a:pos x="103" y="656"/>
              </a:cxn>
              <a:cxn ang="0">
                <a:pos x="149" y="677"/>
              </a:cxn>
              <a:cxn ang="0">
                <a:pos x="162" y="710"/>
              </a:cxn>
              <a:cxn ang="0">
                <a:pos x="183" y="736"/>
              </a:cxn>
              <a:cxn ang="0">
                <a:pos x="219" y="750"/>
              </a:cxn>
              <a:cxn ang="0">
                <a:pos x="263" y="763"/>
              </a:cxn>
              <a:cxn ang="0">
                <a:pos x="303" y="780"/>
              </a:cxn>
              <a:cxn ang="0">
                <a:pos x="345" y="813"/>
              </a:cxn>
              <a:cxn ang="0">
                <a:pos x="399" y="794"/>
              </a:cxn>
              <a:cxn ang="0">
                <a:pos x="1163" y="1015"/>
              </a:cxn>
              <a:cxn ang="0">
                <a:pos x="1116" y="256"/>
              </a:cxn>
              <a:cxn ang="0">
                <a:pos x="1110" y="210"/>
              </a:cxn>
              <a:cxn ang="0">
                <a:pos x="1125" y="177"/>
              </a:cxn>
              <a:cxn ang="0">
                <a:pos x="1108" y="141"/>
              </a:cxn>
              <a:cxn ang="0">
                <a:pos x="1116" y="115"/>
              </a:cxn>
            </a:cxnLst>
            <a:rect l="0" t="0" r="r" b="b"/>
            <a:pathLst>
              <a:path w="1163" h="1051">
                <a:moveTo>
                  <a:pt x="1125" y="109"/>
                </a:moveTo>
                <a:lnTo>
                  <a:pt x="1125" y="109"/>
                </a:lnTo>
                <a:lnTo>
                  <a:pt x="1125" y="107"/>
                </a:lnTo>
                <a:lnTo>
                  <a:pt x="1123" y="103"/>
                </a:lnTo>
                <a:lnTo>
                  <a:pt x="1122" y="99"/>
                </a:lnTo>
                <a:lnTo>
                  <a:pt x="1120" y="95"/>
                </a:lnTo>
                <a:lnTo>
                  <a:pt x="1116" y="92"/>
                </a:lnTo>
                <a:lnTo>
                  <a:pt x="1112" y="88"/>
                </a:lnTo>
                <a:lnTo>
                  <a:pt x="1106" y="86"/>
                </a:lnTo>
                <a:lnTo>
                  <a:pt x="1102" y="86"/>
                </a:lnTo>
                <a:lnTo>
                  <a:pt x="1102" y="86"/>
                </a:lnTo>
                <a:lnTo>
                  <a:pt x="1095" y="86"/>
                </a:lnTo>
                <a:lnTo>
                  <a:pt x="1091" y="86"/>
                </a:lnTo>
                <a:lnTo>
                  <a:pt x="1087" y="88"/>
                </a:lnTo>
                <a:lnTo>
                  <a:pt x="1083" y="90"/>
                </a:lnTo>
                <a:lnTo>
                  <a:pt x="1081" y="92"/>
                </a:lnTo>
                <a:lnTo>
                  <a:pt x="1078" y="94"/>
                </a:lnTo>
                <a:lnTo>
                  <a:pt x="1072" y="94"/>
                </a:lnTo>
                <a:lnTo>
                  <a:pt x="1066" y="94"/>
                </a:lnTo>
                <a:lnTo>
                  <a:pt x="1066" y="94"/>
                </a:lnTo>
                <a:lnTo>
                  <a:pt x="1057" y="94"/>
                </a:lnTo>
                <a:lnTo>
                  <a:pt x="1047" y="94"/>
                </a:lnTo>
                <a:lnTo>
                  <a:pt x="1041" y="94"/>
                </a:lnTo>
                <a:lnTo>
                  <a:pt x="1036" y="94"/>
                </a:lnTo>
                <a:lnTo>
                  <a:pt x="1028" y="94"/>
                </a:lnTo>
                <a:lnTo>
                  <a:pt x="1022" y="94"/>
                </a:lnTo>
                <a:lnTo>
                  <a:pt x="1013" y="94"/>
                </a:lnTo>
                <a:lnTo>
                  <a:pt x="1001" y="94"/>
                </a:lnTo>
                <a:lnTo>
                  <a:pt x="1001" y="94"/>
                </a:lnTo>
                <a:lnTo>
                  <a:pt x="992" y="94"/>
                </a:lnTo>
                <a:lnTo>
                  <a:pt x="984" y="90"/>
                </a:lnTo>
                <a:lnTo>
                  <a:pt x="978" y="84"/>
                </a:lnTo>
                <a:lnTo>
                  <a:pt x="975" y="76"/>
                </a:lnTo>
                <a:lnTo>
                  <a:pt x="971" y="69"/>
                </a:lnTo>
                <a:lnTo>
                  <a:pt x="967" y="63"/>
                </a:lnTo>
                <a:lnTo>
                  <a:pt x="963" y="57"/>
                </a:lnTo>
                <a:lnTo>
                  <a:pt x="957" y="53"/>
                </a:lnTo>
                <a:lnTo>
                  <a:pt x="957" y="53"/>
                </a:lnTo>
                <a:lnTo>
                  <a:pt x="952" y="50"/>
                </a:lnTo>
                <a:lnTo>
                  <a:pt x="944" y="48"/>
                </a:lnTo>
                <a:lnTo>
                  <a:pt x="938" y="46"/>
                </a:lnTo>
                <a:lnTo>
                  <a:pt x="935" y="44"/>
                </a:lnTo>
                <a:lnTo>
                  <a:pt x="929" y="40"/>
                </a:lnTo>
                <a:lnTo>
                  <a:pt x="923" y="38"/>
                </a:lnTo>
                <a:lnTo>
                  <a:pt x="917" y="36"/>
                </a:lnTo>
                <a:lnTo>
                  <a:pt x="912" y="34"/>
                </a:lnTo>
                <a:lnTo>
                  <a:pt x="906" y="32"/>
                </a:lnTo>
                <a:lnTo>
                  <a:pt x="900" y="31"/>
                </a:lnTo>
                <a:lnTo>
                  <a:pt x="895" y="31"/>
                </a:lnTo>
                <a:lnTo>
                  <a:pt x="889" y="29"/>
                </a:lnTo>
                <a:lnTo>
                  <a:pt x="881" y="27"/>
                </a:lnTo>
                <a:lnTo>
                  <a:pt x="875" y="27"/>
                </a:lnTo>
                <a:lnTo>
                  <a:pt x="868" y="27"/>
                </a:lnTo>
                <a:lnTo>
                  <a:pt x="860" y="27"/>
                </a:lnTo>
                <a:lnTo>
                  <a:pt x="860" y="27"/>
                </a:lnTo>
                <a:lnTo>
                  <a:pt x="853" y="27"/>
                </a:lnTo>
                <a:lnTo>
                  <a:pt x="843" y="27"/>
                </a:lnTo>
                <a:lnTo>
                  <a:pt x="835" y="29"/>
                </a:lnTo>
                <a:lnTo>
                  <a:pt x="826" y="31"/>
                </a:lnTo>
                <a:lnTo>
                  <a:pt x="818" y="34"/>
                </a:lnTo>
                <a:lnTo>
                  <a:pt x="811" y="38"/>
                </a:lnTo>
                <a:lnTo>
                  <a:pt x="801" y="42"/>
                </a:lnTo>
                <a:lnTo>
                  <a:pt x="793" y="46"/>
                </a:lnTo>
                <a:lnTo>
                  <a:pt x="786" y="50"/>
                </a:lnTo>
                <a:lnTo>
                  <a:pt x="778" y="55"/>
                </a:lnTo>
                <a:lnTo>
                  <a:pt x="772" y="61"/>
                </a:lnTo>
                <a:lnTo>
                  <a:pt x="767" y="67"/>
                </a:lnTo>
                <a:lnTo>
                  <a:pt x="763" y="74"/>
                </a:lnTo>
                <a:lnTo>
                  <a:pt x="759" y="80"/>
                </a:lnTo>
                <a:lnTo>
                  <a:pt x="757" y="88"/>
                </a:lnTo>
                <a:lnTo>
                  <a:pt x="757" y="94"/>
                </a:lnTo>
                <a:lnTo>
                  <a:pt x="757" y="94"/>
                </a:lnTo>
                <a:lnTo>
                  <a:pt x="757" y="103"/>
                </a:lnTo>
                <a:lnTo>
                  <a:pt x="761" y="111"/>
                </a:lnTo>
                <a:lnTo>
                  <a:pt x="765" y="120"/>
                </a:lnTo>
                <a:lnTo>
                  <a:pt x="771" y="128"/>
                </a:lnTo>
                <a:lnTo>
                  <a:pt x="776" y="135"/>
                </a:lnTo>
                <a:lnTo>
                  <a:pt x="782" y="143"/>
                </a:lnTo>
                <a:lnTo>
                  <a:pt x="784" y="151"/>
                </a:lnTo>
                <a:lnTo>
                  <a:pt x="786" y="158"/>
                </a:lnTo>
                <a:lnTo>
                  <a:pt x="786" y="158"/>
                </a:lnTo>
                <a:lnTo>
                  <a:pt x="784" y="162"/>
                </a:lnTo>
                <a:lnTo>
                  <a:pt x="780" y="170"/>
                </a:lnTo>
                <a:lnTo>
                  <a:pt x="776" y="177"/>
                </a:lnTo>
                <a:lnTo>
                  <a:pt x="769" y="187"/>
                </a:lnTo>
                <a:lnTo>
                  <a:pt x="759" y="197"/>
                </a:lnTo>
                <a:lnTo>
                  <a:pt x="750" y="204"/>
                </a:lnTo>
                <a:lnTo>
                  <a:pt x="738" y="210"/>
                </a:lnTo>
                <a:lnTo>
                  <a:pt x="727" y="212"/>
                </a:lnTo>
                <a:lnTo>
                  <a:pt x="727" y="212"/>
                </a:lnTo>
                <a:lnTo>
                  <a:pt x="717" y="212"/>
                </a:lnTo>
                <a:lnTo>
                  <a:pt x="709" y="212"/>
                </a:lnTo>
                <a:lnTo>
                  <a:pt x="700" y="210"/>
                </a:lnTo>
                <a:lnTo>
                  <a:pt x="692" y="208"/>
                </a:lnTo>
                <a:lnTo>
                  <a:pt x="687" y="206"/>
                </a:lnTo>
                <a:lnTo>
                  <a:pt x="679" y="202"/>
                </a:lnTo>
                <a:lnTo>
                  <a:pt x="673" y="200"/>
                </a:lnTo>
                <a:lnTo>
                  <a:pt x="666" y="197"/>
                </a:lnTo>
                <a:lnTo>
                  <a:pt x="660" y="195"/>
                </a:lnTo>
                <a:lnTo>
                  <a:pt x="654" y="191"/>
                </a:lnTo>
                <a:lnTo>
                  <a:pt x="647" y="187"/>
                </a:lnTo>
                <a:lnTo>
                  <a:pt x="641" y="183"/>
                </a:lnTo>
                <a:lnTo>
                  <a:pt x="635" y="179"/>
                </a:lnTo>
                <a:lnTo>
                  <a:pt x="627" y="177"/>
                </a:lnTo>
                <a:lnTo>
                  <a:pt x="622" y="174"/>
                </a:lnTo>
                <a:lnTo>
                  <a:pt x="614" y="172"/>
                </a:lnTo>
                <a:lnTo>
                  <a:pt x="614" y="172"/>
                </a:lnTo>
                <a:lnTo>
                  <a:pt x="608" y="168"/>
                </a:lnTo>
                <a:lnTo>
                  <a:pt x="603" y="166"/>
                </a:lnTo>
                <a:lnTo>
                  <a:pt x="599" y="162"/>
                </a:lnTo>
                <a:lnTo>
                  <a:pt x="593" y="158"/>
                </a:lnTo>
                <a:lnTo>
                  <a:pt x="587" y="156"/>
                </a:lnTo>
                <a:lnTo>
                  <a:pt x="582" y="153"/>
                </a:lnTo>
                <a:lnTo>
                  <a:pt x="574" y="151"/>
                </a:lnTo>
                <a:lnTo>
                  <a:pt x="568" y="147"/>
                </a:lnTo>
                <a:lnTo>
                  <a:pt x="568" y="147"/>
                </a:lnTo>
                <a:lnTo>
                  <a:pt x="563" y="147"/>
                </a:lnTo>
                <a:lnTo>
                  <a:pt x="557" y="145"/>
                </a:lnTo>
                <a:lnTo>
                  <a:pt x="553" y="145"/>
                </a:lnTo>
                <a:lnTo>
                  <a:pt x="545" y="145"/>
                </a:lnTo>
                <a:lnTo>
                  <a:pt x="540" y="143"/>
                </a:lnTo>
                <a:lnTo>
                  <a:pt x="534" y="143"/>
                </a:lnTo>
                <a:lnTo>
                  <a:pt x="528" y="143"/>
                </a:lnTo>
                <a:lnTo>
                  <a:pt x="523" y="143"/>
                </a:lnTo>
                <a:lnTo>
                  <a:pt x="515" y="143"/>
                </a:lnTo>
                <a:lnTo>
                  <a:pt x="509" y="143"/>
                </a:lnTo>
                <a:lnTo>
                  <a:pt x="503" y="143"/>
                </a:lnTo>
                <a:lnTo>
                  <a:pt x="498" y="141"/>
                </a:lnTo>
                <a:lnTo>
                  <a:pt x="492" y="141"/>
                </a:lnTo>
                <a:lnTo>
                  <a:pt x="488" y="139"/>
                </a:lnTo>
                <a:lnTo>
                  <a:pt x="482" y="137"/>
                </a:lnTo>
                <a:lnTo>
                  <a:pt x="479" y="135"/>
                </a:lnTo>
                <a:lnTo>
                  <a:pt x="479" y="135"/>
                </a:lnTo>
                <a:lnTo>
                  <a:pt x="471" y="130"/>
                </a:lnTo>
                <a:lnTo>
                  <a:pt x="465" y="124"/>
                </a:lnTo>
                <a:lnTo>
                  <a:pt x="460" y="120"/>
                </a:lnTo>
                <a:lnTo>
                  <a:pt x="456" y="115"/>
                </a:lnTo>
                <a:lnTo>
                  <a:pt x="454" y="109"/>
                </a:lnTo>
                <a:lnTo>
                  <a:pt x="450" y="103"/>
                </a:lnTo>
                <a:lnTo>
                  <a:pt x="450" y="97"/>
                </a:lnTo>
                <a:lnTo>
                  <a:pt x="448" y="94"/>
                </a:lnTo>
                <a:lnTo>
                  <a:pt x="448" y="88"/>
                </a:lnTo>
                <a:lnTo>
                  <a:pt x="446" y="82"/>
                </a:lnTo>
                <a:lnTo>
                  <a:pt x="446" y="76"/>
                </a:lnTo>
                <a:lnTo>
                  <a:pt x="444" y="71"/>
                </a:lnTo>
                <a:lnTo>
                  <a:pt x="442" y="67"/>
                </a:lnTo>
                <a:lnTo>
                  <a:pt x="441" y="61"/>
                </a:lnTo>
                <a:lnTo>
                  <a:pt x="437" y="55"/>
                </a:lnTo>
                <a:lnTo>
                  <a:pt x="431" y="50"/>
                </a:lnTo>
                <a:lnTo>
                  <a:pt x="431" y="50"/>
                </a:lnTo>
                <a:lnTo>
                  <a:pt x="429" y="48"/>
                </a:lnTo>
                <a:lnTo>
                  <a:pt x="423" y="46"/>
                </a:lnTo>
                <a:lnTo>
                  <a:pt x="418" y="42"/>
                </a:lnTo>
                <a:lnTo>
                  <a:pt x="410" y="38"/>
                </a:lnTo>
                <a:lnTo>
                  <a:pt x="402" y="36"/>
                </a:lnTo>
                <a:lnTo>
                  <a:pt x="393" y="32"/>
                </a:lnTo>
                <a:lnTo>
                  <a:pt x="383" y="29"/>
                </a:lnTo>
                <a:lnTo>
                  <a:pt x="374" y="27"/>
                </a:lnTo>
                <a:lnTo>
                  <a:pt x="364" y="23"/>
                </a:lnTo>
                <a:lnTo>
                  <a:pt x="355" y="21"/>
                </a:lnTo>
                <a:lnTo>
                  <a:pt x="345" y="17"/>
                </a:lnTo>
                <a:lnTo>
                  <a:pt x="336" y="15"/>
                </a:lnTo>
                <a:lnTo>
                  <a:pt x="328" y="13"/>
                </a:lnTo>
                <a:lnTo>
                  <a:pt x="320" y="13"/>
                </a:lnTo>
                <a:lnTo>
                  <a:pt x="315" y="11"/>
                </a:lnTo>
                <a:lnTo>
                  <a:pt x="311" y="11"/>
                </a:lnTo>
                <a:lnTo>
                  <a:pt x="311" y="11"/>
                </a:lnTo>
                <a:lnTo>
                  <a:pt x="303" y="11"/>
                </a:lnTo>
                <a:lnTo>
                  <a:pt x="297" y="15"/>
                </a:lnTo>
                <a:lnTo>
                  <a:pt x="292" y="17"/>
                </a:lnTo>
                <a:lnTo>
                  <a:pt x="288" y="21"/>
                </a:lnTo>
                <a:lnTo>
                  <a:pt x="282" y="23"/>
                </a:lnTo>
                <a:lnTo>
                  <a:pt x="276" y="27"/>
                </a:lnTo>
                <a:lnTo>
                  <a:pt x="271" y="29"/>
                </a:lnTo>
                <a:lnTo>
                  <a:pt x="263" y="29"/>
                </a:lnTo>
                <a:lnTo>
                  <a:pt x="263" y="29"/>
                </a:lnTo>
                <a:lnTo>
                  <a:pt x="255" y="29"/>
                </a:lnTo>
                <a:lnTo>
                  <a:pt x="250" y="29"/>
                </a:lnTo>
                <a:lnTo>
                  <a:pt x="244" y="27"/>
                </a:lnTo>
                <a:lnTo>
                  <a:pt x="238" y="27"/>
                </a:lnTo>
                <a:lnTo>
                  <a:pt x="233" y="25"/>
                </a:lnTo>
                <a:lnTo>
                  <a:pt x="227" y="23"/>
                </a:lnTo>
                <a:lnTo>
                  <a:pt x="223" y="21"/>
                </a:lnTo>
                <a:lnTo>
                  <a:pt x="217" y="19"/>
                </a:lnTo>
                <a:lnTo>
                  <a:pt x="214" y="15"/>
                </a:lnTo>
                <a:lnTo>
                  <a:pt x="208" y="13"/>
                </a:lnTo>
                <a:lnTo>
                  <a:pt x="204" y="11"/>
                </a:lnTo>
                <a:lnTo>
                  <a:pt x="198" y="10"/>
                </a:lnTo>
                <a:lnTo>
                  <a:pt x="194" y="6"/>
                </a:lnTo>
                <a:lnTo>
                  <a:pt x="189" y="4"/>
                </a:lnTo>
                <a:lnTo>
                  <a:pt x="183" y="2"/>
                </a:lnTo>
                <a:lnTo>
                  <a:pt x="177" y="0"/>
                </a:lnTo>
                <a:lnTo>
                  <a:pt x="177" y="0"/>
                </a:lnTo>
                <a:lnTo>
                  <a:pt x="177" y="8"/>
                </a:lnTo>
                <a:lnTo>
                  <a:pt x="177" y="13"/>
                </a:lnTo>
                <a:lnTo>
                  <a:pt x="175" y="17"/>
                </a:lnTo>
                <a:lnTo>
                  <a:pt x="173" y="21"/>
                </a:lnTo>
                <a:lnTo>
                  <a:pt x="172" y="25"/>
                </a:lnTo>
                <a:lnTo>
                  <a:pt x="173" y="29"/>
                </a:lnTo>
                <a:lnTo>
                  <a:pt x="173" y="34"/>
                </a:lnTo>
                <a:lnTo>
                  <a:pt x="177" y="40"/>
                </a:lnTo>
                <a:lnTo>
                  <a:pt x="177" y="40"/>
                </a:lnTo>
                <a:lnTo>
                  <a:pt x="173" y="44"/>
                </a:lnTo>
                <a:lnTo>
                  <a:pt x="166" y="48"/>
                </a:lnTo>
                <a:lnTo>
                  <a:pt x="160" y="52"/>
                </a:lnTo>
                <a:lnTo>
                  <a:pt x="152" y="55"/>
                </a:lnTo>
                <a:lnTo>
                  <a:pt x="143" y="61"/>
                </a:lnTo>
                <a:lnTo>
                  <a:pt x="135" y="67"/>
                </a:lnTo>
                <a:lnTo>
                  <a:pt x="128" y="73"/>
                </a:lnTo>
                <a:lnTo>
                  <a:pt x="118" y="78"/>
                </a:lnTo>
                <a:lnTo>
                  <a:pt x="111" y="84"/>
                </a:lnTo>
                <a:lnTo>
                  <a:pt x="103" y="90"/>
                </a:lnTo>
                <a:lnTo>
                  <a:pt x="95" y="95"/>
                </a:lnTo>
                <a:lnTo>
                  <a:pt x="90" y="103"/>
                </a:lnTo>
                <a:lnTo>
                  <a:pt x="84" y="109"/>
                </a:lnTo>
                <a:lnTo>
                  <a:pt x="80" y="113"/>
                </a:lnTo>
                <a:lnTo>
                  <a:pt x="78" y="118"/>
                </a:lnTo>
                <a:lnTo>
                  <a:pt x="78" y="124"/>
                </a:lnTo>
                <a:lnTo>
                  <a:pt x="78" y="124"/>
                </a:lnTo>
                <a:lnTo>
                  <a:pt x="78" y="130"/>
                </a:lnTo>
                <a:lnTo>
                  <a:pt x="76" y="135"/>
                </a:lnTo>
                <a:lnTo>
                  <a:pt x="76" y="139"/>
                </a:lnTo>
                <a:lnTo>
                  <a:pt x="76" y="143"/>
                </a:lnTo>
                <a:lnTo>
                  <a:pt x="76" y="145"/>
                </a:lnTo>
                <a:lnTo>
                  <a:pt x="76" y="149"/>
                </a:lnTo>
                <a:lnTo>
                  <a:pt x="76" y="151"/>
                </a:lnTo>
                <a:lnTo>
                  <a:pt x="78" y="153"/>
                </a:lnTo>
                <a:lnTo>
                  <a:pt x="78" y="153"/>
                </a:lnTo>
                <a:lnTo>
                  <a:pt x="80" y="158"/>
                </a:lnTo>
                <a:lnTo>
                  <a:pt x="80" y="166"/>
                </a:lnTo>
                <a:lnTo>
                  <a:pt x="80" y="172"/>
                </a:lnTo>
                <a:lnTo>
                  <a:pt x="78" y="177"/>
                </a:lnTo>
                <a:lnTo>
                  <a:pt x="74" y="181"/>
                </a:lnTo>
                <a:lnTo>
                  <a:pt x="70" y="187"/>
                </a:lnTo>
                <a:lnTo>
                  <a:pt x="67" y="193"/>
                </a:lnTo>
                <a:lnTo>
                  <a:pt x="63" y="197"/>
                </a:lnTo>
                <a:lnTo>
                  <a:pt x="57" y="200"/>
                </a:lnTo>
                <a:lnTo>
                  <a:pt x="51" y="204"/>
                </a:lnTo>
                <a:lnTo>
                  <a:pt x="44" y="208"/>
                </a:lnTo>
                <a:lnTo>
                  <a:pt x="38" y="212"/>
                </a:lnTo>
                <a:lnTo>
                  <a:pt x="32" y="216"/>
                </a:lnTo>
                <a:lnTo>
                  <a:pt x="25" y="218"/>
                </a:lnTo>
                <a:lnTo>
                  <a:pt x="19" y="219"/>
                </a:lnTo>
                <a:lnTo>
                  <a:pt x="13" y="221"/>
                </a:lnTo>
                <a:lnTo>
                  <a:pt x="13" y="221"/>
                </a:lnTo>
                <a:lnTo>
                  <a:pt x="17" y="227"/>
                </a:lnTo>
                <a:lnTo>
                  <a:pt x="19" y="233"/>
                </a:lnTo>
                <a:lnTo>
                  <a:pt x="21" y="239"/>
                </a:lnTo>
                <a:lnTo>
                  <a:pt x="25" y="244"/>
                </a:lnTo>
                <a:lnTo>
                  <a:pt x="27" y="250"/>
                </a:lnTo>
                <a:lnTo>
                  <a:pt x="30" y="256"/>
                </a:lnTo>
                <a:lnTo>
                  <a:pt x="32" y="261"/>
                </a:lnTo>
                <a:lnTo>
                  <a:pt x="34" y="269"/>
                </a:lnTo>
                <a:lnTo>
                  <a:pt x="36" y="275"/>
                </a:lnTo>
                <a:lnTo>
                  <a:pt x="38" y="280"/>
                </a:lnTo>
                <a:lnTo>
                  <a:pt x="40" y="288"/>
                </a:lnTo>
                <a:lnTo>
                  <a:pt x="42" y="294"/>
                </a:lnTo>
                <a:lnTo>
                  <a:pt x="44" y="301"/>
                </a:lnTo>
                <a:lnTo>
                  <a:pt x="44" y="307"/>
                </a:lnTo>
                <a:lnTo>
                  <a:pt x="44" y="315"/>
                </a:lnTo>
                <a:lnTo>
                  <a:pt x="44" y="322"/>
                </a:lnTo>
                <a:lnTo>
                  <a:pt x="44" y="322"/>
                </a:lnTo>
                <a:lnTo>
                  <a:pt x="44" y="330"/>
                </a:lnTo>
                <a:lnTo>
                  <a:pt x="44" y="338"/>
                </a:lnTo>
                <a:lnTo>
                  <a:pt x="44" y="343"/>
                </a:lnTo>
                <a:lnTo>
                  <a:pt x="44" y="349"/>
                </a:lnTo>
                <a:lnTo>
                  <a:pt x="44" y="355"/>
                </a:lnTo>
                <a:lnTo>
                  <a:pt x="44" y="359"/>
                </a:lnTo>
                <a:lnTo>
                  <a:pt x="44" y="364"/>
                </a:lnTo>
                <a:lnTo>
                  <a:pt x="44" y="368"/>
                </a:lnTo>
                <a:lnTo>
                  <a:pt x="44" y="372"/>
                </a:lnTo>
                <a:lnTo>
                  <a:pt x="44" y="376"/>
                </a:lnTo>
                <a:lnTo>
                  <a:pt x="44" y="380"/>
                </a:lnTo>
                <a:lnTo>
                  <a:pt x="44" y="385"/>
                </a:lnTo>
                <a:lnTo>
                  <a:pt x="44" y="389"/>
                </a:lnTo>
                <a:lnTo>
                  <a:pt x="44" y="395"/>
                </a:lnTo>
                <a:lnTo>
                  <a:pt x="44" y="401"/>
                </a:lnTo>
                <a:lnTo>
                  <a:pt x="44" y="408"/>
                </a:lnTo>
                <a:lnTo>
                  <a:pt x="44" y="408"/>
                </a:lnTo>
                <a:lnTo>
                  <a:pt x="44" y="410"/>
                </a:lnTo>
                <a:lnTo>
                  <a:pt x="44" y="414"/>
                </a:lnTo>
                <a:lnTo>
                  <a:pt x="40" y="420"/>
                </a:lnTo>
                <a:lnTo>
                  <a:pt x="38" y="424"/>
                </a:lnTo>
                <a:lnTo>
                  <a:pt x="36" y="429"/>
                </a:lnTo>
                <a:lnTo>
                  <a:pt x="34" y="433"/>
                </a:lnTo>
                <a:lnTo>
                  <a:pt x="34" y="439"/>
                </a:lnTo>
                <a:lnTo>
                  <a:pt x="32" y="443"/>
                </a:lnTo>
                <a:lnTo>
                  <a:pt x="32" y="443"/>
                </a:lnTo>
                <a:lnTo>
                  <a:pt x="34" y="448"/>
                </a:lnTo>
                <a:lnTo>
                  <a:pt x="34" y="454"/>
                </a:lnTo>
                <a:lnTo>
                  <a:pt x="36" y="460"/>
                </a:lnTo>
                <a:lnTo>
                  <a:pt x="38" y="464"/>
                </a:lnTo>
                <a:lnTo>
                  <a:pt x="40" y="467"/>
                </a:lnTo>
                <a:lnTo>
                  <a:pt x="42" y="473"/>
                </a:lnTo>
                <a:lnTo>
                  <a:pt x="44" y="479"/>
                </a:lnTo>
                <a:lnTo>
                  <a:pt x="44" y="485"/>
                </a:lnTo>
                <a:lnTo>
                  <a:pt x="44" y="485"/>
                </a:lnTo>
                <a:lnTo>
                  <a:pt x="40" y="490"/>
                </a:lnTo>
                <a:lnTo>
                  <a:pt x="34" y="496"/>
                </a:lnTo>
                <a:lnTo>
                  <a:pt x="27" y="500"/>
                </a:lnTo>
                <a:lnTo>
                  <a:pt x="19" y="504"/>
                </a:lnTo>
                <a:lnTo>
                  <a:pt x="11" y="508"/>
                </a:lnTo>
                <a:lnTo>
                  <a:pt x="6" y="511"/>
                </a:lnTo>
                <a:lnTo>
                  <a:pt x="2" y="517"/>
                </a:lnTo>
                <a:lnTo>
                  <a:pt x="0" y="523"/>
                </a:lnTo>
                <a:lnTo>
                  <a:pt x="0" y="523"/>
                </a:lnTo>
                <a:lnTo>
                  <a:pt x="2" y="528"/>
                </a:lnTo>
                <a:lnTo>
                  <a:pt x="2" y="532"/>
                </a:lnTo>
                <a:lnTo>
                  <a:pt x="4" y="538"/>
                </a:lnTo>
                <a:lnTo>
                  <a:pt x="8" y="546"/>
                </a:lnTo>
                <a:lnTo>
                  <a:pt x="11" y="551"/>
                </a:lnTo>
                <a:lnTo>
                  <a:pt x="15" y="559"/>
                </a:lnTo>
                <a:lnTo>
                  <a:pt x="19" y="567"/>
                </a:lnTo>
                <a:lnTo>
                  <a:pt x="23" y="574"/>
                </a:lnTo>
                <a:lnTo>
                  <a:pt x="27" y="582"/>
                </a:lnTo>
                <a:lnTo>
                  <a:pt x="32" y="590"/>
                </a:lnTo>
                <a:lnTo>
                  <a:pt x="36" y="597"/>
                </a:lnTo>
                <a:lnTo>
                  <a:pt x="40" y="603"/>
                </a:lnTo>
                <a:lnTo>
                  <a:pt x="44" y="611"/>
                </a:lnTo>
                <a:lnTo>
                  <a:pt x="48" y="616"/>
                </a:lnTo>
                <a:lnTo>
                  <a:pt x="51" y="622"/>
                </a:lnTo>
                <a:lnTo>
                  <a:pt x="53" y="626"/>
                </a:lnTo>
                <a:lnTo>
                  <a:pt x="53" y="626"/>
                </a:lnTo>
                <a:lnTo>
                  <a:pt x="55" y="630"/>
                </a:lnTo>
                <a:lnTo>
                  <a:pt x="57" y="633"/>
                </a:lnTo>
                <a:lnTo>
                  <a:pt x="57" y="637"/>
                </a:lnTo>
                <a:lnTo>
                  <a:pt x="59" y="641"/>
                </a:lnTo>
                <a:lnTo>
                  <a:pt x="59" y="645"/>
                </a:lnTo>
                <a:lnTo>
                  <a:pt x="61" y="649"/>
                </a:lnTo>
                <a:lnTo>
                  <a:pt x="63" y="652"/>
                </a:lnTo>
                <a:lnTo>
                  <a:pt x="67" y="656"/>
                </a:lnTo>
                <a:lnTo>
                  <a:pt x="67" y="656"/>
                </a:lnTo>
                <a:lnTo>
                  <a:pt x="69" y="656"/>
                </a:lnTo>
                <a:lnTo>
                  <a:pt x="70" y="656"/>
                </a:lnTo>
                <a:lnTo>
                  <a:pt x="74" y="656"/>
                </a:lnTo>
                <a:lnTo>
                  <a:pt x="76" y="656"/>
                </a:lnTo>
                <a:lnTo>
                  <a:pt x="78" y="654"/>
                </a:lnTo>
                <a:lnTo>
                  <a:pt x="82" y="654"/>
                </a:lnTo>
                <a:lnTo>
                  <a:pt x="84" y="652"/>
                </a:lnTo>
                <a:lnTo>
                  <a:pt x="86" y="652"/>
                </a:lnTo>
                <a:lnTo>
                  <a:pt x="86" y="652"/>
                </a:lnTo>
                <a:lnTo>
                  <a:pt x="95" y="654"/>
                </a:lnTo>
                <a:lnTo>
                  <a:pt x="103" y="656"/>
                </a:lnTo>
                <a:lnTo>
                  <a:pt x="111" y="660"/>
                </a:lnTo>
                <a:lnTo>
                  <a:pt x="118" y="664"/>
                </a:lnTo>
                <a:lnTo>
                  <a:pt x="124" y="668"/>
                </a:lnTo>
                <a:lnTo>
                  <a:pt x="131" y="672"/>
                </a:lnTo>
                <a:lnTo>
                  <a:pt x="139" y="675"/>
                </a:lnTo>
                <a:lnTo>
                  <a:pt x="149" y="677"/>
                </a:lnTo>
                <a:lnTo>
                  <a:pt x="149" y="677"/>
                </a:lnTo>
                <a:lnTo>
                  <a:pt x="149" y="683"/>
                </a:lnTo>
                <a:lnTo>
                  <a:pt x="151" y="687"/>
                </a:lnTo>
                <a:lnTo>
                  <a:pt x="152" y="693"/>
                </a:lnTo>
                <a:lnTo>
                  <a:pt x="154" y="696"/>
                </a:lnTo>
                <a:lnTo>
                  <a:pt x="156" y="702"/>
                </a:lnTo>
                <a:lnTo>
                  <a:pt x="160" y="706"/>
                </a:lnTo>
                <a:lnTo>
                  <a:pt x="162" y="710"/>
                </a:lnTo>
                <a:lnTo>
                  <a:pt x="166" y="712"/>
                </a:lnTo>
                <a:lnTo>
                  <a:pt x="170" y="715"/>
                </a:lnTo>
                <a:lnTo>
                  <a:pt x="172" y="719"/>
                </a:lnTo>
                <a:lnTo>
                  <a:pt x="175" y="723"/>
                </a:lnTo>
                <a:lnTo>
                  <a:pt x="179" y="729"/>
                </a:lnTo>
                <a:lnTo>
                  <a:pt x="181" y="733"/>
                </a:lnTo>
                <a:lnTo>
                  <a:pt x="183" y="736"/>
                </a:lnTo>
                <a:lnTo>
                  <a:pt x="185" y="742"/>
                </a:lnTo>
                <a:lnTo>
                  <a:pt x="187" y="748"/>
                </a:lnTo>
                <a:lnTo>
                  <a:pt x="187" y="748"/>
                </a:lnTo>
                <a:lnTo>
                  <a:pt x="194" y="748"/>
                </a:lnTo>
                <a:lnTo>
                  <a:pt x="204" y="748"/>
                </a:lnTo>
                <a:lnTo>
                  <a:pt x="212" y="750"/>
                </a:lnTo>
                <a:lnTo>
                  <a:pt x="219" y="750"/>
                </a:lnTo>
                <a:lnTo>
                  <a:pt x="227" y="752"/>
                </a:lnTo>
                <a:lnTo>
                  <a:pt x="233" y="754"/>
                </a:lnTo>
                <a:lnTo>
                  <a:pt x="240" y="756"/>
                </a:lnTo>
                <a:lnTo>
                  <a:pt x="246" y="757"/>
                </a:lnTo>
                <a:lnTo>
                  <a:pt x="252" y="759"/>
                </a:lnTo>
                <a:lnTo>
                  <a:pt x="257" y="761"/>
                </a:lnTo>
                <a:lnTo>
                  <a:pt x="263" y="763"/>
                </a:lnTo>
                <a:lnTo>
                  <a:pt x="271" y="767"/>
                </a:lnTo>
                <a:lnTo>
                  <a:pt x="276" y="769"/>
                </a:lnTo>
                <a:lnTo>
                  <a:pt x="282" y="773"/>
                </a:lnTo>
                <a:lnTo>
                  <a:pt x="290" y="775"/>
                </a:lnTo>
                <a:lnTo>
                  <a:pt x="296" y="776"/>
                </a:lnTo>
                <a:lnTo>
                  <a:pt x="296" y="776"/>
                </a:lnTo>
                <a:lnTo>
                  <a:pt x="303" y="780"/>
                </a:lnTo>
                <a:lnTo>
                  <a:pt x="309" y="786"/>
                </a:lnTo>
                <a:lnTo>
                  <a:pt x="315" y="792"/>
                </a:lnTo>
                <a:lnTo>
                  <a:pt x="320" y="797"/>
                </a:lnTo>
                <a:lnTo>
                  <a:pt x="324" y="803"/>
                </a:lnTo>
                <a:lnTo>
                  <a:pt x="332" y="809"/>
                </a:lnTo>
                <a:lnTo>
                  <a:pt x="338" y="811"/>
                </a:lnTo>
                <a:lnTo>
                  <a:pt x="345" y="813"/>
                </a:lnTo>
                <a:lnTo>
                  <a:pt x="345" y="813"/>
                </a:lnTo>
                <a:lnTo>
                  <a:pt x="355" y="813"/>
                </a:lnTo>
                <a:lnTo>
                  <a:pt x="362" y="809"/>
                </a:lnTo>
                <a:lnTo>
                  <a:pt x="372" y="807"/>
                </a:lnTo>
                <a:lnTo>
                  <a:pt x="381" y="803"/>
                </a:lnTo>
                <a:lnTo>
                  <a:pt x="391" y="799"/>
                </a:lnTo>
                <a:lnTo>
                  <a:pt x="399" y="794"/>
                </a:lnTo>
                <a:lnTo>
                  <a:pt x="406" y="790"/>
                </a:lnTo>
                <a:lnTo>
                  <a:pt x="410" y="786"/>
                </a:lnTo>
                <a:lnTo>
                  <a:pt x="484" y="744"/>
                </a:lnTo>
                <a:lnTo>
                  <a:pt x="1091" y="1051"/>
                </a:lnTo>
                <a:lnTo>
                  <a:pt x="1091" y="1051"/>
                </a:lnTo>
                <a:lnTo>
                  <a:pt x="1089" y="1015"/>
                </a:lnTo>
                <a:lnTo>
                  <a:pt x="1163" y="1015"/>
                </a:lnTo>
                <a:lnTo>
                  <a:pt x="1154" y="857"/>
                </a:lnTo>
                <a:lnTo>
                  <a:pt x="1125" y="280"/>
                </a:lnTo>
                <a:lnTo>
                  <a:pt x="1125" y="280"/>
                </a:lnTo>
                <a:lnTo>
                  <a:pt x="1123" y="275"/>
                </a:lnTo>
                <a:lnTo>
                  <a:pt x="1122" y="269"/>
                </a:lnTo>
                <a:lnTo>
                  <a:pt x="1120" y="263"/>
                </a:lnTo>
                <a:lnTo>
                  <a:pt x="1116" y="256"/>
                </a:lnTo>
                <a:lnTo>
                  <a:pt x="1112" y="248"/>
                </a:lnTo>
                <a:lnTo>
                  <a:pt x="1110" y="239"/>
                </a:lnTo>
                <a:lnTo>
                  <a:pt x="1108" y="231"/>
                </a:lnTo>
                <a:lnTo>
                  <a:pt x="1106" y="221"/>
                </a:lnTo>
                <a:lnTo>
                  <a:pt x="1106" y="221"/>
                </a:lnTo>
                <a:lnTo>
                  <a:pt x="1108" y="216"/>
                </a:lnTo>
                <a:lnTo>
                  <a:pt x="1110" y="210"/>
                </a:lnTo>
                <a:lnTo>
                  <a:pt x="1112" y="204"/>
                </a:lnTo>
                <a:lnTo>
                  <a:pt x="1116" y="200"/>
                </a:lnTo>
                <a:lnTo>
                  <a:pt x="1120" y="197"/>
                </a:lnTo>
                <a:lnTo>
                  <a:pt x="1122" y="191"/>
                </a:lnTo>
                <a:lnTo>
                  <a:pt x="1123" y="185"/>
                </a:lnTo>
                <a:lnTo>
                  <a:pt x="1125" y="177"/>
                </a:lnTo>
                <a:lnTo>
                  <a:pt x="1125" y="177"/>
                </a:lnTo>
                <a:lnTo>
                  <a:pt x="1123" y="172"/>
                </a:lnTo>
                <a:lnTo>
                  <a:pt x="1122" y="166"/>
                </a:lnTo>
                <a:lnTo>
                  <a:pt x="1120" y="160"/>
                </a:lnTo>
                <a:lnTo>
                  <a:pt x="1116" y="156"/>
                </a:lnTo>
                <a:lnTo>
                  <a:pt x="1112" y="153"/>
                </a:lnTo>
                <a:lnTo>
                  <a:pt x="1110" y="147"/>
                </a:lnTo>
                <a:lnTo>
                  <a:pt x="1108" y="141"/>
                </a:lnTo>
                <a:lnTo>
                  <a:pt x="1106" y="135"/>
                </a:lnTo>
                <a:lnTo>
                  <a:pt x="1106" y="135"/>
                </a:lnTo>
                <a:lnTo>
                  <a:pt x="1108" y="130"/>
                </a:lnTo>
                <a:lnTo>
                  <a:pt x="1108" y="124"/>
                </a:lnTo>
                <a:lnTo>
                  <a:pt x="1110" y="120"/>
                </a:lnTo>
                <a:lnTo>
                  <a:pt x="1112" y="116"/>
                </a:lnTo>
                <a:lnTo>
                  <a:pt x="1116" y="115"/>
                </a:lnTo>
                <a:lnTo>
                  <a:pt x="1120" y="113"/>
                </a:lnTo>
                <a:lnTo>
                  <a:pt x="1125" y="111"/>
                </a:lnTo>
                <a:lnTo>
                  <a:pt x="1131" y="111"/>
                </a:lnTo>
                <a:lnTo>
                  <a:pt x="1125" y="109"/>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80" name="Freeform 52"/>
          <p:cNvSpPr>
            <a:spLocks/>
          </p:cNvSpPr>
          <p:nvPr>
            <p:custDataLst>
              <p:tags r:id="rId52"/>
            </p:custDataLst>
          </p:nvPr>
        </p:nvSpPr>
        <p:spPr bwMode="gray">
          <a:xfrm>
            <a:off x="3471327" y="4081757"/>
            <a:ext cx="48595" cy="79368"/>
          </a:xfrm>
          <a:custGeom>
            <a:avLst/>
            <a:gdLst/>
            <a:ahLst/>
            <a:cxnLst>
              <a:cxn ang="0">
                <a:pos x="0" y="88"/>
              </a:cxn>
              <a:cxn ang="0">
                <a:pos x="8" y="86"/>
              </a:cxn>
              <a:cxn ang="0">
                <a:pos x="12" y="81"/>
              </a:cxn>
              <a:cxn ang="0">
                <a:pos x="15" y="75"/>
              </a:cxn>
              <a:cxn ang="0">
                <a:pos x="15" y="65"/>
              </a:cxn>
              <a:cxn ang="0">
                <a:pos x="15" y="56"/>
              </a:cxn>
              <a:cxn ang="0">
                <a:pos x="15" y="46"/>
              </a:cxn>
              <a:cxn ang="0">
                <a:pos x="15" y="37"/>
              </a:cxn>
              <a:cxn ang="0">
                <a:pos x="17" y="29"/>
              </a:cxn>
              <a:cxn ang="0">
                <a:pos x="21" y="23"/>
              </a:cxn>
              <a:cxn ang="0">
                <a:pos x="25" y="20"/>
              </a:cxn>
              <a:cxn ang="0">
                <a:pos x="29" y="16"/>
              </a:cxn>
              <a:cxn ang="0">
                <a:pos x="34" y="14"/>
              </a:cxn>
              <a:cxn ang="0">
                <a:pos x="38" y="10"/>
              </a:cxn>
              <a:cxn ang="0">
                <a:pos x="44" y="8"/>
              </a:cxn>
              <a:cxn ang="0">
                <a:pos x="48" y="4"/>
              </a:cxn>
              <a:cxn ang="0">
                <a:pos x="52" y="0"/>
              </a:cxn>
              <a:cxn ang="0">
                <a:pos x="0" y="88"/>
              </a:cxn>
            </a:cxnLst>
            <a:rect l="0" t="0" r="r" b="b"/>
            <a:pathLst>
              <a:path w="52" h="88">
                <a:moveTo>
                  <a:pt x="0" y="88"/>
                </a:moveTo>
                <a:lnTo>
                  <a:pt x="8" y="86"/>
                </a:lnTo>
                <a:lnTo>
                  <a:pt x="12" y="81"/>
                </a:lnTo>
                <a:lnTo>
                  <a:pt x="15" y="75"/>
                </a:lnTo>
                <a:lnTo>
                  <a:pt x="15" y="65"/>
                </a:lnTo>
                <a:lnTo>
                  <a:pt x="15" y="56"/>
                </a:lnTo>
                <a:lnTo>
                  <a:pt x="15" y="46"/>
                </a:lnTo>
                <a:lnTo>
                  <a:pt x="15" y="37"/>
                </a:lnTo>
                <a:lnTo>
                  <a:pt x="17" y="29"/>
                </a:lnTo>
                <a:lnTo>
                  <a:pt x="21" y="23"/>
                </a:lnTo>
                <a:lnTo>
                  <a:pt x="25" y="20"/>
                </a:lnTo>
                <a:lnTo>
                  <a:pt x="29" y="16"/>
                </a:lnTo>
                <a:lnTo>
                  <a:pt x="34" y="14"/>
                </a:lnTo>
                <a:lnTo>
                  <a:pt x="38" y="10"/>
                </a:lnTo>
                <a:lnTo>
                  <a:pt x="44" y="8"/>
                </a:lnTo>
                <a:lnTo>
                  <a:pt x="48" y="4"/>
                </a:lnTo>
                <a:lnTo>
                  <a:pt x="52" y="0"/>
                </a:lnTo>
                <a:lnTo>
                  <a:pt x="0" y="88"/>
                </a:lnTo>
                <a:close/>
              </a:path>
            </a:pathLst>
          </a:custGeom>
          <a:solidFill>
            <a:srgbClr val="F8F8F8"/>
          </a:solidFill>
          <a:ln w="9525" cmpd="sng">
            <a:noFill/>
            <a:round/>
            <a:headEnd/>
            <a:tailEnd/>
          </a:ln>
        </p:spPr>
        <p:txBody>
          <a:bodyPr lIns="93222" tIns="46612" rIns="93222" bIns="46612"/>
          <a:lstStyle/>
          <a:p>
            <a:endParaRPr lang="en-US" dirty="0">
              <a:solidFill>
                <a:srgbClr val="000000"/>
              </a:solidFill>
              <a:latin typeface="Arial" charset="0"/>
            </a:endParaRPr>
          </a:p>
        </p:txBody>
      </p:sp>
      <p:sp>
        <p:nvSpPr>
          <p:cNvPr id="636981" name="Freeform 53"/>
          <p:cNvSpPr>
            <a:spLocks/>
          </p:cNvSpPr>
          <p:nvPr>
            <p:custDataLst>
              <p:tags r:id="rId53"/>
            </p:custDataLst>
          </p:nvPr>
        </p:nvSpPr>
        <p:spPr bwMode="gray">
          <a:xfrm>
            <a:off x="3471327" y="4081757"/>
            <a:ext cx="48595" cy="79368"/>
          </a:xfrm>
          <a:custGeom>
            <a:avLst/>
            <a:gdLst/>
            <a:ahLst/>
            <a:cxnLst>
              <a:cxn ang="0">
                <a:pos x="0" y="88"/>
              </a:cxn>
              <a:cxn ang="0">
                <a:pos x="0" y="88"/>
              </a:cxn>
              <a:cxn ang="0">
                <a:pos x="8" y="86"/>
              </a:cxn>
              <a:cxn ang="0">
                <a:pos x="12" y="81"/>
              </a:cxn>
              <a:cxn ang="0">
                <a:pos x="15" y="75"/>
              </a:cxn>
              <a:cxn ang="0">
                <a:pos x="15" y="65"/>
              </a:cxn>
              <a:cxn ang="0">
                <a:pos x="15" y="56"/>
              </a:cxn>
              <a:cxn ang="0">
                <a:pos x="15" y="46"/>
              </a:cxn>
              <a:cxn ang="0">
                <a:pos x="15" y="37"/>
              </a:cxn>
              <a:cxn ang="0">
                <a:pos x="17" y="29"/>
              </a:cxn>
              <a:cxn ang="0">
                <a:pos x="17" y="29"/>
              </a:cxn>
              <a:cxn ang="0">
                <a:pos x="21" y="23"/>
              </a:cxn>
              <a:cxn ang="0">
                <a:pos x="25" y="20"/>
              </a:cxn>
              <a:cxn ang="0">
                <a:pos x="29" y="16"/>
              </a:cxn>
              <a:cxn ang="0">
                <a:pos x="34" y="14"/>
              </a:cxn>
              <a:cxn ang="0">
                <a:pos x="38" y="10"/>
              </a:cxn>
              <a:cxn ang="0">
                <a:pos x="44" y="8"/>
              </a:cxn>
              <a:cxn ang="0">
                <a:pos x="48" y="4"/>
              </a:cxn>
              <a:cxn ang="0">
                <a:pos x="52" y="0"/>
              </a:cxn>
            </a:cxnLst>
            <a:rect l="0" t="0" r="r" b="b"/>
            <a:pathLst>
              <a:path w="52" h="88">
                <a:moveTo>
                  <a:pt x="0" y="88"/>
                </a:moveTo>
                <a:lnTo>
                  <a:pt x="0" y="88"/>
                </a:lnTo>
                <a:lnTo>
                  <a:pt x="8" y="86"/>
                </a:lnTo>
                <a:lnTo>
                  <a:pt x="12" y="81"/>
                </a:lnTo>
                <a:lnTo>
                  <a:pt x="15" y="75"/>
                </a:lnTo>
                <a:lnTo>
                  <a:pt x="15" y="65"/>
                </a:lnTo>
                <a:lnTo>
                  <a:pt x="15" y="56"/>
                </a:lnTo>
                <a:lnTo>
                  <a:pt x="15" y="46"/>
                </a:lnTo>
                <a:lnTo>
                  <a:pt x="15" y="37"/>
                </a:lnTo>
                <a:lnTo>
                  <a:pt x="17" y="29"/>
                </a:lnTo>
                <a:lnTo>
                  <a:pt x="17" y="29"/>
                </a:lnTo>
                <a:lnTo>
                  <a:pt x="21" y="23"/>
                </a:lnTo>
                <a:lnTo>
                  <a:pt x="25" y="20"/>
                </a:lnTo>
                <a:lnTo>
                  <a:pt x="29" y="16"/>
                </a:lnTo>
                <a:lnTo>
                  <a:pt x="34" y="14"/>
                </a:lnTo>
                <a:lnTo>
                  <a:pt x="38" y="10"/>
                </a:lnTo>
                <a:lnTo>
                  <a:pt x="44" y="8"/>
                </a:lnTo>
                <a:lnTo>
                  <a:pt x="48" y="4"/>
                </a:lnTo>
                <a:lnTo>
                  <a:pt x="52" y="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82" name="Freeform 54"/>
          <p:cNvSpPr>
            <a:spLocks/>
          </p:cNvSpPr>
          <p:nvPr>
            <p:custDataLst>
              <p:tags r:id="rId54"/>
            </p:custDataLst>
          </p:nvPr>
        </p:nvSpPr>
        <p:spPr bwMode="gray">
          <a:xfrm>
            <a:off x="3468088" y="1412418"/>
            <a:ext cx="1619" cy="9718"/>
          </a:xfrm>
          <a:custGeom>
            <a:avLst/>
            <a:gdLst/>
            <a:ahLst/>
            <a:cxnLst>
              <a:cxn ang="0">
                <a:pos x="0" y="0"/>
              </a:cxn>
              <a:cxn ang="0">
                <a:pos x="0" y="1"/>
              </a:cxn>
              <a:cxn ang="0">
                <a:pos x="0" y="3"/>
              </a:cxn>
              <a:cxn ang="0">
                <a:pos x="0" y="5"/>
              </a:cxn>
              <a:cxn ang="0">
                <a:pos x="0" y="9"/>
              </a:cxn>
              <a:cxn ang="0">
                <a:pos x="0" y="0"/>
              </a:cxn>
            </a:cxnLst>
            <a:rect l="0" t="0" r="r" b="b"/>
            <a:pathLst>
              <a:path h="9">
                <a:moveTo>
                  <a:pt x="0" y="0"/>
                </a:moveTo>
                <a:lnTo>
                  <a:pt x="0" y="1"/>
                </a:lnTo>
                <a:lnTo>
                  <a:pt x="0" y="3"/>
                </a:lnTo>
                <a:lnTo>
                  <a:pt x="0" y="5"/>
                </a:lnTo>
                <a:lnTo>
                  <a:pt x="0" y="9"/>
                </a:lnTo>
                <a:lnTo>
                  <a:pt x="0" y="0"/>
                </a:lnTo>
                <a:close/>
              </a:path>
            </a:pathLst>
          </a:custGeom>
          <a:solidFill>
            <a:srgbClr val="F8F8F8"/>
          </a:solidFill>
          <a:ln w="9525" cmpd="sng">
            <a:solidFill>
              <a:schemeClr val="tx1"/>
            </a:solidFill>
            <a:round/>
            <a:headEnd/>
            <a:tailEnd/>
          </a:ln>
        </p:spPr>
        <p:txBody>
          <a:bodyPr lIns="93222" tIns="46612" rIns="93222" bIns="46612"/>
          <a:lstStyle/>
          <a:p>
            <a:endParaRPr lang="en-US" dirty="0">
              <a:solidFill>
                <a:srgbClr val="000000"/>
              </a:solidFill>
              <a:latin typeface="Arial" charset="0"/>
            </a:endParaRPr>
          </a:p>
        </p:txBody>
      </p:sp>
      <p:sp>
        <p:nvSpPr>
          <p:cNvPr id="636983" name="Freeform 55"/>
          <p:cNvSpPr>
            <a:spLocks/>
          </p:cNvSpPr>
          <p:nvPr>
            <p:custDataLst>
              <p:tags r:id="rId55"/>
            </p:custDataLst>
          </p:nvPr>
        </p:nvSpPr>
        <p:spPr bwMode="gray">
          <a:xfrm>
            <a:off x="3468088" y="1412418"/>
            <a:ext cx="1619" cy="9718"/>
          </a:xfrm>
          <a:custGeom>
            <a:avLst/>
            <a:gdLst/>
            <a:ahLst/>
            <a:cxnLst>
              <a:cxn ang="0">
                <a:pos x="0" y="0"/>
              </a:cxn>
              <a:cxn ang="0">
                <a:pos x="0" y="0"/>
              </a:cxn>
              <a:cxn ang="0">
                <a:pos x="0" y="1"/>
              </a:cxn>
              <a:cxn ang="0">
                <a:pos x="0" y="3"/>
              </a:cxn>
              <a:cxn ang="0">
                <a:pos x="0" y="5"/>
              </a:cxn>
              <a:cxn ang="0">
                <a:pos x="0" y="9"/>
              </a:cxn>
            </a:cxnLst>
            <a:rect l="0" t="0" r="r" b="b"/>
            <a:pathLst>
              <a:path h="9">
                <a:moveTo>
                  <a:pt x="0" y="0"/>
                </a:moveTo>
                <a:lnTo>
                  <a:pt x="0" y="0"/>
                </a:lnTo>
                <a:lnTo>
                  <a:pt x="0" y="1"/>
                </a:lnTo>
                <a:lnTo>
                  <a:pt x="0" y="3"/>
                </a:lnTo>
                <a:lnTo>
                  <a:pt x="0" y="5"/>
                </a:lnTo>
                <a:lnTo>
                  <a:pt x="0" y="9"/>
                </a:lnTo>
              </a:path>
            </a:pathLst>
          </a:custGeom>
          <a:solidFill>
            <a:srgbClr val="F8F8F8"/>
          </a:solidFill>
          <a:ln w="9525" cmpd="sng">
            <a:solidFill>
              <a:schemeClr val="tx1"/>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84" name="Freeform 56"/>
          <p:cNvSpPr>
            <a:spLocks/>
          </p:cNvSpPr>
          <p:nvPr>
            <p:custDataLst>
              <p:tags r:id="rId56"/>
            </p:custDataLst>
          </p:nvPr>
        </p:nvSpPr>
        <p:spPr bwMode="gray">
          <a:xfrm>
            <a:off x="4733182" y="3429009"/>
            <a:ext cx="403341" cy="419513"/>
          </a:xfrm>
          <a:custGeom>
            <a:avLst/>
            <a:gdLst/>
            <a:ahLst/>
            <a:cxnLst>
              <a:cxn ang="0">
                <a:pos x="96" y="82"/>
              </a:cxn>
              <a:cxn ang="0">
                <a:pos x="94" y="107"/>
              </a:cxn>
              <a:cxn ang="0">
                <a:pos x="96" y="118"/>
              </a:cxn>
              <a:cxn ang="0">
                <a:pos x="98" y="130"/>
              </a:cxn>
              <a:cxn ang="0">
                <a:pos x="92" y="143"/>
              </a:cxn>
              <a:cxn ang="0">
                <a:pos x="92" y="160"/>
              </a:cxn>
              <a:cxn ang="0">
                <a:pos x="121" y="174"/>
              </a:cxn>
              <a:cxn ang="0">
                <a:pos x="123" y="195"/>
              </a:cxn>
              <a:cxn ang="0">
                <a:pos x="100" y="216"/>
              </a:cxn>
              <a:cxn ang="0">
                <a:pos x="75" y="240"/>
              </a:cxn>
              <a:cxn ang="0">
                <a:pos x="40" y="275"/>
              </a:cxn>
              <a:cxn ang="0">
                <a:pos x="31" y="284"/>
              </a:cxn>
              <a:cxn ang="0">
                <a:pos x="25" y="296"/>
              </a:cxn>
              <a:cxn ang="0">
                <a:pos x="19" y="340"/>
              </a:cxn>
              <a:cxn ang="0">
                <a:pos x="8" y="385"/>
              </a:cxn>
              <a:cxn ang="0">
                <a:pos x="2" y="437"/>
              </a:cxn>
              <a:cxn ang="0">
                <a:pos x="0" y="456"/>
              </a:cxn>
              <a:cxn ang="0">
                <a:pos x="2" y="471"/>
              </a:cxn>
              <a:cxn ang="0">
                <a:pos x="12" y="467"/>
              </a:cxn>
              <a:cxn ang="0">
                <a:pos x="21" y="465"/>
              </a:cxn>
              <a:cxn ang="0">
                <a:pos x="33" y="471"/>
              </a:cxn>
              <a:cxn ang="0">
                <a:pos x="60" y="456"/>
              </a:cxn>
              <a:cxn ang="0">
                <a:pos x="77" y="446"/>
              </a:cxn>
              <a:cxn ang="0">
                <a:pos x="189" y="435"/>
              </a:cxn>
              <a:cxn ang="0">
                <a:pos x="184" y="427"/>
              </a:cxn>
              <a:cxn ang="0">
                <a:pos x="180" y="418"/>
              </a:cxn>
              <a:cxn ang="0">
                <a:pos x="187" y="403"/>
              </a:cxn>
              <a:cxn ang="0">
                <a:pos x="195" y="397"/>
              </a:cxn>
              <a:cxn ang="0">
                <a:pos x="199" y="380"/>
              </a:cxn>
              <a:cxn ang="0">
                <a:pos x="206" y="368"/>
              </a:cxn>
              <a:cxn ang="0">
                <a:pos x="237" y="357"/>
              </a:cxn>
              <a:cxn ang="0">
                <a:pos x="245" y="355"/>
              </a:cxn>
              <a:cxn ang="0">
                <a:pos x="252" y="351"/>
              </a:cxn>
              <a:cxn ang="0">
                <a:pos x="266" y="343"/>
              </a:cxn>
              <a:cxn ang="0">
                <a:pos x="277" y="349"/>
              </a:cxn>
              <a:cxn ang="0">
                <a:pos x="287" y="343"/>
              </a:cxn>
              <a:cxn ang="0">
                <a:pos x="292" y="336"/>
              </a:cxn>
              <a:cxn ang="0">
                <a:pos x="302" y="343"/>
              </a:cxn>
              <a:cxn ang="0">
                <a:pos x="317" y="330"/>
              </a:cxn>
              <a:cxn ang="0">
                <a:pos x="327" y="322"/>
              </a:cxn>
              <a:cxn ang="0">
                <a:pos x="334" y="328"/>
              </a:cxn>
              <a:cxn ang="0">
                <a:pos x="351" y="357"/>
              </a:cxn>
              <a:cxn ang="0">
                <a:pos x="359" y="355"/>
              </a:cxn>
              <a:cxn ang="0">
                <a:pos x="363" y="336"/>
              </a:cxn>
              <a:cxn ang="0">
                <a:pos x="378" y="303"/>
              </a:cxn>
              <a:cxn ang="0">
                <a:pos x="409" y="265"/>
              </a:cxn>
              <a:cxn ang="0">
                <a:pos x="435" y="223"/>
              </a:cxn>
              <a:cxn ang="0">
                <a:pos x="439" y="176"/>
              </a:cxn>
              <a:cxn ang="0">
                <a:pos x="422" y="111"/>
              </a:cxn>
              <a:cxn ang="0">
                <a:pos x="390" y="52"/>
              </a:cxn>
              <a:cxn ang="0">
                <a:pos x="361" y="0"/>
              </a:cxn>
              <a:cxn ang="0">
                <a:pos x="329" y="29"/>
              </a:cxn>
              <a:cxn ang="0">
                <a:pos x="304" y="42"/>
              </a:cxn>
              <a:cxn ang="0">
                <a:pos x="285" y="42"/>
              </a:cxn>
              <a:cxn ang="0">
                <a:pos x="273" y="42"/>
              </a:cxn>
              <a:cxn ang="0">
                <a:pos x="254" y="48"/>
              </a:cxn>
              <a:cxn ang="0">
                <a:pos x="233" y="53"/>
              </a:cxn>
              <a:cxn ang="0">
                <a:pos x="210" y="57"/>
              </a:cxn>
              <a:cxn ang="0">
                <a:pos x="189" y="52"/>
              </a:cxn>
              <a:cxn ang="0">
                <a:pos x="163" y="46"/>
              </a:cxn>
              <a:cxn ang="0">
                <a:pos x="134" y="52"/>
              </a:cxn>
              <a:cxn ang="0">
                <a:pos x="113" y="63"/>
              </a:cxn>
              <a:cxn ang="0">
                <a:pos x="96" y="69"/>
              </a:cxn>
            </a:cxnLst>
            <a:rect l="0" t="0" r="r" b="b"/>
            <a:pathLst>
              <a:path w="441" h="471">
                <a:moveTo>
                  <a:pt x="94" y="69"/>
                </a:moveTo>
                <a:lnTo>
                  <a:pt x="94" y="69"/>
                </a:lnTo>
                <a:lnTo>
                  <a:pt x="96" y="74"/>
                </a:lnTo>
                <a:lnTo>
                  <a:pt x="96" y="78"/>
                </a:lnTo>
                <a:lnTo>
                  <a:pt x="96" y="82"/>
                </a:lnTo>
                <a:lnTo>
                  <a:pt x="96" y="86"/>
                </a:lnTo>
                <a:lnTo>
                  <a:pt x="96" y="92"/>
                </a:lnTo>
                <a:lnTo>
                  <a:pt x="94" y="95"/>
                </a:lnTo>
                <a:lnTo>
                  <a:pt x="94" y="101"/>
                </a:lnTo>
                <a:lnTo>
                  <a:pt x="94" y="107"/>
                </a:lnTo>
                <a:lnTo>
                  <a:pt x="94" y="107"/>
                </a:lnTo>
                <a:lnTo>
                  <a:pt x="94" y="111"/>
                </a:lnTo>
                <a:lnTo>
                  <a:pt x="94" y="114"/>
                </a:lnTo>
                <a:lnTo>
                  <a:pt x="94" y="116"/>
                </a:lnTo>
                <a:lnTo>
                  <a:pt x="96" y="118"/>
                </a:lnTo>
                <a:lnTo>
                  <a:pt x="96" y="120"/>
                </a:lnTo>
                <a:lnTo>
                  <a:pt x="98" y="122"/>
                </a:lnTo>
                <a:lnTo>
                  <a:pt x="98" y="126"/>
                </a:lnTo>
                <a:lnTo>
                  <a:pt x="98" y="130"/>
                </a:lnTo>
                <a:lnTo>
                  <a:pt x="98" y="130"/>
                </a:lnTo>
                <a:lnTo>
                  <a:pt x="98" y="134"/>
                </a:lnTo>
                <a:lnTo>
                  <a:pt x="96" y="135"/>
                </a:lnTo>
                <a:lnTo>
                  <a:pt x="96" y="137"/>
                </a:lnTo>
                <a:lnTo>
                  <a:pt x="94" y="139"/>
                </a:lnTo>
                <a:lnTo>
                  <a:pt x="92" y="143"/>
                </a:lnTo>
                <a:lnTo>
                  <a:pt x="90" y="145"/>
                </a:lnTo>
                <a:lnTo>
                  <a:pt x="90" y="149"/>
                </a:lnTo>
                <a:lnTo>
                  <a:pt x="90" y="155"/>
                </a:lnTo>
                <a:lnTo>
                  <a:pt x="90" y="155"/>
                </a:lnTo>
                <a:lnTo>
                  <a:pt x="92" y="160"/>
                </a:lnTo>
                <a:lnTo>
                  <a:pt x="96" y="164"/>
                </a:lnTo>
                <a:lnTo>
                  <a:pt x="102" y="166"/>
                </a:lnTo>
                <a:lnTo>
                  <a:pt x="107" y="168"/>
                </a:lnTo>
                <a:lnTo>
                  <a:pt x="115" y="170"/>
                </a:lnTo>
                <a:lnTo>
                  <a:pt x="121" y="174"/>
                </a:lnTo>
                <a:lnTo>
                  <a:pt x="124" y="177"/>
                </a:lnTo>
                <a:lnTo>
                  <a:pt x="124" y="183"/>
                </a:lnTo>
                <a:lnTo>
                  <a:pt x="124" y="183"/>
                </a:lnTo>
                <a:lnTo>
                  <a:pt x="124" y="189"/>
                </a:lnTo>
                <a:lnTo>
                  <a:pt x="123" y="195"/>
                </a:lnTo>
                <a:lnTo>
                  <a:pt x="119" y="198"/>
                </a:lnTo>
                <a:lnTo>
                  <a:pt x="115" y="204"/>
                </a:lnTo>
                <a:lnTo>
                  <a:pt x="111" y="208"/>
                </a:lnTo>
                <a:lnTo>
                  <a:pt x="105" y="212"/>
                </a:lnTo>
                <a:lnTo>
                  <a:pt x="100" y="216"/>
                </a:lnTo>
                <a:lnTo>
                  <a:pt x="96" y="219"/>
                </a:lnTo>
                <a:lnTo>
                  <a:pt x="96" y="219"/>
                </a:lnTo>
                <a:lnTo>
                  <a:pt x="88" y="227"/>
                </a:lnTo>
                <a:lnTo>
                  <a:pt x="82" y="233"/>
                </a:lnTo>
                <a:lnTo>
                  <a:pt x="75" y="240"/>
                </a:lnTo>
                <a:lnTo>
                  <a:pt x="69" y="248"/>
                </a:lnTo>
                <a:lnTo>
                  <a:pt x="61" y="254"/>
                </a:lnTo>
                <a:lnTo>
                  <a:pt x="56" y="261"/>
                </a:lnTo>
                <a:lnTo>
                  <a:pt x="48" y="269"/>
                </a:lnTo>
                <a:lnTo>
                  <a:pt x="40" y="275"/>
                </a:lnTo>
                <a:lnTo>
                  <a:pt x="40" y="275"/>
                </a:lnTo>
                <a:lnTo>
                  <a:pt x="39" y="277"/>
                </a:lnTo>
                <a:lnTo>
                  <a:pt x="37" y="280"/>
                </a:lnTo>
                <a:lnTo>
                  <a:pt x="33" y="282"/>
                </a:lnTo>
                <a:lnTo>
                  <a:pt x="31" y="284"/>
                </a:lnTo>
                <a:lnTo>
                  <a:pt x="29" y="286"/>
                </a:lnTo>
                <a:lnTo>
                  <a:pt x="27" y="290"/>
                </a:lnTo>
                <a:lnTo>
                  <a:pt x="25" y="294"/>
                </a:lnTo>
                <a:lnTo>
                  <a:pt x="25" y="296"/>
                </a:lnTo>
                <a:lnTo>
                  <a:pt x="25" y="296"/>
                </a:lnTo>
                <a:lnTo>
                  <a:pt x="25" y="305"/>
                </a:lnTo>
                <a:lnTo>
                  <a:pt x="23" y="313"/>
                </a:lnTo>
                <a:lnTo>
                  <a:pt x="23" y="322"/>
                </a:lnTo>
                <a:lnTo>
                  <a:pt x="21" y="330"/>
                </a:lnTo>
                <a:lnTo>
                  <a:pt x="19" y="340"/>
                </a:lnTo>
                <a:lnTo>
                  <a:pt x="18" y="347"/>
                </a:lnTo>
                <a:lnTo>
                  <a:pt x="16" y="357"/>
                </a:lnTo>
                <a:lnTo>
                  <a:pt x="14" y="366"/>
                </a:lnTo>
                <a:lnTo>
                  <a:pt x="10" y="376"/>
                </a:lnTo>
                <a:lnTo>
                  <a:pt x="8" y="385"/>
                </a:lnTo>
                <a:lnTo>
                  <a:pt x="6" y="395"/>
                </a:lnTo>
                <a:lnTo>
                  <a:pt x="4" y="404"/>
                </a:lnTo>
                <a:lnTo>
                  <a:pt x="2" y="414"/>
                </a:lnTo>
                <a:lnTo>
                  <a:pt x="2" y="425"/>
                </a:lnTo>
                <a:lnTo>
                  <a:pt x="2" y="437"/>
                </a:lnTo>
                <a:lnTo>
                  <a:pt x="0" y="448"/>
                </a:lnTo>
                <a:lnTo>
                  <a:pt x="0" y="448"/>
                </a:lnTo>
                <a:lnTo>
                  <a:pt x="0" y="450"/>
                </a:lnTo>
                <a:lnTo>
                  <a:pt x="0" y="454"/>
                </a:lnTo>
                <a:lnTo>
                  <a:pt x="0" y="456"/>
                </a:lnTo>
                <a:lnTo>
                  <a:pt x="0" y="460"/>
                </a:lnTo>
                <a:lnTo>
                  <a:pt x="2" y="462"/>
                </a:lnTo>
                <a:lnTo>
                  <a:pt x="2" y="465"/>
                </a:lnTo>
                <a:lnTo>
                  <a:pt x="2" y="467"/>
                </a:lnTo>
                <a:lnTo>
                  <a:pt x="2" y="471"/>
                </a:lnTo>
                <a:lnTo>
                  <a:pt x="2" y="471"/>
                </a:lnTo>
                <a:lnTo>
                  <a:pt x="4" y="469"/>
                </a:lnTo>
                <a:lnTo>
                  <a:pt x="8" y="469"/>
                </a:lnTo>
                <a:lnTo>
                  <a:pt x="10" y="467"/>
                </a:lnTo>
                <a:lnTo>
                  <a:pt x="12" y="467"/>
                </a:lnTo>
                <a:lnTo>
                  <a:pt x="14" y="465"/>
                </a:lnTo>
                <a:lnTo>
                  <a:pt x="16" y="465"/>
                </a:lnTo>
                <a:lnTo>
                  <a:pt x="19" y="465"/>
                </a:lnTo>
                <a:lnTo>
                  <a:pt x="21" y="465"/>
                </a:lnTo>
                <a:lnTo>
                  <a:pt x="21" y="465"/>
                </a:lnTo>
                <a:lnTo>
                  <a:pt x="25" y="465"/>
                </a:lnTo>
                <a:lnTo>
                  <a:pt x="29" y="469"/>
                </a:lnTo>
                <a:lnTo>
                  <a:pt x="31" y="471"/>
                </a:lnTo>
                <a:lnTo>
                  <a:pt x="33" y="471"/>
                </a:lnTo>
                <a:lnTo>
                  <a:pt x="33" y="471"/>
                </a:lnTo>
                <a:lnTo>
                  <a:pt x="40" y="471"/>
                </a:lnTo>
                <a:lnTo>
                  <a:pt x="46" y="467"/>
                </a:lnTo>
                <a:lnTo>
                  <a:pt x="50" y="465"/>
                </a:lnTo>
                <a:lnTo>
                  <a:pt x="56" y="462"/>
                </a:lnTo>
                <a:lnTo>
                  <a:pt x="60" y="456"/>
                </a:lnTo>
                <a:lnTo>
                  <a:pt x="63" y="454"/>
                </a:lnTo>
                <a:lnTo>
                  <a:pt x="69" y="450"/>
                </a:lnTo>
                <a:lnTo>
                  <a:pt x="75" y="448"/>
                </a:lnTo>
                <a:lnTo>
                  <a:pt x="77" y="446"/>
                </a:lnTo>
                <a:lnTo>
                  <a:pt x="77" y="446"/>
                </a:lnTo>
                <a:lnTo>
                  <a:pt x="77" y="443"/>
                </a:lnTo>
                <a:lnTo>
                  <a:pt x="79" y="441"/>
                </a:lnTo>
                <a:lnTo>
                  <a:pt x="81" y="439"/>
                </a:lnTo>
                <a:lnTo>
                  <a:pt x="84" y="435"/>
                </a:lnTo>
                <a:lnTo>
                  <a:pt x="189" y="435"/>
                </a:lnTo>
                <a:lnTo>
                  <a:pt x="189" y="435"/>
                </a:lnTo>
                <a:lnTo>
                  <a:pt x="187" y="433"/>
                </a:lnTo>
                <a:lnTo>
                  <a:pt x="187" y="431"/>
                </a:lnTo>
                <a:lnTo>
                  <a:pt x="185" y="429"/>
                </a:lnTo>
                <a:lnTo>
                  <a:pt x="184" y="427"/>
                </a:lnTo>
                <a:lnTo>
                  <a:pt x="182" y="425"/>
                </a:lnTo>
                <a:lnTo>
                  <a:pt x="182" y="424"/>
                </a:lnTo>
                <a:lnTo>
                  <a:pt x="180" y="420"/>
                </a:lnTo>
                <a:lnTo>
                  <a:pt x="180" y="418"/>
                </a:lnTo>
                <a:lnTo>
                  <a:pt x="180" y="418"/>
                </a:lnTo>
                <a:lnTo>
                  <a:pt x="182" y="414"/>
                </a:lnTo>
                <a:lnTo>
                  <a:pt x="182" y="410"/>
                </a:lnTo>
                <a:lnTo>
                  <a:pt x="184" y="408"/>
                </a:lnTo>
                <a:lnTo>
                  <a:pt x="185" y="404"/>
                </a:lnTo>
                <a:lnTo>
                  <a:pt x="187" y="403"/>
                </a:lnTo>
                <a:lnTo>
                  <a:pt x="189" y="403"/>
                </a:lnTo>
                <a:lnTo>
                  <a:pt x="191" y="401"/>
                </a:lnTo>
                <a:lnTo>
                  <a:pt x="193" y="399"/>
                </a:lnTo>
                <a:lnTo>
                  <a:pt x="193" y="399"/>
                </a:lnTo>
                <a:lnTo>
                  <a:pt x="195" y="397"/>
                </a:lnTo>
                <a:lnTo>
                  <a:pt x="197" y="393"/>
                </a:lnTo>
                <a:lnTo>
                  <a:pt x="197" y="391"/>
                </a:lnTo>
                <a:lnTo>
                  <a:pt x="199" y="387"/>
                </a:lnTo>
                <a:lnTo>
                  <a:pt x="199" y="383"/>
                </a:lnTo>
                <a:lnTo>
                  <a:pt x="199" y="380"/>
                </a:lnTo>
                <a:lnTo>
                  <a:pt x="201" y="378"/>
                </a:lnTo>
                <a:lnTo>
                  <a:pt x="201" y="374"/>
                </a:lnTo>
                <a:lnTo>
                  <a:pt x="201" y="374"/>
                </a:lnTo>
                <a:lnTo>
                  <a:pt x="203" y="370"/>
                </a:lnTo>
                <a:lnTo>
                  <a:pt x="206" y="368"/>
                </a:lnTo>
                <a:lnTo>
                  <a:pt x="212" y="366"/>
                </a:lnTo>
                <a:lnTo>
                  <a:pt x="220" y="362"/>
                </a:lnTo>
                <a:lnTo>
                  <a:pt x="227" y="361"/>
                </a:lnTo>
                <a:lnTo>
                  <a:pt x="233" y="359"/>
                </a:lnTo>
                <a:lnTo>
                  <a:pt x="237" y="357"/>
                </a:lnTo>
                <a:lnTo>
                  <a:pt x="239" y="355"/>
                </a:lnTo>
                <a:lnTo>
                  <a:pt x="239" y="355"/>
                </a:lnTo>
                <a:lnTo>
                  <a:pt x="241" y="357"/>
                </a:lnTo>
                <a:lnTo>
                  <a:pt x="243" y="357"/>
                </a:lnTo>
                <a:lnTo>
                  <a:pt x="245" y="355"/>
                </a:lnTo>
                <a:lnTo>
                  <a:pt x="246" y="355"/>
                </a:lnTo>
                <a:lnTo>
                  <a:pt x="246" y="355"/>
                </a:lnTo>
                <a:lnTo>
                  <a:pt x="248" y="355"/>
                </a:lnTo>
                <a:lnTo>
                  <a:pt x="250" y="355"/>
                </a:lnTo>
                <a:lnTo>
                  <a:pt x="252" y="351"/>
                </a:lnTo>
                <a:lnTo>
                  <a:pt x="254" y="349"/>
                </a:lnTo>
                <a:lnTo>
                  <a:pt x="256" y="347"/>
                </a:lnTo>
                <a:lnTo>
                  <a:pt x="260" y="345"/>
                </a:lnTo>
                <a:lnTo>
                  <a:pt x="262" y="345"/>
                </a:lnTo>
                <a:lnTo>
                  <a:pt x="266" y="343"/>
                </a:lnTo>
                <a:lnTo>
                  <a:pt x="266" y="343"/>
                </a:lnTo>
                <a:lnTo>
                  <a:pt x="267" y="345"/>
                </a:lnTo>
                <a:lnTo>
                  <a:pt x="271" y="345"/>
                </a:lnTo>
                <a:lnTo>
                  <a:pt x="273" y="347"/>
                </a:lnTo>
                <a:lnTo>
                  <a:pt x="277" y="349"/>
                </a:lnTo>
                <a:lnTo>
                  <a:pt x="277" y="349"/>
                </a:lnTo>
                <a:lnTo>
                  <a:pt x="279" y="347"/>
                </a:lnTo>
                <a:lnTo>
                  <a:pt x="283" y="347"/>
                </a:lnTo>
                <a:lnTo>
                  <a:pt x="285" y="345"/>
                </a:lnTo>
                <a:lnTo>
                  <a:pt x="287" y="343"/>
                </a:lnTo>
                <a:lnTo>
                  <a:pt x="288" y="341"/>
                </a:lnTo>
                <a:lnTo>
                  <a:pt x="288" y="340"/>
                </a:lnTo>
                <a:lnTo>
                  <a:pt x="290" y="338"/>
                </a:lnTo>
                <a:lnTo>
                  <a:pt x="292" y="336"/>
                </a:lnTo>
                <a:lnTo>
                  <a:pt x="292" y="336"/>
                </a:lnTo>
                <a:lnTo>
                  <a:pt x="294" y="338"/>
                </a:lnTo>
                <a:lnTo>
                  <a:pt x="296" y="341"/>
                </a:lnTo>
                <a:lnTo>
                  <a:pt x="300" y="343"/>
                </a:lnTo>
                <a:lnTo>
                  <a:pt x="302" y="343"/>
                </a:lnTo>
                <a:lnTo>
                  <a:pt x="302" y="343"/>
                </a:lnTo>
                <a:lnTo>
                  <a:pt x="308" y="343"/>
                </a:lnTo>
                <a:lnTo>
                  <a:pt x="311" y="341"/>
                </a:lnTo>
                <a:lnTo>
                  <a:pt x="313" y="338"/>
                </a:lnTo>
                <a:lnTo>
                  <a:pt x="315" y="334"/>
                </a:lnTo>
                <a:lnTo>
                  <a:pt x="317" y="330"/>
                </a:lnTo>
                <a:lnTo>
                  <a:pt x="319" y="326"/>
                </a:lnTo>
                <a:lnTo>
                  <a:pt x="321" y="322"/>
                </a:lnTo>
                <a:lnTo>
                  <a:pt x="323" y="322"/>
                </a:lnTo>
                <a:lnTo>
                  <a:pt x="323" y="322"/>
                </a:lnTo>
                <a:lnTo>
                  <a:pt x="327" y="322"/>
                </a:lnTo>
                <a:lnTo>
                  <a:pt x="329" y="322"/>
                </a:lnTo>
                <a:lnTo>
                  <a:pt x="332" y="322"/>
                </a:lnTo>
                <a:lnTo>
                  <a:pt x="334" y="322"/>
                </a:lnTo>
                <a:lnTo>
                  <a:pt x="334" y="322"/>
                </a:lnTo>
                <a:lnTo>
                  <a:pt x="334" y="328"/>
                </a:lnTo>
                <a:lnTo>
                  <a:pt x="336" y="336"/>
                </a:lnTo>
                <a:lnTo>
                  <a:pt x="340" y="341"/>
                </a:lnTo>
                <a:lnTo>
                  <a:pt x="344" y="347"/>
                </a:lnTo>
                <a:lnTo>
                  <a:pt x="348" y="353"/>
                </a:lnTo>
                <a:lnTo>
                  <a:pt x="351" y="357"/>
                </a:lnTo>
                <a:lnTo>
                  <a:pt x="355" y="361"/>
                </a:lnTo>
                <a:lnTo>
                  <a:pt x="359" y="362"/>
                </a:lnTo>
                <a:lnTo>
                  <a:pt x="359" y="362"/>
                </a:lnTo>
                <a:lnTo>
                  <a:pt x="359" y="359"/>
                </a:lnTo>
                <a:lnTo>
                  <a:pt x="359" y="355"/>
                </a:lnTo>
                <a:lnTo>
                  <a:pt x="361" y="351"/>
                </a:lnTo>
                <a:lnTo>
                  <a:pt x="361" y="347"/>
                </a:lnTo>
                <a:lnTo>
                  <a:pt x="361" y="345"/>
                </a:lnTo>
                <a:lnTo>
                  <a:pt x="361" y="341"/>
                </a:lnTo>
                <a:lnTo>
                  <a:pt x="363" y="336"/>
                </a:lnTo>
                <a:lnTo>
                  <a:pt x="363" y="332"/>
                </a:lnTo>
                <a:lnTo>
                  <a:pt x="363" y="332"/>
                </a:lnTo>
                <a:lnTo>
                  <a:pt x="367" y="322"/>
                </a:lnTo>
                <a:lnTo>
                  <a:pt x="372" y="313"/>
                </a:lnTo>
                <a:lnTo>
                  <a:pt x="378" y="303"/>
                </a:lnTo>
                <a:lnTo>
                  <a:pt x="384" y="296"/>
                </a:lnTo>
                <a:lnTo>
                  <a:pt x="390" y="288"/>
                </a:lnTo>
                <a:lnTo>
                  <a:pt x="395" y="280"/>
                </a:lnTo>
                <a:lnTo>
                  <a:pt x="403" y="273"/>
                </a:lnTo>
                <a:lnTo>
                  <a:pt x="409" y="265"/>
                </a:lnTo>
                <a:lnTo>
                  <a:pt x="414" y="258"/>
                </a:lnTo>
                <a:lnTo>
                  <a:pt x="420" y="250"/>
                </a:lnTo>
                <a:lnTo>
                  <a:pt x="426" y="240"/>
                </a:lnTo>
                <a:lnTo>
                  <a:pt x="432" y="233"/>
                </a:lnTo>
                <a:lnTo>
                  <a:pt x="435" y="223"/>
                </a:lnTo>
                <a:lnTo>
                  <a:pt x="437" y="214"/>
                </a:lnTo>
                <a:lnTo>
                  <a:pt x="439" y="202"/>
                </a:lnTo>
                <a:lnTo>
                  <a:pt x="441" y="191"/>
                </a:lnTo>
                <a:lnTo>
                  <a:pt x="441" y="191"/>
                </a:lnTo>
                <a:lnTo>
                  <a:pt x="439" y="176"/>
                </a:lnTo>
                <a:lnTo>
                  <a:pt x="437" y="162"/>
                </a:lnTo>
                <a:lnTo>
                  <a:pt x="435" y="149"/>
                </a:lnTo>
                <a:lnTo>
                  <a:pt x="432" y="135"/>
                </a:lnTo>
                <a:lnTo>
                  <a:pt x="428" y="124"/>
                </a:lnTo>
                <a:lnTo>
                  <a:pt x="422" y="111"/>
                </a:lnTo>
                <a:lnTo>
                  <a:pt x="416" y="99"/>
                </a:lnTo>
                <a:lnTo>
                  <a:pt x="411" y="86"/>
                </a:lnTo>
                <a:lnTo>
                  <a:pt x="403" y="74"/>
                </a:lnTo>
                <a:lnTo>
                  <a:pt x="397" y="63"/>
                </a:lnTo>
                <a:lnTo>
                  <a:pt x="390" y="52"/>
                </a:lnTo>
                <a:lnTo>
                  <a:pt x="384" y="42"/>
                </a:lnTo>
                <a:lnTo>
                  <a:pt x="376" y="31"/>
                </a:lnTo>
                <a:lnTo>
                  <a:pt x="370" y="21"/>
                </a:lnTo>
                <a:lnTo>
                  <a:pt x="367" y="10"/>
                </a:lnTo>
                <a:lnTo>
                  <a:pt x="361" y="0"/>
                </a:lnTo>
                <a:lnTo>
                  <a:pt x="361" y="0"/>
                </a:lnTo>
                <a:lnTo>
                  <a:pt x="353" y="8"/>
                </a:lnTo>
                <a:lnTo>
                  <a:pt x="346" y="15"/>
                </a:lnTo>
                <a:lnTo>
                  <a:pt x="338" y="21"/>
                </a:lnTo>
                <a:lnTo>
                  <a:pt x="329" y="29"/>
                </a:lnTo>
                <a:lnTo>
                  <a:pt x="323" y="34"/>
                </a:lnTo>
                <a:lnTo>
                  <a:pt x="315" y="38"/>
                </a:lnTo>
                <a:lnTo>
                  <a:pt x="309" y="42"/>
                </a:lnTo>
                <a:lnTo>
                  <a:pt x="304" y="42"/>
                </a:lnTo>
                <a:lnTo>
                  <a:pt x="304" y="42"/>
                </a:lnTo>
                <a:lnTo>
                  <a:pt x="300" y="42"/>
                </a:lnTo>
                <a:lnTo>
                  <a:pt x="296" y="42"/>
                </a:lnTo>
                <a:lnTo>
                  <a:pt x="292" y="42"/>
                </a:lnTo>
                <a:lnTo>
                  <a:pt x="288" y="42"/>
                </a:lnTo>
                <a:lnTo>
                  <a:pt x="285" y="42"/>
                </a:lnTo>
                <a:lnTo>
                  <a:pt x="283" y="42"/>
                </a:lnTo>
                <a:lnTo>
                  <a:pt x="279" y="42"/>
                </a:lnTo>
                <a:lnTo>
                  <a:pt x="277" y="42"/>
                </a:lnTo>
                <a:lnTo>
                  <a:pt x="277" y="42"/>
                </a:lnTo>
                <a:lnTo>
                  <a:pt x="273" y="42"/>
                </a:lnTo>
                <a:lnTo>
                  <a:pt x="271" y="44"/>
                </a:lnTo>
                <a:lnTo>
                  <a:pt x="267" y="44"/>
                </a:lnTo>
                <a:lnTo>
                  <a:pt x="264" y="46"/>
                </a:lnTo>
                <a:lnTo>
                  <a:pt x="258" y="46"/>
                </a:lnTo>
                <a:lnTo>
                  <a:pt x="254" y="48"/>
                </a:lnTo>
                <a:lnTo>
                  <a:pt x="250" y="50"/>
                </a:lnTo>
                <a:lnTo>
                  <a:pt x="246" y="50"/>
                </a:lnTo>
                <a:lnTo>
                  <a:pt x="243" y="52"/>
                </a:lnTo>
                <a:lnTo>
                  <a:pt x="237" y="53"/>
                </a:lnTo>
                <a:lnTo>
                  <a:pt x="233" y="53"/>
                </a:lnTo>
                <a:lnTo>
                  <a:pt x="229" y="55"/>
                </a:lnTo>
                <a:lnTo>
                  <a:pt x="224" y="57"/>
                </a:lnTo>
                <a:lnTo>
                  <a:pt x="220" y="57"/>
                </a:lnTo>
                <a:lnTo>
                  <a:pt x="214" y="57"/>
                </a:lnTo>
                <a:lnTo>
                  <a:pt x="210" y="57"/>
                </a:lnTo>
                <a:lnTo>
                  <a:pt x="210" y="57"/>
                </a:lnTo>
                <a:lnTo>
                  <a:pt x="205" y="57"/>
                </a:lnTo>
                <a:lnTo>
                  <a:pt x="199" y="55"/>
                </a:lnTo>
                <a:lnTo>
                  <a:pt x="195" y="53"/>
                </a:lnTo>
                <a:lnTo>
                  <a:pt x="189" y="52"/>
                </a:lnTo>
                <a:lnTo>
                  <a:pt x="184" y="50"/>
                </a:lnTo>
                <a:lnTo>
                  <a:pt x="178" y="48"/>
                </a:lnTo>
                <a:lnTo>
                  <a:pt x="170" y="46"/>
                </a:lnTo>
                <a:lnTo>
                  <a:pt x="163" y="46"/>
                </a:lnTo>
                <a:lnTo>
                  <a:pt x="163" y="46"/>
                </a:lnTo>
                <a:lnTo>
                  <a:pt x="155" y="46"/>
                </a:lnTo>
                <a:lnTo>
                  <a:pt x="149" y="48"/>
                </a:lnTo>
                <a:lnTo>
                  <a:pt x="143" y="48"/>
                </a:lnTo>
                <a:lnTo>
                  <a:pt x="138" y="50"/>
                </a:lnTo>
                <a:lnTo>
                  <a:pt x="134" y="52"/>
                </a:lnTo>
                <a:lnTo>
                  <a:pt x="128" y="53"/>
                </a:lnTo>
                <a:lnTo>
                  <a:pt x="124" y="55"/>
                </a:lnTo>
                <a:lnTo>
                  <a:pt x="121" y="57"/>
                </a:lnTo>
                <a:lnTo>
                  <a:pt x="117" y="61"/>
                </a:lnTo>
                <a:lnTo>
                  <a:pt x="113" y="63"/>
                </a:lnTo>
                <a:lnTo>
                  <a:pt x="109" y="65"/>
                </a:lnTo>
                <a:lnTo>
                  <a:pt x="107" y="67"/>
                </a:lnTo>
                <a:lnTo>
                  <a:pt x="103" y="67"/>
                </a:lnTo>
                <a:lnTo>
                  <a:pt x="100" y="69"/>
                </a:lnTo>
                <a:lnTo>
                  <a:pt x="96" y="69"/>
                </a:lnTo>
                <a:lnTo>
                  <a:pt x="92" y="71"/>
                </a:lnTo>
                <a:lnTo>
                  <a:pt x="94" y="69"/>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85" name="Freeform 57"/>
          <p:cNvSpPr>
            <a:spLocks/>
          </p:cNvSpPr>
          <p:nvPr>
            <p:custDataLst>
              <p:tags r:id="rId57"/>
            </p:custDataLst>
          </p:nvPr>
        </p:nvSpPr>
        <p:spPr bwMode="gray">
          <a:xfrm>
            <a:off x="3633303" y="5325721"/>
            <a:ext cx="30776" cy="64790"/>
          </a:xfrm>
          <a:custGeom>
            <a:avLst/>
            <a:gdLst/>
            <a:ahLst/>
            <a:cxnLst>
              <a:cxn ang="0">
                <a:pos x="0" y="0"/>
              </a:cxn>
              <a:cxn ang="0">
                <a:pos x="0" y="0"/>
              </a:cxn>
              <a:cxn ang="0">
                <a:pos x="1" y="0"/>
              </a:cxn>
              <a:cxn ang="0">
                <a:pos x="3" y="2"/>
              </a:cxn>
              <a:cxn ang="0">
                <a:pos x="7" y="4"/>
              </a:cxn>
              <a:cxn ang="0">
                <a:pos x="11" y="8"/>
              </a:cxn>
              <a:cxn ang="0">
                <a:pos x="15" y="11"/>
              </a:cxn>
              <a:cxn ang="0">
                <a:pos x="21" y="15"/>
              </a:cxn>
              <a:cxn ang="0">
                <a:pos x="24" y="21"/>
              </a:cxn>
              <a:cxn ang="0">
                <a:pos x="28" y="27"/>
              </a:cxn>
              <a:cxn ang="0">
                <a:pos x="32" y="32"/>
              </a:cxn>
              <a:cxn ang="0">
                <a:pos x="34" y="38"/>
              </a:cxn>
              <a:cxn ang="0">
                <a:pos x="34" y="46"/>
              </a:cxn>
              <a:cxn ang="0">
                <a:pos x="34" y="52"/>
              </a:cxn>
              <a:cxn ang="0">
                <a:pos x="30" y="57"/>
              </a:cxn>
              <a:cxn ang="0">
                <a:pos x="24" y="63"/>
              </a:cxn>
              <a:cxn ang="0">
                <a:pos x="17" y="69"/>
              </a:cxn>
              <a:cxn ang="0">
                <a:pos x="5" y="74"/>
              </a:cxn>
              <a:cxn ang="0">
                <a:pos x="0" y="0"/>
              </a:cxn>
            </a:cxnLst>
            <a:rect l="0" t="0" r="r" b="b"/>
            <a:pathLst>
              <a:path w="34" h="74">
                <a:moveTo>
                  <a:pt x="0" y="0"/>
                </a:moveTo>
                <a:lnTo>
                  <a:pt x="0" y="0"/>
                </a:lnTo>
                <a:lnTo>
                  <a:pt x="1" y="0"/>
                </a:lnTo>
                <a:lnTo>
                  <a:pt x="3" y="2"/>
                </a:lnTo>
                <a:lnTo>
                  <a:pt x="7" y="4"/>
                </a:lnTo>
                <a:lnTo>
                  <a:pt x="11" y="8"/>
                </a:lnTo>
                <a:lnTo>
                  <a:pt x="15" y="11"/>
                </a:lnTo>
                <a:lnTo>
                  <a:pt x="21" y="15"/>
                </a:lnTo>
                <a:lnTo>
                  <a:pt x="24" y="21"/>
                </a:lnTo>
                <a:lnTo>
                  <a:pt x="28" y="27"/>
                </a:lnTo>
                <a:lnTo>
                  <a:pt x="32" y="32"/>
                </a:lnTo>
                <a:lnTo>
                  <a:pt x="34" y="38"/>
                </a:lnTo>
                <a:lnTo>
                  <a:pt x="34" y="46"/>
                </a:lnTo>
                <a:lnTo>
                  <a:pt x="34" y="52"/>
                </a:lnTo>
                <a:lnTo>
                  <a:pt x="30" y="57"/>
                </a:lnTo>
                <a:lnTo>
                  <a:pt x="24" y="63"/>
                </a:lnTo>
                <a:lnTo>
                  <a:pt x="17" y="69"/>
                </a:lnTo>
                <a:lnTo>
                  <a:pt x="5" y="74"/>
                </a:lnTo>
                <a:lnTo>
                  <a:pt x="0" y="0"/>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86" name="Freeform 58"/>
          <p:cNvSpPr>
            <a:spLocks/>
          </p:cNvSpPr>
          <p:nvPr>
            <p:custDataLst>
              <p:tags r:id="rId58"/>
            </p:custDataLst>
          </p:nvPr>
        </p:nvSpPr>
        <p:spPr bwMode="gray">
          <a:xfrm>
            <a:off x="5196450" y="2429618"/>
            <a:ext cx="472993" cy="391978"/>
          </a:xfrm>
          <a:custGeom>
            <a:avLst/>
            <a:gdLst/>
            <a:ahLst/>
            <a:cxnLst>
              <a:cxn ang="0">
                <a:pos x="74" y="296"/>
              </a:cxn>
              <a:cxn ang="0">
                <a:pos x="86" y="311"/>
              </a:cxn>
              <a:cxn ang="0">
                <a:pos x="99" y="315"/>
              </a:cxn>
              <a:cxn ang="0">
                <a:pos x="116" y="275"/>
              </a:cxn>
              <a:cxn ang="0">
                <a:pos x="135" y="269"/>
              </a:cxn>
              <a:cxn ang="0">
                <a:pos x="172" y="290"/>
              </a:cxn>
              <a:cxn ang="0">
                <a:pos x="193" y="286"/>
              </a:cxn>
              <a:cxn ang="0">
                <a:pos x="208" y="277"/>
              </a:cxn>
              <a:cxn ang="0">
                <a:pos x="217" y="283"/>
              </a:cxn>
              <a:cxn ang="0">
                <a:pos x="221" y="290"/>
              </a:cxn>
              <a:cxn ang="0">
                <a:pos x="248" y="286"/>
              </a:cxn>
              <a:cxn ang="0">
                <a:pos x="269" y="286"/>
              </a:cxn>
              <a:cxn ang="0">
                <a:pos x="301" y="290"/>
              </a:cxn>
              <a:cxn ang="0">
                <a:pos x="332" y="300"/>
              </a:cxn>
              <a:cxn ang="0">
                <a:pos x="359" y="319"/>
              </a:cxn>
              <a:cxn ang="0">
                <a:pos x="366" y="334"/>
              </a:cxn>
              <a:cxn ang="0">
                <a:pos x="374" y="349"/>
              </a:cxn>
              <a:cxn ang="0">
                <a:pos x="406" y="374"/>
              </a:cxn>
              <a:cxn ang="0">
                <a:pos x="441" y="401"/>
              </a:cxn>
              <a:cxn ang="0">
                <a:pos x="469" y="433"/>
              </a:cxn>
              <a:cxn ang="0">
                <a:pos x="490" y="431"/>
              </a:cxn>
              <a:cxn ang="0">
                <a:pos x="515" y="418"/>
              </a:cxn>
              <a:cxn ang="0">
                <a:pos x="490" y="399"/>
              </a:cxn>
              <a:cxn ang="0">
                <a:pos x="469" y="378"/>
              </a:cxn>
              <a:cxn ang="0">
                <a:pos x="462" y="355"/>
              </a:cxn>
              <a:cxn ang="0">
                <a:pos x="446" y="342"/>
              </a:cxn>
              <a:cxn ang="0">
                <a:pos x="412" y="328"/>
              </a:cxn>
              <a:cxn ang="0">
                <a:pos x="389" y="305"/>
              </a:cxn>
              <a:cxn ang="0">
                <a:pos x="362" y="271"/>
              </a:cxn>
              <a:cxn ang="0">
                <a:pos x="341" y="262"/>
              </a:cxn>
              <a:cxn ang="0">
                <a:pos x="320" y="260"/>
              </a:cxn>
              <a:cxn ang="0">
                <a:pos x="299" y="254"/>
              </a:cxn>
              <a:cxn ang="0">
                <a:pos x="282" y="243"/>
              </a:cxn>
              <a:cxn ang="0">
                <a:pos x="271" y="218"/>
              </a:cxn>
              <a:cxn ang="0">
                <a:pos x="252" y="212"/>
              </a:cxn>
              <a:cxn ang="0">
                <a:pos x="227" y="187"/>
              </a:cxn>
              <a:cxn ang="0">
                <a:pos x="204" y="143"/>
              </a:cxn>
              <a:cxn ang="0">
                <a:pos x="194" y="119"/>
              </a:cxn>
              <a:cxn ang="0">
                <a:pos x="185" y="77"/>
              </a:cxn>
              <a:cxn ang="0">
                <a:pos x="168" y="33"/>
              </a:cxn>
              <a:cxn ang="0">
                <a:pos x="143" y="4"/>
              </a:cxn>
              <a:cxn ang="0">
                <a:pos x="126" y="33"/>
              </a:cxn>
              <a:cxn ang="0">
                <a:pos x="80" y="65"/>
              </a:cxn>
              <a:cxn ang="0">
                <a:pos x="34" y="98"/>
              </a:cxn>
              <a:cxn ang="0">
                <a:pos x="25" y="130"/>
              </a:cxn>
              <a:cxn ang="0">
                <a:pos x="25" y="145"/>
              </a:cxn>
              <a:cxn ang="0">
                <a:pos x="23" y="162"/>
              </a:cxn>
              <a:cxn ang="0">
                <a:pos x="15" y="191"/>
              </a:cxn>
              <a:cxn ang="0">
                <a:pos x="4" y="222"/>
              </a:cxn>
              <a:cxn ang="0">
                <a:pos x="0" y="246"/>
              </a:cxn>
              <a:cxn ang="0">
                <a:pos x="6" y="285"/>
              </a:cxn>
            </a:cxnLst>
            <a:rect l="0" t="0" r="r" b="b"/>
            <a:pathLst>
              <a:path w="515" h="441">
                <a:moveTo>
                  <a:pt x="6" y="307"/>
                </a:moveTo>
                <a:lnTo>
                  <a:pt x="38" y="304"/>
                </a:lnTo>
                <a:lnTo>
                  <a:pt x="50" y="311"/>
                </a:lnTo>
                <a:lnTo>
                  <a:pt x="74" y="296"/>
                </a:lnTo>
                <a:lnTo>
                  <a:pt x="74" y="296"/>
                </a:lnTo>
                <a:lnTo>
                  <a:pt x="78" y="298"/>
                </a:lnTo>
                <a:lnTo>
                  <a:pt x="80" y="302"/>
                </a:lnTo>
                <a:lnTo>
                  <a:pt x="82" y="305"/>
                </a:lnTo>
                <a:lnTo>
                  <a:pt x="84" y="307"/>
                </a:lnTo>
                <a:lnTo>
                  <a:pt x="86" y="311"/>
                </a:lnTo>
                <a:lnTo>
                  <a:pt x="88" y="315"/>
                </a:lnTo>
                <a:lnTo>
                  <a:pt x="91" y="317"/>
                </a:lnTo>
                <a:lnTo>
                  <a:pt x="95" y="317"/>
                </a:lnTo>
                <a:lnTo>
                  <a:pt x="95" y="317"/>
                </a:lnTo>
                <a:lnTo>
                  <a:pt x="99" y="315"/>
                </a:lnTo>
                <a:lnTo>
                  <a:pt x="103" y="309"/>
                </a:lnTo>
                <a:lnTo>
                  <a:pt x="107" y="302"/>
                </a:lnTo>
                <a:lnTo>
                  <a:pt x="111" y="294"/>
                </a:lnTo>
                <a:lnTo>
                  <a:pt x="114" y="285"/>
                </a:lnTo>
                <a:lnTo>
                  <a:pt x="116" y="275"/>
                </a:lnTo>
                <a:lnTo>
                  <a:pt x="120" y="267"/>
                </a:lnTo>
                <a:lnTo>
                  <a:pt x="122" y="262"/>
                </a:lnTo>
                <a:lnTo>
                  <a:pt x="122" y="262"/>
                </a:lnTo>
                <a:lnTo>
                  <a:pt x="130" y="265"/>
                </a:lnTo>
                <a:lnTo>
                  <a:pt x="135" y="269"/>
                </a:lnTo>
                <a:lnTo>
                  <a:pt x="143" y="275"/>
                </a:lnTo>
                <a:lnTo>
                  <a:pt x="149" y="279"/>
                </a:lnTo>
                <a:lnTo>
                  <a:pt x="156" y="285"/>
                </a:lnTo>
                <a:lnTo>
                  <a:pt x="162" y="288"/>
                </a:lnTo>
                <a:lnTo>
                  <a:pt x="172" y="290"/>
                </a:lnTo>
                <a:lnTo>
                  <a:pt x="181" y="290"/>
                </a:lnTo>
                <a:lnTo>
                  <a:pt x="181" y="290"/>
                </a:lnTo>
                <a:lnTo>
                  <a:pt x="187" y="290"/>
                </a:lnTo>
                <a:lnTo>
                  <a:pt x="191" y="288"/>
                </a:lnTo>
                <a:lnTo>
                  <a:pt x="193" y="286"/>
                </a:lnTo>
                <a:lnTo>
                  <a:pt x="196" y="283"/>
                </a:lnTo>
                <a:lnTo>
                  <a:pt x="198" y="281"/>
                </a:lnTo>
                <a:lnTo>
                  <a:pt x="200" y="279"/>
                </a:lnTo>
                <a:lnTo>
                  <a:pt x="204" y="277"/>
                </a:lnTo>
                <a:lnTo>
                  <a:pt x="208" y="277"/>
                </a:lnTo>
                <a:lnTo>
                  <a:pt x="208" y="277"/>
                </a:lnTo>
                <a:lnTo>
                  <a:pt x="212" y="277"/>
                </a:lnTo>
                <a:lnTo>
                  <a:pt x="214" y="277"/>
                </a:lnTo>
                <a:lnTo>
                  <a:pt x="215" y="279"/>
                </a:lnTo>
                <a:lnTo>
                  <a:pt x="217" y="283"/>
                </a:lnTo>
                <a:lnTo>
                  <a:pt x="219" y="285"/>
                </a:lnTo>
                <a:lnTo>
                  <a:pt x="219" y="286"/>
                </a:lnTo>
                <a:lnTo>
                  <a:pt x="221" y="288"/>
                </a:lnTo>
                <a:lnTo>
                  <a:pt x="221" y="290"/>
                </a:lnTo>
                <a:lnTo>
                  <a:pt x="221" y="290"/>
                </a:lnTo>
                <a:lnTo>
                  <a:pt x="227" y="290"/>
                </a:lnTo>
                <a:lnTo>
                  <a:pt x="233" y="288"/>
                </a:lnTo>
                <a:lnTo>
                  <a:pt x="236" y="286"/>
                </a:lnTo>
                <a:lnTo>
                  <a:pt x="242" y="286"/>
                </a:lnTo>
                <a:lnTo>
                  <a:pt x="248" y="286"/>
                </a:lnTo>
                <a:lnTo>
                  <a:pt x="252" y="286"/>
                </a:lnTo>
                <a:lnTo>
                  <a:pt x="257" y="286"/>
                </a:lnTo>
                <a:lnTo>
                  <a:pt x="263" y="286"/>
                </a:lnTo>
                <a:lnTo>
                  <a:pt x="263" y="286"/>
                </a:lnTo>
                <a:lnTo>
                  <a:pt x="269" y="286"/>
                </a:lnTo>
                <a:lnTo>
                  <a:pt x="277" y="286"/>
                </a:lnTo>
                <a:lnTo>
                  <a:pt x="282" y="286"/>
                </a:lnTo>
                <a:lnTo>
                  <a:pt x="290" y="288"/>
                </a:lnTo>
                <a:lnTo>
                  <a:pt x="296" y="288"/>
                </a:lnTo>
                <a:lnTo>
                  <a:pt x="301" y="290"/>
                </a:lnTo>
                <a:lnTo>
                  <a:pt x="307" y="290"/>
                </a:lnTo>
                <a:lnTo>
                  <a:pt x="315" y="292"/>
                </a:lnTo>
                <a:lnTo>
                  <a:pt x="320" y="294"/>
                </a:lnTo>
                <a:lnTo>
                  <a:pt x="326" y="298"/>
                </a:lnTo>
                <a:lnTo>
                  <a:pt x="332" y="300"/>
                </a:lnTo>
                <a:lnTo>
                  <a:pt x="336" y="304"/>
                </a:lnTo>
                <a:lnTo>
                  <a:pt x="341" y="305"/>
                </a:lnTo>
                <a:lnTo>
                  <a:pt x="347" y="309"/>
                </a:lnTo>
                <a:lnTo>
                  <a:pt x="353" y="315"/>
                </a:lnTo>
                <a:lnTo>
                  <a:pt x="359" y="319"/>
                </a:lnTo>
                <a:lnTo>
                  <a:pt x="359" y="319"/>
                </a:lnTo>
                <a:lnTo>
                  <a:pt x="360" y="323"/>
                </a:lnTo>
                <a:lnTo>
                  <a:pt x="362" y="326"/>
                </a:lnTo>
                <a:lnTo>
                  <a:pt x="364" y="330"/>
                </a:lnTo>
                <a:lnTo>
                  <a:pt x="366" y="334"/>
                </a:lnTo>
                <a:lnTo>
                  <a:pt x="368" y="338"/>
                </a:lnTo>
                <a:lnTo>
                  <a:pt x="368" y="342"/>
                </a:lnTo>
                <a:lnTo>
                  <a:pt x="370" y="346"/>
                </a:lnTo>
                <a:lnTo>
                  <a:pt x="374" y="349"/>
                </a:lnTo>
                <a:lnTo>
                  <a:pt x="374" y="349"/>
                </a:lnTo>
                <a:lnTo>
                  <a:pt x="380" y="353"/>
                </a:lnTo>
                <a:lnTo>
                  <a:pt x="385" y="359"/>
                </a:lnTo>
                <a:lnTo>
                  <a:pt x="393" y="365"/>
                </a:lnTo>
                <a:lnTo>
                  <a:pt x="399" y="370"/>
                </a:lnTo>
                <a:lnTo>
                  <a:pt x="406" y="374"/>
                </a:lnTo>
                <a:lnTo>
                  <a:pt x="414" y="380"/>
                </a:lnTo>
                <a:lnTo>
                  <a:pt x="420" y="386"/>
                </a:lnTo>
                <a:lnTo>
                  <a:pt x="427" y="389"/>
                </a:lnTo>
                <a:lnTo>
                  <a:pt x="433" y="395"/>
                </a:lnTo>
                <a:lnTo>
                  <a:pt x="441" y="401"/>
                </a:lnTo>
                <a:lnTo>
                  <a:pt x="446" y="407"/>
                </a:lnTo>
                <a:lnTo>
                  <a:pt x="454" y="412"/>
                </a:lnTo>
                <a:lnTo>
                  <a:pt x="460" y="420"/>
                </a:lnTo>
                <a:lnTo>
                  <a:pt x="463" y="426"/>
                </a:lnTo>
                <a:lnTo>
                  <a:pt x="469" y="433"/>
                </a:lnTo>
                <a:lnTo>
                  <a:pt x="473" y="441"/>
                </a:lnTo>
                <a:lnTo>
                  <a:pt x="473" y="441"/>
                </a:lnTo>
                <a:lnTo>
                  <a:pt x="479" y="437"/>
                </a:lnTo>
                <a:lnTo>
                  <a:pt x="484" y="433"/>
                </a:lnTo>
                <a:lnTo>
                  <a:pt x="490" y="431"/>
                </a:lnTo>
                <a:lnTo>
                  <a:pt x="496" y="428"/>
                </a:lnTo>
                <a:lnTo>
                  <a:pt x="500" y="426"/>
                </a:lnTo>
                <a:lnTo>
                  <a:pt x="505" y="424"/>
                </a:lnTo>
                <a:lnTo>
                  <a:pt x="509" y="420"/>
                </a:lnTo>
                <a:lnTo>
                  <a:pt x="515" y="418"/>
                </a:lnTo>
                <a:lnTo>
                  <a:pt x="515" y="418"/>
                </a:lnTo>
                <a:lnTo>
                  <a:pt x="509" y="414"/>
                </a:lnTo>
                <a:lnTo>
                  <a:pt x="504" y="410"/>
                </a:lnTo>
                <a:lnTo>
                  <a:pt x="498" y="405"/>
                </a:lnTo>
                <a:lnTo>
                  <a:pt x="490" y="399"/>
                </a:lnTo>
                <a:lnTo>
                  <a:pt x="483" y="393"/>
                </a:lnTo>
                <a:lnTo>
                  <a:pt x="477" y="389"/>
                </a:lnTo>
                <a:lnTo>
                  <a:pt x="473" y="384"/>
                </a:lnTo>
                <a:lnTo>
                  <a:pt x="469" y="378"/>
                </a:lnTo>
                <a:lnTo>
                  <a:pt x="469" y="378"/>
                </a:lnTo>
                <a:lnTo>
                  <a:pt x="467" y="374"/>
                </a:lnTo>
                <a:lnTo>
                  <a:pt x="467" y="370"/>
                </a:lnTo>
                <a:lnTo>
                  <a:pt x="465" y="365"/>
                </a:lnTo>
                <a:lnTo>
                  <a:pt x="463" y="361"/>
                </a:lnTo>
                <a:lnTo>
                  <a:pt x="462" y="355"/>
                </a:lnTo>
                <a:lnTo>
                  <a:pt x="460" y="351"/>
                </a:lnTo>
                <a:lnTo>
                  <a:pt x="458" y="349"/>
                </a:lnTo>
                <a:lnTo>
                  <a:pt x="456" y="347"/>
                </a:lnTo>
                <a:lnTo>
                  <a:pt x="456" y="347"/>
                </a:lnTo>
                <a:lnTo>
                  <a:pt x="446" y="342"/>
                </a:lnTo>
                <a:lnTo>
                  <a:pt x="439" y="340"/>
                </a:lnTo>
                <a:lnTo>
                  <a:pt x="431" y="336"/>
                </a:lnTo>
                <a:lnTo>
                  <a:pt x="425" y="334"/>
                </a:lnTo>
                <a:lnTo>
                  <a:pt x="418" y="330"/>
                </a:lnTo>
                <a:lnTo>
                  <a:pt x="412" y="328"/>
                </a:lnTo>
                <a:lnTo>
                  <a:pt x="404" y="325"/>
                </a:lnTo>
                <a:lnTo>
                  <a:pt x="399" y="317"/>
                </a:lnTo>
                <a:lnTo>
                  <a:pt x="399" y="317"/>
                </a:lnTo>
                <a:lnTo>
                  <a:pt x="393" y="311"/>
                </a:lnTo>
                <a:lnTo>
                  <a:pt x="389" y="305"/>
                </a:lnTo>
                <a:lnTo>
                  <a:pt x="383" y="298"/>
                </a:lnTo>
                <a:lnTo>
                  <a:pt x="380" y="290"/>
                </a:lnTo>
                <a:lnTo>
                  <a:pt x="374" y="283"/>
                </a:lnTo>
                <a:lnTo>
                  <a:pt x="368" y="277"/>
                </a:lnTo>
                <a:lnTo>
                  <a:pt x="362" y="271"/>
                </a:lnTo>
                <a:lnTo>
                  <a:pt x="355" y="267"/>
                </a:lnTo>
                <a:lnTo>
                  <a:pt x="355" y="267"/>
                </a:lnTo>
                <a:lnTo>
                  <a:pt x="351" y="265"/>
                </a:lnTo>
                <a:lnTo>
                  <a:pt x="345" y="264"/>
                </a:lnTo>
                <a:lnTo>
                  <a:pt x="341" y="262"/>
                </a:lnTo>
                <a:lnTo>
                  <a:pt x="338" y="262"/>
                </a:lnTo>
                <a:lnTo>
                  <a:pt x="334" y="262"/>
                </a:lnTo>
                <a:lnTo>
                  <a:pt x="328" y="260"/>
                </a:lnTo>
                <a:lnTo>
                  <a:pt x="324" y="260"/>
                </a:lnTo>
                <a:lnTo>
                  <a:pt x="320" y="260"/>
                </a:lnTo>
                <a:lnTo>
                  <a:pt x="317" y="258"/>
                </a:lnTo>
                <a:lnTo>
                  <a:pt x="311" y="258"/>
                </a:lnTo>
                <a:lnTo>
                  <a:pt x="307" y="256"/>
                </a:lnTo>
                <a:lnTo>
                  <a:pt x="303" y="256"/>
                </a:lnTo>
                <a:lnTo>
                  <a:pt x="299" y="254"/>
                </a:lnTo>
                <a:lnTo>
                  <a:pt x="296" y="252"/>
                </a:lnTo>
                <a:lnTo>
                  <a:pt x="290" y="248"/>
                </a:lnTo>
                <a:lnTo>
                  <a:pt x="286" y="246"/>
                </a:lnTo>
                <a:lnTo>
                  <a:pt x="286" y="246"/>
                </a:lnTo>
                <a:lnTo>
                  <a:pt x="282" y="243"/>
                </a:lnTo>
                <a:lnTo>
                  <a:pt x="278" y="239"/>
                </a:lnTo>
                <a:lnTo>
                  <a:pt x="277" y="233"/>
                </a:lnTo>
                <a:lnTo>
                  <a:pt x="275" y="227"/>
                </a:lnTo>
                <a:lnTo>
                  <a:pt x="273" y="223"/>
                </a:lnTo>
                <a:lnTo>
                  <a:pt x="271" y="218"/>
                </a:lnTo>
                <a:lnTo>
                  <a:pt x="265" y="214"/>
                </a:lnTo>
                <a:lnTo>
                  <a:pt x="259" y="210"/>
                </a:lnTo>
                <a:lnTo>
                  <a:pt x="259" y="210"/>
                </a:lnTo>
                <a:lnTo>
                  <a:pt x="256" y="212"/>
                </a:lnTo>
                <a:lnTo>
                  <a:pt x="252" y="212"/>
                </a:lnTo>
                <a:lnTo>
                  <a:pt x="248" y="210"/>
                </a:lnTo>
                <a:lnTo>
                  <a:pt x="242" y="206"/>
                </a:lnTo>
                <a:lnTo>
                  <a:pt x="238" y="201"/>
                </a:lnTo>
                <a:lnTo>
                  <a:pt x="233" y="195"/>
                </a:lnTo>
                <a:lnTo>
                  <a:pt x="227" y="187"/>
                </a:lnTo>
                <a:lnTo>
                  <a:pt x="221" y="180"/>
                </a:lnTo>
                <a:lnTo>
                  <a:pt x="217" y="170"/>
                </a:lnTo>
                <a:lnTo>
                  <a:pt x="212" y="162"/>
                </a:lnTo>
                <a:lnTo>
                  <a:pt x="208" y="153"/>
                </a:lnTo>
                <a:lnTo>
                  <a:pt x="204" y="143"/>
                </a:lnTo>
                <a:lnTo>
                  <a:pt x="200" y="136"/>
                </a:lnTo>
                <a:lnTo>
                  <a:pt x="198" y="130"/>
                </a:lnTo>
                <a:lnTo>
                  <a:pt x="196" y="124"/>
                </a:lnTo>
                <a:lnTo>
                  <a:pt x="194" y="119"/>
                </a:lnTo>
                <a:lnTo>
                  <a:pt x="194" y="119"/>
                </a:lnTo>
                <a:lnTo>
                  <a:pt x="194" y="111"/>
                </a:lnTo>
                <a:lnTo>
                  <a:pt x="193" y="103"/>
                </a:lnTo>
                <a:lnTo>
                  <a:pt x="191" y="94"/>
                </a:lnTo>
                <a:lnTo>
                  <a:pt x="189" y="86"/>
                </a:lnTo>
                <a:lnTo>
                  <a:pt x="185" y="77"/>
                </a:lnTo>
                <a:lnTo>
                  <a:pt x="183" y="67"/>
                </a:lnTo>
                <a:lnTo>
                  <a:pt x="179" y="59"/>
                </a:lnTo>
                <a:lnTo>
                  <a:pt x="175" y="50"/>
                </a:lnTo>
                <a:lnTo>
                  <a:pt x="172" y="42"/>
                </a:lnTo>
                <a:lnTo>
                  <a:pt x="168" y="33"/>
                </a:lnTo>
                <a:lnTo>
                  <a:pt x="164" y="25"/>
                </a:lnTo>
                <a:lnTo>
                  <a:pt x="158" y="19"/>
                </a:lnTo>
                <a:lnTo>
                  <a:pt x="153" y="14"/>
                </a:lnTo>
                <a:lnTo>
                  <a:pt x="149" y="8"/>
                </a:lnTo>
                <a:lnTo>
                  <a:pt x="143" y="4"/>
                </a:lnTo>
                <a:lnTo>
                  <a:pt x="135" y="0"/>
                </a:lnTo>
                <a:lnTo>
                  <a:pt x="135" y="0"/>
                </a:lnTo>
                <a:lnTo>
                  <a:pt x="135" y="12"/>
                </a:lnTo>
                <a:lnTo>
                  <a:pt x="132" y="23"/>
                </a:lnTo>
                <a:lnTo>
                  <a:pt x="126" y="33"/>
                </a:lnTo>
                <a:lnTo>
                  <a:pt x="118" y="40"/>
                </a:lnTo>
                <a:lnTo>
                  <a:pt x="111" y="46"/>
                </a:lnTo>
                <a:lnTo>
                  <a:pt x="101" y="54"/>
                </a:lnTo>
                <a:lnTo>
                  <a:pt x="91" y="59"/>
                </a:lnTo>
                <a:lnTo>
                  <a:pt x="80" y="65"/>
                </a:lnTo>
                <a:lnTo>
                  <a:pt x="69" y="71"/>
                </a:lnTo>
                <a:lnTo>
                  <a:pt x="59" y="77"/>
                </a:lnTo>
                <a:lnTo>
                  <a:pt x="50" y="82"/>
                </a:lnTo>
                <a:lnTo>
                  <a:pt x="42" y="90"/>
                </a:lnTo>
                <a:lnTo>
                  <a:pt x="34" y="98"/>
                </a:lnTo>
                <a:lnTo>
                  <a:pt x="29" y="105"/>
                </a:lnTo>
                <a:lnTo>
                  <a:pt x="25" y="117"/>
                </a:lnTo>
                <a:lnTo>
                  <a:pt x="25" y="128"/>
                </a:lnTo>
                <a:lnTo>
                  <a:pt x="25" y="128"/>
                </a:lnTo>
                <a:lnTo>
                  <a:pt x="25" y="130"/>
                </a:lnTo>
                <a:lnTo>
                  <a:pt x="25" y="134"/>
                </a:lnTo>
                <a:lnTo>
                  <a:pt x="25" y="138"/>
                </a:lnTo>
                <a:lnTo>
                  <a:pt x="25" y="140"/>
                </a:lnTo>
                <a:lnTo>
                  <a:pt x="25" y="143"/>
                </a:lnTo>
                <a:lnTo>
                  <a:pt x="25" y="145"/>
                </a:lnTo>
                <a:lnTo>
                  <a:pt x="25" y="149"/>
                </a:lnTo>
                <a:lnTo>
                  <a:pt x="25" y="153"/>
                </a:lnTo>
                <a:lnTo>
                  <a:pt x="25" y="153"/>
                </a:lnTo>
                <a:lnTo>
                  <a:pt x="23" y="157"/>
                </a:lnTo>
                <a:lnTo>
                  <a:pt x="23" y="162"/>
                </a:lnTo>
                <a:lnTo>
                  <a:pt x="23" y="166"/>
                </a:lnTo>
                <a:lnTo>
                  <a:pt x="21" y="172"/>
                </a:lnTo>
                <a:lnTo>
                  <a:pt x="19" y="178"/>
                </a:lnTo>
                <a:lnTo>
                  <a:pt x="17" y="183"/>
                </a:lnTo>
                <a:lnTo>
                  <a:pt x="15" y="191"/>
                </a:lnTo>
                <a:lnTo>
                  <a:pt x="13" y="197"/>
                </a:lnTo>
                <a:lnTo>
                  <a:pt x="9" y="202"/>
                </a:lnTo>
                <a:lnTo>
                  <a:pt x="8" y="208"/>
                </a:lnTo>
                <a:lnTo>
                  <a:pt x="6" y="216"/>
                </a:lnTo>
                <a:lnTo>
                  <a:pt x="4" y="222"/>
                </a:lnTo>
                <a:lnTo>
                  <a:pt x="2" y="227"/>
                </a:lnTo>
                <a:lnTo>
                  <a:pt x="2" y="235"/>
                </a:lnTo>
                <a:lnTo>
                  <a:pt x="0" y="241"/>
                </a:lnTo>
                <a:lnTo>
                  <a:pt x="0" y="246"/>
                </a:lnTo>
                <a:lnTo>
                  <a:pt x="0" y="246"/>
                </a:lnTo>
                <a:lnTo>
                  <a:pt x="0" y="254"/>
                </a:lnTo>
                <a:lnTo>
                  <a:pt x="2" y="262"/>
                </a:lnTo>
                <a:lnTo>
                  <a:pt x="2" y="269"/>
                </a:lnTo>
                <a:lnTo>
                  <a:pt x="4" y="277"/>
                </a:lnTo>
                <a:lnTo>
                  <a:pt x="6" y="285"/>
                </a:lnTo>
                <a:lnTo>
                  <a:pt x="6" y="292"/>
                </a:lnTo>
                <a:lnTo>
                  <a:pt x="8" y="300"/>
                </a:lnTo>
                <a:lnTo>
                  <a:pt x="8" y="307"/>
                </a:lnTo>
                <a:lnTo>
                  <a:pt x="6" y="307"/>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87" name="Freeform 59"/>
          <p:cNvSpPr>
            <a:spLocks/>
          </p:cNvSpPr>
          <p:nvPr>
            <p:custDataLst>
              <p:tags r:id="rId59"/>
            </p:custDataLst>
          </p:nvPr>
        </p:nvSpPr>
        <p:spPr bwMode="gray">
          <a:xfrm>
            <a:off x="4979398" y="2662869"/>
            <a:ext cx="1062615" cy="819591"/>
          </a:xfrm>
          <a:custGeom>
            <a:avLst/>
            <a:gdLst/>
            <a:ahLst/>
            <a:cxnLst>
              <a:cxn ang="0">
                <a:pos x="246" y="55"/>
              </a:cxn>
              <a:cxn ang="0">
                <a:pos x="229" y="108"/>
              </a:cxn>
              <a:cxn ang="0">
                <a:pos x="231" y="154"/>
              </a:cxn>
              <a:cxn ang="0">
                <a:pos x="216" y="181"/>
              </a:cxn>
              <a:cxn ang="0">
                <a:pos x="193" y="185"/>
              </a:cxn>
              <a:cxn ang="0">
                <a:pos x="174" y="217"/>
              </a:cxn>
              <a:cxn ang="0">
                <a:pos x="157" y="257"/>
              </a:cxn>
              <a:cxn ang="0">
                <a:pos x="147" y="309"/>
              </a:cxn>
              <a:cxn ang="0">
                <a:pos x="126" y="337"/>
              </a:cxn>
              <a:cxn ang="0">
                <a:pos x="98" y="362"/>
              </a:cxn>
              <a:cxn ang="0">
                <a:pos x="98" y="383"/>
              </a:cxn>
              <a:cxn ang="0">
                <a:pos x="82" y="429"/>
              </a:cxn>
              <a:cxn ang="0">
                <a:pos x="80" y="475"/>
              </a:cxn>
              <a:cxn ang="0">
                <a:pos x="77" y="511"/>
              </a:cxn>
              <a:cxn ang="0">
                <a:pos x="40" y="530"/>
              </a:cxn>
              <a:cxn ang="0">
                <a:pos x="14" y="547"/>
              </a:cxn>
              <a:cxn ang="0">
                <a:pos x="2" y="562"/>
              </a:cxn>
              <a:cxn ang="0">
                <a:pos x="18" y="581"/>
              </a:cxn>
              <a:cxn ang="0">
                <a:pos x="58" y="591"/>
              </a:cxn>
              <a:cxn ang="0">
                <a:pos x="101" y="629"/>
              </a:cxn>
              <a:cxn ang="0">
                <a:pos x="140" y="673"/>
              </a:cxn>
              <a:cxn ang="0">
                <a:pos x="151" y="702"/>
              </a:cxn>
              <a:cxn ang="0">
                <a:pos x="161" y="738"/>
              </a:cxn>
              <a:cxn ang="0">
                <a:pos x="182" y="761"/>
              </a:cxn>
              <a:cxn ang="0">
                <a:pos x="216" y="768"/>
              </a:cxn>
              <a:cxn ang="0">
                <a:pos x="227" y="814"/>
              </a:cxn>
              <a:cxn ang="0">
                <a:pos x="233" y="828"/>
              </a:cxn>
              <a:cxn ang="0">
                <a:pos x="281" y="849"/>
              </a:cxn>
              <a:cxn ang="0">
                <a:pos x="348" y="873"/>
              </a:cxn>
              <a:cxn ang="0">
                <a:pos x="456" y="906"/>
              </a:cxn>
              <a:cxn ang="0">
                <a:pos x="504" y="919"/>
              </a:cxn>
              <a:cxn ang="0">
                <a:pos x="542" y="904"/>
              </a:cxn>
              <a:cxn ang="0">
                <a:pos x="582" y="860"/>
              </a:cxn>
              <a:cxn ang="0">
                <a:pos x="624" y="852"/>
              </a:cxn>
              <a:cxn ang="0">
                <a:pos x="657" y="873"/>
              </a:cxn>
              <a:cxn ang="0">
                <a:pos x="754" y="850"/>
              </a:cxn>
              <a:cxn ang="0">
                <a:pos x="830" y="799"/>
              </a:cxn>
              <a:cxn ang="0">
                <a:pos x="853" y="454"/>
              </a:cxn>
              <a:cxn ang="0">
                <a:pos x="813" y="425"/>
              </a:cxn>
              <a:cxn ang="0">
                <a:pos x="779" y="379"/>
              </a:cxn>
              <a:cxn ang="0">
                <a:pos x="754" y="347"/>
              </a:cxn>
              <a:cxn ang="0">
                <a:pos x="737" y="322"/>
              </a:cxn>
              <a:cxn ang="0">
                <a:pos x="765" y="284"/>
              </a:cxn>
              <a:cxn ang="0">
                <a:pos x="748" y="276"/>
              </a:cxn>
              <a:cxn ang="0">
                <a:pos x="693" y="299"/>
              </a:cxn>
              <a:cxn ang="0">
                <a:pos x="668" y="265"/>
              </a:cxn>
              <a:cxn ang="0">
                <a:pos x="674" y="215"/>
              </a:cxn>
              <a:cxn ang="0">
                <a:pos x="706" y="171"/>
              </a:cxn>
              <a:cxn ang="0">
                <a:pos x="664" y="127"/>
              </a:cxn>
              <a:cxn ang="0">
                <a:pos x="617" y="91"/>
              </a:cxn>
              <a:cxn ang="0">
                <a:pos x="601" y="68"/>
              </a:cxn>
              <a:cxn ang="0">
                <a:pos x="578" y="43"/>
              </a:cxn>
              <a:cxn ang="0">
                <a:pos x="538" y="28"/>
              </a:cxn>
              <a:cxn ang="0">
                <a:pos x="500" y="24"/>
              </a:cxn>
              <a:cxn ang="0">
                <a:pos x="464" y="28"/>
              </a:cxn>
              <a:cxn ang="0">
                <a:pos x="452" y="17"/>
              </a:cxn>
              <a:cxn ang="0">
                <a:pos x="435" y="19"/>
              </a:cxn>
              <a:cxn ang="0">
                <a:pos x="409" y="28"/>
              </a:cxn>
              <a:cxn ang="0">
                <a:pos x="359" y="0"/>
              </a:cxn>
              <a:cxn ang="0">
                <a:pos x="340" y="47"/>
              </a:cxn>
              <a:cxn ang="0">
                <a:pos x="321" y="45"/>
              </a:cxn>
              <a:cxn ang="0">
                <a:pos x="245" y="45"/>
              </a:cxn>
            </a:cxnLst>
            <a:rect l="0" t="0" r="r" b="b"/>
            <a:pathLst>
              <a:path w="1158" h="919">
                <a:moveTo>
                  <a:pt x="245" y="45"/>
                </a:moveTo>
                <a:lnTo>
                  <a:pt x="245" y="45"/>
                </a:lnTo>
                <a:lnTo>
                  <a:pt x="245" y="47"/>
                </a:lnTo>
                <a:lnTo>
                  <a:pt x="246" y="49"/>
                </a:lnTo>
                <a:lnTo>
                  <a:pt x="246" y="53"/>
                </a:lnTo>
                <a:lnTo>
                  <a:pt x="246" y="55"/>
                </a:lnTo>
                <a:lnTo>
                  <a:pt x="246" y="55"/>
                </a:lnTo>
                <a:lnTo>
                  <a:pt x="245" y="64"/>
                </a:lnTo>
                <a:lnTo>
                  <a:pt x="243" y="74"/>
                </a:lnTo>
                <a:lnTo>
                  <a:pt x="241" y="82"/>
                </a:lnTo>
                <a:lnTo>
                  <a:pt x="237" y="87"/>
                </a:lnTo>
                <a:lnTo>
                  <a:pt x="235" y="95"/>
                </a:lnTo>
                <a:lnTo>
                  <a:pt x="231" y="103"/>
                </a:lnTo>
                <a:lnTo>
                  <a:pt x="229" y="108"/>
                </a:lnTo>
                <a:lnTo>
                  <a:pt x="227" y="114"/>
                </a:lnTo>
                <a:lnTo>
                  <a:pt x="227" y="114"/>
                </a:lnTo>
                <a:lnTo>
                  <a:pt x="227" y="122"/>
                </a:lnTo>
                <a:lnTo>
                  <a:pt x="227" y="131"/>
                </a:lnTo>
                <a:lnTo>
                  <a:pt x="229" y="139"/>
                </a:lnTo>
                <a:lnTo>
                  <a:pt x="231" y="147"/>
                </a:lnTo>
                <a:lnTo>
                  <a:pt x="231" y="154"/>
                </a:lnTo>
                <a:lnTo>
                  <a:pt x="231" y="162"/>
                </a:lnTo>
                <a:lnTo>
                  <a:pt x="229" y="169"/>
                </a:lnTo>
                <a:lnTo>
                  <a:pt x="225" y="175"/>
                </a:lnTo>
                <a:lnTo>
                  <a:pt x="225" y="175"/>
                </a:lnTo>
                <a:lnTo>
                  <a:pt x="224" y="177"/>
                </a:lnTo>
                <a:lnTo>
                  <a:pt x="220" y="179"/>
                </a:lnTo>
                <a:lnTo>
                  <a:pt x="216" y="181"/>
                </a:lnTo>
                <a:lnTo>
                  <a:pt x="212" y="181"/>
                </a:lnTo>
                <a:lnTo>
                  <a:pt x="208" y="181"/>
                </a:lnTo>
                <a:lnTo>
                  <a:pt x="204" y="181"/>
                </a:lnTo>
                <a:lnTo>
                  <a:pt x="201" y="181"/>
                </a:lnTo>
                <a:lnTo>
                  <a:pt x="199" y="181"/>
                </a:lnTo>
                <a:lnTo>
                  <a:pt x="199" y="181"/>
                </a:lnTo>
                <a:lnTo>
                  <a:pt x="193" y="185"/>
                </a:lnTo>
                <a:lnTo>
                  <a:pt x="189" y="190"/>
                </a:lnTo>
                <a:lnTo>
                  <a:pt x="185" y="194"/>
                </a:lnTo>
                <a:lnTo>
                  <a:pt x="184" y="198"/>
                </a:lnTo>
                <a:lnTo>
                  <a:pt x="182" y="202"/>
                </a:lnTo>
                <a:lnTo>
                  <a:pt x="180" y="208"/>
                </a:lnTo>
                <a:lnTo>
                  <a:pt x="178" y="211"/>
                </a:lnTo>
                <a:lnTo>
                  <a:pt x="174" y="217"/>
                </a:lnTo>
                <a:lnTo>
                  <a:pt x="174" y="217"/>
                </a:lnTo>
                <a:lnTo>
                  <a:pt x="170" y="225"/>
                </a:lnTo>
                <a:lnTo>
                  <a:pt x="166" y="230"/>
                </a:lnTo>
                <a:lnTo>
                  <a:pt x="163" y="236"/>
                </a:lnTo>
                <a:lnTo>
                  <a:pt x="161" y="244"/>
                </a:lnTo>
                <a:lnTo>
                  <a:pt x="157" y="251"/>
                </a:lnTo>
                <a:lnTo>
                  <a:pt x="157" y="257"/>
                </a:lnTo>
                <a:lnTo>
                  <a:pt x="155" y="265"/>
                </a:lnTo>
                <a:lnTo>
                  <a:pt x="153" y="271"/>
                </a:lnTo>
                <a:lnTo>
                  <a:pt x="151" y="278"/>
                </a:lnTo>
                <a:lnTo>
                  <a:pt x="151" y="286"/>
                </a:lnTo>
                <a:lnTo>
                  <a:pt x="149" y="293"/>
                </a:lnTo>
                <a:lnTo>
                  <a:pt x="149" y="301"/>
                </a:lnTo>
                <a:lnTo>
                  <a:pt x="147" y="309"/>
                </a:lnTo>
                <a:lnTo>
                  <a:pt x="145" y="316"/>
                </a:lnTo>
                <a:lnTo>
                  <a:pt x="142" y="324"/>
                </a:lnTo>
                <a:lnTo>
                  <a:pt x="140" y="333"/>
                </a:lnTo>
                <a:lnTo>
                  <a:pt x="140" y="333"/>
                </a:lnTo>
                <a:lnTo>
                  <a:pt x="138" y="335"/>
                </a:lnTo>
                <a:lnTo>
                  <a:pt x="132" y="335"/>
                </a:lnTo>
                <a:lnTo>
                  <a:pt x="126" y="337"/>
                </a:lnTo>
                <a:lnTo>
                  <a:pt x="119" y="337"/>
                </a:lnTo>
                <a:lnTo>
                  <a:pt x="111" y="339"/>
                </a:lnTo>
                <a:lnTo>
                  <a:pt x="103" y="343"/>
                </a:lnTo>
                <a:lnTo>
                  <a:pt x="100" y="351"/>
                </a:lnTo>
                <a:lnTo>
                  <a:pt x="98" y="358"/>
                </a:lnTo>
                <a:lnTo>
                  <a:pt x="98" y="358"/>
                </a:lnTo>
                <a:lnTo>
                  <a:pt x="98" y="362"/>
                </a:lnTo>
                <a:lnTo>
                  <a:pt x="98" y="368"/>
                </a:lnTo>
                <a:lnTo>
                  <a:pt x="98" y="370"/>
                </a:lnTo>
                <a:lnTo>
                  <a:pt x="98" y="374"/>
                </a:lnTo>
                <a:lnTo>
                  <a:pt x="98" y="377"/>
                </a:lnTo>
                <a:lnTo>
                  <a:pt x="98" y="379"/>
                </a:lnTo>
                <a:lnTo>
                  <a:pt x="98" y="381"/>
                </a:lnTo>
                <a:lnTo>
                  <a:pt x="98" y="383"/>
                </a:lnTo>
                <a:lnTo>
                  <a:pt x="98" y="383"/>
                </a:lnTo>
                <a:lnTo>
                  <a:pt x="96" y="391"/>
                </a:lnTo>
                <a:lnTo>
                  <a:pt x="92" y="398"/>
                </a:lnTo>
                <a:lnTo>
                  <a:pt x="90" y="406"/>
                </a:lnTo>
                <a:lnTo>
                  <a:pt x="86" y="414"/>
                </a:lnTo>
                <a:lnTo>
                  <a:pt x="84" y="421"/>
                </a:lnTo>
                <a:lnTo>
                  <a:pt x="82" y="429"/>
                </a:lnTo>
                <a:lnTo>
                  <a:pt x="80" y="436"/>
                </a:lnTo>
                <a:lnTo>
                  <a:pt x="80" y="444"/>
                </a:lnTo>
                <a:lnTo>
                  <a:pt x="80" y="444"/>
                </a:lnTo>
                <a:lnTo>
                  <a:pt x="80" y="454"/>
                </a:lnTo>
                <a:lnTo>
                  <a:pt x="80" y="461"/>
                </a:lnTo>
                <a:lnTo>
                  <a:pt x="80" y="469"/>
                </a:lnTo>
                <a:lnTo>
                  <a:pt x="80" y="475"/>
                </a:lnTo>
                <a:lnTo>
                  <a:pt x="80" y="482"/>
                </a:lnTo>
                <a:lnTo>
                  <a:pt x="80" y="488"/>
                </a:lnTo>
                <a:lnTo>
                  <a:pt x="80" y="494"/>
                </a:lnTo>
                <a:lnTo>
                  <a:pt x="80" y="498"/>
                </a:lnTo>
                <a:lnTo>
                  <a:pt x="80" y="498"/>
                </a:lnTo>
                <a:lnTo>
                  <a:pt x="79" y="505"/>
                </a:lnTo>
                <a:lnTo>
                  <a:pt x="77" y="511"/>
                </a:lnTo>
                <a:lnTo>
                  <a:pt x="75" y="517"/>
                </a:lnTo>
                <a:lnTo>
                  <a:pt x="69" y="520"/>
                </a:lnTo>
                <a:lnTo>
                  <a:pt x="65" y="522"/>
                </a:lnTo>
                <a:lnTo>
                  <a:pt x="60" y="524"/>
                </a:lnTo>
                <a:lnTo>
                  <a:pt x="54" y="526"/>
                </a:lnTo>
                <a:lnTo>
                  <a:pt x="46" y="528"/>
                </a:lnTo>
                <a:lnTo>
                  <a:pt x="40" y="530"/>
                </a:lnTo>
                <a:lnTo>
                  <a:pt x="35" y="530"/>
                </a:lnTo>
                <a:lnTo>
                  <a:pt x="29" y="532"/>
                </a:lnTo>
                <a:lnTo>
                  <a:pt x="23" y="534"/>
                </a:lnTo>
                <a:lnTo>
                  <a:pt x="19" y="536"/>
                </a:lnTo>
                <a:lnTo>
                  <a:pt x="16" y="539"/>
                </a:lnTo>
                <a:lnTo>
                  <a:pt x="14" y="543"/>
                </a:lnTo>
                <a:lnTo>
                  <a:pt x="14" y="547"/>
                </a:lnTo>
                <a:lnTo>
                  <a:pt x="14" y="547"/>
                </a:lnTo>
                <a:lnTo>
                  <a:pt x="12" y="551"/>
                </a:lnTo>
                <a:lnTo>
                  <a:pt x="10" y="555"/>
                </a:lnTo>
                <a:lnTo>
                  <a:pt x="10" y="557"/>
                </a:lnTo>
                <a:lnTo>
                  <a:pt x="8" y="559"/>
                </a:lnTo>
                <a:lnTo>
                  <a:pt x="4" y="560"/>
                </a:lnTo>
                <a:lnTo>
                  <a:pt x="2" y="562"/>
                </a:lnTo>
                <a:lnTo>
                  <a:pt x="2" y="566"/>
                </a:lnTo>
                <a:lnTo>
                  <a:pt x="0" y="570"/>
                </a:lnTo>
                <a:lnTo>
                  <a:pt x="0" y="570"/>
                </a:lnTo>
                <a:lnTo>
                  <a:pt x="2" y="576"/>
                </a:lnTo>
                <a:lnTo>
                  <a:pt x="6" y="580"/>
                </a:lnTo>
                <a:lnTo>
                  <a:pt x="12" y="581"/>
                </a:lnTo>
                <a:lnTo>
                  <a:pt x="18" y="581"/>
                </a:lnTo>
                <a:lnTo>
                  <a:pt x="25" y="581"/>
                </a:lnTo>
                <a:lnTo>
                  <a:pt x="33" y="581"/>
                </a:lnTo>
                <a:lnTo>
                  <a:pt x="39" y="581"/>
                </a:lnTo>
                <a:lnTo>
                  <a:pt x="44" y="583"/>
                </a:lnTo>
                <a:lnTo>
                  <a:pt x="44" y="583"/>
                </a:lnTo>
                <a:lnTo>
                  <a:pt x="50" y="587"/>
                </a:lnTo>
                <a:lnTo>
                  <a:pt x="58" y="591"/>
                </a:lnTo>
                <a:lnTo>
                  <a:pt x="63" y="595"/>
                </a:lnTo>
                <a:lnTo>
                  <a:pt x="69" y="601"/>
                </a:lnTo>
                <a:lnTo>
                  <a:pt x="77" y="606"/>
                </a:lnTo>
                <a:lnTo>
                  <a:pt x="82" y="612"/>
                </a:lnTo>
                <a:lnTo>
                  <a:pt x="88" y="618"/>
                </a:lnTo>
                <a:lnTo>
                  <a:pt x="96" y="623"/>
                </a:lnTo>
                <a:lnTo>
                  <a:pt x="101" y="629"/>
                </a:lnTo>
                <a:lnTo>
                  <a:pt x="107" y="637"/>
                </a:lnTo>
                <a:lnTo>
                  <a:pt x="115" y="643"/>
                </a:lnTo>
                <a:lnTo>
                  <a:pt x="121" y="648"/>
                </a:lnTo>
                <a:lnTo>
                  <a:pt x="126" y="654"/>
                </a:lnTo>
                <a:lnTo>
                  <a:pt x="130" y="662"/>
                </a:lnTo>
                <a:lnTo>
                  <a:pt x="136" y="667"/>
                </a:lnTo>
                <a:lnTo>
                  <a:pt x="140" y="673"/>
                </a:lnTo>
                <a:lnTo>
                  <a:pt x="140" y="673"/>
                </a:lnTo>
                <a:lnTo>
                  <a:pt x="142" y="677"/>
                </a:lnTo>
                <a:lnTo>
                  <a:pt x="145" y="681"/>
                </a:lnTo>
                <a:lnTo>
                  <a:pt x="147" y="686"/>
                </a:lnTo>
                <a:lnTo>
                  <a:pt x="149" y="690"/>
                </a:lnTo>
                <a:lnTo>
                  <a:pt x="151" y="696"/>
                </a:lnTo>
                <a:lnTo>
                  <a:pt x="151" y="702"/>
                </a:lnTo>
                <a:lnTo>
                  <a:pt x="153" y="707"/>
                </a:lnTo>
                <a:lnTo>
                  <a:pt x="153" y="711"/>
                </a:lnTo>
                <a:lnTo>
                  <a:pt x="155" y="717"/>
                </a:lnTo>
                <a:lnTo>
                  <a:pt x="157" y="723"/>
                </a:lnTo>
                <a:lnTo>
                  <a:pt x="157" y="728"/>
                </a:lnTo>
                <a:lnTo>
                  <a:pt x="159" y="732"/>
                </a:lnTo>
                <a:lnTo>
                  <a:pt x="161" y="738"/>
                </a:lnTo>
                <a:lnTo>
                  <a:pt x="163" y="744"/>
                </a:lnTo>
                <a:lnTo>
                  <a:pt x="166" y="747"/>
                </a:lnTo>
                <a:lnTo>
                  <a:pt x="168" y="753"/>
                </a:lnTo>
                <a:lnTo>
                  <a:pt x="168" y="753"/>
                </a:lnTo>
                <a:lnTo>
                  <a:pt x="172" y="757"/>
                </a:lnTo>
                <a:lnTo>
                  <a:pt x="178" y="759"/>
                </a:lnTo>
                <a:lnTo>
                  <a:pt x="182" y="761"/>
                </a:lnTo>
                <a:lnTo>
                  <a:pt x="187" y="761"/>
                </a:lnTo>
                <a:lnTo>
                  <a:pt x="193" y="763"/>
                </a:lnTo>
                <a:lnTo>
                  <a:pt x="199" y="763"/>
                </a:lnTo>
                <a:lnTo>
                  <a:pt x="204" y="763"/>
                </a:lnTo>
                <a:lnTo>
                  <a:pt x="210" y="765"/>
                </a:lnTo>
                <a:lnTo>
                  <a:pt x="210" y="765"/>
                </a:lnTo>
                <a:lnTo>
                  <a:pt x="216" y="768"/>
                </a:lnTo>
                <a:lnTo>
                  <a:pt x="222" y="772"/>
                </a:lnTo>
                <a:lnTo>
                  <a:pt x="224" y="778"/>
                </a:lnTo>
                <a:lnTo>
                  <a:pt x="225" y="786"/>
                </a:lnTo>
                <a:lnTo>
                  <a:pt x="227" y="793"/>
                </a:lnTo>
                <a:lnTo>
                  <a:pt x="227" y="801"/>
                </a:lnTo>
                <a:lnTo>
                  <a:pt x="227" y="808"/>
                </a:lnTo>
                <a:lnTo>
                  <a:pt x="227" y="814"/>
                </a:lnTo>
                <a:lnTo>
                  <a:pt x="227" y="814"/>
                </a:lnTo>
                <a:lnTo>
                  <a:pt x="227" y="816"/>
                </a:lnTo>
                <a:lnTo>
                  <a:pt x="229" y="818"/>
                </a:lnTo>
                <a:lnTo>
                  <a:pt x="229" y="822"/>
                </a:lnTo>
                <a:lnTo>
                  <a:pt x="231" y="824"/>
                </a:lnTo>
                <a:lnTo>
                  <a:pt x="231" y="826"/>
                </a:lnTo>
                <a:lnTo>
                  <a:pt x="233" y="828"/>
                </a:lnTo>
                <a:lnTo>
                  <a:pt x="233" y="829"/>
                </a:lnTo>
                <a:lnTo>
                  <a:pt x="233" y="831"/>
                </a:lnTo>
                <a:lnTo>
                  <a:pt x="233" y="831"/>
                </a:lnTo>
                <a:lnTo>
                  <a:pt x="246" y="837"/>
                </a:lnTo>
                <a:lnTo>
                  <a:pt x="260" y="841"/>
                </a:lnTo>
                <a:lnTo>
                  <a:pt x="269" y="845"/>
                </a:lnTo>
                <a:lnTo>
                  <a:pt x="281" y="849"/>
                </a:lnTo>
                <a:lnTo>
                  <a:pt x="292" y="852"/>
                </a:lnTo>
                <a:lnTo>
                  <a:pt x="302" y="854"/>
                </a:lnTo>
                <a:lnTo>
                  <a:pt x="311" y="858"/>
                </a:lnTo>
                <a:lnTo>
                  <a:pt x="321" y="862"/>
                </a:lnTo>
                <a:lnTo>
                  <a:pt x="330" y="866"/>
                </a:lnTo>
                <a:lnTo>
                  <a:pt x="340" y="870"/>
                </a:lnTo>
                <a:lnTo>
                  <a:pt x="348" y="873"/>
                </a:lnTo>
                <a:lnTo>
                  <a:pt x="357" y="877"/>
                </a:lnTo>
                <a:lnTo>
                  <a:pt x="367" y="885"/>
                </a:lnTo>
                <a:lnTo>
                  <a:pt x="376" y="891"/>
                </a:lnTo>
                <a:lnTo>
                  <a:pt x="388" y="898"/>
                </a:lnTo>
                <a:lnTo>
                  <a:pt x="397" y="906"/>
                </a:lnTo>
                <a:lnTo>
                  <a:pt x="456" y="906"/>
                </a:lnTo>
                <a:lnTo>
                  <a:pt x="456" y="906"/>
                </a:lnTo>
                <a:lnTo>
                  <a:pt x="460" y="908"/>
                </a:lnTo>
                <a:lnTo>
                  <a:pt x="466" y="912"/>
                </a:lnTo>
                <a:lnTo>
                  <a:pt x="473" y="913"/>
                </a:lnTo>
                <a:lnTo>
                  <a:pt x="481" y="915"/>
                </a:lnTo>
                <a:lnTo>
                  <a:pt x="489" y="917"/>
                </a:lnTo>
                <a:lnTo>
                  <a:pt x="496" y="919"/>
                </a:lnTo>
                <a:lnTo>
                  <a:pt x="504" y="919"/>
                </a:lnTo>
                <a:lnTo>
                  <a:pt x="512" y="919"/>
                </a:lnTo>
                <a:lnTo>
                  <a:pt x="512" y="919"/>
                </a:lnTo>
                <a:lnTo>
                  <a:pt x="517" y="919"/>
                </a:lnTo>
                <a:lnTo>
                  <a:pt x="525" y="917"/>
                </a:lnTo>
                <a:lnTo>
                  <a:pt x="531" y="913"/>
                </a:lnTo>
                <a:lnTo>
                  <a:pt x="536" y="910"/>
                </a:lnTo>
                <a:lnTo>
                  <a:pt x="542" y="904"/>
                </a:lnTo>
                <a:lnTo>
                  <a:pt x="548" y="898"/>
                </a:lnTo>
                <a:lnTo>
                  <a:pt x="552" y="891"/>
                </a:lnTo>
                <a:lnTo>
                  <a:pt x="557" y="885"/>
                </a:lnTo>
                <a:lnTo>
                  <a:pt x="563" y="877"/>
                </a:lnTo>
                <a:lnTo>
                  <a:pt x="569" y="871"/>
                </a:lnTo>
                <a:lnTo>
                  <a:pt x="575" y="866"/>
                </a:lnTo>
                <a:lnTo>
                  <a:pt x="582" y="860"/>
                </a:lnTo>
                <a:lnTo>
                  <a:pt x="588" y="856"/>
                </a:lnTo>
                <a:lnTo>
                  <a:pt x="596" y="852"/>
                </a:lnTo>
                <a:lnTo>
                  <a:pt x="603" y="850"/>
                </a:lnTo>
                <a:lnTo>
                  <a:pt x="611" y="849"/>
                </a:lnTo>
                <a:lnTo>
                  <a:pt x="611" y="849"/>
                </a:lnTo>
                <a:lnTo>
                  <a:pt x="618" y="850"/>
                </a:lnTo>
                <a:lnTo>
                  <a:pt x="624" y="852"/>
                </a:lnTo>
                <a:lnTo>
                  <a:pt x="630" y="856"/>
                </a:lnTo>
                <a:lnTo>
                  <a:pt x="634" y="860"/>
                </a:lnTo>
                <a:lnTo>
                  <a:pt x="637" y="866"/>
                </a:lnTo>
                <a:lnTo>
                  <a:pt x="641" y="870"/>
                </a:lnTo>
                <a:lnTo>
                  <a:pt x="649" y="871"/>
                </a:lnTo>
                <a:lnTo>
                  <a:pt x="657" y="873"/>
                </a:lnTo>
                <a:lnTo>
                  <a:pt x="657" y="873"/>
                </a:lnTo>
                <a:lnTo>
                  <a:pt x="672" y="871"/>
                </a:lnTo>
                <a:lnTo>
                  <a:pt x="685" y="871"/>
                </a:lnTo>
                <a:lnTo>
                  <a:pt x="700" y="868"/>
                </a:lnTo>
                <a:lnTo>
                  <a:pt x="714" y="866"/>
                </a:lnTo>
                <a:lnTo>
                  <a:pt x="727" y="860"/>
                </a:lnTo>
                <a:lnTo>
                  <a:pt x="741" y="856"/>
                </a:lnTo>
                <a:lnTo>
                  <a:pt x="754" y="850"/>
                </a:lnTo>
                <a:lnTo>
                  <a:pt x="765" y="843"/>
                </a:lnTo>
                <a:lnTo>
                  <a:pt x="779" y="837"/>
                </a:lnTo>
                <a:lnTo>
                  <a:pt x="790" y="831"/>
                </a:lnTo>
                <a:lnTo>
                  <a:pt x="802" y="824"/>
                </a:lnTo>
                <a:lnTo>
                  <a:pt x="811" y="816"/>
                </a:lnTo>
                <a:lnTo>
                  <a:pt x="823" y="808"/>
                </a:lnTo>
                <a:lnTo>
                  <a:pt x="830" y="799"/>
                </a:lnTo>
                <a:lnTo>
                  <a:pt x="840" y="791"/>
                </a:lnTo>
                <a:lnTo>
                  <a:pt x="847" y="784"/>
                </a:lnTo>
                <a:lnTo>
                  <a:pt x="943" y="784"/>
                </a:lnTo>
                <a:lnTo>
                  <a:pt x="1158" y="519"/>
                </a:lnTo>
                <a:lnTo>
                  <a:pt x="1158" y="522"/>
                </a:lnTo>
                <a:lnTo>
                  <a:pt x="1072" y="522"/>
                </a:lnTo>
                <a:lnTo>
                  <a:pt x="853" y="454"/>
                </a:lnTo>
                <a:lnTo>
                  <a:pt x="853" y="454"/>
                </a:lnTo>
                <a:lnTo>
                  <a:pt x="845" y="450"/>
                </a:lnTo>
                <a:lnTo>
                  <a:pt x="838" y="446"/>
                </a:lnTo>
                <a:lnTo>
                  <a:pt x="830" y="442"/>
                </a:lnTo>
                <a:lnTo>
                  <a:pt x="824" y="436"/>
                </a:lnTo>
                <a:lnTo>
                  <a:pt x="819" y="431"/>
                </a:lnTo>
                <a:lnTo>
                  <a:pt x="813" y="425"/>
                </a:lnTo>
                <a:lnTo>
                  <a:pt x="807" y="419"/>
                </a:lnTo>
                <a:lnTo>
                  <a:pt x="802" y="414"/>
                </a:lnTo>
                <a:lnTo>
                  <a:pt x="798" y="408"/>
                </a:lnTo>
                <a:lnTo>
                  <a:pt x="792" y="400"/>
                </a:lnTo>
                <a:lnTo>
                  <a:pt x="788" y="393"/>
                </a:lnTo>
                <a:lnTo>
                  <a:pt x="782" y="385"/>
                </a:lnTo>
                <a:lnTo>
                  <a:pt x="779" y="379"/>
                </a:lnTo>
                <a:lnTo>
                  <a:pt x="773" y="372"/>
                </a:lnTo>
                <a:lnTo>
                  <a:pt x="769" y="364"/>
                </a:lnTo>
                <a:lnTo>
                  <a:pt x="763" y="356"/>
                </a:lnTo>
                <a:lnTo>
                  <a:pt x="763" y="356"/>
                </a:lnTo>
                <a:lnTo>
                  <a:pt x="761" y="354"/>
                </a:lnTo>
                <a:lnTo>
                  <a:pt x="758" y="351"/>
                </a:lnTo>
                <a:lnTo>
                  <a:pt x="754" y="347"/>
                </a:lnTo>
                <a:lnTo>
                  <a:pt x="748" y="341"/>
                </a:lnTo>
                <a:lnTo>
                  <a:pt x="744" y="335"/>
                </a:lnTo>
                <a:lnTo>
                  <a:pt x="741" y="332"/>
                </a:lnTo>
                <a:lnTo>
                  <a:pt x="737" y="328"/>
                </a:lnTo>
                <a:lnTo>
                  <a:pt x="735" y="328"/>
                </a:lnTo>
                <a:lnTo>
                  <a:pt x="735" y="328"/>
                </a:lnTo>
                <a:lnTo>
                  <a:pt x="737" y="322"/>
                </a:lnTo>
                <a:lnTo>
                  <a:pt x="739" y="316"/>
                </a:lnTo>
                <a:lnTo>
                  <a:pt x="742" y="311"/>
                </a:lnTo>
                <a:lnTo>
                  <a:pt x="746" y="305"/>
                </a:lnTo>
                <a:lnTo>
                  <a:pt x="752" y="299"/>
                </a:lnTo>
                <a:lnTo>
                  <a:pt x="756" y="293"/>
                </a:lnTo>
                <a:lnTo>
                  <a:pt x="760" y="288"/>
                </a:lnTo>
                <a:lnTo>
                  <a:pt x="765" y="284"/>
                </a:lnTo>
                <a:lnTo>
                  <a:pt x="765" y="284"/>
                </a:lnTo>
                <a:lnTo>
                  <a:pt x="761" y="282"/>
                </a:lnTo>
                <a:lnTo>
                  <a:pt x="760" y="280"/>
                </a:lnTo>
                <a:lnTo>
                  <a:pt x="758" y="276"/>
                </a:lnTo>
                <a:lnTo>
                  <a:pt x="754" y="276"/>
                </a:lnTo>
                <a:lnTo>
                  <a:pt x="754" y="276"/>
                </a:lnTo>
                <a:lnTo>
                  <a:pt x="748" y="276"/>
                </a:lnTo>
                <a:lnTo>
                  <a:pt x="741" y="280"/>
                </a:lnTo>
                <a:lnTo>
                  <a:pt x="735" y="282"/>
                </a:lnTo>
                <a:lnTo>
                  <a:pt x="725" y="286"/>
                </a:lnTo>
                <a:lnTo>
                  <a:pt x="716" y="290"/>
                </a:lnTo>
                <a:lnTo>
                  <a:pt x="708" y="293"/>
                </a:lnTo>
                <a:lnTo>
                  <a:pt x="700" y="297"/>
                </a:lnTo>
                <a:lnTo>
                  <a:pt x="693" y="299"/>
                </a:lnTo>
                <a:lnTo>
                  <a:pt x="664" y="299"/>
                </a:lnTo>
                <a:lnTo>
                  <a:pt x="664" y="299"/>
                </a:lnTo>
                <a:lnTo>
                  <a:pt x="668" y="293"/>
                </a:lnTo>
                <a:lnTo>
                  <a:pt x="670" y="288"/>
                </a:lnTo>
                <a:lnTo>
                  <a:pt x="670" y="280"/>
                </a:lnTo>
                <a:lnTo>
                  <a:pt x="668" y="272"/>
                </a:lnTo>
                <a:lnTo>
                  <a:pt x="668" y="265"/>
                </a:lnTo>
                <a:lnTo>
                  <a:pt x="666" y="255"/>
                </a:lnTo>
                <a:lnTo>
                  <a:pt x="666" y="248"/>
                </a:lnTo>
                <a:lnTo>
                  <a:pt x="664" y="238"/>
                </a:lnTo>
                <a:lnTo>
                  <a:pt x="664" y="238"/>
                </a:lnTo>
                <a:lnTo>
                  <a:pt x="666" y="230"/>
                </a:lnTo>
                <a:lnTo>
                  <a:pt x="668" y="223"/>
                </a:lnTo>
                <a:lnTo>
                  <a:pt x="674" y="215"/>
                </a:lnTo>
                <a:lnTo>
                  <a:pt x="679" y="208"/>
                </a:lnTo>
                <a:lnTo>
                  <a:pt x="685" y="200"/>
                </a:lnTo>
                <a:lnTo>
                  <a:pt x="693" y="192"/>
                </a:lnTo>
                <a:lnTo>
                  <a:pt x="702" y="187"/>
                </a:lnTo>
                <a:lnTo>
                  <a:pt x="710" y="179"/>
                </a:lnTo>
                <a:lnTo>
                  <a:pt x="710" y="179"/>
                </a:lnTo>
                <a:lnTo>
                  <a:pt x="706" y="171"/>
                </a:lnTo>
                <a:lnTo>
                  <a:pt x="700" y="164"/>
                </a:lnTo>
                <a:lnTo>
                  <a:pt x="697" y="158"/>
                </a:lnTo>
                <a:lnTo>
                  <a:pt x="691" y="150"/>
                </a:lnTo>
                <a:lnTo>
                  <a:pt x="683" y="145"/>
                </a:lnTo>
                <a:lnTo>
                  <a:pt x="678" y="139"/>
                </a:lnTo>
                <a:lnTo>
                  <a:pt x="670" y="133"/>
                </a:lnTo>
                <a:lnTo>
                  <a:pt x="664" y="127"/>
                </a:lnTo>
                <a:lnTo>
                  <a:pt x="657" y="124"/>
                </a:lnTo>
                <a:lnTo>
                  <a:pt x="651" y="118"/>
                </a:lnTo>
                <a:lnTo>
                  <a:pt x="643" y="112"/>
                </a:lnTo>
                <a:lnTo>
                  <a:pt x="636" y="108"/>
                </a:lnTo>
                <a:lnTo>
                  <a:pt x="630" y="103"/>
                </a:lnTo>
                <a:lnTo>
                  <a:pt x="622" y="97"/>
                </a:lnTo>
                <a:lnTo>
                  <a:pt x="617" y="91"/>
                </a:lnTo>
                <a:lnTo>
                  <a:pt x="611" y="87"/>
                </a:lnTo>
                <a:lnTo>
                  <a:pt x="611" y="87"/>
                </a:lnTo>
                <a:lnTo>
                  <a:pt x="607" y="84"/>
                </a:lnTo>
                <a:lnTo>
                  <a:pt x="605" y="80"/>
                </a:lnTo>
                <a:lnTo>
                  <a:pt x="605" y="76"/>
                </a:lnTo>
                <a:lnTo>
                  <a:pt x="603" y="72"/>
                </a:lnTo>
                <a:lnTo>
                  <a:pt x="601" y="68"/>
                </a:lnTo>
                <a:lnTo>
                  <a:pt x="599" y="64"/>
                </a:lnTo>
                <a:lnTo>
                  <a:pt x="597" y="61"/>
                </a:lnTo>
                <a:lnTo>
                  <a:pt x="596" y="57"/>
                </a:lnTo>
                <a:lnTo>
                  <a:pt x="596" y="57"/>
                </a:lnTo>
                <a:lnTo>
                  <a:pt x="590" y="53"/>
                </a:lnTo>
                <a:lnTo>
                  <a:pt x="584" y="47"/>
                </a:lnTo>
                <a:lnTo>
                  <a:pt x="578" y="43"/>
                </a:lnTo>
                <a:lnTo>
                  <a:pt x="573" y="42"/>
                </a:lnTo>
                <a:lnTo>
                  <a:pt x="569" y="38"/>
                </a:lnTo>
                <a:lnTo>
                  <a:pt x="563" y="36"/>
                </a:lnTo>
                <a:lnTo>
                  <a:pt x="557" y="32"/>
                </a:lnTo>
                <a:lnTo>
                  <a:pt x="552" y="30"/>
                </a:lnTo>
                <a:lnTo>
                  <a:pt x="544" y="28"/>
                </a:lnTo>
                <a:lnTo>
                  <a:pt x="538" y="28"/>
                </a:lnTo>
                <a:lnTo>
                  <a:pt x="533" y="26"/>
                </a:lnTo>
                <a:lnTo>
                  <a:pt x="527" y="26"/>
                </a:lnTo>
                <a:lnTo>
                  <a:pt x="519" y="24"/>
                </a:lnTo>
                <a:lnTo>
                  <a:pt x="514" y="24"/>
                </a:lnTo>
                <a:lnTo>
                  <a:pt x="506" y="24"/>
                </a:lnTo>
                <a:lnTo>
                  <a:pt x="500" y="24"/>
                </a:lnTo>
                <a:lnTo>
                  <a:pt x="500" y="24"/>
                </a:lnTo>
                <a:lnTo>
                  <a:pt x="494" y="24"/>
                </a:lnTo>
                <a:lnTo>
                  <a:pt x="489" y="24"/>
                </a:lnTo>
                <a:lnTo>
                  <a:pt x="485" y="24"/>
                </a:lnTo>
                <a:lnTo>
                  <a:pt x="479" y="24"/>
                </a:lnTo>
                <a:lnTo>
                  <a:pt x="473" y="24"/>
                </a:lnTo>
                <a:lnTo>
                  <a:pt x="470" y="26"/>
                </a:lnTo>
                <a:lnTo>
                  <a:pt x="464" y="28"/>
                </a:lnTo>
                <a:lnTo>
                  <a:pt x="458" y="28"/>
                </a:lnTo>
                <a:lnTo>
                  <a:pt x="458" y="28"/>
                </a:lnTo>
                <a:lnTo>
                  <a:pt x="458" y="26"/>
                </a:lnTo>
                <a:lnTo>
                  <a:pt x="456" y="24"/>
                </a:lnTo>
                <a:lnTo>
                  <a:pt x="456" y="23"/>
                </a:lnTo>
                <a:lnTo>
                  <a:pt x="454" y="21"/>
                </a:lnTo>
                <a:lnTo>
                  <a:pt x="452" y="17"/>
                </a:lnTo>
                <a:lnTo>
                  <a:pt x="451" y="15"/>
                </a:lnTo>
                <a:lnTo>
                  <a:pt x="449" y="15"/>
                </a:lnTo>
                <a:lnTo>
                  <a:pt x="445" y="15"/>
                </a:lnTo>
                <a:lnTo>
                  <a:pt x="445" y="15"/>
                </a:lnTo>
                <a:lnTo>
                  <a:pt x="441" y="15"/>
                </a:lnTo>
                <a:lnTo>
                  <a:pt x="437" y="17"/>
                </a:lnTo>
                <a:lnTo>
                  <a:pt x="435" y="19"/>
                </a:lnTo>
                <a:lnTo>
                  <a:pt x="433" y="21"/>
                </a:lnTo>
                <a:lnTo>
                  <a:pt x="430" y="24"/>
                </a:lnTo>
                <a:lnTo>
                  <a:pt x="428" y="26"/>
                </a:lnTo>
                <a:lnTo>
                  <a:pt x="424" y="28"/>
                </a:lnTo>
                <a:lnTo>
                  <a:pt x="418" y="28"/>
                </a:lnTo>
                <a:lnTo>
                  <a:pt x="418" y="28"/>
                </a:lnTo>
                <a:lnTo>
                  <a:pt x="409" y="28"/>
                </a:lnTo>
                <a:lnTo>
                  <a:pt x="399" y="26"/>
                </a:lnTo>
                <a:lnTo>
                  <a:pt x="393" y="23"/>
                </a:lnTo>
                <a:lnTo>
                  <a:pt x="386" y="17"/>
                </a:lnTo>
                <a:lnTo>
                  <a:pt x="380" y="13"/>
                </a:lnTo>
                <a:lnTo>
                  <a:pt x="372" y="7"/>
                </a:lnTo>
                <a:lnTo>
                  <a:pt x="367" y="3"/>
                </a:lnTo>
                <a:lnTo>
                  <a:pt x="359" y="0"/>
                </a:lnTo>
                <a:lnTo>
                  <a:pt x="359" y="0"/>
                </a:lnTo>
                <a:lnTo>
                  <a:pt x="357" y="5"/>
                </a:lnTo>
                <a:lnTo>
                  <a:pt x="353" y="13"/>
                </a:lnTo>
                <a:lnTo>
                  <a:pt x="351" y="23"/>
                </a:lnTo>
                <a:lnTo>
                  <a:pt x="348" y="32"/>
                </a:lnTo>
                <a:lnTo>
                  <a:pt x="344" y="40"/>
                </a:lnTo>
                <a:lnTo>
                  <a:pt x="340" y="47"/>
                </a:lnTo>
                <a:lnTo>
                  <a:pt x="336" y="53"/>
                </a:lnTo>
                <a:lnTo>
                  <a:pt x="332" y="55"/>
                </a:lnTo>
                <a:lnTo>
                  <a:pt x="332" y="55"/>
                </a:lnTo>
                <a:lnTo>
                  <a:pt x="328" y="55"/>
                </a:lnTo>
                <a:lnTo>
                  <a:pt x="325" y="53"/>
                </a:lnTo>
                <a:lnTo>
                  <a:pt x="323" y="49"/>
                </a:lnTo>
                <a:lnTo>
                  <a:pt x="321" y="45"/>
                </a:lnTo>
                <a:lnTo>
                  <a:pt x="319" y="43"/>
                </a:lnTo>
                <a:lnTo>
                  <a:pt x="317" y="40"/>
                </a:lnTo>
                <a:lnTo>
                  <a:pt x="315" y="36"/>
                </a:lnTo>
                <a:lnTo>
                  <a:pt x="311" y="34"/>
                </a:lnTo>
                <a:lnTo>
                  <a:pt x="287" y="49"/>
                </a:lnTo>
                <a:lnTo>
                  <a:pt x="275" y="42"/>
                </a:lnTo>
                <a:lnTo>
                  <a:pt x="245" y="45"/>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88" name="Freeform 60"/>
          <p:cNvSpPr>
            <a:spLocks/>
          </p:cNvSpPr>
          <p:nvPr>
            <p:custDataLst>
              <p:tags r:id="rId60"/>
            </p:custDataLst>
          </p:nvPr>
        </p:nvSpPr>
        <p:spPr bwMode="gray">
          <a:xfrm>
            <a:off x="4704025" y="4021828"/>
            <a:ext cx="153885" cy="343386"/>
          </a:xfrm>
          <a:custGeom>
            <a:avLst/>
            <a:gdLst/>
            <a:ahLst/>
            <a:cxnLst>
              <a:cxn ang="0">
                <a:pos x="25" y="21"/>
              </a:cxn>
              <a:cxn ang="0">
                <a:pos x="34" y="34"/>
              </a:cxn>
              <a:cxn ang="0">
                <a:pos x="40" y="51"/>
              </a:cxn>
              <a:cxn ang="0">
                <a:pos x="46" y="68"/>
              </a:cxn>
              <a:cxn ang="0">
                <a:pos x="49" y="84"/>
              </a:cxn>
              <a:cxn ang="0">
                <a:pos x="55" y="105"/>
              </a:cxn>
              <a:cxn ang="0">
                <a:pos x="55" y="128"/>
              </a:cxn>
              <a:cxn ang="0">
                <a:pos x="61" y="143"/>
              </a:cxn>
              <a:cxn ang="0">
                <a:pos x="63" y="160"/>
              </a:cxn>
              <a:cxn ang="0">
                <a:pos x="55" y="171"/>
              </a:cxn>
              <a:cxn ang="0">
                <a:pos x="51" y="185"/>
              </a:cxn>
              <a:cxn ang="0">
                <a:pos x="61" y="200"/>
              </a:cxn>
              <a:cxn ang="0">
                <a:pos x="80" y="210"/>
              </a:cxn>
              <a:cxn ang="0">
                <a:pos x="95" y="223"/>
              </a:cxn>
              <a:cxn ang="0">
                <a:pos x="107" y="246"/>
              </a:cxn>
              <a:cxn ang="0">
                <a:pos x="114" y="269"/>
              </a:cxn>
              <a:cxn ang="0">
                <a:pos x="126" y="296"/>
              </a:cxn>
              <a:cxn ang="0">
                <a:pos x="133" y="318"/>
              </a:cxn>
              <a:cxn ang="0">
                <a:pos x="143" y="343"/>
              </a:cxn>
              <a:cxn ang="0">
                <a:pos x="154" y="358"/>
              </a:cxn>
              <a:cxn ang="0">
                <a:pos x="166" y="374"/>
              </a:cxn>
              <a:cxn ang="0">
                <a:pos x="166" y="385"/>
              </a:cxn>
              <a:cxn ang="0">
                <a:pos x="160" y="385"/>
              </a:cxn>
              <a:cxn ang="0">
                <a:pos x="151" y="381"/>
              </a:cxn>
              <a:cxn ang="0">
                <a:pos x="141" y="370"/>
              </a:cxn>
              <a:cxn ang="0">
                <a:pos x="126" y="353"/>
              </a:cxn>
              <a:cxn ang="0">
                <a:pos x="112" y="339"/>
              </a:cxn>
              <a:cxn ang="0">
                <a:pos x="95" y="320"/>
              </a:cxn>
              <a:cxn ang="0">
                <a:pos x="88" y="297"/>
              </a:cxn>
              <a:cxn ang="0">
                <a:pos x="78" y="275"/>
              </a:cxn>
              <a:cxn ang="0">
                <a:pos x="63" y="261"/>
              </a:cxn>
              <a:cxn ang="0">
                <a:pos x="48" y="250"/>
              </a:cxn>
              <a:cxn ang="0">
                <a:pos x="38" y="240"/>
              </a:cxn>
              <a:cxn ang="0">
                <a:pos x="30" y="227"/>
              </a:cxn>
              <a:cxn ang="0">
                <a:pos x="25" y="213"/>
              </a:cxn>
              <a:cxn ang="0">
                <a:pos x="19" y="198"/>
              </a:cxn>
              <a:cxn ang="0">
                <a:pos x="15" y="183"/>
              </a:cxn>
              <a:cxn ang="0">
                <a:pos x="13" y="170"/>
              </a:cxn>
              <a:cxn ang="0">
                <a:pos x="13" y="158"/>
              </a:cxn>
              <a:cxn ang="0">
                <a:pos x="13" y="152"/>
              </a:cxn>
              <a:cxn ang="0">
                <a:pos x="13" y="143"/>
              </a:cxn>
              <a:cxn ang="0">
                <a:pos x="11" y="131"/>
              </a:cxn>
              <a:cxn ang="0">
                <a:pos x="8" y="120"/>
              </a:cxn>
              <a:cxn ang="0">
                <a:pos x="4" y="109"/>
              </a:cxn>
              <a:cxn ang="0">
                <a:pos x="0" y="93"/>
              </a:cxn>
              <a:cxn ang="0">
                <a:pos x="0" y="78"/>
              </a:cxn>
              <a:cxn ang="0">
                <a:pos x="2" y="63"/>
              </a:cxn>
              <a:cxn ang="0">
                <a:pos x="6" y="49"/>
              </a:cxn>
              <a:cxn ang="0">
                <a:pos x="6" y="36"/>
              </a:cxn>
              <a:cxn ang="0">
                <a:pos x="2" y="25"/>
              </a:cxn>
              <a:cxn ang="0">
                <a:pos x="0" y="13"/>
              </a:cxn>
              <a:cxn ang="0">
                <a:pos x="0" y="7"/>
              </a:cxn>
              <a:cxn ang="0">
                <a:pos x="0" y="4"/>
              </a:cxn>
              <a:cxn ang="0">
                <a:pos x="8" y="0"/>
              </a:cxn>
              <a:cxn ang="0">
                <a:pos x="11" y="7"/>
              </a:cxn>
              <a:cxn ang="0">
                <a:pos x="15" y="13"/>
              </a:cxn>
            </a:cxnLst>
            <a:rect l="0" t="0" r="r" b="b"/>
            <a:pathLst>
              <a:path w="168" h="385">
                <a:moveTo>
                  <a:pt x="17" y="15"/>
                </a:moveTo>
                <a:lnTo>
                  <a:pt x="21" y="19"/>
                </a:lnTo>
                <a:lnTo>
                  <a:pt x="25" y="21"/>
                </a:lnTo>
                <a:lnTo>
                  <a:pt x="29" y="25"/>
                </a:lnTo>
                <a:lnTo>
                  <a:pt x="30" y="30"/>
                </a:lnTo>
                <a:lnTo>
                  <a:pt x="34" y="34"/>
                </a:lnTo>
                <a:lnTo>
                  <a:pt x="36" y="40"/>
                </a:lnTo>
                <a:lnTo>
                  <a:pt x="38" y="46"/>
                </a:lnTo>
                <a:lnTo>
                  <a:pt x="40" y="51"/>
                </a:lnTo>
                <a:lnTo>
                  <a:pt x="42" y="55"/>
                </a:lnTo>
                <a:lnTo>
                  <a:pt x="44" y="61"/>
                </a:lnTo>
                <a:lnTo>
                  <a:pt x="46" y="68"/>
                </a:lnTo>
                <a:lnTo>
                  <a:pt x="48" y="72"/>
                </a:lnTo>
                <a:lnTo>
                  <a:pt x="48" y="78"/>
                </a:lnTo>
                <a:lnTo>
                  <a:pt x="49" y="84"/>
                </a:lnTo>
                <a:lnTo>
                  <a:pt x="51" y="89"/>
                </a:lnTo>
                <a:lnTo>
                  <a:pt x="53" y="93"/>
                </a:lnTo>
                <a:lnTo>
                  <a:pt x="55" y="105"/>
                </a:lnTo>
                <a:lnTo>
                  <a:pt x="55" y="114"/>
                </a:lnTo>
                <a:lnTo>
                  <a:pt x="55" y="122"/>
                </a:lnTo>
                <a:lnTo>
                  <a:pt x="55" y="128"/>
                </a:lnTo>
                <a:lnTo>
                  <a:pt x="55" y="133"/>
                </a:lnTo>
                <a:lnTo>
                  <a:pt x="57" y="139"/>
                </a:lnTo>
                <a:lnTo>
                  <a:pt x="61" y="143"/>
                </a:lnTo>
                <a:lnTo>
                  <a:pt x="67" y="149"/>
                </a:lnTo>
                <a:lnTo>
                  <a:pt x="65" y="154"/>
                </a:lnTo>
                <a:lnTo>
                  <a:pt x="63" y="160"/>
                </a:lnTo>
                <a:lnTo>
                  <a:pt x="61" y="164"/>
                </a:lnTo>
                <a:lnTo>
                  <a:pt x="57" y="168"/>
                </a:lnTo>
                <a:lnTo>
                  <a:pt x="55" y="171"/>
                </a:lnTo>
                <a:lnTo>
                  <a:pt x="53" y="175"/>
                </a:lnTo>
                <a:lnTo>
                  <a:pt x="51" y="179"/>
                </a:lnTo>
                <a:lnTo>
                  <a:pt x="51" y="185"/>
                </a:lnTo>
                <a:lnTo>
                  <a:pt x="53" y="191"/>
                </a:lnTo>
                <a:lnTo>
                  <a:pt x="57" y="196"/>
                </a:lnTo>
                <a:lnTo>
                  <a:pt x="61" y="200"/>
                </a:lnTo>
                <a:lnTo>
                  <a:pt x="67" y="204"/>
                </a:lnTo>
                <a:lnTo>
                  <a:pt x="74" y="208"/>
                </a:lnTo>
                <a:lnTo>
                  <a:pt x="80" y="210"/>
                </a:lnTo>
                <a:lnTo>
                  <a:pt x="84" y="213"/>
                </a:lnTo>
                <a:lnTo>
                  <a:pt x="88" y="215"/>
                </a:lnTo>
                <a:lnTo>
                  <a:pt x="95" y="223"/>
                </a:lnTo>
                <a:lnTo>
                  <a:pt x="101" y="231"/>
                </a:lnTo>
                <a:lnTo>
                  <a:pt x="105" y="238"/>
                </a:lnTo>
                <a:lnTo>
                  <a:pt x="107" y="246"/>
                </a:lnTo>
                <a:lnTo>
                  <a:pt x="109" y="254"/>
                </a:lnTo>
                <a:lnTo>
                  <a:pt x="111" y="261"/>
                </a:lnTo>
                <a:lnTo>
                  <a:pt x="114" y="269"/>
                </a:lnTo>
                <a:lnTo>
                  <a:pt x="118" y="278"/>
                </a:lnTo>
                <a:lnTo>
                  <a:pt x="122" y="286"/>
                </a:lnTo>
                <a:lnTo>
                  <a:pt x="126" y="296"/>
                </a:lnTo>
                <a:lnTo>
                  <a:pt x="128" y="303"/>
                </a:lnTo>
                <a:lnTo>
                  <a:pt x="132" y="311"/>
                </a:lnTo>
                <a:lnTo>
                  <a:pt x="133" y="318"/>
                </a:lnTo>
                <a:lnTo>
                  <a:pt x="137" y="326"/>
                </a:lnTo>
                <a:lnTo>
                  <a:pt x="139" y="336"/>
                </a:lnTo>
                <a:lnTo>
                  <a:pt x="143" y="343"/>
                </a:lnTo>
                <a:lnTo>
                  <a:pt x="147" y="349"/>
                </a:lnTo>
                <a:lnTo>
                  <a:pt x="151" y="355"/>
                </a:lnTo>
                <a:lnTo>
                  <a:pt x="154" y="358"/>
                </a:lnTo>
                <a:lnTo>
                  <a:pt x="158" y="364"/>
                </a:lnTo>
                <a:lnTo>
                  <a:pt x="162" y="368"/>
                </a:lnTo>
                <a:lnTo>
                  <a:pt x="166" y="374"/>
                </a:lnTo>
                <a:lnTo>
                  <a:pt x="166" y="378"/>
                </a:lnTo>
                <a:lnTo>
                  <a:pt x="168" y="385"/>
                </a:lnTo>
                <a:lnTo>
                  <a:pt x="166" y="385"/>
                </a:lnTo>
                <a:lnTo>
                  <a:pt x="166" y="385"/>
                </a:lnTo>
                <a:lnTo>
                  <a:pt x="162" y="385"/>
                </a:lnTo>
                <a:lnTo>
                  <a:pt x="160" y="385"/>
                </a:lnTo>
                <a:lnTo>
                  <a:pt x="156" y="383"/>
                </a:lnTo>
                <a:lnTo>
                  <a:pt x="154" y="383"/>
                </a:lnTo>
                <a:lnTo>
                  <a:pt x="151" y="381"/>
                </a:lnTo>
                <a:lnTo>
                  <a:pt x="151" y="379"/>
                </a:lnTo>
                <a:lnTo>
                  <a:pt x="145" y="374"/>
                </a:lnTo>
                <a:lnTo>
                  <a:pt x="141" y="370"/>
                </a:lnTo>
                <a:lnTo>
                  <a:pt x="135" y="364"/>
                </a:lnTo>
                <a:lnTo>
                  <a:pt x="132" y="358"/>
                </a:lnTo>
                <a:lnTo>
                  <a:pt x="126" y="353"/>
                </a:lnTo>
                <a:lnTo>
                  <a:pt x="122" y="347"/>
                </a:lnTo>
                <a:lnTo>
                  <a:pt x="118" y="343"/>
                </a:lnTo>
                <a:lnTo>
                  <a:pt x="112" y="339"/>
                </a:lnTo>
                <a:lnTo>
                  <a:pt x="105" y="334"/>
                </a:lnTo>
                <a:lnTo>
                  <a:pt x="99" y="328"/>
                </a:lnTo>
                <a:lnTo>
                  <a:pt x="95" y="320"/>
                </a:lnTo>
                <a:lnTo>
                  <a:pt x="93" y="315"/>
                </a:lnTo>
                <a:lnTo>
                  <a:pt x="90" y="307"/>
                </a:lnTo>
                <a:lnTo>
                  <a:pt x="88" y="297"/>
                </a:lnTo>
                <a:lnTo>
                  <a:pt x="86" y="290"/>
                </a:lnTo>
                <a:lnTo>
                  <a:pt x="82" y="280"/>
                </a:lnTo>
                <a:lnTo>
                  <a:pt x="78" y="275"/>
                </a:lnTo>
                <a:lnTo>
                  <a:pt x="74" y="271"/>
                </a:lnTo>
                <a:lnTo>
                  <a:pt x="69" y="265"/>
                </a:lnTo>
                <a:lnTo>
                  <a:pt x="63" y="261"/>
                </a:lnTo>
                <a:lnTo>
                  <a:pt x="57" y="257"/>
                </a:lnTo>
                <a:lnTo>
                  <a:pt x="51" y="254"/>
                </a:lnTo>
                <a:lnTo>
                  <a:pt x="48" y="250"/>
                </a:lnTo>
                <a:lnTo>
                  <a:pt x="42" y="246"/>
                </a:lnTo>
                <a:lnTo>
                  <a:pt x="40" y="242"/>
                </a:lnTo>
                <a:lnTo>
                  <a:pt x="38" y="240"/>
                </a:lnTo>
                <a:lnTo>
                  <a:pt x="36" y="236"/>
                </a:lnTo>
                <a:lnTo>
                  <a:pt x="32" y="233"/>
                </a:lnTo>
                <a:lnTo>
                  <a:pt x="30" y="227"/>
                </a:lnTo>
                <a:lnTo>
                  <a:pt x="29" y="223"/>
                </a:lnTo>
                <a:lnTo>
                  <a:pt x="27" y="217"/>
                </a:lnTo>
                <a:lnTo>
                  <a:pt x="25" y="213"/>
                </a:lnTo>
                <a:lnTo>
                  <a:pt x="23" y="208"/>
                </a:lnTo>
                <a:lnTo>
                  <a:pt x="21" y="202"/>
                </a:lnTo>
                <a:lnTo>
                  <a:pt x="19" y="198"/>
                </a:lnTo>
                <a:lnTo>
                  <a:pt x="17" y="192"/>
                </a:lnTo>
                <a:lnTo>
                  <a:pt x="15" y="187"/>
                </a:lnTo>
                <a:lnTo>
                  <a:pt x="15" y="183"/>
                </a:lnTo>
                <a:lnTo>
                  <a:pt x="13" y="179"/>
                </a:lnTo>
                <a:lnTo>
                  <a:pt x="13" y="173"/>
                </a:lnTo>
                <a:lnTo>
                  <a:pt x="13" y="170"/>
                </a:lnTo>
                <a:lnTo>
                  <a:pt x="13" y="166"/>
                </a:lnTo>
                <a:lnTo>
                  <a:pt x="13" y="162"/>
                </a:lnTo>
                <a:lnTo>
                  <a:pt x="13" y="158"/>
                </a:lnTo>
                <a:lnTo>
                  <a:pt x="13" y="156"/>
                </a:lnTo>
                <a:lnTo>
                  <a:pt x="13" y="154"/>
                </a:lnTo>
                <a:lnTo>
                  <a:pt x="13" y="152"/>
                </a:lnTo>
                <a:lnTo>
                  <a:pt x="13" y="149"/>
                </a:lnTo>
                <a:lnTo>
                  <a:pt x="13" y="147"/>
                </a:lnTo>
                <a:lnTo>
                  <a:pt x="13" y="143"/>
                </a:lnTo>
                <a:lnTo>
                  <a:pt x="13" y="139"/>
                </a:lnTo>
                <a:lnTo>
                  <a:pt x="11" y="135"/>
                </a:lnTo>
                <a:lnTo>
                  <a:pt x="11" y="131"/>
                </a:lnTo>
                <a:lnTo>
                  <a:pt x="9" y="128"/>
                </a:lnTo>
                <a:lnTo>
                  <a:pt x="8" y="124"/>
                </a:lnTo>
                <a:lnTo>
                  <a:pt x="8" y="120"/>
                </a:lnTo>
                <a:lnTo>
                  <a:pt x="6" y="116"/>
                </a:lnTo>
                <a:lnTo>
                  <a:pt x="4" y="112"/>
                </a:lnTo>
                <a:lnTo>
                  <a:pt x="4" y="109"/>
                </a:lnTo>
                <a:lnTo>
                  <a:pt x="2" y="103"/>
                </a:lnTo>
                <a:lnTo>
                  <a:pt x="2" y="99"/>
                </a:lnTo>
                <a:lnTo>
                  <a:pt x="0" y="93"/>
                </a:lnTo>
                <a:lnTo>
                  <a:pt x="0" y="89"/>
                </a:lnTo>
                <a:lnTo>
                  <a:pt x="0" y="84"/>
                </a:lnTo>
                <a:lnTo>
                  <a:pt x="0" y="78"/>
                </a:lnTo>
                <a:lnTo>
                  <a:pt x="0" y="72"/>
                </a:lnTo>
                <a:lnTo>
                  <a:pt x="2" y="67"/>
                </a:lnTo>
                <a:lnTo>
                  <a:pt x="2" y="63"/>
                </a:lnTo>
                <a:lnTo>
                  <a:pt x="4" y="59"/>
                </a:lnTo>
                <a:lnTo>
                  <a:pt x="6" y="53"/>
                </a:lnTo>
                <a:lnTo>
                  <a:pt x="6" y="49"/>
                </a:lnTo>
                <a:lnTo>
                  <a:pt x="6" y="44"/>
                </a:lnTo>
                <a:lnTo>
                  <a:pt x="6" y="40"/>
                </a:lnTo>
                <a:lnTo>
                  <a:pt x="6" y="36"/>
                </a:lnTo>
                <a:lnTo>
                  <a:pt x="4" y="32"/>
                </a:lnTo>
                <a:lnTo>
                  <a:pt x="2" y="28"/>
                </a:lnTo>
                <a:lnTo>
                  <a:pt x="2" y="25"/>
                </a:lnTo>
                <a:lnTo>
                  <a:pt x="0" y="21"/>
                </a:lnTo>
                <a:lnTo>
                  <a:pt x="0" y="17"/>
                </a:lnTo>
                <a:lnTo>
                  <a:pt x="0" y="13"/>
                </a:lnTo>
                <a:lnTo>
                  <a:pt x="0" y="11"/>
                </a:lnTo>
                <a:lnTo>
                  <a:pt x="0" y="9"/>
                </a:lnTo>
                <a:lnTo>
                  <a:pt x="0" y="7"/>
                </a:lnTo>
                <a:lnTo>
                  <a:pt x="0" y="6"/>
                </a:lnTo>
                <a:lnTo>
                  <a:pt x="0" y="4"/>
                </a:lnTo>
                <a:lnTo>
                  <a:pt x="0" y="4"/>
                </a:lnTo>
                <a:lnTo>
                  <a:pt x="0" y="2"/>
                </a:lnTo>
                <a:lnTo>
                  <a:pt x="0" y="0"/>
                </a:lnTo>
                <a:lnTo>
                  <a:pt x="8" y="0"/>
                </a:lnTo>
                <a:lnTo>
                  <a:pt x="9" y="2"/>
                </a:lnTo>
                <a:lnTo>
                  <a:pt x="11" y="4"/>
                </a:lnTo>
                <a:lnTo>
                  <a:pt x="11" y="7"/>
                </a:lnTo>
                <a:lnTo>
                  <a:pt x="13" y="9"/>
                </a:lnTo>
                <a:lnTo>
                  <a:pt x="15" y="11"/>
                </a:lnTo>
                <a:lnTo>
                  <a:pt x="15" y="13"/>
                </a:lnTo>
                <a:lnTo>
                  <a:pt x="17" y="15"/>
                </a:lnTo>
                <a:lnTo>
                  <a:pt x="17" y="15"/>
                </a:lnTo>
                <a:close/>
              </a:path>
            </a:pathLst>
          </a:custGeom>
          <a:solidFill>
            <a:srgbClr val="F8F8F8"/>
          </a:solidFill>
          <a:ln w="9525" cmpd="sng">
            <a:solidFill>
              <a:schemeClr val="tx1"/>
            </a:solidFill>
            <a:round/>
            <a:headEnd/>
            <a:tailEnd/>
          </a:ln>
        </p:spPr>
        <p:txBody>
          <a:bodyPr lIns="93222" tIns="46612" rIns="93222" bIns="46612"/>
          <a:lstStyle/>
          <a:p>
            <a:endParaRPr lang="en-US" dirty="0">
              <a:solidFill>
                <a:srgbClr val="000000"/>
              </a:solidFill>
              <a:latin typeface="Arial" charset="0"/>
            </a:endParaRPr>
          </a:p>
        </p:txBody>
      </p:sp>
      <p:sp>
        <p:nvSpPr>
          <p:cNvPr id="636989" name="Freeform 61"/>
          <p:cNvSpPr>
            <a:spLocks/>
          </p:cNvSpPr>
          <p:nvPr>
            <p:custDataLst>
              <p:tags r:id="rId61"/>
            </p:custDataLst>
          </p:nvPr>
        </p:nvSpPr>
        <p:spPr bwMode="gray">
          <a:xfrm>
            <a:off x="4704025" y="4021828"/>
            <a:ext cx="153885" cy="343386"/>
          </a:xfrm>
          <a:custGeom>
            <a:avLst/>
            <a:gdLst/>
            <a:ahLst/>
            <a:cxnLst>
              <a:cxn ang="0">
                <a:pos x="21" y="19"/>
              </a:cxn>
              <a:cxn ang="0">
                <a:pos x="30" y="30"/>
              </a:cxn>
              <a:cxn ang="0">
                <a:pos x="38" y="46"/>
              </a:cxn>
              <a:cxn ang="0">
                <a:pos x="44" y="61"/>
              </a:cxn>
              <a:cxn ang="0">
                <a:pos x="48" y="78"/>
              </a:cxn>
              <a:cxn ang="0">
                <a:pos x="53" y="93"/>
              </a:cxn>
              <a:cxn ang="0">
                <a:pos x="55" y="114"/>
              </a:cxn>
              <a:cxn ang="0">
                <a:pos x="55" y="133"/>
              </a:cxn>
              <a:cxn ang="0">
                <a:pos x="67" y="149"/>
              </a:cxn>
              <a:cxn ang="0">
                <a:pos x="63" y="160"/>
              </a:cxn>
              <a:cxn ang="0">
                <a:pos x="55" y="171"/>
              </a:cxn>
              <a:cxn ang="0">
                <a:pos x="51" y="185"/>
              </a:cxn>
              <a:cxn ang="0">
                <a:pos x="57" y="196"/>
              </a:cxn>
              <a:cxn ang="0">
                <a:pos x="74" y="208"/>
              </a:cxn>
              <a:cxn ang="0">
                <a:pos x="88" y="215"/>
              </a:cxn>
              <a:cxn ang="0">
                <a:pos x="101" y="231"/>
              </a:cxn>
              <a:cxn ang="0">
                <a:pos x="109" y="254"/>
              </a:cxn>
              <a:cxn ang="0">
                <a:pos x="118" y="278"/>
              </a:cxn>
              <a:cxn ang="0">
                <a:pos x="126" y="296"/>
              </a:cxn>
              <a:cxn ang="0">
                <a:pos x="133" y="318"/>
              </a:cxn>
              <a:cxn ang="0">
                <a:pos x="143" y="343"/>
              </a:cxn>
              <a:cxn ang="0">
                <a:pos x="151" y="355"/>
              </a:cxn>
              <a:cxn ang="0">
                <a:pos x="162" y="368"/>
              </a:cxn>
              <a:cxn ang="0">
                <a:pos x="168" y="385"/>
              </a:cxn>
              <a:cxn ang="0">
                <a:pos x="166" y="385"/>
              </a:cxn>
              <a:cxn ang="0">
                <a:pos x="156" y="383"/>
              </a:cxn>
              <a:cxn ang="0">
                <a:pos x="151" y="379"/>
              </a:cxn>
              <a:cxn ang="0">
                <a:pos x="141" y="370"/>
              </a:cxn>
              <a:cxn ang="0">
                <a:pos x="126" y="353"/>
              </a:cxn>
              <a:cxn ang="0">
                <a:pos x="112" y="339"/>
              </a:cxn>
              <a:cxn ang="0">
                <a:pos x="99" y="328"/>
              </a:cxn>
              <a:cxn ang="0">
                <a:pos x="90" y="307"/>
              </a:cxn>
              <a:cxn ang="0">
                <a:pos x="82" y="280"/>
              </a:cxn>
              <a:cxn ang="0">
                <a:pos x="74" y="271"/>
              </a:cxn>
              <a:cxn ang="0">
                <a:pos x="57" y="257"/>
              </a:cxn>
              <a:cxn ang="0">
                <a:pos x="42" y="246"/>
              </a:cxn>
              <a:cxn ang="0">
                <a:pos x="38" y="240"/>
              </a:cxn>
              <a:cxn ang="0">
                <a:pos x="30" y="227"/>
              </a:cxn>
              <a:cxn ang="0">
                <a:pos x="25" y="213"/>
              </a:cxn>
              <a:cxn ang="0">
                <a:pos x="19" y="198"/>
              </a:cxn>
              <a:cxn ang="0">
                <a:pos x="15" y="183"/>
              </a:cxn>
              <a:cxn ang="0">
                <a:pos x="13" y="173"/>
              </a:cxn>
              <a:cxn ang="0">
                <a:pos x="13" y="162"/>
              </a:cxn>
              <a:cxn ang="0">
                <a:pos x="13" y="154"/>
              </a:cxn>
              <a:cxn ang="0">
                <a:pos x="13" y="149"/>
              </a:cxn>
              <a:cxn ang="0">
                <a:pos x="13" y="139"/>
              </a:cxn>
              <a:cxn ang="0">
                <a:pos x="9" y="128"/>
              </a:cxn>
              <a:cxn ang="0">
                <a:pos x="6" y="116"/>
              </a:cxn>
              <a:cxn ang="0">
                <a:pos x="2" y="103"/>
              </a:cxn>
              <a:cxn ang="0">
                <a:pos x="0" y="89"/>
              </a:cxn>
              <a:cxn ang="0">
                <a:pos x="0" y="78"/>
              </a:cxn>
              <a:cxn ang="0">
                <a:pos x="2" y="63"/>
              </a:cxn>
              <a:cxn ang="0">
                <a:pos x="6" y="49"/>
              </a:cxn>
              <a:cxn ang="0">
                <a:pos x="6" y="40"/>
              </a:cxn>
              <a:cxn ang="0">
                <a:pos x="2" y="28"/>
              </a:cxn>
              <a:cxn ang="0">
                <a:pos x="0" y="17"/>
              </a:cxn>
              <a:cxn ang="0">
                <a:pos x="0" y="11"/>
              </a:cxn>
              <a:cxn ang="0">
                <a:pos x="0" y="6"/>
              </a:cxn>
              <a:cxn ang="0">
                <a:pos x="0" y="2"/>
              </a:cxn>
              <a:cxn ang="0">
                <a:pos x="8" y="0"/>
              </a:cxn>
              <a:cxn ang="0">
                <a:pos x="11" y="7"/>
              </a:cxn>
              <a:cxn ang="0">
                <a:pos x="15" y="13"/>
              </a:cxn>
            </a:cxnLst>
            <a:rect l="0" t="0" r="r" b="b"/>
            <a:pathLst>
              <a:path w="168" h="385">
                <a:moveTo>
                  <a:pt x="17" y="15"/>
                </a:moveTo>
                <a:lnTo>
                  <a:pt x="17" y="15"/>
                </a:lnTo>
                <a:lnTo>
                  <a:pt x="21" y="19"/>
                </a:lnTo>
                <a:lnTo>
                  <a:pt x="25" y="21"/>
                </a:lnTo>
                <a:lnTo>
                  <a:pt x="29" y="25"/>
                </a:lnTo>
                <a:lnTo>
                  <a:pt x="30" y="30"/>
                </a:lnTo>
                <a:lnTo>
                  <a:pt x="34" y="34"/>
                </a:lnTo>
                <a:lnTo>
                  <a:pt x="36" y="40"/>
                </a:lnTo>
                <a:lnTo>
                  <a:pt x="38" y="46"/>
                </a:lnTo>
                <a:lnTo>
                  <a:pt x="40" y="51"/>
                </a:lnTo>
                <a:lnTo>
                  <a:pt x="42" y="55"/>
                </a:lnTo>
                <a:lnTo>
                  <a:pt x="44" y="61"/>
                </a:lnTo>
                <a:lnTo>
                  <a:pt x="46" y="68"/>
                </a:lnTo>
                <a:lnTo>
                  <a:pt x="48" y="72"/>
                </a:lnTo>
                <a:lnTo>
                  <a:pt x="48" y="78"/>
                </a:lnTo>
                <a:lnTo>
                  <a:pt x="49" y="84"/>
                </a:lnTo>
                <a:lnTo>
                  <a:pt x="51" y="89"/>
                </a:lnTo>
                <a:lnTo>
                  <a:pt x="53" y="93"/>
                </a:lnTo>
                <a:lnTo>
                  <a:pt x="53" y="93"/>
                </a:lnTo>
                <a:lnTo>
                  <a:pt x="55" y="105"/>
                </a:lnTo>
                <a:lnTo>
                  <a:pt x="55" y="114"/>
                </a:lnTo>
                <a:lnTo>
                  <a:pt x="55" y="122"/>
                </a:lnTo>
                <a:lnTo>
                  <a:pt x="55" y="128"/>
                </a:lnTo>
                <a:lnTo>
                  <a:pt x="55" y="133"/>
                </a:lnTo>
                <a:lnTo>
                  <a:pt x="57" y="139"/>
                </a:lnTo>
                <a:lnTo>
                  <a:pt x="61" y="143"/>
                </a:lnTo>
                <a:lnTo>
                  <a:pt x="67" y="149"/>
                </a:lnTo>
                <a:lnTo>
                  <a:pt x="67" y="149"/>
                </a:lnTo>
                <a:lnTo>
                  <a:pt x="65" y="154"/>
                </a:lnTo>
                <a:lnTo>
                  <a:pt x="63" y="160"/>
                </a:lnTo>
                <a:lnTo>
                  <a:pt x="61" y="164"/>
                </a:lnTo>
                <a:lnTo>
                  <a:pt x="57" y="168"/>
                </a:lnTo>
                <a:lnTo>
                  <a:pt x="55" y="171"/>
                </a:lnTo>
                <a:lnTo>
                  <a:pt x="53" y="175"/>
                </a:lnTo>
                <a:lnTo>
                  <a:pt x="51" y="179"/>
                </a:lnTo>
                <a:lnTo>
                  <a:pt x="51" y="185"/>
                </a:lnTo>
                <a:lnTo>
                  <a:pt x="51" y="185"/>
                </a:lnTo>
                <a:lnTo>
                  <a:pt x="53" y="191"/>
                </a:lnTo>
                <a:lnTo>
                  <a:pt x="57" y="196"/>
                </a:lnTo>
                <a:lnTo>
                  <a:pt x="61" y="200"/>
                </a:lnTo>
                <a:lnTo>
                  <a:pt x="67" y="204"/>
                </a:lnTo>
                <a:lnTo>
                  <a:pt x="74" y="208"/>
                </a:lnTo>
                <a:lnTo>
                  <a:pt x="80" y="210"/>
                </a:lnTo>
                <a:lnTo>
                  <a:pt x="84" y="213"/>
                </a:lnTo>
                <a:lnTo>
                  <a:pt x="88" y="215"/>
                </a:lnTo>
                <a:lnTo>
                  <a:pt x="88" y="215"/>
                </a:lnTo>
                <a:lnTo>
                  <a:pt x="95" y="223"/>
                </a:lnTo>
                <a:lnTo>
                  <a:pt x="101" y="231"/>
                </a:lnTo>
                <a:lnTo>
                  <a:pt x="105" y="238"/>
                </a:lnTo>
                <a:lnTo>
                  <a:pt x="107" y="246"/>
                </a:lnTo>
                <a:lnTo>
                  <a:pt x="109" y="254"/>
                </a:lnTo>
                <a:lnTo>
                  <a:pt x="111" y="261"/>
                </a:lnTo>
                <a:lnTo>
                  <a:pt x="114" y="269"/>
                </a:lnTo>
                <a:lnTo>
                  <a:pt x="118" y="278"/>
                </a:lnTo>
                <a:lnTo>
                  <a:pt x="118" y="278"/>
                </a:lnTo>
                <a:lnTo>
                  <a:pt x="122" y="286"/>
                </a:lnTo>
                <a:lnTo>
                  <a:pt x="126" y="296"/>
                </a:lnTo>
                <a:lnTo>
                  <a:pt x="128" y="303"/>
                </a:lnTo>
                <a:lnTo>
                  <a:pt x="132" y="311"/>
                </a:lnTo>
                <a:lnTo>
                  <a:pt x="133" y="318"/>
                </a:lnTo>
                <a:lnTo>
                  <a:pt x="137" y="326"/>
                </a:lnTo>
                <a:lnTo>
                  <a:pt x="139" y="336"/>
                </a:lnTo>
                <a:lnTo>
                  <a:pt x="143" y="343"/>
                </a:lnTo>
                <a:lnTo>
                  <a:pt x="143" y="343"/>
                </a:lnTo>
                <a:lnTo>
                  <a:pt x="147" y="349"/>
                </a:lnTo>
                <a:lnTo>
                  <a:pt x="151" y="355"/>
                </a:lnTo>
                <a:lnTo>
                  <a:pt x="154" y="358"/>
                </a:lnTo>
                <a:lnTo>
                  <a:pt x="158" y="364"/>
                </a:lnTo>
                <a:lnTo>
                  <a:pt x="162" y="368"/>
                </a:lnTo>
                <a:lnTo>
                  <a:pt x="166" y="374"/>
                </a:lnTo>
                <a:lnTo>
                  <a:pt x="166" y="378"/>
                </a:lnTo>
                <a:lnTo>
                  <a:pt x="168" y="385"/>
                </a:lnTo>
                <a:lnTo>
                  <a:pt x="168" y="385"/>
                </a:lnTo>
                <a:lnTo>
                  <a:pt x="166" y="385"/>
                </a:lnTo>
                <a:lnTo>
                  <a:pt x="166" y="385"/>
                </a:lnTo>
                <a:lnTo>
                  <a:pt x="162" y="385"/>
                </a:lnTo>
                <a:lnTo>
                  <a:pt x="160" y="385"/>
                </a:lnTo>
                <a:lnTo>
                  <a:pt x="156" y="383"/>
                </a:lnTo>
                <a:lnTo>
                  <a:pt x="154" y="383"/>
                </a:lnTo>
                <a:lnTo>
                  <a:pt x="151" y="381"/>
                </a:lnTo>
                <a:lnTo>
                  <a:pt x="151" y="379"/>
                </a:lnTo>
                <a:lnTo>
                  <a:pt x="151" y="379"/>
                </a:lnTo>
                <a:lnTo>
                  <a:pt x="145" y="374"/>
                </a:lnTo>
                <a:lnTo>
                  <a:pt x="141" y="370"/>
                </a:lnTo>
                <a:lnTo>
                  <a:pt x="135" y="364"/>
                </a:lnTo>
                <a:lnTo>
                  <a:pt x="132" y="358"/>
                </a:lnTo>
                <a:lnTo>
                  <a:pt x="126" y="353"/>
                </a:lnTo>
                <a:lnTo>
                  <a:pt x="122" y="347"/>
                </a:lnTo>
                <a:lnTo>
                  <a:pt x="118" y="343"/>
                </a:lnTo>
                <a:lnTo>
                  <a:pt x="112" y="339"/>
                </a:lnTo>
                <a:lnTo>
                  <a:pt x="112" y="339"/>
                </a:lnTo>
                <a:lnTo>
                  <a:pt x="105" y="334"/>
                </a:lnTo>
                <a:lnTo>
                  <a:pt x="99" y="328"/>
                </a:lnTo>
                <a:lnTo>
                  <a:pt x="95" y="320"/>
                </a:lnTo>
                <a:lnTo>
                  <a:pt x="93" y="315"/>
                </a:lnTo>
                <a:lnTo>
                  <a:pt x="90" y="307"/>
                </a:lnTo>
                <a:lnTo>
                  <a:pt x="88" y="297"/>
                </a:lnTo>
                <a:lnTo>
                  <a:pt x="86" y="290"/>
                </a:lnTo>
                <a:lnTo>
                  <a:pt x="82" y="280"/>
                </a:lnTo>
                <a:lnTo>
                  <a:pt x="82" y="280"/>
                </a:lnTo>
                <a:lnTo>
                  <a:pt x="78" y="275"/>
                </a:lnTo>
                <a:lnTo>
                  <a:pt x="74" y="271"/>
                </a:lnTo>
                <a:lnTo>
                  <a:pt x="69" y="265"/>
                </a:lnTo>
                <a:lnTo>
                  <a:pt x="63" y="261"/>
                </a:lnTo>
                <a:lnTo>
                  <a:pt x="57" y="257"/>
                </a:lnTo>
                <a:lnTo>
                  <a:pt x="51" y="254"/>
                </a:lnTo>
                <a:lnTo>
                  <a:pt x="48" y="250"/>
                </a:lnTo>
                <a:lnTo>
                  <a:pt x="42" y="246"/>
                </a:lnTo>
                <a:lnTo>
                  <a:pt x="42" y="246"/>
                </a:lnTo>
                <a:lnTo>
                  <a:pt x="40" y="242"/>
                </a:lnTo>
                <a:lnTo>
                  <a:pt x="38" y="240"/>
                </a:lnTo>
                <a:lnTo>
                  <a:pt x="36" y="236"/>
                </a:lnTo>
                <a:lnTo>
                  <a:pt x="32" y="233"/>
                </a:lnTo>
                <a:lnTo>
                  <a:pt x="30" y="227"/>
                </a:lnTo>
                <a:lnTo>
                  <a:pt x="29" y="223"/>
                </a:lnTo>
                <a:lnTo>
                  <a:pt x="27" y="217"/>
                </a:lnTo>
                <a:lnTo>
                  <a:pt x="25" y="213"/>
                </a:lnTo>
                <a:lnTo>
                  <a:pt x="23" y="208"/>
                </a:lnTo>
                <a:lnTo>
                  <a:pt x="21" y="202"/>
                </a:lnTo>
                <a:lnTo>
                  <a:pt x="19" y="198"/>
                </a:lnTo>
                <a:lnTo>
                  <a:pt x="17" y="192"/>
                </a:lnTo>
                <a:lnTo>
                  <a:pt x="15" y="187"/>
                </a:lnTo>
                <a:lnTo>
                  <a:pt x="15" y="183"/>
                </a:lnTo>
                <a:lnTo>
                  <a:pt x="13" y="179"/>
                </a:lnTo>
                <a:lnTo>
                  <a:pt x="13" y="173"/>
                </a:lnTo>
                <a:lnTo>
                  <a:pt x="13" y="173"/>
                </a:lnTo>
                <a:lnTo>
                  <a:pt x="13" y="170"/>
                </a:lnTo>
                <a:lnTo>
                  <a:pt x="13" y="166"/>
                </a:lnTo>
                <a:lnTo>
                  <a:pt x="13" y="162"/>
                </a:lnTo>
                <a:lnTo>
                  <a:pt x="13" y="158"/>
                </a:lnTo>
                <a:lnTo>
                  <a:pt x="13" y="156"/>
                </a:lnTo>
                <a:lnTo>
                  <a:pt x="13" y="154"/>
                </a:lnTo>
                <a:lnTo>
                  <a:pt x="13" y="152"/>
                </a:lnTo>
                <a:lnTo>
                  <a:pt x="13" y="149"/>
                </a:lnTo>
                <a:lnTo>
                  <a:pt x="13" y="149"/>
                </a:lnTo>
                <a:lnTo>
                  <a:pt x="13" y="147"/>
                </a:lnTo>
                <a:lnTo>
                  <a:pt x="13" y="143"/>
                </a:lnTo>
                <a:lnTo>
                  <a:pt x="13" y="139"/>
                </a:lnTo>
                <a:lnTo>
                  <a:pt x="11" y="135"/>
                </a:lnTo>
                <a:lnTo>
                  <a:pt x="11" y="131"/>
                </a:lnTo>
                <a:lnTo>
                  <a:pt x="9" y="128"/>
                </a:lnTo>
                <a:lnTo>
                  <a:pt x="8" y="124"/>
                </a:lnTo>
                <a:lnTo>
                  <a:pt x="8" y="120"/>
                </a:lnTo>
                <a:lnTo>
                  <a:pt x="6" y="116"/>
                </a:lnTo>
                <a:lnTo>
                  <a:pt x="4" y="112"/>
                </a:lnTo>
                <a:lnTo>
                  <a:pt x="4" y="109"/>
                </a:lnTo>
                <a:lnTo>
                  <a:pt x="2" y="103"/>
                </a:lnTo>
                <a:lnTo>
                  <a:pt x="2" y="99"/>
                </a:lnTo>
                <a:lnTo>
                  <a:pt x="0" y="93"/>
                </a:lnTo>
                <a:lnTo>
                  <a:pt x="0" y="89"/>
                </a:lnTo>
                <a:lnTo>
                  <a:pt x="0" y="84"/>
                </a:lnTo>
                <a:lnTo>
                  <a:pt x="0" y="84"/>
                </a:lnTo>
                <a:lnTo>
                  <a:pt x="0" y="78"/>
                </a:lnTo>
                <a:lnTo>
                  <a:pt x="0" y="72"/>
                </a:lnTo>
                <a:lnTo>
                  <a:pt x="2" y="67"/>
                </a:lnTo>
                <a:lnTo>
                  <a:pt x="2" y="63"/>
                </a:lnTo>
                <a:lnTo>
                  <a:pt x="4" y="59"/>
                </a:lnTo>
                <a:lnTo>
                  <a:pt x="6" y="53"/>
                </a:lnTo>
                <a:lnTo>
                  <a:pt x="6" y="49"/>
                </a:lnTo>
                <a:lnTo>
                  <a:pt x="6" y="44"/>
                </a:lnTo>
                <a:lnTo>
                  <a:pt x="6" y="44"/>
                </a:lnTo>
                <a:lnTo>
                  <a:pt x="6" y="40"/>
                </a:lnTo>
                <a:lnTo>
                  <a:pt x="6" y="36"/>
                </a:lnTo>
                <a:lnTo>
                  <a:pt x="4" y="32"/>
                </a:lnTo>
                <a:lnTo>
                  <a:pt x="2" y="28"/>
                </a:lnTo>
                <a:lnTo>
                  <a:pt x="2" y="25"/>
                </a:lnTo>
                <a:lnTo>
                  <a:pt x="0" y="21"/>
                </a:lnTo>
                <a:lnTo>
                  <a:pt x="0" y="17"/>
                </a:lnTo>
                <a:lnTo>
                  <a:pt x="0" y="13"/>
                </a:lnTo>
                <a:lnTo>
                  <a:pt x="0" y="13"/>
                </a:lnTo>
                <a:lnTo>
                  <a:pt x="0" y="11"/>
                </a:lnTo>
                <a:lnTo>
                  <a:pt x="0" y="9"/>
                </a:lnTo>
                <a:lnTo>
                  <a:pt x="0" y="7"/>
                </a:lnTo>
                <a:lnTo>
                  <a:pt x="0" y="6"/>
                </a:lnTo>
                <a:lnTo>
                  <a:pt x="0" y="4"/>
                </a:lnTo>
                <a:lnTo>
                  <a:pt x="0" y="4"/>
                </a:lnTo>
                <a:lnTo>
                  <a:pt x="0" y="2"/>
                </a:lnTo>
                <a:lnTo>
                  <a:pt x="0" y="0"/>
                </a:lnTo>
                <a:lnTo>
                  <a:pt x="8" y="0"/>
                </a:lnTo>
                <a:lnTo>
                  <a:pt x="8" y="0"/>
                </a:lnTo>
                <a:lnTo>
                  <a:pt x="9" y="2"/>
                </a:lnTo>
                <a:lnTo>
                  <a:pt x="11" y="4"/>
                </a:lnTo>
                <a:lnTo>
                  <a:pt x="11" y="7"/>
                </a:lnTo>
                <a:lnTo>
                  <a:pt x="13" y="9"/>
                </a:lnTo>
                <a:lnTo>
                  <a:pt x="15" y="11"/>
                </a:lnTo>
                <a:lnTo>
                  <a:pt x="15" y="13"/>
                </a:lnTo>
                <a:lnTo>
                  <a:pt x="17" y="15"/>
                </a:lnTo>
                <a:lnTo>
                  <a:pt x="17" y="15"/>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90" name="Freeform 62"/>
          <p:cNvSpPr>
            <a:spLocks/>
          </p:cNvSpPr>
          <p:nvPr>
            <p:custDataLst>
              <p:tags r:id="rId62"/>
            </p:custDataLst>
          </p:nvPr>
        </p:nvSpPr>
        <p:spPr bwMode="gray">
          <a:xfrm>
            <a:off x="5047425" y="4423531"/>
            <a:ext cx="72893" cy="336907"/>
          </a:xfrm>
          <a:custGeom>
            <a:avLst/>
            <a:gdLst/>
            <a:ahLst/>
            <a:cxnLst>
              <a:cxn ang="0">
                <a:pos x="9" y="53"/>
              </a:cxn>
              <a:cxn ang="0">
                <a:pos x="7" y="42"/>
              </a:cxn>
              <a:cxn ang="0">
                <a:pos x="2" y="27"/>
              </a:cxn>
              <a:cxn ang="0">
                <a:pos x="0" y="8"/>
              </a:cxn>
              <a:cxn ang="0">
                <a:pos x="2" y="0"/>
              </a:cxn>
              <a:cxn ang="0">
                <a:pos x="15" y="8"/>
              </a:cxn>
              <a:cxn ang="0">
                <a:pos x="32" y="27"/>
              </a:cxn>
              <a:cxn ang="0">
                <a:pos x="44" y="51"/>
              </a:cxn>
              <a:cxn ang="0">
                <a:pos x="49" y="103"/>
              </a:cxn>
              <a:cxn ang="0">
                <a:pos x="51" y="114"/>
              </a:cxn>
              <a:cxn ang="0">
                <a:pos x="51" y="126"/>
              </a:cxn>
              <a:cxn ang="0">
                <a:pos x="55" y="141"/>
              </a:cxn>
              <a:cxn ang="0">
                <a:pos x="67" y="154"/>
              </a:cxn>
              <a:cxn ang="0">
                <a:pos x="74" y="170"/>
              </a:cxn>
              <a:cxn ang="0">
                <a:pos x="68" y="189"/>
              </a:cxn>
              <a:cxn ang="0">
                <a:pos x="57" y="204"/>
              </a:cxn>
              <a:cxn ang="0">
                <a:pos x="51" y="219"/>
              </a:cxn>
              <a:cxn ang="0">
                <a:pos x="53" y="235"/>
              </a:cxn>
              <a:cxn ang="0">
                <a:pos x="55" y="252"/>
              </a:cxn>
              <a:cxn ang="0">
                <a:pos x="57" y="311"/>
              </a:cxn>
              <a:cxn ang="0">
                <a:pos x="68" y="334"/>
              </a:cxn>
              <a:cxn ang="0">
                <a:pos x="80" y="351"/>
              </a:cxn>
              <a:cxn ang="0">
                <a:pos x="80" y="364"/>
              </a:cxn>
              <a:cxn ang="0">
                <a:pos x="78" y="370"/>
              </a:cxn>
              <a:cxn ang="0">
                <a:pos x="80" y="376"/>
              </a:cxn>
              <a:cxn ang="0">
                <a:pos x="72" y="372"/>
              </a:cxn>
              <a:cxn ang="0">
                <a:pos x="63" y="366"/>
              </a:cxn>
              <a:cxn ang="0">
                <a:pos x="55" y="364"/>
              </a:cxn>
              <a:cxn ang="0">
                <a:pos x="51" y="370"/>
              </a:cxn>
              <a:cxn ang="0">
                <a:pos x="51" y="376"/>
              </a:cxn>
              <a:cxn ang="0">
                <a:pos x="44" y="376"/>
              </a:cxn>
              <a:cxn ang="0">
                <a:pos x="36" y="368"/>
              </a:cxn>
              <a:cxn ang="0">
                <a:pos x="34" y="359"/>
              </a:cxn>
              <a:cxn ang="0">
                <a:pos x="34" y="351"/>
              </a:cxn>
              <a:cxn ang="0">
                <a:pos x="38" y="343"/>
              </a:cxn>
              <a:cxn ang="0">
                <a:pos x="38" y="336"/>
              </a:cxn>
              <a:cxn ang="0">
                <a:pos x="34" y="328"/>
              </a:cxn>
              <a:cxn ang="0">
                <a:pos x="28" y="324"/>
              </a:cxn>
              <a:cxn ang="0">
                <a:pos x="21" y="307"/>
              </a:cxn>
              <a:cxn ang="0">
                <a:pos x="17" y="282"/>
              </a:cxn>
              <a:cxn ang="0">
                <a:pos x="17" y="259"/>
              </a:cxn>
              <a:cxn ang="0">
                <a:pos x="11" y="242"/>
              </a:cxn>
              <a:cxn ang="0">
                <a:pos x="4" y="231"/>
              </a:cxn>
              <a:cxn ang="0">
                <a:pos x="2" y="221"/>
              </a:cxn>
              <a:cxn ang="0">
                <a:pos x="7" y="214"/>
              </a:cxn>
              <a:cxn ang="0">
                <a:pos x="13" y="198"/>
              </a:cxn>
              <a:cxn ang="0">
                <a:pos x="19" y="181"/>
              </a:cxn>
              <a:cxn ang="0">
                <a:pos x="23" y="166"/>
              </a:cxn>
              <a:cxn ang="0">
                <a:pos x="26" y="156"/>
              </a:cxn>
              <a:cxn ang="0">
                <a:pos x="21" y="67"/>
              </a:cxn>
              <a:cxn ang="0">
                <a:pos x="17" y="61"/>
              </a:cxn>
              <a:cxn ang="0">
                <a:pos x="11" y="57"/>
              </a:cxn>
            </a:cxnLst>
            <a:rect l="0" t="0" r="r" b="b"/>
            <a:pathLst>
              <a:path w="80" h="378">
                <a:moveTo>
                  <a:pt x="11" y="57"/>
                </a:moveTo>
                <a:lnTo>
                  <a:pt x="11" y="55"/>
                </a:lnTo>
                <a:lnTo>
                  <a:pt x="9" y="53"/>
                </a:lnTo>
                <a:lnTo>
                  <a:pt x="9" y="50"/>
                </a:lnTo>
                <a:lnTo>
                  <a:pt x="9" y="48"/>
                </a:lnTo>
                <a:lnTo>
                  <a:pt x="7" y="42"/>
                </a:lnTo>
                <a:lnTo>
                  <a:pt x="5" y="36"/>
                </a:lnTo>
                <a:lnTo>
                  <a:pt x="4" y="32"/>
                </a:lnTo>
                <a:lnTo>
                  <a:pt x="2" y="27"/>
                </a:lnTo>
                <a:lnTo>
                  <a:pt x="0" y="21"/>
                </a:lnTo>
                <a:lnTo>
                  <a:pt x="0" y="15"/>
                </a:lnTo>
                <a:lnTo>
                  <a:pt x="0" y="8"/>
                </a:lnTo>
                <a:lnTo>
                  <a:pt x="0" y="0"/>
                </a:lnTo>
                <a:lnTo>
                  <a:pt x="0" y="0"/>
                </a:lnTo>
                <a:lnTo>
                  <a:pt x="2" y="0"/>
                </a:lnTo>
                <a:lnTo>
                  <a:pt x="4" y="0"/>
                </a:lnTo>
                <a:lnTo>
                  <a:pt x="5" y="0"/>
                </a:lnTo>
                <a:lnTo>
                  <a:pt x="15" y="8"/>
                </a:lnTo>
                <a:lnTo>
                  <a:pt x="23" y="13"/>
                </a:lnTo>
                <a:lnTo>
                  <a:pt x="28" y="21"/>
                </a:lnTo>
                <a:lnTo>
                  <a:pt x="32" y="27"/>
                </a:lnTo>
                <a:lnTo>
                  <a:pt x="36" y="34"/>
                </a:lnTo>
                <a:lnTo>
                  <a:pt x="40" y="42"/>
                </a:lnTo>
                <a:lnTo>
                  <a:pt x="44" y="51"/>
                </a:lnTo>
                <a:lnTo>
                  <a:pt x="47" y="61"/>
                </a:lnTo>
                <a:lnTo>
                  <a:pt x="47" y="99"/>
                </a:lnTo>
                <a:lnTo>
                  <a:pt x="49" y="103"/>
                </a:lnTo>
                <a:lnTo>
                  <a:pt x="51" y="107"/>
                </a:lnTo>
                <a:lnTo>
                  <a:pt x="51" y="111"/>
                </a:lnTo>
                <a:lnTo>
                  <a:pt x="51" y="114"/>
                </a:lnTo>
                <a:lnTo>
                  <a:pt x="51" y="118"/>
                </a:lnTo>
                <a:lnTo>
                  <a:pt x="51" y="122"/>
                </a:lnTo>
                <a:lnTo>
                  <a:pt x="51" y="126"/>
                </a:lnTo>
                <a:lnTo>
                  <a:pt x="51" y="130"/>
                </a:lnTo>
                <a:lnTo>
                  <a:pt x="53" y="135"/>
                </a:lnTo>
                <a:lnTo>
                  <a:pt x="55" y="141"/>
                </a:lnTo>
                <a:lnTo>
                  <a:pt x="59" y="145"/>
                </a:lnTo>
                <a:lnTo>
                  <a:pt x="63" y="151"/>
                </a:lnTo>
                <a:lnTo>
                  <a:pt x="67" y="154"/>
                </a:lnTo>
                <a:lnTo>
                  <a:pt x="70" y="158"/>
                </a:lnTo>
                <a:lnTo>
                  <a:pt x="72" y="164"/>
                </a:lnTo>
                <a:lnTo>
                  <a:pt x="74" y="170"/>
                </a:lnTo>
                <a:lnTo>
                  <a:pt x="72" y="177"/>
                </a:lnTo>
                <a:lnTo>
                  <a:pt x="70" y="183"/>
                </a:lnTo>
                <a:lnTo>
                  <a:pt x="68" y="189"/>
                </a:lnTo>
                <a:lnTo>
                  <a:pt x="65" y="195"/>
                </a:lnTo>
                <a:lnTo>
                  <a:pt x="61" y="198"/>
                </a:lnTo>
                <a:lnTo>
                  <a:pt x="57" y="204"/>
                </a:lnTo>
                <a:lnTo>
                  <a:pt x="55" y="208"/>
                </a:lnTo>
                <a:lnTo>
                  <a:pt x="53" y="212"/>
                </a:lnTo>
                <a:lnTo>
                  <a:pt x="51" y="219"/>
                </a:lnTo>
                <a:lnTo>
                  <a:pt x="51" y="223"/>
                </a:lnTo>
                <a:lnTo>
                  <a:pt x="51" y="229"/>
                </a:lnTo>
                <a:lnTo>
                  <a:pt x="53" y="235"/>
                </a:lnTo>
                <a:lnTo>
                  <a:pt x="53" y="240"/>
                </a:lnTo>
                <a:lnTo>
                  <a:pt x="55" y="246"/>
                </a:lnTo>
                <a:lnTo>
                  <a:pt x="55" y="252"/>
                </a:lnTo>
                <a:lnTo>
                  <a:pt x="55" y="257"/>
                </a:lnTo>
                <a:lnTo>
                  <a:pt x="55" y="301"/>
                </a:lnTo>
                <a:lnTo>
                  <a:pt x="57" y="311"/>
                </a:lnTo>
                <a:lnTo>
                  <a:pt x="59" y="320"/>
                </a:lnTo>
                <a:lnTo>
                  <a:pt x="63" y="328"/>
                </a:lnTo>
                <a:lnTo>
                  <a:pt x="68" y="334"/>
                </a:lnTo>
                <a:lnTo>
                  <a:pt x="72" y="340"/>
                </a:lnTo>
                <a:lnTo>
                  <a:pt x="76" y="345"/>
                </a:lnTo>
                <a:lnTo>
                  <a:pt x="80" y="351"/>
                </a:lnTo>
                <a:lnTo>
                  <a:pt x="80" y="359"/>
                </a:lnTo>
                <a:lnTo>
                  <a:pt x="80" y="362"/>
                </a:lnTo>
                <a:lnTo>
                  <a:pt x="80" y="364"/>
                </a:lnTo>
                <a:lnTo>
                  <a:pt x="78" y="366"/>
                </a:lnTo>
                <a:lnTo>
                  <a:pt x="78" y="368"/>
                </a:lnTo>
                <a:lnTo>
                  <a:pt x="78" y="370"/>
                </a:lnTo>
                <a:lnTo>
                  <a:pt x="78" y="372"/>
                </a:lnTo>
                <a:lnTo>
                  <a:pt x="78" y="374"/>
                </a:lnTo>
                <a:lnTo>
                  <a:pt x="80" y="376"/>
                </a:lnTo>
                <a:lnTo>
                  <a:pt x="78" y="376"/>
                </a:lnTo>
                <a:lnTo>
                  <a:pt x="74" y="374"/>
                </a:lnTo>
                <a:lnTo>
                  <a:pt x="72" y="372"/>
                </a:lnTo>
                <a:lnTo>
                  <a:pt x="68" y="370"/>
                </a:lnTo>
                <a:lnTo>
                  <a:pt x="67" y="368"/>
                </a:lnTo>
                <a:lnTo>
                  <a:pt x="63" y="366"/>
                </a:lnTo>
                <a:lnTo>
                  <a:pt x="61" y="364"/>
                </a:lnTo>
                <a:lnTo>
                  <a:pt x="57" y="362"/>
                </a:lnTo>
                <a:lnTo>
                  <a:pt x="55" y="364"/>
                </a:lnTo>
                <a:lnTo>
                  <a:pt x="53" y="366"/>
                </a:lnTo>
                <a:lnTo>
                  <a:pt x="53" y="368"/>
                </a:lnTo>
                <a:lnTo>
                  <a:pt x="51" y="370"/>
                </a:lnTo>
                <a:lnTo>
                  <a:pt x="51" y="372"/>
                </a:lnTo>
                <a:lnTo>
                  <a:pt x="51" y="374"/>
                </a:lnTo>
                <a:lnTo>
                  <a:pt x="51" y="376"/>
                </a:lnTo>
                <a:lnTo>
                  <a:pt x="51" y="378"/>
                </a:lnTo>
                <a:lnTo>
                  <a:pt x="47" y="378"/>
                </a:lnTo>
                <a:lnTo>
                  <a:pt x="44" y="376"/>
                </a:lnTo>
                <a:lnTo>
                  <a:pt x="42" y="374"/>
                </a:lnTo>
                <a:lnTo>
                  <a:pt x="38" y="372"/>
                </a:lnTo>
                <a:lnTo>
                  <a:pt x="36" y="368"/>
                </a:lnTo>
                <a:lnTo>
                  <a:pt x="34" y="364"/>
                </a:lnTo>
                <a:lnTo>
                  <a:pt x="34" y="362"/>
                </a:lnTo>
                <a:lnTo>
                  <a:pt x="34" y="359"/>
                </a:lnTo>
                <a:lnTo>
                  <a:pt x="34" y="355"/>
                </a:lnTo>
                <a:lnTo>
                  <a:pt x="34" y="353"/>
                </a:lnTo>
                <a:lnTo>
                  <a:pt x="34" y="351"/>
                </a:lnTo>
                <a:lnTo>
                  <a:pt x="36" y="347"/>
                </a:lnTo>
                <a:lnTo>
                  <a:pt x="36" y="345"/>
                </a:lnTo>
                <a:lnTo>
                  <a:pt x="38" y="343"/>
                </a:lnTo>
                <a:lnTo>
                  <a:pt x="38" y="341"/>
                </a:lnTo>
                <a:lnTo>
                  <a:pt x="38" y="340"/>
                </a:lnTo>
                <a:lnTo>
                  <a:pt x="38" y="336"/>
                </a:lnTo>
                <a:lnTo>
                  <a:pt x="36" y="332"/>
                </a:lnTo>
                <a:lnTo>
                  <a:pt x="36" y="330"/>
                </a:lnTo>
                <a:lnTo>
                  <a:pt x="34" y="328"/>
                </a:lnTo>
                <a:lnTo>
                  <a:pt x="32" y="328"/>
                </a:lnTo>
                <a:lnTo>
                  <a:pt x="30" y="326"/>
                </a:lnTo>
                <a:lnTo>
                  <a:pt x="28" y="324"/>
                </a:lnTo>
                <a:lnTo>
                  <a:pt x="26" y="322"/>
                </a:lnTo>
                <a:lnTo>
                  <a:pt x="25" y="315"/>
                </a:lnTo>
                <a:lnTo>
                  <a:pt x="21" y="307"/>
                </a:lnTo>
                <a:lnTo>
                  <a:pt x="19" y="299"/>
                </a:lnTo>
                <a:lnTo>
                  <a:pt x="19" y="292"/>
                </a:lnTo>
                <a:lnTo>
                  <a:pt x="17" y="282"/>
                </a:lnTo>
                <a:lnTo>
                  <a:pt x="17" y="275"/>
                </a:lnTo>
                <a:lnTo>
                  <a:pt x="17" y="267"/>
                </a:lnTo>
                <a:lnTo>
                  <a:pt x="17" y="259"/>
                </a:lnTo>
                <a:lnTo>
                  <a:pt x="17" y="252"/>
                </a:lnTo>
                <a:lnTo>
                  <a:pt x="15" y="248"/>
                </a:lnTo>
                <a:lnTo>
                  <a:pt x="11" y="242"/>
                </a:lnTo>
                <a:lnTo>
                  <a:pt x="9" y="238"/>
                </a:lnTo>
                <a:lnTo>
                  <a:pt x="5" y="235"/>
                </a:lnTo>
                <a:lnTo>
                  <a:pt x="4" y="231"/>
                </a:lnTo>
                <a:lnTo>
                  <a:pt x="2" y="227"/>
                </a:lnTo>
                <a:lnTo>
                  <a:pt x="0" y="221"/>
                </a:lnTo>
                <a:lnTo>
                  <a:pt x="2" y="221"/>
                </a:lnTo>
                <a:lnTo>
                  <a:pt x="4" y="219"/>
                </a:lnTo>
                <a:lnTo>
                  <a:pt x="5" y="217"/>
                </a:lnTo>
                <a:lnTo>
                  <a:pt x="7" y="214"/>
                </a:lnTo>
                <a:lnTo>
                  <a:pt x="9" y="208"/>
                </a:lnTo>
                <a:lnTo>
                  <a:pt x="11" y="204"/>
                </a:lnTo>
                <a:lnTo>
                  <a:pt x="13" y="198"/>
                </a:lnTo>
                <a:lnTo>
                  <a:pt x="15" y="193"/>
                </a:lnTo>
                <a:lnTo>
                  <a:pt x="17" y="187"/>
                </a:lnTo>
                <a:lnTo>
                  <a:pt x="19" y="181"/>
                </a:lnTo>
                <a:lnTo>
                  <a:pt x="21" y="175"/>
                </a:lnTo>
                <a:lnTo>
                  <a:pt x="23" y="170"/>
                </a:lnTo>
                <a:lnTo>
                  <a:pt x="23" y="166"/>
                </a:lnTo>
                <a:lnTo>
                  <a:pt x="25" y="162"/>
                </a:lnTo>
                <a:lnTo>
                  <a:pt x="26" y="158"/>
                </a:lnTo>
                <a:lnTo>
                  <a:pt x="26" y="156"/>
                </a:lnTo>
                <a:lnTo>
                  <a:pt x="26" y="71"/>
                </a:lnTo>
                <a:lnTo>
                  <a:pt x="23" y="69"/>
                </a:lnTo>
                <a:lnTo>
                  <a:pt x="21" y="67"/>
                </a:lnTo>
                <a:lnTo>
                  <a:pt x="19" y="65"/>
                </a:lnTo>
                <a:lnTo>
                  <a:pt x="19" y="63"/>
                </a:lnTo>
                <a:lnTo>
                  <a:pt x="17" y="61"/>
                </a:lnTo>
                <a:lnTo>
                  <a:pt x="15" y="59"/>
                </a:lnTo>
                <a:lnTo>
                  <a:pt x="13" y="57"/>
                </a:lnTo>
                <a:lnTo>
                  <a:pt x="11" y="57"/>
                </a:lnTo>
                <a:close/>
              </a:path>
            </a:pathLst>
          </a:custGeom>
          <a:solidFill>
            <a:srgbClr val="F8F8F8"/>
          </a:solidFill>
          <a:ln w="9525" cmpd="sng">
            <a:solidFill>
              <a:schemeClr val="tx1"/>
            </a:solidFill>
            <a:round/>
            <a:headEnd/>
            <a:tailEnd/>
          </a:ln>
        </p:spPr>
        <p:txBody>
          <a:bodyPr lIns="93222" tIns="46612" rIns="93222" bIns="46612"/>
          <a:lstStyle/>
          <a:p>
            <a:endParaRPr lang="en-US" dirty="0">
              <a:solidFill>
                <a:srgbClr val="000000"/>
              </a:solidFill>
              <a:latin typeface="Arial" charset="0"/>
            </a:endParaRPr>
          </a:p>
        </p:txBody>
      </p:sp>
      <p:sp>
        <p:nvSpPr>
          <p:cNvPr id="636991" name="Freeform 63"/>
          <p:cNvSpPr>
            <a:spLocks/>
          </p:cNvSpPr>
          <p:nvPr>
            <p:custDataLst>
              <p:tags r:id="rId63"/>
            </p:custDataLst>
          </p:nvPr>
        </p:nvSpPr>
        <p:spPr bwMode="gray">
          <a:xfrm>
            <a:off x="5047425" y="4423531"/>
            <a:ext cx="72893" cy="336907"/>
          </a:xfrm>
          <a:custGeom>
            <a:avLst/>
            <a:gdLst/>
            <a:ahLst/>
            <a:cxnLst>
              <a:cxn ang="0">
                <a:pos x="11" y="55"/>
              </a:cxn>
              <a:cxn ang="0">
                <a:pos x="9" y="48"/>
              </a:cxn>
              <a:cxn ang="0">
                <a:pos x="5" y="36"/>
              </a:cxn>
              <a:cxn ang="0">
                <a:pos x="0" y="21"/>
              </a:cxn>
              <a:cxn ang="0">
                <a:pos x="0" y="0"/>
              </a:cxn>
              <a:cxn ang="0">
                <a:pos x="2" y="0"/>
              </a:cxn>
              <a:cxn ang="0">
                <a:pos x="5" y="0"/>
              </a:cxn>
              <a:cxn ang="0">
                <a:pos x="28" y="21"/>
              </a:cxn>
              <a:cxn ang="0">
                <a:pos x="40" y="42"/>
              </a:cxn>
              <a:cxn ang="0">
                <a:pos x="47" y="99"/>
              </a:cxn>
              <a:cxn ang="0">
                <a:pos x="51" y="107"/>
              </a:cxn>
              <a:cxn ang="0">
                <a:pos x="51" y="118"/>
              </a:cxn>
              <a:cxn ang="0">
                <a:pos x="51" y="130"/>
              </a:cxn>
              <a:cxn ang="0">
                <a:pos x="55" y="141"/>
              </a:cxn>
              <a:cxn ang="0">
                <a:pos x="67" y="154"/>
              </a:cxn>
              <a:cxn ang="0">
                <a:pos x="74" y="170"/>
              </a:cxn>
              <a:cxn ang="0">
                <a:pos x="70" y="183"/>
              </a:cxn>
              <a:cxn ang="0">
                <a:pos x="61" y="198"/>
              </a:cxn>
              <a:cxn ang="0">
                <a:pos x="53" y="212"/>
              </a:cxn>
              <a:cxn ang="0">
                <a:pos x="51" y="223"/>
              </a:cxn>
              <a:cxn ang="0">
                <a:pos x="53" y="240"/>
              </a:cxn>
              <a:cxn ang="0">
                <a:pos x="55" y="257"/>
              </a:cxn>
              <a:cxn ang="0">
                <a:pos x="57" y="311"/>
              </a:cxn>
              <a:cxn ang="0">
                <a:pos x="68" y="334"/>
              </a:cxn>
              <a:cxn ang="0">
                <a:pos x="80" y="351"/>
              </a:cxn>
              <a:cxn ang="0">
                <a:pos x="80" y="362"/>
              </a:cxn>
              <a:cxn ang="0">
                <a:pos x="78" y="368"/>
              </a:cxn>
              <a:cxn ang="0">
                <a:pos x="78" y="374"/>
              </a:cxn>
              <a:cxn ang="0">
                <a:pos x="78" y="376"/>
              </a:cxn>
              <a:cxn ang="0">
                <a:pos x="68" y="370"/>
              </a:cxn>
              <a:cxn ang="0">
                <a:pos x="61" y="364"/>
              </a:cxn>
              <a:cxn ang="0">
                <a:pos x="55" y="364"/>
              </a:cxn>
              <a:cxn ang="0">
                <a:pos x="51" y="370"/>
              </a:cxn>
              <a:cxn ang="0">
                <a:pos x="51" y="376"/>
              </a:cxn>
              <a:cxn ang="0">
                <a:pos x="47" y="378"/>
              </a:cxn>
              <a:cxn ang="0">
                <a:pos x="38" y="372"/>
              </a:cxn>
              <a:cxn ang="0">
                <a:pos x="34" y="362"/>
              </a:cxn>
              <a:cxn ang="0">
                <a:pos x="34" y="355"/>
              </a:cxn>
              <a:cxn ang="0">
                <a:pos x="36" y="347"/>
              </a:cxn>
              <a:cxn ang="0">
                <a:pos x="38" y="341"/>
              </a:cxn>
              <a:cxn ang="0">
                <a:pos x="38" y="336"/>
              </a:cxn>
              <a:cxn ang="0">
                <a:pos x="34" y="328"/>
              </a:cxn>
              <a:cxn ang="0">
                <a:pos x="28" y="324"/>
              </a:cxn>
              <a:cxn ang="0">
                <a:pos x="25" y="315"/>
              </a:cxn>
              <a:cxn ang="0">
                <a:pos x="19" y="292"/>
              </a:cxn>
              <a:cxn ang="0">
                <a:pos x="17" y="267"/>
              </a:cxn>
              <a:cxn ang="0">
                <a:pos x="17" y="252"/>
              </a:cxn>
              <a:cxn ang="0">
                <a:pos x="9" y="238"/>
              </a:cxn>
              <a:cxn ang="0">
                <a:pos x="2" y="227"/>
              </a:cxn>
              <a:cxn ang="0">
                <a:pos x="2" y="221"/>
              </a:cxn>
              <a:cxn ang="0">
                <a:pos x="7" y="214"/>
              </a:cxn>
              <a:cxn ang="0">
                <a:pos x="13" y="198"/>
              </a:cxn>
              <a:cxn ang="0">
                <a:pos x="19" y="181"/>
              </a:cxn>
              <a:cxn ang="0">
                <a:pos x="23" y="166"/>
              </a:cxn>
              <a:cxn ang="0">
                <a:pos x="26" y="156"/>
              </a:cxn>
              <a:cxn ang="0">
                <a:pos x="23" y="69"/>
              </a:cxn>
              <a:cxn ang="0">
                <a:pos x="19" y="63"/>
              </a:cxn>
              <a:cxn ang="0">
                <a:pos x="13" y="57"/>
              </a:cxn>
            </a:cxnLst>
            <a:rect l="0" t="0" r="r" b="b"/>
            <a:pathLst>
              <a:path w="80" h="378">
                <a:moveTo>
                  <a:pt x="11" y="57"/>
                </a:moveTo>
                <a:lnTo>
                  <a:pt x="11" y="57"/>
                </a:lnTo>
                <a:lnTo>
                  <a:pt x="11" y="55"/>
                </a:lnTo>
                <a:lnTo>
                  <a:pt x="9" y="53"/>
                </a:lnTo>
                <a:lnTo>
                  <a:pt x="9" y="50"/>
                </a:lnTo>
                <a:lnTo>
                  <a:pt x="9" y="48"/>
                </a:lnTo>
                <a:lnTo>
                  <a:pt x="9" y="48"/>
                </a:lnTo>
                <a:lnTo>
                  <a:pt x="7" y="42"/>
                </a:lnTo>
                <a:lnTo>
                  <a:pt x="5" y="36"/>
                </a:lnTo>
                <a:lnTo>
                  <a:pt x="4" y="32"/>
                </a:lnTo>
                <a:lnTo>
                  <a:pt x="2" y="27"/>
                </a:lnTo>
                <a:lnTo>
                  <a:pt x="0" y="21"/>
                </a:lnTo>
                <a:lnTo>
                  <a:pt x="0" y="15"/>
                </a:lnTo>
                <a:lnTo>
                  <a:pt x="0" y="8"/>
                </a:lnTo>
                <a:lnTo>
                  <a:pt x="0" y="0"/>
                </a:lnTo>
                <a:lnTo>
                  <a:pt x="0" y="0"/>
                </a:lnTo>
                <a:lnTo>
                  <a:pt x="0" y="0"/>
                </a:lnTo>
                <a:lnTo>
                  <a:pt x="2" y="0"/>
                </a:lnTo>
                <a:lnTo>
                  <a:pt x="4" y="0"/>
                </a:lnTo>
                <a:lnTo>
                  <a:pt x="5" y="0"/>
                </a:lnTo>
                <a:lnTo>
                  <a:pt x="5" y="0"/>
                </a:lnTo>
                <a:lnTo>
                  <a:pt x="15" y="8"/>
                </a:lnTo>
                <a:lnTo>
                  <a:pt x="23" y="13"/>
                </a:lnTo>
                <a:lnTo>
                  <a:pt x="28" y="21"/>
                </a:lnTo>
                <a:lnTo>
                  <a:pt x="32" y="27"/>
                </a:lnTo>
                <a:lnTo>
                  <a:pt x="36" y="34"/>
                </a:lnTo>
                <a:lnTo>
                  <a:pt x="40" y="42"/>
                </a:lnTo>
                <a:lnTo>
                  <a:pt x="44" y="51"/>
                </a:lnTo>
                <a:lnTo>
                  <a:pt x="47" y="61"/>
                </a:lnTo>
                <a:lnTo>
                  <a:pt x="47" y="99"/>
                </a:lnTo>
                <a:lnTo>
                  <a:pt x="47" y="99"/>
                </a:lnTo>
                <a:lnTo>
                  <a:pt x="49" y="103"/>
                </a:lnTo>
                <a:lnTo>
                  <a:pt x="51" y="107"/>
                </a:lnTo>
                <a:lnTo>
                  <a:pt x="51" y="111"/>
                </a:lnTo>
                <a:lnTo>
                  <a:pt x="51" y="114"/>
                </a:lnTo>
                <a:lnTo>
                  <a:pt x="51" y="118"/>
                </a:lnTo>
                <a:lnTo>
                  <a:pt x="51" y="122"/>
                </a:lnTo>
                <a:lnTo>
                  <a:pt x="51" y="126"/>
                </a:lnTo>
                <a:lnTo>
                  <a:pt x="51" y="130"/>
                </a:lnTo>
                <a:lnTo>
                  <a:pt x="51" y="130"/>
                </a:lnTo>
                <a:lnTo>
                  <a:pt x="53" y="135"/>
                </a:lnTo>
                <a:lnTo>
                  <a:pt x="55" y="141"/>
                </a:lnTo>
                <a:lnTo>
                  <a:pt x="59" y="145"/>
                </a:lnTo>
                <a:lnTo>
                  <a:pt x="63" y="151"/>
                </a:lnTo>
                <a:lnTo>
                  <a:pt x="67" y="154"/>
                </a:lnTo>
                <a:lnTo>
                  <a:pt x="70" y="158"/>
                </a:lnTo>
                <a:lnTo>
                  <a:pt x="72" y="164"/>
                </a:lnTo>
                <a:lnTo>
                  <a:pt x="74" y="170"/>
                </a:lnTo>
                <a:lnTo>
                  <a:pt x="74" y="170"/>
                </a:lnTo>
                <a:lnTo>
                  <a:pt x="72" y="177"/>
                </a:lnTo>
                <a:lnTo>
                  <a:pt x="70" y="183"/>
                </a:lnTo>
                <a:lnTo>
                  <a:pt x="68" y="189"/>
                </a:lnTo>
                <a:lnTo>
                  <a:pt x="65" y="195"/>
                </a:lnTo>
                <a:lnTo>
                  <a:pt x="61" y="198"/>
                </a:lnTo>
                <a:lnTo>
                  <a:pt x="57" y="204"/>
                </a:lnTo>
                <a:lnTo>
                  <a:pt x="55" y="208"/>
                </a:lnTo>
                <a:lnTo>
                  <a:pt x="53" y="212"/>
                </a:lnTo>
                <a:lnTo>
                  <a:pt x="53" y="212"/>
                </a:lnTo>
                <a:lnTo>
                  <a:pt x="51" y="219"/>
                </a:lnTo>
                <a:lnTo>
                  <a:pt x="51" y="223"/>
                </a:lnTo>
                <a:lnTo>
                  <a:pt x="51" y="229"/>
                </a:lnTo>
                <a:lnTo>
                  <a:pt x="53" y="235"/>
                </a:lnTo>
                <a:lnTo>
                  <a:pt x="53" y="240"/>
                </a:lnTo>
                <a:lnTo>
                  <a:pt x="55" y="246"/>
                </a:lnTo>
                <a:lnTo>
                  <a:pt x="55" y="252"/>
                </a:lnTo>
                <a:lnTo>
                  <a:pt x="55" y="257"/>
                </a:lnTo>
                <a:lnTo>
                  <a:pt x="55" y="301"/>
                </a:lnTo>
                <a:lnTo>
                  <a:pt x="55" y="301"/>
                </a:lnTo>
                <a:lnTo>
                  <a:pt x="57" y="311"/>
                </a:lnTo>
                <a:lnTo>
                  <a:pt x="59" y="320"/>
                </a:lnTo>
                <a:lnTo>
                  <a:pt x="63" y="328"/>
                </a:lnTo>
                <a:lnTo>
                  <a:pt x="68" y="334"/>
                </a:lnTo>
                <a:lnTo>
                  <a:pt x="72" y="340"/>
                </a:lnTo>
                <a:lnTo>
                  <a:pt x="76" y="345"/>
                </a:lnTo>
                <a:lnTo>
                  <a:pt x="80" y="351"/>
                </a:lnTo>
                <a:lnTo>
                  <a:pt x="80" y="359"/>
                </a:lnTo>
                <a:lnTo>
                  <a:pt x="80" y="359"/>
                </a:lnTo>
                <a:lnTo>
                  <a:pt x="80" y="362"/>
                </a:lnTo>
                <a:lnTo>
                  <a:pt x="80" y="364"/>
                </a:lnTo>
                <a:lnTo>
                  <a:pt x="78" y="366"/>
                </a:lnTo>
                <a:lnTo>
                  <a:pt x="78" y="368"/>
                </a:lnTo>
                <a:lnTo>
                  <a:pt x="78" y="370"/>
                </a:lnTo>
                <a:lnTo>
                  <a:pt x="78" y="372"/>
                </a:lnTo>
                <a:lnTo>
                  <a:pt x="78" y="374"/>
                </a:lnTo>
                <a:lnTo>
                  <a:pt x="80" y="376"/>
                </a:lnTo>
                <a:lnTo>
                  <a:pt x="80" y="376"/>
                </a:lnTo>
                <a:lnTo>
                  <a:pt x="78" y="376"/>
                </a:lnTo>
                <a:lnTo>
                  <a:pt x="74" y="374"/>
                </a:lnTo>
                <a:lnTo>
                  <a:pt x="72" y="372"/>
                </a:lnTo>
                <a:lnTo>
                  <a:pt x="68" y="370"/>
                </a:lnTo>
                <a:lnTo>
                  <a:pt x="67" y="368"/>
                </a:lnTo>
                <a:lnTo>
                  <a:pt x="63" y="366"/>
                </a:lnTo>
                <a:lnTo>
                  <a:pt x="61" y="364"/>
                </a:lnTo>
                <a:lnTo>
                  <a:pt x="57" y="362"/>
                </a:lnTo>
                <a:lnTo>
                  <a:pt x="57" y="362"/>
                </a:lnTo>
                <a:lnTo>
                  <a:pt x="55" y="364"/>
                </a:lnTo>
                <a:lnTo>
                  <a:pt x="53" y="366"/>
                </a:lnTo>
                <a:lnTo>
                  <a:pt x="53" y="368"/>
                </a:lnTo>
                <a:lnTo>
                  <a:pt x="51" y="370"/>
                </a:lnTo>
                <a:lnTo>
                  <a:pt x="51" y="372"/>
                </a:lnTo>
                <a:lnTo>
                  <a:pt x="51" y="374"/>
                </a:lnTo>
                <a:lnTo>
                  <a:pt x="51" y="376"/>
                </a:lnTo>
                <a:lnTo>
                  <a:pt x="51" y="378"/>
                </a:lnTo>
                <a:lnTo>
                  <a:pt x="51" y="378"/>
                </a:lnTo>
                <a:lnTo>
                  <a:pt x="47" y="378"/>
                </a:lnTo>
                <a:lnTo>
                  <a:pt x="44" y="376"/>
                </a:lnTo>
                <a:lnTo>
                  <a:pt x="42" y="374"/>
                </a:lnTo>
                <a:lnTo>
                  <a:pt x="38" y="372"/>
                </a:lnTo>
                <a:lnTo>
                  <a:pt x="36" y="368"/>
                </a:lnTo>
                <a:lnTo>
                  <a:pt x="34" y="364"/>
                </a:lnTo>
                <a:lnTo>
                  <a:pt x="34" y="362"/>
                </a:lnTo>
                <a:lnTo>
                  <a:pt x="34" y="359"/>
                </a:lnTo>
                <a:lnTo>
                  <a:pt x="34" y="359"/>
                </a:lnTo>
                <a:lnTo>
                  <a:pt x="34" y="355"/>
                </a:lnTo>
                <a:lnTo>
                  <a:pt x="34" y="353"/>
                </a:lnTo>
                <a:lnTo>
                  <a:pt x="34" y="351"/>
                </a:lnTo>
                <a:lnTo>
                  <a:pt x="36" y="347"/>
                </a:lnTo>
                <a:lnTo>
                  <a:pt x="36" y="345"/>
                </a:lnTo>
                <a:lnTo>
                  <a:pt x="38" y="343"/>
                </a:lnTo>
                <a:lnTo>
                  <a:pt x="38" y="341"/>
                </a:lnTo>
                <a:lnTo>
                  <a:pt x="38" y="340"/>
                </a:lnTo>
                <a:lnTo>
                  <a:pt x="38" y="340"/>
                </a:lnTo>
                <a:lnTo>
                  <a:pt x="38" y="336"/>
                </a:lnTo>
                <a:lnTo>
                  <a:pt x="36" y="332"/>
                </a:lnTo>
                <a:lnTo>
                  <a:pt x="36" y="330"/>
                </a:lnTo>
                <a:lnTo>
                  <a:pt x="34" y="328"/>
                </a:lnTo>
                <a:lnTo>
                  <a:pt x="32" y="328"/>
                </a:lnTo>
                <a:lnTo>
                  <a:pt x="30" y="326"/>
                </a:lnTo>
                <a:lnTo>
                  <a:pt x="28" y="324"/>
                </a:lnTo>
                <a:lnTo>
                  <a:pt x="26" y="322"/>
                </a:lnTo>
                <a:lnTo>
                  <a:pt x="26" y="322"/>
                </a:lnTo>
                <a:lnTo>
                  <a:pt x="25" y="315"/>
                </a:lnTo>
                <a:lnTo>
                  <a:pt x="21" y="307"/>
                </a:lnTo>
                <a:lnTo>
                  <a:pt x="19" y="299"/>
                </a:lnTo>
                <a:lnTo>
                  <a:pt x="19" y="292"/>
                </a:lnTo>
                <a:lnTo>
                  <a:pt x="17" y="282"/>
                </a:lnTo>
                <a:lnTo>
                  <a:pt x="17" y="275"/>
                </a:lnTo>
                <a:lnTo>
                  <a:pt x="17" y="267"/>
                </a:lnTo>
                <a:lnTo>
                  <a:pt x="17" y="259"/>
                </a:lnTo>
                <a:lnTo>
                  <a:pt x="17" y="259"/>
                </a:lnTo>
                <a:lnTo>
                  <a:pt x="17" y="252"/>
                </a:lnTo>
                <a:lnTo>
                  <a:pt x="15" y="248"/>
                </a:lnTo>
                <a:lnTo>
                  <a:pt x="11" y="242"/>
                </a:lnTo>
                <a:lnTo>
                  <a:pt x="9" y="238"/>
                </a:lnTo>
                <a:lnTo>
                  <a:pt x="5" y="235"/>
                </a:lnTo>
                <a:lnTo>
                  <a:pt x="4" y="231"/>
                </a:lnTo>
                <a:lnTo>
                  <a:pt x="2" y="227"/>
                </a:lnTo>
                <a:lnTo>
                  <a:pt x="0" y="221"/>
                </a:lnTo>
                <a:lnTo>
                  <a:pt x="0" y="221"/>
                </a:lnTo>
                <a:lnTo>
                  <a:pt x="2" y="221"/>
                </a:lnTo>
                <a:lnTo>
                  <a:pt x="4" y="219"/>
                </a:lnTo>
                <a:lnTo>
                  <a:pt x="5" y="217"/>
                </a:lnTo>
                <a:lnTo>
                  <a:pt x="7" y="214"/>
                </a:lnTo>
                <a:lnTo>
                  <a:pt x="9" y="208"/>
                </a:lnTo>
                <a:lnTo>
                  <a:pt x="11" y="204"/>
                </a:lnTo>
                <a:lnTo>
                  <a:pt x="13" y="198"/>
                </a:lnTo>
                <a:lnTo>
                  <a:pt x="15" y="193"/>
                </a:lnTo>
                <a:lnTo>
                  <a:pt x="17" y="187"/>
                </a:lnTo>
                <a:lnTo>
                  <a:pt x="19" y="181"/>
                </a:lnTo>
                <a:lnTo>
                  <a:pt x="21" y="175"/>
                </a:lnTo>
                <a:lnTo>
                  <a:pt x="23" y="170"/>
                </a:lnTo>
                <a:lnTo>
                  <a:pt x="23" y="166"/>
                </a:lnTo>
                <a:lnTo>
                  <a:pt x="25" y="162"/>
                </a:lnTo>
                <a:lnTo>
                  <a:pt x="26" y="158"/>
                </a:lnTo>
                <a:lnTo>
                  <a:pt x="26" y="156"/>
                </a:lnTo>
                <a:lnTo>
                  <a:pt x="26" y="71"/>
                </a:lnTo>
                <a:lnTo>
                  <a:pt x="26" y="71"/>
                </a:lnTo>
                <a:lnTo>
                  <a:pt x="23" y="69"/>
                </a:lnTo>
                <a:lnTo>
                  <a:pt x="21" y="67"/>
                </a:lnTo>
                <a:lnTo>
                  <a:pt x="19" y="65"/>
                </a:lnTo>
                <a:lnTo>
                  <a:pt x="19" y="63"/>
                </a:lnTo>
                <a:lnTo>
                  <a:pt x="17" y="61"/>
                </a:lnTo>
                <a:lnTo>
                  <a:pt x="15" y="59"/>
                </a:lnTo>
                <a:lnTo>
                  <a:pt x="13" y="57"/>
                </a:lnTo>
                <a:lnTo>
                  <a:pt x="11" y="57"/>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92" name="Freeform 64"/>
          <p:cNvSpPr>
            <a:spLocks/>
          </p:cNvSpPr>
          <p:nvPr>
            <p:custDataLst>
              <p:tags r:id="rId64"/>
            </p:custDataLst>
          </p:nvPr>
        </p:nvSpPr>
        <p:spPr bwMode="gray">
          <a:xfrm>
            <a:off x="4896786" y="3715702"/>
            <a:ext cx="221918" cy="215427"/>
          </a:xfrm>
          <a:custGeom>
            <a:avLst/>
            <a:gdLst/>
            <a:ahLst/>
            <a:cxnLst>
              <a:cxn ang="0">
                <a:pos x="181" y="105"/>
              </a:cxn>
              <a:cxn ang="0">
                <a:pos x="187" y="79"/>
              </a:cxn>
              <a:cxn ang="0">
                <a:pos x="204" y="61"/>
              </a:cxn>
              <a:cxn ang="0">
                <a:pos x="225" y="60"/>
              </a:cxn>
              <a:cxn ang="0">
                <a:pos x="234" y="44"/>
              </a:cxn>
              <a:cxn ang="0">
                <a:pos x="208" y="44"/>
              </a:cxn>
              <a:cxn ang="0">
                <a:pos x="175" y="39"/>
              </a:cxn>
              <a:cxn ang="0">
                <a:pos x="160" y="19"/>
              </a:cxn>
              <a:cxn ang="0">
                <a:pos x="152" y="0"/>
              </a:cxn>
              <a:cxn ang="0">
                <a:pos x="141" y="0"/>
              </a:cxn>
              <a:cxn ang="0">
                <a:pos x="133" y="16"/>
              </a:cxn>
              <a:cxn ang="0">
                <a:pos x="120" y="21"/>
              </a:cxn>
              <a:cxn ang="0">
                <a:pos x="110" y="16"/>
              </a:cxn>
              <a:cxn ang="0">
                <a:pos x="105" y="23"/>
              </a:cxn>
              <a:cxn ang="0">
                <a:pos x="93" y="25"/>
              </a:cxn>
              <a:cxn ang="0">
                <a:pos x="82" y="23"/>
              </a:cxn>
              <a:cxn ang="0">
                <a:pos x="72" y="29"/>
              </a:cxn>
              <a:cxn ang="0">
                <a:pos x="65" y="33"/>
              </a:cxn>
              <a:cxn ang="0">
                <a:pos x="57" y="35"/>
              </a:cxn>
              <a:cxn ang="0">
                <a:pos x="34" y="44"/>
              </a:cxn>
              <a:cxn ang="0">
                <a:pos x="21" y="56"/>
              </a:cxn>
              <a:cxn ang="0">
                <a:pos x="19" y="69"/>
              </a:cxn>
              <a:cxn ang="0">
                <a:pos x="11" y="79"/>
              </a:cxn>
              <a:cxn ang="0">
                <a:pos x="4" y="86"/>
              </a:cxn>
              <a:cxn ang="0">
                <a:pos x="2" y="102"/>
              </a:cxn>
              <a:cxn ang="0">
                <a:pos x="11" y="113"/>
              </a:cxn>
              <a:cxn ang="0">
                <a:pos x="15" y="136"/>
              </a:cxn>
              <a:cxn ang="0">
                <a:pos x="4" y="163"/>
              </a:cxn>
              <a:cxn ang="0">
                <a:pos x="0" y="187"/>
              </a:cxn>
              <a:cxn ang="0">
                <a:pos x="0" y="203"/>
              </a:cxn>
              <a:cxn ang="0">
                <a:pos x="5" y="212"/>
              </a:cxn>
              <a:cxn ang="0">
                <a:pos x="13" y="220"/>
              </a:cxn>
              <a:cxn ang="0">
                <a:pos x="9" y="229"/>
              </a:cxn>
              <a:cxn ang="0">
                <a:pos x="9" y="239"/>
              </a:cxn>
              <a:cxn ang="0">
                <a:pos x="17" y="239"/>
              </a:cxn>
              <a:cxn ang="0">
                <a:pos x="30" y="222"/>
              </a:cxn>
              <a:cxn ang="0">
                <a:pos x="49" y="218"/>
              </a:cxn>
              <a:cxn ang="0">
                <a:pos x="70" y="229"/>
              </a:cxn>
              <a:cxn ang="0">
                <a:pos x="86" y="235"/>
              </a:cxn>
              <a:cxn ang="0">
                <a:pos x="93" y="227"/>
              </a:cxn>
              <a:cxn ang="0">
                <a:pos x="107" y="224"/>
              </a:cxn>
              <a:cxn ang="0">
                <a:pos x="114" y="227"/>
              </a:cxn>
              <a:cxn ang="0">
                <a:pos x="122" y="231"/>
              </a:cxn>
              <a:cxn ang="0">
                <a:pos x="135" y="233"/>
              </a:cxn>
              <a:cxn ang="0">
                <a:pos x="149" y="218"/>
              </a:cxn>
              <a:cxn ang="0">
                <a:pos x="110" y="201"/>
              </a:cxn>
              <a:cxn ang="0">
                <a:pos x="126" y="187"/>
              </a:cxn>
              <a:cxn ang="0">
                <a:pos x="143" y="172"/>
              </a:cxn>
              <a:cxn ang="0">
                <a:pos x="150" y="157"/>
              </a:cxn>
              <a:cxn ang="0">
                <a:pos x="160" y="140"/>
              </a:cxn>
              <a:cxn ang="0">
                <a:pos x="169" y="123"/>
              </a:cxn>
              <a:cxn ang="0">
                <a:pos x="179" y="105"/>
              </a:cxn>
            </a:cxnLst>
            <a:rect l="0" t="0" r="r" b="b"/>
            <a:pathLst>
              <a:path w="240" h="243">
                <a:moveTo>
                  <a:pt x="185" y="111"/>
                </a:moveTo>
                <a:lnTo>
                  <a:pt x="185" y="111"/>
                </a:lnTo>
                <a:lnTo>
                  <a:pt x="179" y="107"/>
                </a:lnTo>
                <a:lnTo>
                  <a:pt x="181" y="105"/>
                </a:lnTo>
                <a:lnTo>
                  <a:pt x="183" y="100"/>
                </a:lnTo>
                <a:lnTo>
                  <a:pt x="185" y="94"/>
                </a:lnTo>
                <a:lnTo>
                  <a:pt x="187" y="86"/>
                </a:lnTo>
                <a:lnTo>
                  <a:pt x="187" y="79"/>
                </a:lnTo>
                <a:lnTo>
                  <a:pt x="189" y="73"/>
                </a:lnTo>
                <a:lnTo>
                  <a:pt x="192" y="67"/>
                </a:lnTo>
                <a:lnTo>
                  <a:pt x="198" y="63"/>
                </a:lnTo>
                <a:lnTo>
                  <a:pt x="204" y="61"/>
                </a:lnTo>
                <a:lnTo>
                  <a:pt x="210" y="61"/>
                </a:lnTo>
                <a:lnTo>
                  <a:pt x="215" y="60"/>
                </a:lnTo>
                <a:lnTo>
                  <a:pt x="221" y="60"/>
                </a:lnTo>
                <a:lnTo>
                  <a:pt x="225" y="60"/>
                </a:lnTo>
                <a:lnTo>
                  <a:pt x="231" y="58"/>
                </a:lnTo>
                <a:lnTo>
                  <a:pt x="234" y="54"/>
                </a:lnTo>
                <a:lnTo>
                  <a:pt x="240" y="50"/>
                </a:lnTo>
                <a:lnTo>
                  <a:pt x="234" y="44"/>
                </a:lnTo>
                <a:lnTo>
                  <a:pt x="229" y="44"/>
                </a:lnTo>
                <a:lnTo>
                  <a:pt x="223" y="42"/>
                </a:lnTo>
                <a:lnTo>
                  <a:pt x="215" y="44"/>
                </a:lnTo>
                <a:lnTo>
                  <a:pt x="208" y="44"/>
                </a:lnTo>
                <a:lnTo>
                  <a:pt x="200" y="44"/>
                </a:lnTo>
                <a:lnTo>
                  <a:pt x="190" y="42"/>
                </a:lnTo>
                <a:lnTo>
                  <a:pt x="179" y="40"/>
                </a:lnTo>
                <a:lnTo>
                  <a:pt x="175" y="39"/>
                </a:lnTo>
                <a:lnTo>
                  <a:pt x="171" y="35"/>
                </a:lnTo>
                <a:lnTo>
                  <a:pt x="168" y="31"/>
                </a:lnTo>
                <a:lnTo>
                  <a:pt x="164" y="25"/>
                </a:lnTo>
                <a:lnTo>
                  <a:pt x="160" y="19"/>
                </a:lnTo>
                <a:lnTo>
                  <a:pt x="158" y="14"/>
                </a:lnTo>
                <a:lnTo>
                  <a:pt x="156" y="6"/>
                </a:lnTo>
                <a:lnTo>
                  <a:pt x="154" y="0"/>
                </a:lnTo>
                <a:lnTo>
                  <a:pt x="152" y="0"/>
                </a:lnTo>
                <a:lnTo>
                  <a:pt x="149" y="0"/>
                </a:lnTo>
                <a:lnTo>
                  <a:pt x="147" y="0"/>
                </a:lnTo>
                <a:lnTo>
                  <a:pt x="145" y="0"/>
                </a:lnTo>
                <a:lnTo>
                  <a:pt x="141" y="0"/>
                </a:lnTo>
                <a:lnTo>
                  <a:pt x="139" y="4"/>
                </a:lnTo>
                <a:lnTo>
                  <a:pt x="137" y="8"/>
                </a:lnTo>
                <a:lnTo>
                  <a:pt x="137" y="12"/>
                </a:lnTo>
                <a:lnTo>
                  <a:pt x="133" y="16"/>
                </a:lnTo>
                <a:lnTo>
                  <a:pt x="131" y="19"/>
                </a:lnTo>
                <a:lnTo>
                  <a:pt x="128" y="21"/>
                </a:lnTo>
                <a:lnTo>
                  <a:pt x="124" y="21"/>
                </a:lnTo>
                <a:lnTo>
                  <a:pt x="120" y="21"/>
                </a:lnTo>
                <a:lnTo>
                  <a:pt x="118" y="19"/>
                </a:lnTo>
                <a:lnTo>
                  <a:pt x="114" y="18"/>
                </a:lnTo>
                <a:lnTo>
                  <a:pt x="112" y="16"/>
                </a:lnTo>
                <a:lnTo>
                  <a:pt x="110" y="16"/>
                </a:lnTo>
                <a:lnTo>
                  <a:pt x="110" y="18"/>
                </a:lnTo>
                <a:lnTo>
                  <a:pt x="108" y="19"/>
                </a:lnTo>
                <a:lnTo>
                  <a:pt x="107" y="21"/>
                </a:lnTo>
                <a:lnTo>
                  <a:pt x="105" y="23"/>
                </a:lnTo>
                <a:lnTo>
                  <a:pt x="103" y="25"/>
                </a:lnTo>
                <a:lnTo>
                  <a:pt x="101" y="25"/>
                </a:lnTo>
                <a:lnTo>
                  <a:pt x="97" y="27"/>
                </a:lnTo>
                <a:lnTo>
                  <a:pt x="93" y="25"/>
                </a:lnTo>
                <a:lnTo>
                  <a:pt x="91" y="23"/>
                </a:lnTo>
                <a:lnTo>
                  <a:pt x="89" y="23"/>
                </a:lnTo>
                <a:lnTo>
                  <a:pt x="86" y="21"/>
                </a:lnTo>
                <a:lnTo>
                  <a:pt x="82" y="23"/>
                </a:lnTo>
                <a:lnTo>
                  <a:pt x="80" y="23"/>
                </a:lnTo>
                <a:lnTo>
                  <a:pt x="78" y="25"/>
                </a:lnTo>
                <a:lnTo>
                  <a:pt x="74" y="27"/>
                </a:lnTo>
                <a:lnTo>
                  <a:pt x="72" y="29"/>
                </a:lnTo>
                <a:lnTo>
                  <a:pt x="72" y="33"/>
                </a:lnTo>
                <a:lnTo>
                  <a:pt x="68" y="33"/>
                </a:lnTo>
                <a:lnTo>
                  <a:pt x="66" y="33"/>
                </a:lnTo>
                <a:lnTo>
                  <a:pt x="65" y="33"/>
                </a:lnTo>
                <a:lnTo>
                  <a:pt x="63" y="35"/>
                </a:lnTo>
                <a:lnTo>
                  <a:pt x="61" y="35"/>
                </a:lnTo>
                <a:lnTo>
                  <a:pt x="61" y="33"/>
                </a:lnTo>
                <a:lnTo>
                  <a:pt x="57" y="35"/>
                </a:lnTo>
                <a:lnTo>
                  <a:pt x="53" y="37"/>
                </a:lnTo>
                <a:lnTo>
                  <a:pt x="47" y="39"/>
                </a:lnTo>
                <a:lnTo>
                  <a:pt x="40" y="40"/>
                </a:lnTo>
                <a:lnTo>
                  <a:pt x="34" y="44"/>
                </a:lnTo>
                <a:lnTo>
                  <a:pt x="28" y="46"/>
                </a:lnTo>
                <a:lnTo>
                  <a:pt x="23" y="48"/>
                </a:lnTo>
                <a:lnTo>
                  <a:pt x="21" y="52"/>
                </a:lnTo>
                <a:lnTo>
                  <a:pt x="21" y="56"/>
                </a:lnTo>
                <a:lnTo>
                  <a:pt x="21" y="58"/>
                </a:lnTo>
                <a:lnTo>
                  <a:pt x="19" y="61"/>
                </a:lnTo>
                <a:lnTo>
                  <a:pt x="19" y="65"/>
                </a:lnTo>
                <a:lnTo>
                  <a:pt x="19" y="69"/>
                </a:lnTo>
                <a:lnTo>
                  <a:pt x="17" y="71"/>
                </a:lnTo>
                <a:lnTo>
                  <a:pt x="15" y="75"/>
                </a:lnTo>
                <a:lnTo>
                  <a:pt x="13" y="77"/>
                </a:lnTo>
                <a:lnTo>
                  <a:pt x="11" y="79"/>
                </a:lnTo>
                <a:lnTo>
                  <a:pt x="9" y="81"/>
                </a:lnTo>
                <a:lnTo>
                  <a:pt x="7" y="81"/>
                </a:lnTo>
                <a:lnTo>
                  <a:pt x="5" y="82"/>
                </a:lnTo>
                <a:lnTo>
                  <a:pt x="4" y="86"/>
                </a:lnTo>
                <a:lnTo>
                  <a:pt x="4" y="88"/>
                </a:lnTo>
                <a:lnTo>
                  <a:pt x="2" y="92"/>
                </a:lnTo>
                <a:lnTo>
                  <a:pt x="2" y="96"/>
                </a:lnTo>
                <a:lnTo>
                  <a:pt x="2" y="102"/>
                </a:lnTo>
                <a:lnTo>
                  <a:pt x="4" y="105"/>
                </a:lnTo>
                <a:lnTo>
                  <a:pt x="5" y="107"/>
                </a:lnTo>
                <a:lnTo>
                  <a:pt x="9" y="111"/>
                </a:lnTo>
                <a:lnTo>
                  <a:pt x="11" y="113"/>
                </a:lnTo>
                <a:lnTo>
                  <a:pt x="13" y="117"/>
                </a:lnTo>
                <a:lnTo>
                  <a:pt x="15" y="123"/>
                </a:lnTo>
                <a:lnTo>
                  <a:pt x="15" y="128"/>
                </a:lnTo>
                <a:lnTo>
                  <a:pt x="15" y="136"/>
                </a:lnTo>
                <a:lnTo>
                  <a:pt x="13" y="143"/>
                </a:lnTo>
                <a:lnTo>
                  <a:pt x="9" y="151"/>
                </a:lnTo>
                <a:lnTo>
                  <a:pt x="7" y="157"/>
                </a:lnTo>
                <a:lnTo>
                  <a:pt x="4" y="163"/>
                </a:lnTo>
                <a:lnTo>
                  <a:pt x="2" y="168"/>
                </a:lnTo>
                <a:lnTo>
                  <a:pt x="0" y="176"/>
                </a:lnTo>
                <a:lnTo>
                  <a:pt x="0" y="185"/>
                </a:lnTo>
                <a:lnTo>
                  <a:pt x="0" y="187"/>
                </a:lnTo>
                <a:lnTo>
                  <a:pt x="0" y="191"/>
                </a:lnTo>
                <a:lnTo>
                  <a:pt x="0" y="195"/>
                </a:lnTo>
                <a:lnTo>
                  <a:pt x="0" y="199"/>
                </a:lnTo>
                <a:lnTo>
                  <a:pt x="0" y="203"/>
                </a:lnTo>
                <a:lnTo>
                  <a:pt x="0" y="206"/>
                </a:lnTo>
                <a:lnTo>
                  <a:pt x="2" y="208"/>
                </a:lnTo>
                <a:lnTo>
                  <a:pt x="2" y="210"/>
                </a:lnTo>
                <a:lnTo>
                  <a:pt x="5" y="212"/>
                </a:lnTo>
                <a:lnTo>
                  <a:pt x="9" y="212"/>
                </a:lnTo>
                <a:lnTo>
                  <a:pt x="13" y="212"/>
                </a:lnTo>
                <a:lnTo>
                  <a:pt x="15" y="216"/>
                </a:lnTo>
                <a:lnTo>
                  <a:pt x="13" y="220"/>
                </a:lnTo>
                <a:lnTo>
                  <a:pt x="13" y="222"/>
                </a:lnTo>
                <a:lnTo>
                  <a:pt x="13" y="226"/>
                </a:lnTo>
                <a:lnTo>
                  <a:pt x="11" y="227"/>
                </a:lnTo>
                <a:lnTo>
                  <a:pt x="9" y="229"/>
                </a:lnTo>
                <a:lnTo>
                  <a:pt x="9" y="231"/>
                </a:lnTo>
                <a:lnTo>
                  <a:pt x="9" y="235"/>
                </a:lnTo>
                <a:lnTo>
                  <a:pt x="7" y="239"/>
                </a:lnTo>
                <a:lnTo>
                  <a:pt x="9" y="239"/>
                </a:lnTo>
                <a:lnTo>
                  <a:pt x="9" y="241"/>
                </a:lnTo>
                <a:lnTo>
                  <a:pt x="11" y="243"/>
                </a:lnTo>
                <a:lnTo>
                  <a:pt x="13" y="243"/>
                </a:lnTo>
                <a:lnTo>
                  <a:pt x="17" y="239"/>
                </a:lnTo>
                <a:lnTo>
                  <a:pt x="19" y="235"/>
                </a:lnTo>
                <a:lnTo>
                  <a:pt x="23" y="231"/>
                </a:lnTo>
                <a:lnTo>
                  <a:pt x="26" y="226"/>
                </a:lnTo>
                <a:lnTo>
                  <a:pt x="30" y="222"/>
                </a:lnTo>
                <a:lnTo>
                  <a:pt x="34" y="220"/>
                </a:lnTo>
                <a:lnTo>
                  <a:pt x="38" y="218"/>
                </a:lnTo>
                <a:lnTo>
                  <a:pt x="44" y="216"/>
                </a:lnTo>
                <a:lnTo>
                  <a:pt x="49" y="218"/>
                </a:lnTo>
                <a:lnTo>
                  <a:pt x="53" y="220"/>
                </a:lnTo>
                <a:lnTo>
                  <a:pt x="59" y="222"/>
                </a:lnTo>
                <a:lnTo>
                  <a:pt x="65" y="226"/>
                </a:lnTo>
                <a:lnTo>
                  <a:pt x="70" y="229"/>
                </a:lnTo>
                <a:lnTo>
                  <a:pt x="76" y="231"/>
                </a:lnTo>
                <a:lnTo>
                  <a:pt x="80" y="233"/>
                </a:lnTo>
                <a:lnTo>
                  <a:pt x="84" y="235"/>
                </a:lnTo>
                <a:lnTo>
                  <a:pt x="86" y="235"/>
                </a:lnTo>
                <a:lnTo>
                  <a:pt x="87" y="233"/>
                </a:lnTo>
                <a:lnTo>
                  <a:pt x="89" y="231"/>
                </a:lnTo>
                <a:lnTo>
                  <a:pt x="91" y="229"/>
                </a:lnTo>
                <a:lnTo>
                  <a:pt x="93" y="227"/>
                </a:lnTo>
                <a:lnTo>
                  <a:pt x="97" y="226"/>
                </a:lnTo>
                <a:lnTo>
                  <a:pt x="99" y="224"/>
                </a:lnTo>
                <a:lnTo>
                  <a:pt x="105" y="224"/>
                </a:lnTo>
                <a:lnTo>
                  <a:pt x="107" y="224"/>
                </a:lnTo>
                <a:lnTo>
                  <a:pt x="108" y="224"/>
                </a:lnTo>
                <a:lnTo>
                  <a:pt x="110" y="226"/>
                </a:lnTo>
                <a:lnTo>
                  <a:pt x="112" y="226"/>
                </a:lnTo>
                <a:lnTo>
                  <a:pt x="114" y="227"/>
                </a:lnTo>
                <a:lnTo>
                  <a:pt x="118" y="227"/>
                </a:lnTo>
                <a:lnTo>
                  <a:pt x="120" y="227"/>
                </a:lnTo>
                <a:lnTo>
                  <a:pt x="122" y="229"/>
                </a:lnTo>
                <a:lnTo>
                  <a:pt x="122" y="231"/>
                </a:lnTo>
                <a:lnTo>
                  <a:pt x="126" y="233"/>
                </a:lnTo>
                <a:lnTo>
                  <a:pt x="128" y="235"/>
                </a:lnTo>
                <a:lnTo>
                  <a:pt x="131" y="237"/>
                </a:lnTo>
                <a:lnTo>
                  <a:pt x="135" y="233"/>
                </a:lnTo>
                <a:lnTo>
                  <a:pt x="137" y="229"/>
                </a:lnTo>
                <a:lnTo>
                  <a:pt x="141" y="226"/>
                </a:lnTo>
                <a:lnTo>
                  <a:pt x="147" y="222"/>
                </a:lnTo>
                <a:lnTo>
                  <a:pt x="149" y="218"/>
                </a:lnTo>
                <a:lnTo>
                  <a:pt x="152" y="212"/>
                </a:lnTo>
                <a:lnTo>
                  <a:pt x="156" y="206"/>
                </a:lnTo>
                <a:lnTo>
                  <a:pt x="156" y="201"/>
                </a:lnTo>
                <a:lnTo>
                  <a:pt x="110" y="201"/>
                </a:lnTo>
                <a:lnTo>
                  <a:pt x="112" y="197"/>
                </a:lnTo>
                <a:lnTo>
                  <a:pt x="116" y="193"/>
                </a:lnTo>
                <a:lnTo>
                  <a:pt x="120" y="189"/>
                </a:lnTo>
                <a:lnTo>
                  <a:pt x="126" y="187"/>
                </a:lnTo>
                <a:lnTo>
                  <a:pt x="129" y="184"/>
                </a:lnTo>
                <a:lnTo>
                  <a:pt x="135" y="182"/>
                </a:lnTo>
                <a:lnTo>
                  <a:pt x="139" y="178"/>
                </a:lnTo>
                <a:lnTo>
                  <a:pt x="143" y="172"/>
                </a:lnTo>
                <a:lnTo>
                  <a:pt x="145" y="168"/>
                </a:lnTo>
                <a:lnTo>
                  <a:pt x="147" y="164"/>
                </a:lnTo>
                <a:lnTo>
                  <a:pt x="149" y="161"/>
                </a:lnTo>
                <a:lnTo>
                  <a:pt x="150" y="157"/>
                </a:lnTo>
                <a:lnTo>
                  <a:pt x="152" y="153"/>
                </a:lnTo>
                <a:lnTo>
                  <a:pt x="156" y="147"/>
                </a:lnTo>
                <a:lnTo>
                  <a:pt x="158" y="143"/>
                </a:lnTo>
                <a:lnTo>
                  <a:pt x="160" y="140"/>
                </a:lnTo>
                <a:lnTo>
                  <a:pt x="162" y="136"/>
                </a:lnTo>
                <a:lnTo>
                  <a:pt x="164" y="132"/>
                </a:lnTo>
                <a:lnTo>
                  <a:pt x="166" y="128"/>
                </a:lnTo>
                <a:lnTo>
                  <a:pt x="169" y="123"/>
                </a:lnTo>
                <a:lnTo>
                  <a:pt x="171" y="119"/>
                </a:lnTo>
                <a:lnTo>
                  <a:pt x="175" y="115"/>
                </a:lnTo>
                <a:lnTo>
                  <a:pt x="177" y="109"/>
                </a:lnTo>
                <a:lnTo>
                  <a:pt x="179" y="105"/>
                </a:lnTo>
                <a:lnTo>
                  <a:pt x="185" y="111"/>
                </a:lnTo>
                <a:close/>
              </a:path>
            </a:pathLst>
          </a:custGeom>
          <a:solidFill>
            <a:srgbClr val="F8F8F8"/>
          </a:solidFill>
          <a:ln w="9525" cmpd="sng">
            <a:solidFill>
              <a:schemeClr val="tx1"/>
            </a:solidFill>
            <a:round/>
            <a:headEnd/>
            <a:tailEnd/>
          </a:ln>
        </p:spPr>
        <p:txBody>
          <a:bodyPr lIns="93222" tIns="46612" rIns="93222" bIns="46612"/>
          <a:lstStyle/>
          <a:p>
            <a:endParaRPr lang="en-US" dirty="0">
              <a:solidFill>
                <a:srgbClr val="000000"/>
              </a:solidFill>
              <a:latin typeface="Arial" charset="0"/>
            </a:endParaRPr>
          </a:p>
        </p:txBody>
      </p:sp>
      <p:sp>
        <p:nvSpPr>
          <p:cNvPr id="636993" name="Freeform 65"/>
          <p:cNvSpPr>
            <a:spLocks/>
          </p:cNvSpPr>
          <p:nvPr>
            <p:custDataLst>
              <p:tags r:id="rId65"/>
            </p:custDataLst>
          </p:nvPr>
        </p:nvSpPr>
        <p:spPr bwMode="gray">
          <a:xfrm>
            <a:off x="4896786" y="3715702"/>
            <a:ext cx="221918" cy="215427"/>
          </a:xfrm>
          <a:custGeom>
            <a:avLst/>
            <a:gdLst/>
            <a:ahLst/>
            <a:cxnLst>
              <a:cxn ang="0">
                <a:pos x="179" y="107"/>
              </a:cxn>
              <a:cxn ang="0">
                <a:pos x="187" y="86"/>
              </a:cxn>
              <a:cxn ang="0">
                <a:pos x="198" y="63"/>
              </a:cxn>
              <a:cxn ang="0">
                <a:pos x="215" y="60"/>
              </a:cxn>
              <a:cxn ang="0">
                <a:pos x="234" y="54"/>
              </a:cxn>
              <a:cxn ang="0">
                <a:pos x="229" y="44"/>
              </a:cxn>
              <a:cxn ang="0">
                <a:pos x="200" y="44"/>
              </a:cxn>
              <a:cxn ang="0">
                <a:pos x="175" y="39"/>
              </a:cxn>
              <a:cxn ang="0">
                <a:pos x="160" y="19"/>
              </a:cxn>
              <a:cxn ang="0">
                <a:pos x="154" y="0"/>
              </a:cxn>
              <a:cxn ang="0">
                <a:pos x="145" y="0"/>
              </a:cxn>
              <a:cxn ang="0">
                <a:pos x="137" y="8"/>
              </a:cxn>
              <a:cxn ang="0">
                <a:pos x="128" y="21"/>
              </a:cxn>
              <a:cxn ang="0">
                <a:pos x="118" y="19"/>
              </a:cxn>
              <a:cxn ang="0">
                <a:pos x="110" y="16"/>
              </a:cxn>
              <a:cxn ang="0">
                <a:pos x="105" y="23"/>
              </a:cxn>
              <a:cxn ang="0">
                <a:pos x="97" y="27"/>
              </a:cxn>
              <a:cxn ang="0">
                <a:pos x="86" y="21"/>
              </a:cxn>
              <a:cxn ang="0">
                <a:pos x="78" y="25"/>
              </a:cxn>
              <a:cxn ang="0">
                <a:pos x="68" y="33"/>
              </a:cxn>
              <a:cxn ang="0">
                <a:pos x="63" y="35"/>
              </a:cxn>
              <a:cxn ang="0">
                <a:pos x="57" y="35"/>
              </a:cxn>
              <a:cxn ang="0">
                <a:pos x="34" y="44"/>
              </a:cxn>
              <a:cxn ang="0">
                <a:pos x="21" y="52"/>
              </a:cxn>
              <a:cxn ang="0">
                <a:pos x="19" y="65"/>
              </a:cxn>
              <a:cxn ang="0">
                <a:pos x="13" y="77"/>
              </a:cxn>
              <a:cxn ang="0">
                <a:pos x="7" y="81"/>
              </a:cxn>
              <a:cxn ang="0">
                <a:pos x="2" y="92"/>
              </a:cxn>
              <a:cxn ang="0">
                <a:pos x="4" y="105"/>
              </a:cxn>
              <a:cxn ang="0">
                <a:pos x="13" y="117"/>
              </a:cxn>
              <a:cxn ang="0">
                <a:pos x="15" y="136"/>
              </a:cxn>
              <a:cxn ang="0">
                <a:pos x="4" y="163"/>
              </a:cxn>
              <a:cxn ang="0">
                <a:pos x="0" y="185"/>
              </a:cxn>
              <a:cxn ang="0">
                <a:pos x="0" y="199"/>
              </a:cxn>
              <a:cxn ang="0">
                <a:pos x="2" y="210"/>
              </a:cxn>
              <a:cxn ang="0">
                <a:pos x="13" y="212"/>
              </a:cxn>
              <a:cxn ang="0">
                <a:pos x="13" y="222"/>
              </a:cxn>
              <a:cxn ang="0">
                <a:pos x="9" y="231"/>
              </a:cxn>
              <a:cxn ang="0">
                <a:pos x="9" y="239"/>
              </a:cxn>
              <a:cxn ang="0">
                <a:pos x="13" y="243"/>
              </a:cxn>
              <a:cxn ang="0">
                <a:pos x="26" y="226"/>
              </a:cxn>
              <a:cxn ang="0">
                <a:pos x="44" y="216"/>
              </a:cxn>
              <a:cxn ang="0">
                <a:pos x="59" y="222"/>
              </a:cxn>
              <a:cxn ang="0">
                <a:pos x="80" y="233"/>
              </a:cxn>
              <a:cxn ang="0">
                <a:pos x="87" y="233"/>
              </a:cxn>
              <a:cxn ang="0">
                <a:pos x="97" y="226"/>
              </a:cxn>
              <a:cxn ang="0">
                <a:pos x="107" y="224"/>
              </a:cxn>
              <a:cxn ang="0">
                <a:pos x="114" y="227"/>
              </a:cxn>
              <a:cxn ang="0">
                <a:pos x="122" y="229"/>
              </a:cxn>
              <a:cxn ang="0">
                <a:pos x="131" y="237"/>
              </a:cxn>
              <a:cxn ang="0">
                <a:pos x="141" y="226"/>
              </a:cxn>
              <a:cxn ang="0">
                <a:pos x="156" y="206"/>
              </a:cxn>
              <a:cxn ang="0">
                <a:pos x="112" y="197"/>
              </a:cxn>
              <a:cxn ang="0">
                <a:pos x="129" y="184"/>
              </a:cxn>
              <a:cxn ang="0">
                <a:pos x="143" y="172"/>
              </a:cxn>
              <a:cxn ang="0">
                <a:pos x="150" y="157"/>
              </a:cxn>
              <a:cxn ang="0">
                <a:pos x="160" y="140"/>
              </a:cxn>
              <a:cxn ang="0">
                <a:pos x="169" y="123"/>
              </a:cxn>
              <a:cxn ang="0">
                <a:pos x="179" y="105"/>
              </a:cxn>
            </a:cxnLst>
            <a:rect l="0" t="0" r="r" b="b"/>
            <a:pathLst>
              <a:path w="240" h="243">
                <a:moveTo>
                  <a:pt x="185" y="111"/>
                </a:moveTo>
                <a:lnTo>
                  <a:pt x="185" y="111"/>
                </a:lnTo>
                <a:lnTo>
                  <a:pt x="179" y="107"/>
                </a:lnTo>
                <a:lnTo>
                  <a:pt x="179" y="107"/>
                </a:lnTo>
                <a:lnTo>
                  <a:pt x="181" y="105"/>
                </a:lnTo>
                <a:lnTo>
                  <a:pt x="183" y="100"/>
                </a:lnTo>
                <a:lnTo>
                  <a:pt x="185" y="94"/>
                </a:lnTo>
                <a:lnTo>
                  <a:pt x="187" y="86"/>
                </a:lnTo>
                <a:lnTo>
                  <a:pt x="187" y="79"/>
                </a:lnTo>
                <a:lnTo>
                  <a:pt x="189" y="73"/>
                </a:lnTo>
                <a:lnTo>
                  <a:pt x="192" y="67"/>
                </a:lnTo>
                <a:lnTo>
                  <a:pt x="198" y="63"/>
                </a:lnTo>
                <a:lnTo>
                  <a:pt x="198" y="63"/>
                </a:lnTo>
                <a:lnTo>
                  <a:pt x="204" y="61"/>
                </a:lnTo>
                <a:lnTo>
                  <a:pt x="210" y="61"/>
                </a:lnTo>
                <a:lnTo>
                  <a:pt x="215" y="60"/>
                </a:lnTo>
                <a:lnTo>
                  <a:pt x="221" y="60"/>
                </a:lnTo>
                <a:lnTo>
                  <a:pt x="225" y="60"/>
                </a:lnTo>
                <a:lnTo>
                  <a:pt x="231" y="58"/>
                </a:lnTo>
                <a:lnTo>
                  <a:pt x="234" y="54"/>
                </a:lnTo>
                <a:lnTo>
                  <a:pt x="240" y="50"/>
                </a:lnTo>
                <a:lnTo>
                  <a:pt x="240" y="50"/>
                </a:lnTo>
                <a:lnTo>
                  <a:pt x="234" y="44"/>
                </a:lnTo>
                <a:lnTo>
                  <a:pt x="229" y="44"/>
                </a:lnTo>
                <a:lnTo>
                  <a:pt x="223" y="42"/>
                </a:lnTo>
                <a:lnTo>
                  <a:pt x="215" y="44"/>
                </a:lnTo>
                <a:lnTo>
                  <a:pt x="208" y="44"/>
                </a:lnTo>
                <a:lnTo>
                  <a:pt x="200" y="44"/>
                </a:lnTo>
                <a:lnTo>
                  <a:pt x="190" y="42"/>
                </a:lnTo>
                <a:lnTo>
                  <a:pt x="179" y="40"/>
                </a:lnTo>
                <a:lnTo>
                  <a:pt x="179" y="40"/>
                </a:lnTo>
                <a:lnTo>
                  <a:pt x="175" y="39"/>
                </a:lnTo>
                <a:lnTo>
                  <a:pt x="171" y="35"/>
                </a:lnTo>
                <a:lnTo>
                  <a:pt x="168" y="31"/>
                </a:lnTo>
                <a:lnTo>
                  <a:pt x="164" y="25"/>
                </a:lnTo>
                <a:lnTo>
                  <a:pt x="160" y="19"/>
                </a:lnTo>
                <a:lnTo>
                  <a:pt x="158" y="14"/>
                </a:lnTo>
                <a:lnTo>
                  <a:pt x="156" y="6"/>
                </a:lnTo>
                <a:lnTo>
                  <a:pt x="154" y="0"/>
                </a:lnTo>
                <a:lnTo>
                  <a:pt x="154" y="0"/>
                </a:lnTo>
                <a:lnTo>
                  <a:pt x="152" y="0"/>
                </a:lnTo>
                <a:lnTo>
                  <a:pt x="149" y="0"/>
                </a:lnTo>
                <a:lnTo>
                  <a:pt x="147" y="0"/>
                </a:lnTo>
                <a:lnTo>
                  <a:pt x="145" y="0"/>
                </a:lnTo>
                <a:lnTo>
                  <a:pt x="145" y="0"/>
                </a:lnTo>
                <a:lnTo>
                  <a:pt x="141" y="0"/>
                </a:lnTo>
                <a:lnTo>
                  <a:pt x="139" y="4"/>
                </a:lnTo>
                <a:lnTo>
                  <a:pt x="137" y="8"/>
                </a:lnTo>
                <a:lnTo>
                  <a:pt x="137" y="12"/>
                </a:lnTo>
                <a:lnTo>
                  <a:pt x="133" y="16"/>
                </a:lnTo>
                <a:lnTo>
                  <a:pt x="131" y="19"/>
                </a:lnTo>
                <a:lnTo>
                  <a:pt x="128" y="21"/>
                </a:lnTo>
                <a:lnTo>
                  <a:pt x="124" y="21"/>
                </a:lnTo>
                <a:lnTo>
                  <a:pt x="124" y="21"/>
                </a:lnTo>
                <a:lnTo>
                  <a:pt x="120" y="21"/>
                </a:lnTo>
                <a:lnTo>
                  <a:pt x="118" y="19"/>
                </a:lnTo>
                <a:lnTo>
                  <a:pt x="114" y="18"/>
                </a:lnTo>
                <a:lnTo>
                  <a:pt x="112" y="16"/>
                </a:lnTo>
                <a:lnTo>
                  <a:pt x="112" y="16"/>
                </a:lnTo>
                <a:lnTo>
                  <a:pt x="110" y="16"/>
                </a:lnTo>
                <a:lnTo>
                  <a:pt x="110" y="18"/>
                </a:lnTo>
                <a:lnTo>
                  <a:pt x="108" y="19"/>
                </a:lnTo>
                <a:lnTo>
                  <a:pt x="107" y="21"/>
                </a:lnTo>
                <a:lnTo>
                  <a:pt x="105" y="23"/>
                </a:lnTo>
                <a:lnTo>
                  <a:pt x="103" y="25"/>
                </a:lnTo>
                <a:lnTo>
                  <a:pt x="101" y="25"/>
                </a:lnTo>
                <a:lnTo>
                  <a:pt x="97" y="27"/>
                </a:lnTo>
                <a:lnTo>
                  <a:pt x="97" y="27"/>
                </a:lnTo>
                <a:lnTo>
                  <a:pt x="93" y="25"/>
                </a:lnTo>
                <a:lnTo>
                  <a:pt x="91" y="23"/>
                </a:lnTo>
                <a:lnTo>
                  <a:pt x="89" y="23"/>
                </a:lnTo>
                <a:lnTo>
                  <a:pt x="86" y="21"/>
                </a:lnTo>
                <a:lnTo>
                  <a:pt x="86" y="21"/>
                </a:lnTo>
                <a:lnTo>
                  <a:pt x="82" y="23"/>
                </a:lnTo>
                <a:lnTo>
                  <a:pt x="80" y="23"/>
                </a:lnTo>
                <a:lnTo>
                  <a:pt x="78" y="25"/>
                </a:lnTo>
                <a:lnTo>
                  <a:pt x="74" y="27"/>
                </a:lnTo>
                <a:lnTo>
                  <a:pt x="72" y="29"/>
                </a:lnTo>
                <a:lnTo>
                  <a:pt x="72" y="33"/>
                </a:lnTo>
                <a:lnTo>
                  <a:pt x="68" y="33"/>
                </a:lnTo>
                <a:lnTo>
                  <a:pt x="66" y="33"/>
                </a:lnTo>
                <a:lnTo>
                  <a:pt x="66" y="33"/>
                </a:lnTo>
                <a:lnTo>
                  <a:pt x="65" y="33"/>
                </a:lnTo>
                <a:lnTo>
                  <a:pt x="63" y="35"/>
                </a:lnTo>
                <a:lnTo>
                  <a:pt x="61" y="35"/>
                </a:lnTo>
                <a:lnTo>
                  <a:pt x="61" y="33"/>
                </a:lnTo>
                <a:lnTo>
                  <a:pt x="61" y="33"/>
                </a:lnTo>
                <a:lnTo>
                  <a:pt x="57" y="35"/>
                </a:lnTo>
                <a:lnTo>
                  <a:pt x="53" y="37"/>
                </a:lnTo>
                <a:lnTo>
                  <a:pt x="47" y="39"/>
                </a:lnTo>
                <a:lnTo>
                  <a:pt x="40" y="40"/>
                </a:lnTo>
                <a:lnTo>
                  <a:pt x="34" y="44"/>
                </a:lnTo>
                <a:lnTo>
                  <a:pt x="28" y="46"/>
                </a:lnTo>
                <a:lnTo>
                  <a:pt x="23" y="48"/>
                </a:lnTo>
                <a:lnTo>
                  <a:pt x="21" y="52"/>
                </a:lnTo>
                <a:lnTo>
                  <a:pt x="21" y="52"/>
                </a:lnTo>
                <a:lnTo>
                  <a:pt x="21" y="56"/>
                </a:lnTo>
                <a:lnTo>
                  <a:pt x="21" y="58"/>
                </a:lnTo>
                <a:lnTo>
                  <a:pt x="19" y="61"/>
                </a:lnTo>
                <a:lnTo>
                  <a:pt x="19" y="65"/>
                </a:lnTo>
                <a:lnTo>
                  <a:pt x="19" y="69"/>
                </a:lnTo>
                <a:lnTo>
                  <a:pt x="17" y="71"/>
                </a:lnTo>
                <a:lnTo>
                  <a:pt x="15" y="75"/>
                </a:lnTo>
                <a:lnTo>
                  <a:pt x="13" y="77"/>
                </a:lnTo>
                <a:lnTo>
                  <a:pt x="13" y="77"/>
                </a:lnTo>
                <a:lnTo>
                  <a:pt x="11" y="79"/>
                </a:lnTo>
                <a:lnTo>
                  <a:pt x="9" y="81"/>
                </a:lnTo>
                <a:lnTo>
                  <a:pt x="7" y="81"/>
                </a:lnTo>
                <a:lnTo>
                  <a:pt x="5" y="82"/>
                </a:lnTo>
                <a:lnTo>
                  <a:pt x="4" y="86"/>
                </a:lnTo>
                <a:lnTo>
                  <a:pt x="4" y="88"/>
                </a:lnTo>
                <a:lnTo>
                  <a:pt x="2" y="92"/>
                </a:lnTo>
                <a:lnTo>
                  <a:pt x="2" y="96"/>
                </a:lnTo>
                <a:lnTo>
                  <a:pt x="2" y="96"/>
                </a:lnTo>
                <a:lnTo>
                  <a:pt x="2" y="102"/>
                </a:lnTo>
                <a:lnTo>
                  <a:pt x="4" y="105"/>
                </a:lnTo>
                <a:lnTo>
                  <a:pt x="5" y="107"/>
                </a:lnTo>
                <a:lnTo>
                  <a:pt x="9" y="111"/>
                </a:lnTo>
                <a:lnTo>
                  <a:pt x="11" y="113"/>
                </a:lnTo>
                <a:lnTo>
                  <a:pt x="13" y="117"/>
                </a:lnTo>
                <a:lnTo>
                  <a:pt x="15" y="123"/>
                </a:lnTo>
                <a:lnTo>
                  <a:pt x="15" y="128"/>
                </a:lnTo>
                <a:lnTo>
                  <a:pt x="15" y="128"/>
                </a:lnTo>
                <a:lnTo>
                  <a:pt x="15" y="136"/>
                </a:lnTo>
                <a:lnTo>
                  <a:pt x="13" y="143"/>
                </a:lnTo>
                <a:lnTo>
                  <a:pt x="9" y="151"/>
                </a:lnTo>
                <a:lnTo>
                  <a:pt x="7" y="157"/>
                </a:lnTo>
                <a:lnTo>
                  <a:pt x="4" y="163"/>
                </a:lnTo>
                <a:lnTo>
                  <a:pt x="2" y="168"/>
                </a:lnTo>
                <a:lnTo>
                  <a:pt x="0" y="176"/>
                </a:lnTo>
                <a:lnTo>
                  <a:pt x="0" y="185"/>
                </a:lnTo>
                <a:lnTo>
                  <a:pt x="0" y="185"/>
                </a:lnTo>
                <a:lnTo>
                  <a:pt x="0" y="187"/>
                </a:lnTo>
                <a:lnTo>
                  <a:pt x="0" y="191"/>
                </a:lnTo>
                <a:lnTo>
                  <a:pt x="0" y="195"/>
                </a:lnTo>
                <a:lnTo>
                  <a:pt x="0" y="199"/>
                </a:lnTo>
                <a:lnTo>
                  <a:pt x="0" y="203"/>
                </a:lnTo>
                <a:lnTo>
                  <a:pt x="0" y="206"/>
                </a:lnTo>
                <a:lnTo>
                  <a:pt x="2" y="208"/>
                </a:lnTo>
                <a:lnTo>
                  <a:pt x="2" y="210"/>
                </a:lnTo>
                <a:lnTo>
                  <a:pt x="2" y="210"/>
                </a:lnTo>
                <a:lnTo>
                  <a:pt x="5" y="212"/>
                </a:lnTo>
                <a:lnTo>
                  <a:pt x="9" y="212"/>
                </a:lnTo>
                <a:lnTo>
                  <a:pt x="13" y="212"/>
                </a:lnTo>
                <a:lnTo>
                  <a:pt x="15" y="216"/>
                </a:lnTo>
                <a:lnTo>
                  <a:pt x="15" y="216"/>
                </a:lnTo>
                <a:lnTo>
                  <a:pt x="13" y="220"/>
                </a:lnTo>
                <a:lnTo>
                  <a:pt x="13" y="222"/>
                </a:lnTo>
                <a:lnTo>
                  <a:pt x="13" y="226"/>
                </a:lnTo>
                <a:lnTo>
                  <a:pt x="11" y="227"/>
                </a:lnTo>
                <a:lnTo>
                  <a:pt x="9" y="229"/>
                </a:lnTo>
                <a:lnTo>
                  <a:pt x="9" y="231"/>
                </a:lnTo>
                <a:lnTo>
                  <a:pt x="9" y="235"/>
                </a:lnTo>
                <a:lnTo>
                  <a:pt x="7" y="239"/>
                </a:lnTo>
                <a:lnTo>
                  <a:pt x="7" y="239"/>
                </a:lnTo>
                <a:lnTo>
                  <a:pt x="9" y="239"/>
                </a:lnTo>
                <a:lnTo>
                  <a:pt x="9" y="241"/>
                </a:lnTo>
                <a:lnTo>
                  <a:pt x="11" y="243"/>
                </a:lnTo>
                <a:lnTo>
                  <a:pt x="13" y="243"/>
                </a:lnTo>
                <a:lnTo>
                  <a:pt x="13" y="243"/>
                </a:lnTo>
                <a:lnTo>
                  <a:pt x="17" y="239"/>
                </a:lnTo>
                <a:lnTo>
                  <a:pt x="19" y="235"/>
                </a:lnTo>
                <a:lnTo>
                  <a:pt x="23" y="231"/>
                </a:lnTo>
                <a:lnTo>
                  <a:pt x="26" y="226"/>
                </a:lnTo>
                <a:lnTo>
                  <a:pt x="30" y="222"/>
                </a:lnTo>
                <a:lnTo>
                  <a:pt x="34" y="220"/>
                </a:lnTo>
                <a:lnTo>
                  <a:pt x="38" y="218"/>
                </a:lnTo>
                <a:lnTo>
                  <a:pt x="44" y="216"/>
                </a:lnTo>
                <a:lnTo>
                  <a:pt x="44" y="216"/>
                </a:lnTo>
                <a:lnTo>
                  <a:pt x="49" y="218"/>
                </a:lnTo>
                <a:lnTo>
                  <a:pt x="53" y="220"/>
                </a:lnTo>
                <a:lnTo>
                  <a:pt x="59" y="222"/>
                </a:lnTo>
                <a:lnTo>
                  <a:pt x="65" y="226"/>
                </a:lnTo>
                <a:lnTo>
                  <a:pt x="70" y="229"/>
                </a:lnTo>
                <a:lnTo>
                  <a:pt x="76" y="231"/>
                </a:lnTo>
                <a:lnTo>
                  <a:pt x="80" y="233"/>
                </a:lnTo>
                <a:lnTo>
                  <a:pt x="84" y="235"/>
                </a:lnTo>
                <a:lnTo>
                  <a:pt x="84" y="235"/>
                </a:lnTo>
                <a:lnTo>
                  <a:pt x="86" y="235"/>
                </a:lnTo>
                <a:lnTo>
                  <a:pt x="87" y="233"/>
                </a:lnTo>
                <a:lnTo>
                  <a:pt x="89" y="231"/>
                </a:lnTo>
                <a:lnTo>
                  <a:pt x="91" y="229"/>
                </a:lnTo>
                <a:lnTo>
                  <a:pt x="93" y="227"/>
                </a:lnTo>
                <a:lnTo>
                  <a:pt x="97" y="226"/>
                </a:lnTo>
                <a:lnTo>
                  <a:pt x="99" y="224"/>
                </a:lnTo>
                <a:lnTo>
                  <a:pt x="105" y="224"/>
                </a:lnTo>
                <a:lnTo>
                  <a:pt x="105" y="224"/>
                </a:lnTo>
                <a:lnTo>
                  <a:pt x="107" y="224"/>
                </a:lnTo>
                <a:lnTo>
                  <a:pt x="108" y="224"/>
                </a:lnTo>
                <a:lnTo>
                  <a:pt x="110" y="226"/>
                </a:lnTo>
                <a:lnTo>
                  <a:pt x="112" y="226"/>
                </a:lnTo>
                <a:lnTo>
                  <a:pt x="114" y="227"/>
                </a:lnTo>
                <a:lnTo>
                  <a:pt x="118" y="227"/>
                </a:lnTo>
                <a:lnTo>
                  <a:pt x="120" y="227"/>
                </a:lnTo>
                <a:lnTo>
                  <a:pt x="122" y="229"/>
                </a:lnTo>
                <a:lnTo>
                  <a:pt x="122" y="229"/>
                </a:lnTo>
                <a:lnTo>
                  <a:pt x="122" y="231"/>
                </a:lnTo>
                <a:lnTo>
                  <a:pt x="126" y="233"/>
                </a:lnTo>
                <a:lnTo>
                  <a:pt x="128" y="235"/>
                </a:lnTo>
                <a:lnTo>
                  <a:pt x="131" y="237"/>
                </a:lnTo>
                <a:lnTo>
                  <a:pt x="131" y="237"/>
                </a:lnTo>
                <a:lnTo>
                  <a:pt x="135" y="233"/>
                </a:lnTo>
                <a:lnTo>
                  <a:pt x="137" y="229"/>
                </a:lnTo>
                <a:lnTo>
                  <a:pt x="141" y="226"/>
                </a:lnTo>
                <a:lnTo>
                  <a:pt x="147" y="222"/>
                </a:lnTo>
                <a:lnTo>
                  <a:pt x="149" y="218"/>
                </a:lnTo>
                <a:lnTo>
                  <a:pt x="152" y="212"/>
                </a:lnTo>
                <a:lnTo>
                  <a:pt x="156" y="206"/>
                </a:lnTo>
                <a:lnTo>
                  <a:pt x="156" y="201"/>
                </a:lnTo>
                <a:lnTo>
                  <a:pt x="110" y="201"/>
                </a:lnTo>
                <a:lnTo>
                  <a:pt x="110" y="201"/>
                </a:lnTo>
                <a:lnTo>
                  <a:pt x="112" y="197"/>
                </a:lnTo>
                <a:lnTo>
                  <a:pt x="116" y="193"/>
                </a:lnTo>
                <a:lnTo>
                  <a:pt x="120" y="189"/>
                </a:lnTo>
                <a:lnTo>
                  <a:pt x="126" y="187"/>
                </a:lnTo>
                <a:lnTo>
                  <a:pt x="129" y="184"/>
                </a:lnTo>
                <a:lnTo>
                  <a:pt x="135" y="182"/>
                </a:lnTo>
                <a:lnTo>
                  <a:pt x="139" y="178"/>
                </a:lnTo>
                <a:lnTo>
                  <a:pt x="143" y="172"/>
                </a:lnTo>
                <a:lnTo>
                  <a:pt x="143" y="172"/>
                </a:lnTo>
                <a:lnTo>
                  <a:pt x="145" y="168"/>
                </a:lnTo>
                <a:lnTo>
                  <a:pt x="147" y="164"/>
                </a:lnTo>
                <a:lnTo>
                  <a:pt x="149" y="161"/>
                </a:lnTo>
                <a:lnTo>
                  <a:pt x="150" y="157"/>
                </a:lnTo>
                <a:lnTo>
                  <a:pt x="152" y="153"/>
                </a:lnTo>
                <a:lnTo>
                  <a:pt x="156" y="147"/>
                </a:lnTo>
                <a:lnTo>
                  <a:pt x="158" y="143"/>
                </a:lnTo>
                <a:lnTo>
                  <a:pt x="160" y="140"/>
                </a:lnTo>
                <a:lnTo>
                  <a:pt x="162" y="136"/>
                </a:lnTo>
                <a:lnTo>
                  <a:pt x="164" y="132"/>
                </a:lnTo>
                <a:lnTo>
                  <a:pt x="166" y="128"/>
                </a:lnTo>
                <a:lnTo>
                  <a:pt x="169" y="123"/>
                </a:lnTo>
                <a:lnTo>
                  <a:pt x="171" y="119"/>
                </a:lnTo>
                <a:lnTo>
                  <a:pt x="175" y="115"/>
                </a:lnTo>
                <a:lnTo>
                  <a:pt x="177" y="109"/>
                </a:lnTo>
                <a:lnTo>
                  <a:pt x="179" y="105"/>
                </a:lnTo>
                <a:lnTo>
                  <a:pt x="185" y="111"/>
                </a:lnTo>
              </a:path>
            </a:pathLst>
          </a:custGeom>
          <a:solidFill>
            <a:srgbClr val="F8F8F8"/>
          </a:solidFill>
          <a:ln w="9525" cmpd="sng">
            <a:solidFill>
              <a:schemeClr val="folHlink"/>
            </a:solidFill>
            <a:prstDash val="solid"/>
            <a:round/>
            <a:headEnd/>
            <a:tailEnd/>
          </a:ln>
        </p:spPr>
        <p:txBody>
          <a:bodyPr lIns="93222" tIns="46612" rIns="93222" bIns="46612"/>
          <a:lstStyle/>
          <a:p>
            <a:endParaRPr lang="en-US" dirty="0">
              <a:solidFill>
                <a:srgbClr val="000000"/>
              </a:solidFill>
              <a:latin typeface="Arial" charset="0"/>
            </a:endParaRPr>
          </a:p>
        </p:txBody>
      </p:sp>
      <p:sp>
        <p:nvSpPr>
          <p:cNvPr id="636994" name="Line 66"/>
          <p:cNvSpPr>
            <a:spLocks noChangeShapeType="1"/>
          </p:cNvSpPr>
          <p:nvPr>
            <p:custDataLst>
              <p:tags r:id="rId66"/>
            </p:custDataLst>
          </p:nvPr>
        </p:nvSpPr>
        <p:spPr bwMode="gray">
          <a:xfrm>
            <a:off x="1384971" y="2440956"/>
            <a:ext cx="100430" cy="102043"/>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6995" name="Line 67"/>
          <p:cNvSpPr>
            <a:spLocks noChangeShapeType="1"/>
          </p:cNvSpPr>
          <p:nvPr>
            <p:custDataLst>
              <p:tags r:id="rId67"/>
            </p:custDataLst>
          </p:nvPr>
        </p:nvSpPr>
        <p:spPr bwMode="gray">
          <a:xfrm>
            <a:off x="1308838" y="2724411"/>
            <a:ext cx="184662"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6996" name="Line 68"/>
          <p:cNvSpPr>
            <a:spLocks noChangeShapeType="1"/>
          </p:cNvSpPr>
          <p:nvPr>
            <p:custDataLst>
              <p:tags r:id="rId68"/>
            </p:custDataLst>
          </p:nvPr>
        </p:nvSpPr>
        <p:spPr bwMode="gray">
          <a:xfrm>
            <a:off x="2431390" y="3333442"/>
            <a:ext cx="1619" cy="178172"/>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6997" name="Line 69"/>
          <p:cNvSpPr>
            <a:spLocks noChangeShapeType="1"/>
          </p:cNvSpPr>
          <p:nvPr>
            <p:custDataLst>
              <p:tags r:id="rId69"/>
            </p:custDataLst>
          </p:nvPr>
        </p:nvSpPr>
        <p:spPr bwMode="gray">
          <a:xfrm>
            <a:off x="3210532" y="3641187"/>
            <a:ext cx="132827" cy="0"/>
          </a:xfrm>
          <a:prstGeom prst="line">
            <a:avLst/>
          </a:prstGeom>
          <a:noFill/>
          <a:ln w="9525">
            <a:solidFill>
              <a:schemeClr val="tx1"/>
            </a:solidFill>
            <a:round/>
            <a:headEnd/>
            <a:tailEnd/>
          </a:ln>
          <a:effectLst/>
        </p:spPr>
        <p:txBody>
          <a:bodyPr lIns="93222" tIns="46612" rIns="93222" bIns="46612"/>
          <a:lstStyle/>
          <a:p>
            <a:endParaRPr lang="en-US" dirty="0">
              <a:solidFill>
                <a:srgbClr val="000000"/>
              </a:solidFill>
              <a:latin typeface="Arial" charset="0"/>
            </a:endParaRPr>
          </a:p>
        </p:txBody>
      </p:sp>
      <p:sp>
        <p:nvSpPr>
          <p:cNvPr id="636998" name="Line 70"/>
          <p:cNvSpPr>
            <a:spLocks noChangeShapeType="1"/>
          </p:cNvSpPr>
          <p:nvPr>
            <p:custDataLst>
              <p:tags r:id="rId70"/>
            </p:custDataLst>
          </p:nvPr>
        </p:nvSpPr>
        <p:spPr bwMode="gray">
          <a:xfrm>
            <a:off x="4603595" y="3880909"/>
            <a:ext cx="90711"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6999" name="Line 71"/>
          <p:cNvSpPr>
            <a:spLocks noChangeShapeType="1"/>
          </p:cNvSpPr>
          <p:nvPr>
            <p:custDataLst>
              <p:tags r:id="rId71"/>
            </p:custDataLst>
          </p:nvPr>
        </p:nvSpPr>
        <p:spPr bwMode="gray">
          <a:xfrm>
            <a:off x="4603587" y="3991051"/>
            <a:ext cx="184662"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00" name="Line 72"/>
          <p:cNvSpPr>
            <a:spLocks noChangeShapeType="1"/>
          </p:cNvSpPr>
          <p:nvPr>
            <p:custDataLst>
              <p:tags r:id="rId72"/>
            </p:custDataLst>
          </p:nvPr>
        </p:nvSpPr>
        <p:spPr bwMode="gray">
          <a:xfrm>
            <a:off x="5329282" y="2572155"/>
            <a:ext cx="184662"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01" name="Line 73"/>
          <p:cNvSpPr>
            <a:spLocks noChangeShapeType="1"/>
          </p:cNvSpPr>
          <p:nvPr>
            <p:custDataLst>
              <p:tags r:id="rId73"/>
            </p:custDataLst>
          </p:nvPr>
        </p:nvSpPr>
        <p:spPr bwMode="gray">
          <a:xfrm flipV="1">
            <a:off x="5640293" y="2740609"/>
            <a:ext cx="171703" cy="103664"/>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02" name="Line 74"/>
          <p:cNvSpPr>
            <a:spLocks noChangeShapeType="1"/>
          </p:cNvSpPr>
          <p:nvPr>
            <p:custDataLst>
              <p:tags r:id="rId74"/>
            </p:custDataLst>
          </p:nvPr>
        </p:nvSpPr>
        <p:spPr bwMode="gray">
          <a:xfrm>
            <a:off x="4946993" y="3369069"/>
            <a:ext cx="0" cy="13120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03" name="Rectangle 75"/>
          <p:cNvSpPr>
            <a:spLocks noChangeArrowheads="1"/>
          </p:cNvSpPr>
          <p:nvPr>
            <p:custDataLst>
              <p:tags r:id="rId75"/>
            </p:custDataLst>
          </p:nvPr>
        </p:nvSpPr>
        <p:spPr bwMode="gray">
          <a:xfrm>
            <a:off x="3722394" y="1775248"/>
            <a:ext cx="220298"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Libya</a:t>
            </a:r>
          </a:p>
        </p:txBody>
      </p:sp>
      <p:sp>
        <p:nvSpPr>
          <p:cNvPr id="637004" name="Rectangle 76"/>
          <p:cNvSpPr>
            <a:spLocks noChangeArrowheads="1"/>
          </p:cNvSpPr>
          <p:nvPr>
            <p:custDataLst>
              <p:tags r:id="rId76"/>
            </p:custDataLst>
          </p:nvPr>
        </p:nvSpPr>
        <p:spPr bwMode="gray">
          <a:xfrm>
            <a:off x="3306095" y="955658"/>
            <a:ext cx="343406" cy="108523"/>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Tunisia</a:t>
            </a:r>
          </a:p>
        </p:txBody>
      </p:sp>
      <p:sp>
        <p:nvSpPr>
          <p:cNvPr id="637005" name="Rectangle 77"/>
          <p:cNvSpPr>
            <a:spLocks noChangeArrowheads="1"/>
          </p:cNvSpPr>
          <p:nvPr>
            <p:custDataLst>
              <p:tags r:id="rId77"/>
            </p:custDataLst>
          </p:nvPr>
        </p:nvSpPr>
        <p:spPr bwMode="gray">
          <a:xfrm>
            <a:off x="2290454" y="1691018"/>
            <a:ext cx="285092"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Algeria</a:t>
            </a:r>
          </a:p>
        </p:txBody>
      </p:sp>
      <p:sp>
        <p:nvSpPr>
          <p:cNvPr id="637006" name="Rectangle 78"/>
          <p:cNvSpPr>
            <a:spLocks noChangeArrowheads="1"/>
          </p:cNvSpPr>
          <p:nvPr>
            <p:custDataLst>
              <p:tags r:id="rId78"/>
            </p:custDataLst>
          </p:nvPr>
        </p:nvSpPr>
        <p:spPr bwMode="gray">
          <a:xfrm>
            <a:off x="1678155" y="1496653"/>
            <a:ext cx="349886" cy="108523"/>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Morocco</a:t>
            </a:r>
          </a:p>
        </p:txBody>
      </p:sp>
      <p:sp>
        <p:nvSpPr>
          <p:cNvPr id="637007" name="Rectangle 79"/>
          <p:cNvSpPr>
            <a:spLocks noChangeArrowheads="1"/>
          </p:cNvSpPr>
          <p:nvPr>
            <p:custDataLst>
              <p:tags r:id="rId79"/>
            </p:custDataLst>
          </p:nvPr>
        </p:nvSpPr>
        <p:spPr bwMode="gray">
          <a:xfrm>
            <a:off x="1648999" y="2241736"/>
            <a:ext cx="427638"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Mauritania</a:t>
            </a:r>
          </a:p>
        </p:txBody>
      </p:sp>
      <p:sp>
        <p:nvSpPr>
          <p:cNvPr id="637008" name="Rectangle 80"/>
          <p:cNvSpPr>
            <a:spLocks noChangeArrowheads="1"/>
          </p:cNvSpPr>
          <p:nvPr>
            <p:custDataLst>
              <p:tags r:id="rId80"/>
            </p:custDataLst>
          </p:nvPr>
        </p:nvSpPr>
        <p:spPr bwMode="gray">
          <a:xfrm>
            <a:off x="5063623" y="1616514"/>
            <a:ext cx="233257" cy="108523"/>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Egypt</a:t>
            </a:r>
          </a:p>
        </p:txBody>
      </p:sp>
      <p:sp>
        <p:nvSpPr>
          <p:cNvPr id="637009" name="Rectangle 81"/>
          <p:cNvSpPr>
            <a:spLocks noChangeArrowheads="1"/>
          </p:cNvSpPr>
          <p:nvPr>
            <p:custDataLst>
              <p:tags r:id="rId81"/>
            </p:custDataLst>
          </p:nvPr>
        </p:nvSpPr>
        <p:spPr bwMode="gray">
          <a:xfrm>
            <a:off x="5556057" y="2513852"/>
            <a:ext cx="272133" cy="108523"/>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Eritrea</a:t>
            </a:r>
          </a:p>
        </p:txBody>
      </p:sp>
      <p:sp>
        <p:nvSpPr>
          <p:cNvPr id="637010" name="Rectangle 82"/>
          <p:cNvSpPr>
            <a:spLocks noChangeArrowheads="1"/>
          </p:cNvSpPr>
          <p:nvPr>
            <p:custDataLst>
              <p:tags r:id="rId82"/>
            </p:custDataLst>
          </p:nvPr>
        </p:nvSpPr>
        <p:spPr bwMode="gray">
          <a:xfrm>
            <a:off x="4668382" y="2384273"/>
            <a:ext cx="298051"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Sudan</a:t>
            </a:r>
          </a:p>
        </p:txBody>
      </p:sp>
      <p:sp>
        <p:nvSpPr>
          <p:cNvPr id="637011" name="Rectangle 83"/>
          <p:cNvSpPr>
            <a:spLocks noChangeArrowheads="1"/>
          </p:cNvSpPr>
          <p:nvPr>
            <p:custDataLst>
              <p:tags r:id="rId83"/>
            </p:custDataLst>
          </p:nvPr>
        </p:nvSpPr>
        <p:spPr bwMode="gray">
          <a:xfrm>
            <a:off x="2920573" y="2973861"/>
            <a:ext cx="285092"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Nigeria</a:t>
            </a:r>
          </a:p>
        </p:txBody>
      </p:sp>
      <p:sp>
        <p:nvSpPr>
          <p:cNvPr id="637012" name="Rectangle 84"/>
          <p:cNvSpPr>
            <a:spLocks noChangeArrowheads="1"/>
          </p:cNvSpPr>
          <p:nvPr>
            <p:custDataLst>
              <p:tags r:id="rId84"/>
            </p:custDataLst>
          </p:nvPr>
        </p:nvSpPr>
        <p:spPr bwMode="gray">
          <a:xfrm>
            <a:off x="1039939" y="2379407"/>
            <a:ext cx="336927" cy="108522"/>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Senegal</a:t>
            </a:r>
          </a:p>
        </p:txBody>
      </p:sp>
      <p:sp>
        <p:nvSpPr>
          <p:cNvPr id="637013" name="Rectangle 85"/>
          <p:cNvSpPr>
            <a:spLocks noChangeArrowheads="1"/>
          </p:cNvSpPr>
          <p:nvPr>
            <p:custDataLst>
              <p:tags r:id="rId85"/>
            </p:custDataLst>
          </p:nvPr>
        </p:nvSpPr>
        <p:spPr bwMode="gray">
          <a:xfrm>
            <a:off x="3338492" y="3339923"/>
            <a:ext cx="366084" cy="93945"/>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Cameroon</a:t>
            </a:r>
          </a:p>
        </p:txBody>
      </p:sp>
      <p:sp>
        <p:nvSpPr>
          <p:cNvPr id="637014" name="Rectangle 86"/>
          <p:cNvSpPr>
            <a:spLocks noChangeArrowheads="1"/>
          </p:cNvSpPr>
          <p:nvPr>
            <p:custDataLst>
              <p:tags r:id="rId86"/>
            </p:custDataLst>
          </p:nvPr>
        </p:nvSpPr>
        <p:spPr bwMode="gray">
          <a:xfrm>
            <a:off x="5264482" y="3058086"/>
            <a:ext cx="382282"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Ethiopia</a:t>
            </a:r>
          </a:p>
        </p:txBody>
      </p:sp>
      <p:sp>
        <p:nvSpPr>
          <p:cNvPr id="637015" name="Rectangle 87"/>
          <p:cNvSpPr>
            <a:spLocks noChangeArrowheads="1"/>
          </p:cNvSpPr>
          <p:nvPr>
            <p:custDataLst>
              <p:tags r:id="rId87"/>
            </p:custDataLst>
          </p:nvPr>
        </p:nvSpPr>
        <p:spPr bwMode="gray">
          <a:xfrm>
            <a:off x="5834665" y="2967381"/>
            <a:ext cx="369324"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Somalia</a:t>
            </a:r>
          </a:p>
        </p:txBody>
      </p:sp>
      <p:sp>
        <p:nvSpPr>
          <p:cNvPr id="637016" name="Rectangle 88"/>
          <p:cNvSpPr>
            <a:spLocks noChangeArrowheads="1"/>
          </p:cNvSpPr>
          <p:nvPr>
            <p:custDataLst>
              <p:tags r:id="rId88"/>
            </p:custDataLst>
          </p:nvPr>
        </p:nvSpPr>
        <p:spPr bwMode="gray">
          <a:xfrm>
            <a:off x="5834665" y="2630475"/>
            <a:ext cx="356365" cy="108523"/>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Djibouti</a:t>
            </a:r>
          </a:p>
        </p:txBody>
      </p:sp>
      <p:sp>
        <p:nvSpPr>
          <p:cNvPr id="637017" name="Rectangle 89"/>
          <p:cNvSpPr>
            <a:spLocks noChangeArrowheads="1"/>
          </p:cNvSpPr>
          <p:nvPr>
            <p:custDataLst>
              <p:tags r:id="rId89"/>
            </p:custDataLst>
          </p:nvPr>
        </p:nvSpPr>
        <p:spPr bwMode="gray">
          <a:xfrm>
            <a:off x="958947" y="2636953"/>
            <a:ext cx="343406" cy="92333"/>
          </a:xfrm>
          <a:prstGeom prst="rect">
            <a:avLst/>
          </a:prstGeom>
          <a:noFill/>
          <a:ln w="9525">
            <a:noFill/>
            <a:miter lim="800000"/>
            <a:headEnd/>
            <a:tailEnd/>
          </a:ln>
          <a:effectLst/>
        </p:spPr>
        <p:txBody>
          <a:bodyPr lIns="0" tIns="0" rIns="0" bIns="0">
            <a:spAutoFit/>
          </a:bodyPr>
          <a:lstStyle/>
          <a:p>
            <a:pPr defTabSz="912802">
              <a:buClr>
                <a:srgbClr val="4F2100"/>
              </a:buClr>
            </a:pPr>
            <a:r>
              <a:rPr lang="en-US" sz="600" dirty="0">
                <a:solidFill>
                  <a:srgbClr val="000000"/>
                </a:solidFill>
                <a:latin typeface="Arial" charset="0"/>
              </a:rPr>
              <a:t>Gambia</a:t>
            </a:r>
          </a:p>
        </p:txBody>
      </p:sp>
      <p:sp>
        <p:nvSpPr>
          <p:cNvPr id="637018" name="Rectangle 90"/>
          <p:cNvSpPr>
            <a:spLocks noChangeArrowheads="1"/>
          </p:cNvSpPr>
          <p:nvPr>
            <p:custDataLst>
              <p:tags r:id="rId90"/>
            </p:custDataLst>
          </p:nvPr>
        </p:nvSpPr>
        <p:spPr bwMode="gray">
          <a:xfrm>
            <a:off x="2002127" y="3505129"/>
            <a:ext cx="272133" cy="217046"/>
          </a:xfrm>
          <a:prstGeom prst="rect">
            <a:avLst/>
          </a:prstGeom>
          <a:solidFill>
            <a:schemeClr val="accent1"/>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Ivory </a:t>
            </a:r>
          </a:p>
          <a:p>
            <a:pPr defTabSz="912802">
              <a:buClr>
                <a:srgbClr val="4F2100"/>
              </a:buClr>
            </a:pPr>
            <a:r>
              <a:rPr lang="en-US" sz="600" dirty="0">
                <a:solidFill>
                  <a:srgbClr val="000000"/>
                </a:solidFill>
                <a:latin typeface="Arial" charset="0"/>
              </a:rPr>
              <a:t>Coast</a:t>
            </a:r>
          </a:p>
        </p:txBody>
      </p:sp>
      <p:sp>
        <p:nvSpPr>
          <p:cNvPr id="637019" name="Rectangle 91"/>
          <p:cNvSpPr>
            <a:spLocks noChangeArrowheads="1"/>
          </p:cNvSpPr>
          <p:nvPr>
            <p:custDataLst>
              <p:tags r:id="rId91"/>
            </p:custDataLst>
          </p:nvPr>
        </p:nvSpPr>
        <p:spPr bwMode="gray">
          <a:xfrm>
            <a:off x="4739655" y="3245978"/>
            <a:ext cx="336927"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Uganda</a:t>
            </a:r>
          </a:p>
        </p:txBody>
      </p:sp>
      <p:sp>
        <p:nvSpPr>
          <p:cNvPr id="637020" name="Rectangle 92"/>
          <p:cNvSpPr>
            <a:spLocks noChangeArrowheads="1"/>
          </p:cNvSpPr>
          <p:nvPr>
            <p:custDataLst>
              <p:tags r:id="rId92"/>
            </p:custDataLst>
          </p:nvPr>
        </p:nvSpPr>
        <p:spPr bwMode="gray">
          <a:xfrm>
            <a:off x="2935152" y="3858241"/>
            <a:ext cx="272133" cy="108523"/>
          </a:xfrm>
          <a:prstGeom prst="rect">
            <a:avLst/>
          </a:prstGeom>
          <a:solidFill>
            <a:schemeClr val="accent1"/>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Gabon</a:t>
            </a:r>
          </a:p>
        </p:txBody>
      </p:sp>
      <p:sp>
        <p:nvSpPr>
          <p:cNvPr id="637021" name="Rectangle 93"/>
          <p:cNvSpPr>
            <a:spLocks noChangeArrowheads="1"/>
          </p:cNvSpPr>
          <p:nvPr>
            <p:custDataLst>
              <p:tags r:id="rId93"/>
            </p:custDataLst>
          </p:nvPr>
        </p:nvSpPr>
        <p:spPr bwMode="gray">
          <a:xfrm>
            <a:off x="5177011" y="3586123"/>
            <a:ext cx="259174"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Kenya</a:t>
            </a:r>
          </a:p>
        </p:txBody>
      </p:sp>
      <p:sp>
        <p:nvSpPr>
          <p:cNvPr id="637022" name="Rectangle 94"/>
          <p:cNvSpPr>
            <a:spLocks noChangeArrowheads="1"/>
          </p:cNvSpPr>
          <p:nvPr>
            <p:custDataLst>
              <p:tags r:id="rId94"/>
            </p:custDataLst>
          </p:nvPr>
        </p:nvSpPr>
        <p:spPr bwMode="gray">
          <a:xfrm>
            <a:off x="2335812" y="2727658"/>
            <a:ext cx="311009"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Burkina</a:t>
            </a:r>
          </a:p>
        </p:txBody>
      </p:sp>
      <p:sp>
        <p:nvSpPr>
          <p:cNvPr id="637023" name="Rectangle 95"/>
          <p:cNvSpPr>
            <a:spLocks noChangeArrowheads="1"/>
          </p:cNvSpPr>
          <p:nvPr>
            <p:custDataLst>
              <p:tags r:id="rId95"/>
            </p:custDataLst>
          </p:nvPr>
        </p:nvSpPr>
        <p:spPr bwMode="gray">
          <a:xfrm>
            <a:off x="2280743" y="3511616"/>
            <a:ext cx="234877" cy="93945"/>
          </a:xfrm>
          <a:prstGeom prst="rect">
            <a:avLst/>
          </a:prstGeom>
          <a:solidFill>
            <a:schemeClr val="accent1"/>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Ghana</a:t>
            </a:r>
          </a:p>
        </p:txBody>
      </p:sp>
      <p:sp>
        <p:nvSpPr>
          <p:cNvPr id="637024" name="Rectangle 96"/>
          <p:cNvSpPr>
            <a:spLocks noChangeArrowheads="1"/>
          </p:cNvSpPr>
          <p:nvPr>
            <p:custDataLst>
              <p:tags r:id="rId96"/>
            </p:custDataLst>
          </p:nvPr>
        </p:nvSpPr>
        <p:spPr bwMode="gray">
          <a:xfrm>
            <a:off x="2797465" y="3582876"/>
            <a:ext cx="400100" cy="217046"/>
          </a:xfrm>
          <a:prstGeom prst="rect">
            <a:avLst/>
          </a:prstGeom>
          <a:solidFill>
            <a:schemeClr val="accent1"/>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Equatorial </a:t>
            </a:r>
            <a:br>
              <a:rPr lang="en-US" sz="600" dirty="0">
                <a:solidFill>
                  <a:srgbClr val="000000"/>
                </a:solidFill>
                <a:latin typeface="Arial" charset="0"/>
              </a:rPr>
            </a:br>
            <a:r>
              <a:rPr lang="en-US" sz="600" dirty="0">
                <a:solidFill>
                  <a:srgbClr val="000000"/>
                </a:solidFill>
                <a:latin typeface="Arial" charset="0"/>
              </a:rPr>
              <a:t>Guinea</a:t>
            </a:r>
          </a:p>
        </p:txBody>
      </p:sp>
      <p:sp>
        <p:nvSpPr>
          <p:cNvPr id="637025" name="Rectangle 97"/>
          <p:cNvSpPr>
            <a:spLocks noChangeArrowheads="1"/>
          </p:cNvSpPr>
          <p:nvPr>
            <p:custDataLst>
              <p:tags r:id="rId97"/>
            </p:custDataLst>
          </p:nvPr>
        </p:nvSpPr>
        <p:spPr bwMode="gray">
          <a:xfrm>
            <a:off x="3393568" y="3994300"/>
            <a:ext cx="291571"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Congo</a:t>
            </a:r>
          </a:p>
        </p:txBody>
      </p:sp>
      <p:sp>
        <p:nvSpPr>
          <p:cNvPr id="637026" name="Rectangle 98"/>
          <p:cNvSpPr>
            <a:spLocks noChangeArrowheads="1"/>
          </p:cNvSpPr>
          <p:nvPr>
            <p:custDataLst>
              <p:tags r:id="rId98"/>
            </p:custDataLst>
          </p:nvPr>
        </p:nvSpPr>
        <p:spPr bwMode="gray">
          <a:xfrm>
            <a:off x="4253703" y="3809648"/>
            <a:ext cx="336927"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Rwanda</a:t>
            </a:r>
          </a:p>
        </p:txBody>
      </p:sp>
      <p:sp>
        <p:nvSpPr>
          <p:cNvPr id="637027" name="Rectangle 99"/>
          <p:cNvSpPr>
            <a:spLocks noChangeArrowheads="1"/>
          </p:cNvSpPr>
          <p:nvPr>
            <p:custDataLst>
              <p:tags r:id="rId99"/>
            </p:custDataLst>
          </p:nvPr>
        </p:nvSpPr>
        <p:spPr bwMode="gray">
          <a:xfrm>
            <a:off x="4940515" y="3969997"/>
            <a:ext cx="375803" cy="108522"/>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Tanzania</a:t>
            </a:r>
          </a:p>
        </p:txBody>
      </p:sp>
      <p:sp>
        <p:nvSpPr>
          <p:cNvPr id="637028" name="Rectangle 100"/>
          <p:cNvSpPr>
            <a:spLocks noChangeArrowheads="1"/>
          </p:cNvSpPr>
          <p:nvPr>
            <p:custDataLst>
              <p:tags r:id="rId100"/>
            </p:custDataLst>
          </p:nvPr>
        </p:nvSpPr>
        <p:spPr bwMode="gray">
          <a:xfrm>
            <a:off x="4266661" y="4716706"/>
            <a:ext cx="369324"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Zambia</a:t>
            </a:r>
          </a:p>
        </p:txBody>
      </p:sp>
      <p:sp>
        <p:nvSpPr>
          <p:cNvPr id="637029" name="Rectangle 101"/>
          <p:cNvSpPr>
            <a:spLocks noChangeArrowheads="1"/>
          </p:cNvSpPr>
          <p:nvPr>
            <p:custDataLst>
              <p:tags r:id="rId101"/>
            </p:custDataLst>
          </p:nvPr>
        </p:nvSpPr>
        <p:spPr bwMode="gray">
          <a:xfrm>
            <a:off x="4253703" y="3939227"/>
            <a:ext cx="311009"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Burundi</a:t>
            </a:r>
          </a:p>
        </p:txBody>
      </p:sp>
      <p:sp>
        <p:nvSpPr>
          <p:cNvPr id="637030" name="Rectangle 102"/>
          <p:cNvSpPr>
            <a:spLocks noChangeArrowheads="1"/>
          </p:cNvSpPr>
          <p:nvPr>
            <p:custDataLst>
              <p:tags r:id="rId102"/>
            </p:custDataLst>
          </p:nvPr>
        </p:nvSpPr>
        <p:spPr bwMode="gray">
          <a:xfrm>
            <a:off x="6016088" y="5325729"/>
            <a:ext cx="550746" cy="108523"/>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Madagascar</a:t>
            </a:r>
          </a:p>
        </p:txBody>
      </p:sp>
      <p:sp>
        <p:nvSpPr>
          <p:cNvPr id="637031" name="Rectangle 103"/>
          <p:cNvSpPr>
            <a:spLocks noChangeArrowheads="1"/>
          </p:cNvSpPr>
          <p:nvPr>
            <p:custDataLst>
              <p:tags r:id="rId103"/>
            </p:custDataLst>
          </p:nvPr>
        </p:nvSpPr>
        <p:spPr bwMode="gray">
          <a:xfrm>
            <a:off x="4094957" y="5132972"/>
            <a:ext cx="401720" cy="108522"/>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Botswana</a:t>
            </a:r>
          </a:p>
        </p:txBody>
      </p:sp>
      <p:sp>
        <p:nvSpPr>
          <p:cNvPr id="637032" name="Rectangle 104"/>
          <p:cNvSpPr>
            <a:spLocks noChangeArrowheads="1"/>
          </p:cNvSpPr>
          <p:nvPr>
            <p:custDataLst>
              <p:tags r:id="rId104"/>
            </p:custDataLst>
          </p:nvPr>
        </p:nvSpPr>
        <p:spPr bwMode="gray">
          <a:xfrm>
            <a:off x="4898406" y="5027696"/>
            <a:ext cx="453555"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Zimbabwe</a:t>
            </a:r>
          </a:p>
        </p:txBody>
      </p:sp>
      <p:sp>
        <p:nvSpPr>
          <p:cNvPr id="637033" name="Rectangle 105"/>
          <p:cNvSpPr>
            <a:spLocks noChangeArrowheads="1"/>
          </p:cNvSpPr>
          <p:nvPr>
            <p:custDataLst>
              <p:tags r:id="rId105"/>
            </p:custDataLst>
          </p:nvPr>
        </p:nvSpPr>
        <p:spPr bwMode="gray">
          <a:xfrm>
            <a:off x="3304475" y="5824611"/>
            <a:ext cx="507011" cy="108523"/>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South Africa</a:t>
            </a:r>
          </a:p>
        </p:txBody>
      </p:sp>
      <p:grpSp>
        <p:nvGrpSpPr>
          <p:cNvPr id="2" name="Group 106"/>
          <p:cNvGrpSpPr>
            <a:grpSpLocks/>
          </p:cNvGrpSpPr>
          <p:nvPr>
            <p:custDataLst>
              <p:tags r:id="rId106"/>
            </p:custDataLst>
          </p:nvPr>
        </p:nvGrpSpPr>
        <p:grpSpPr bwMode="auto">
          <a:xfrm>
            <a:off x="4804456" y="5571928"/>
            <a:ext cx="618779" cy="92326"/>
            <a:chOff x="2740" y="3344"/>
            <a:chExt cx="382" cy="57"/>
          </a:xfrm>
        </p:grpSpPr>
        <p:sp>
          <p:nvSpPr>
            <p:cNvPr id="637035" name="Line 107"/>
            <p:cNvSpPr>
              <a:spLocks noChangeShapeType="1"/>
            </p:cNvSpPr>
            <p:nvPr/>
          </p:nvSpPr>
          <p:spPr bwMode="gray">
            <a:xfrm>
              <a:off x="2740" y="3384"/>
              <a:ext cx="107" cy="0"/>
            </a:xfrm>
            <a:prstGeom prst="line">
              <a:avLst/>
            </a:pr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7036" name="Rectangle 108"/>
            <p:cNvSpPr>
              <a:spLocks noChangeArrowheads="1"/>
            </p:cNvSpPr>
            <p:nvPr/>
          </p:nvSpPr>
          <p:spPr bwMode="gray">
            <a:xfrm>
              <a:off x="2866" y="3344"/>
              <a:ext cx="256" cy="57"/>
            </a:xfrm>
            <a:prstGeom prst="rect">
              <a:avLst/>
            </a:prstGeom>
            <a:noFill/>
            <a:ln w="9525">
              <a:noFill/>
              <a:miter lim="800000"/>
              <a:headEnd/>
              <a:tailEnd/>
            </a:ln>
            <a:effectLst/>
          </p:spPr>
          <p:txBody>
            <a:bodyPr lIns="0" tIns="0" rIns="0" bIns="0">
              <a:spAutoFit/>
            </a:bodyPr>
            <a:lstStyle/>
            <a:p>
              <a:pPr defTabSz="912802">
                <a:buClr>
                  <a:srgbClr val="4F2100"/>
                </a:buClr>
              </a:pPr>
              <a:r>
                <a:rPr lang="en-US" sz="600" dirty="0">
                  <a:solidFill>
                    <a:srgbClr val="000000"/>
                  </a:solidFill>
                  <a:latin typeface="Arial" charset="0"/>
                </a:rPr>
                <a:t>Swaziland</a:t>
              </a:r>
            </a:p>
          </p:txBody>
        </p:sp>
      </p:grpSp>
      <p:sp>
        <p:nvSpPr>
          <p:cNvPr id="637037" name="McK 5. Source"/>
          <p:cNvSpPr>
            <a:spLocks noChangeArrowheads="1"/>
          </p:cNvSpPr>
          <p:nvPr>
            <p:custDataLst>
              <p:tags r:id="rId107"/>
            </p:custDataLst>
          </p:nvPr>
        </p:nvSpPr>
        <p:spPr bwMode="auto">
          <a:xfrm>
            <a:off x="121489" y="6608559"/>
            <a:ext cx="6208848" cy="155496"/>
          </a:xfrm>
          <a:prstGeom prst="rect">
            <a:avLst/>
          </a:prstGeom>
          <a:noFill/>
          <a:ln w="9525" algn="ctr">
            <a:noFill/>
            <a:miter lim="800000"/>
            <a:headEnd/>
            <a:tailEnd/>
          </a:ln>
          <a:effectLst/>
        </p:spPr>
        <p:txBody>
          <a:bodyPr lIns="0" tIns="0" rIns="0" bIns="0" anchor="ctr">
            <a:spAutoFit/>
          </a:bodyPr>
          <a:lstStyle/>
          <a:p>
            <a:pPr marL="582639" indent="-582639" defTabSz="912802">
              <a:tabLst>
                <a:tab pos="581023" algn="l"/>
              </a:tabLst>
            </a:pPr>
            <a:r>
              <a:rPr lang="en-US" sz="1000" dirty="0">
                <a:solidFill>
                  <a:srgbClr val="000000"/>
                </a:solidFill>
                <a:latin typeface="Arial" charset="0"/>
              </a:rPr>
              <a:t>SOURCE: Thomson Web of Science</a:t>
            </a:r>
          </a:p>
        </p:txBody>
      </p:sp>
      <p:sp>
        <p:nvSpPr>
          <p:cNvPr id="637038" name="Rectangle 110"/>
          <p:cNvSpPr>
            <a:spLocks noChangeArrowheads="1"/>
          </p:cNvSpPr>
          <p:nvPr>
            <p:custDataLst>
              <p:tags r:id="rId108"/>
            </p:custDataLst>
          </p:nvPr>
        </p:nvSpPr>
        <p:spPr bwMode="gray">
          <a:xfrm>
            <a:off x="6715140" y="2000240"/>
            <a:ext cx="2214577" cy="3097353"/>
          </a:xfrm>
          <a:prstGeom prst="rect">
            <a:avLst/>
          </a:prstGeom>
          <a:noFill/>
          <a:ln w="9525">
            <a:noFill/>
            <a:miter lim="800000"/>
            <a:headEnd/>
            <a:tailEnd/>
          </a:ln>
          <a:effectLst/>
        </p:spPr>
        <p:txBody>
          <a:bodyPr wrap="square" lIns="0" tIns="0" rIns="0" bIns="0">
            <a:spAutoFit/>
          </a:bodyPr>
          <a:lstStyle/>
          <a:p>
            <a:pPr marL="197451" lvl="1" indent="-195833" defTabSz="912802">
              <a:spcBef>
                <a:spcPct val="50000"/>
              </a:spcBef>
              <a:buClr>
                <a:srgbClr val="000000"/>
              </a:buClr>
              <a:buFont typeface="Arial" charset="0"/>
              <a:buChar char="▪"/>
            </a:pPr>
            <a:r>
              <a:rPr lang="en-US" dirty="0">
                <a:solidFill>
                  <a:srgbClr val="000000"/>
                </a:solidFill>
                <a:latin typeface="Arial" charset="0"/>
              </a:rPr>
              <a:t>Cities with 30 or more articles published in the 2004 - 08 period</a:t>
            </a:r>
          </a:p>
          <a:p>
            <a:pPr marL="197451" lvl="1" indent="-195833" defTabSz="912802">
              <a:spcBef>
                <a:spcPct val="50000"/>
              </a:spcBef>
              <a:buClr>
                <a:srgbClr val="000000"/>
              </a:buClr>
              <a:buFont typeface="Arial" charset="0"/>
              <a:buChar char="▪"/>
            </a:pPr>
            <a:r>
              <a:rPr lang="en-US" dirty="0">
                <a:solidFill>
                  <a:srgbClr val="000000"/>
                </a:solidFill>
                <a:latin typeface="Arial" charset="0"/>
              </a:rPr>
              <a:t>Total of 90 cities in 27 countries</a:t>
            </a:r>
          </a:p>
          <a:p>
            <a:pPr marL="197451" lvl="1" indent="-195833" defTabSz="912802">
              <a:spcBef>
                <a:spcPct val="50000"/>
              </a:spcBef>
              <a:buClr>
                <a:srgbClr val="000000"/>
              </a:buClr>
              <a:buFont typeface="Arial" charset="0"/>
              <a:buChar char="▪"/>
            </a:pPr>
            <a:r>
              <a:rPr lang="en-US" dirty="0">
                <a:solidFill>
                  <a:srgbClr val="000000"/>
                </a:solidFill>
                <a:latin typeface="Arial" charset="0"/>
              </a:rPr>
              <a:t>16,647 biomedical articles led by African authors included in </a:t>
            </a:r>
            <a:r>
              <a:rPr lang="en-US" dirty="0" smtClean="0">
                <a:solidFill>
                  <a:srgbClr val="000000"/>
                </a:solidFill>
                <a:latin typeface="Arial" charset="0"/>
              </a:rPr>
              <a:t>analysis</a:t>
            </a:r>
            <a:endParaRPr lang="en-US" dirty="0">
              <a:solidFill>
                <a:srgbClr val="000000"/>
              </a:solidFill>
              <a:latin typeface="Arial" charset="0"/>
            </a:endParaRPr>
          </a:p>
        </p:txBody>
      </p:sp>
      <p:grpSp>
        <p:nvGrpSpPr>
          <p:cNvPr id="3" name="Group 111"/>
          <p:cNvGrpSpPr>
            <a:grpSpLocks/>
          </p:cNvGrpSpPr>
          <p:nvPr>
            <p:custDataLst>
              <p:tags r:id="rId109"/>
            </p:custDataLst>
          </p:nvPr>
        </p:nvGrpSpPr>
        <p:grpSpPr bwMode="auto">
          <a:xfrm>
            <a:off x="479473" y="2547867"/>
            <a:ext cx="450316" cy="476205"/>
            <a:chOff x="1944" y="2777"/>
            <a:chExt cx="975" cy="1033"/>
          </a:xfrm>
        </p:grpSpPr>
        <p:sp>
          <p:nvSpPr>
            <p:cNvPr id="637040" name="Freeform 112"/>
            <p:cNvSpPr>
              <a:spLocks/>
            </p:cNvSpPr>
            <p:nvPr/>
          </p:nvSpPr>
          <p:spPr bwMode="gray">
            <a:xfrm>
              <a:off x="2129" y="2990"/>
              <a:ext cx="52" cy="63"/>
            </a:xfrm>
            <a:custGeom>
              <a:avLst/>
              <a:gdLst/>
              <a:ahLst/>
              <a:cxnLst>
                <a:cxn ang="0">
                  <a:pos x="7" y="0"/>
                </a:cxn>
                <a:cxn ang="0">
                  <a:pos x="18" y="16"/>
                </a:cxn>
                <a:cxn ang="0">
                  <a:pos x="33" y="28"/>
                </a:cxn>
                <a:cxn ang="0">
                  <a:pos x="33" y="45"/>
                </a:cxn>
                <a:cxn ang="0">
                  <a:pos x="52" y="63"/>
                </a:cxn>
                <a:cxn ang="0">
                  <a:pos x="27" y="48"/>
                </a:cxn>
                <a:cxn ang="0">
                  <a:pos x="27" y="33"/>
                </a:cxn>
                <a:cxn ang="0">
                  <a:pos x="13" y="19"/>
                </a:cxn>
                <a:cxn ang="0">
                  <a:pos x="0" y="9"/>
                </a:cxn>
                <a:cxn ang="0">
                  <a:pos x="7" y="0"/>
                </a:cxn>
              </a:cxnLst>
              <a:rect l="0" t="0" r="r" b="b"/>
              <a:pathLst>
                <a:path w="52" h="63">
                  <a:moveTo>
                    <a:pt x="7" y="0"/>
                  </a:moveTo>
                  <a:lnTo>
                    <a:pt x="18" y="16"/>
                  </a:lnTo>
                  <a:lnTo>
                    <a:pt x="33" y="28"/>
                  </a:lnTo>
                  <a:lnTo>
                    <a:pt x="33" y="45"/>
                  </a:lnTo>
                  <a:lnTo>
                    <a:pt x="52" y="63"/>
                  </a:lnTo>
                  <a:lnTo>
                    <a:pt x="27" y="48"/>
                  </a:lnTo>
                  <a:lnTo>
                    <a:pt x="27" y="33"/>
                  </a:lnTo>
                  <a:lnTo>
                    <a:pt x="13" y="19"/>
                  </a:lnTo>
                  <a:lnTo>
                    <a:pt x="0" y="9"/>
                  </a:lnTo>
                  <a:lnTo>
                    <a:pt x="7" y="0"/>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grpSp>
          <p:nvGrpSpPr>
            <p:cNvPr id="4" name="Group 113"/>
            <p:cNvGrpSpPr>
              <a:grpSpLocks/>
            </p:cNvGrpSpPr>
            <p:nvPr/>
          </p:nvGrpSpPr>
          <p:grpSpPr bwMode="auto">
            <a:xfrm>
              <a:off x="1944" y="2777"/>
              <a:ext cx="975" cy="1033"/>
              <a:chOff x="1944" y="2777"/>
              <a:chExt cx="975" cy="1033"/>
            </a:xfrm>
          </p:grpSpPr>
          <p:sp>
            <p:nvSpPr>
              <p:cNvPr id="637042" name="Freeform 114"/>
              <p:cNvSpPr>
                <a:spLocks/>
              </p:cNvSpPr>
              <p:nvPr/>
            </p:nvSpPr>
            <p:spPr bwMode="gray">
              <a:xfrm>
                <a:off x="1944" y="2777"/>
                <a:ext cx="168" cy="174"/>
              </a:xfrm>
              <a:custGeom>
                <a:avLst/>
                <a:gdLst/>
                <a:ahLst/>
                <a:cxnLst>
                  <a:cxn ang="0">
                    <a:pos x="33" y="162"/>
                  </a:cxn>
                  <a:cxn ang="0">
                    <a:pos x="33" y="150"/>
                  </a:cxn>
                  <a:cxn ang="0">
                    <a:pos x="23" y="139"/>
                  </a:cxn>
                  <a:cxn ang="0">
                    <a:pos x="26" y="117"/>
                  </a:cxn>
                  <a:cxn ang="0">
                    <a:pos x="0" y="108"/>
                  </a:cxn>
                  <a:cxn ang="0">
                    <a:pos x="21" y="88"/>
                  </a:cxn>
                  <a:cxn ang="0">
                    <a:pos x="68" y="36"/>
                  </a:cxn>
                  <a:cxn ang="0">
                    <a:pos x="86" y="30"/>
                  </a:cxn>
                  <a:cxn ang="0">
                    <a:pos x="102" y="0"/>
                  </a:cxn>
                  <a:cxn ang="0">
                    <a:pos x="110" y="25"/>
                  </a:cxn>
                  <a:cxn ang="0">
                    <a:pos x="119" y="30"/>
                  </a:cxn>
                  <a:cxn ang="0">
                    <a:pos x="119" y="43"/>
                  </a:cxn>
                  <a:cxn ang="0">
                    <a:pos x="156" y="72"/>
                  </a:cxn>
                  <a:cxn ang="0">
                    <a:pos x="168" y="84"/>
                  </a:cxn>
                  <a:cxn ang="0">
                    <a:pos x="134" y="100"/>
                  </a:cxn>
                  <a:cxn ang="0">
                    <a:pos x="123" y="115"/>
                  </a:cxn>
                  <a:cxn ang="0">
                    <a:pos x="114" y="129"/>
                  </a:cxn>
                  <a:cxn ang="0">
                    <a:pos x="108" y="147"/>
                  </a:cxn>
                  <a:cxn ang="0">
                    <a:pos x="83" y="154"/>
                  </a:cxn>
                  <a:cxn ang="0">
                    <a:pos x="78" y="174"/>
                  </a:cxn>
                  <a:cxn ang="0">
                    <a:pos x="33" y="162"/>
                  </a:cxn>
                </a:cxnLst>
                <a:rect l="0" t="0" r="r" b="b"/>
                <a:pathLst>
                  <a:path w="168" h="174">
                    <a:moveTo>
                      <a:pt x="33" y="162"/>
                    </a:moveTo>
                    <a:lnTo>
                      <a:pt x="33" y="150"/>
                    </a:lnTo>
                    <a:lnTo>
                      <a:pt x="23" y="139"/>
                    </a:lnTo>
                    <a:lnTo>
                      <a:pt x="26" y="117"/>
                    </a:lnTo>
                    <a:lnTo>
                      <a:pt x="0" y="108"/>
                    </a:lnTo>
                    <a:lnTo>
                      <a:pt x="21" y="88"/>
                    </a:lnTo>
                    <a:lnTo>
                      <a:pt x="68" y="36"/>
                    </a:lnTo>
                    <a:lnTo>
                      <a:pt x="86" y="30"/>
                    </a:lnTo>
                    <a:lnTo>
                      <a:pt x="102" y="0"/>
                    </a:lnTo>
                    <a:lnTo>
                      <a:pt x="110" y="25"/>
                    </a:lnTo>
                    <a:lnTo>
                      <a:pt x="119" y="30"/>
                    </a:lnTo>
                    <a:lnTo>
                      <a:pt x="119" y="43"/>
                    </a:lnTo>
                    <a:lnTo>
                      <a:pt x="156" y="72"/>
                    </a:lnTo>
                    <a:lnTo>
                      <a:pt x="168" y="84"/>
                    </a:lnTo>
                    <a:lnTo>
                      <a:pt x="134" y="100"/>
                    </a:lnTo>
                    <a:lnTo>
                      <a:pt x="123" y="115"/>
                    </a:lnTo>
                    <a:lnTo>
                      <a:pt x="114" y="129"/>
                    </a:lnTo>
                    <a:lnTo>
                      <a:pt x="108" y="147"/>
                    </a:lnTo>
                    <a:lnTo>
                      <a:pt x="83" y="154"/>
                    </a:lnTo>
                    <a:lnTo>
                      <a:pt x="78" y="174"/>
                    </a:lnTo>
                    <a:lnTo>
                      <a:pt x="33" y="162"/>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sp>
            <p:nvSpPr>
              <p:cNvPr id="637043" name="Freeform 115"/>
              <p:cNvSpPr>
                <a:spLocks/>
              </p:cNvSpPr>
              <p:nvPr/>
            </p:nvSpPr>
            <p:spPr bwMode="gray">
              <a:xfrm>
                <a:off x="2049" y="2951"/>
                <a:ext cx="87" cy="57"/>
              </a:xfrm>
              <a:custGeom>
                <a:avLst/>
                <a:gdLst/>
                <a:ahLst/>
                <a:cxnLst>
                  <a:cxn ang="0">
                    <a:pos x="0" y="39"/>
                  </a:cxn>
                  <a:cxn ang="0">
                    <a:pos x="6" y="25"/>
                  </a:cxn>
                  <a:cxn ang="0">
                    <a:pos x="20" y="25"/>
                  </a:cxn>
                  <a:cxn ang="0">
                    <a:pos x="29" y="10"/>
                  </a:cxn>
                  <a:cxn ang="0">
                    <a:pos x="45" y="0"/>
                  </a:cxn>
                  <a:cxn ang="0">
                    <a:pos x="65" y="24"/>
                  </a:cxn>
                  <a:cxn ang="0">
                    <a:pos x="87" y="34"/>
                  </a:cxn>
                  <a:cxn ang="0">
                    <a:pos x="68" y="45"/>
                  </a:cxn>
                  <a:cxn ang="0">
                    <a:pos x="59" y="57"/>
                  </a:cxn>
                  <a:cxn ang="0">
                    <a:pos x="33" y="57"/>
                  </a:cxn>
                  <a:cxn ang="0">
                    <a:pos x="14" y="57"/>
                  </a:cxn>
                  <a:cxn ang="0">
                    <a:pos x="0" y="39"/>
                  </a:cxn>
                </a:cxnLst>
                <a:rect l="0" t="0" r="r" b="b"/>
                <a:pathLst>
                  <a:path w="87" h="57">
                    <a:moveTo>
                      <a:pt x="0" y="39"/>
                    </a:moveTo>
                    <a:lnTo>
                      <a:pt x="6" y="25"/>
                    </a:lnTo>
                    <a:lnTo>
                      <a:pt x="20" y="25"/>
                    </a:lnTo>
                    <a:lnTo>
                      <a:pt x="29" y="10"/>
                    </a:lnTo>
                    <a:lnTo>
                      <a:pt x="45" y="0"/>
                    </a:lnTo>
                    <a:lnTo>
                      <a:pt x="65" y="24"/>
                    </a:lnTo>
                    <a:lnTo>
                      <a:pt x="87" y="34"/>
                    </a:lnTo>
                    <a:lnTo>
                      <a:pt x="68" y="45"/>
                    </a:lnTo>
                    <a:lnTo>
                      <a:pt x="59" y="57"/>
                    </a:lnTo>
                    <a:lnTo>
                      <a:pt x="33" y="57"/>
                    </a:lnTo>
                    <a:lnTo>
                      <a:pt x="14" y="57"/>
                    </a:lnTo>
                    <a:lnTo>
                      <a:pt x="0" y="39"/>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sp>
            <p:nvSpPr>
              <p:cNvPr id="637044" name="Freeform 116"/>
              <p:cNvSpPr>
                <a:spLocks/>
              </p:cNvSpPr>
              <p:nvPr/>
            </p:nvSpPr>
            <p:spPr bwMode="gray">
              <a:xfrm>
                <a:off x="2190" y="3018"/>
                <a:ext cx="167" cy="81"/>
              </a:xfrm>
              <a:custGeom>
                <a:avLst/>
                <a:gdLst/>
                <a:ahLst/>
                <a:cxnLst>
                  <a:cxn ang="0">
                    <a:pos x="0" y="23"/>
                  </a:cxn>
                  <a:cxn ang="0">
                    <a:pos x="30" y="0"/>
                  </a:cxn>
                  <a:cxn ang="0">
                    <a:pos x="48" y="12"/>
                  </a:cxn>
                  <a:cxn ang="0">
                    <a:pos x="72" y="27"/>
                  </a:cxn>
                  <a:cxn ang="0">
                    <a:pos x="78" y="50"/>
                  </a:cxn>
                  <a:cxn ang="0">
                    <a:pos x="138" y="50"/>
                  </a:cxn>
                  <a:cxn ang="0">
                    <a:pos x="167" y="56"/>
                  </a:cxn>
                  <a:cxn ang="0">
                    <a:pos x="150" y="66"/>
                  </a:cxn>
                  <a:cxn ang="0">
                    <a:pos x="101" y="60"/>
                  </a:cxn>
                  <a:cxn ang="0">
                    <a:pos x="92" y="66"/>
                  </a:cxn>
                  <a:cxn ang="0">
                    <a:pos x="71" y="57"/>
                  </a:cxn>
                  <a:cxn ang="0">
                    <a:pos x="47" y="81"/>
                  </a:cxn>
                  <a:cxn ang="0">
                    <a:pos x="45" y="47"/>
                  </a:cxn>
                  <a:cxn ang="0">
                    <a:pos x="29" y="47"/>
                  </a:cxn>
                  <a:cxn ang="0">
                    <a:pos x="15" y="48"/>
                  </a:cxn>
                  <a:cxn ang="0">
                    <a:pos x="0" y="23"/>
                  </a:cxn>
                </a:cxnLst>
                <a:rect l="0" t="0" r="r" b="b"/>
                <a:pathLst>
                  <a:path w="167" h="81">
                    <a:moveTo>
                      <a:pt x="0" y="23"/>
                    </a:moveTo>
                    <a:lnTo>
                      <a:pt x="30" y="0"/>
                    </a:lnTo>
                    <a:lnTo>
                      <a:pt x="48" y="12"/>
                    </a:lnTo>
                    <a:lnTo>
                      <a:pt x="72" y="27"/>
                    </a:lnTo>
                    <a:lnTo>
                      <a:pt x="78" y="50"/>
                    </a:lnTo>
                    <a:lnTo>
                      <a:pt x="138" y="50"/>
                    </a:lnTo>
                    <a:lnTo>
                      <a:pt x="167" y="56"/>
                    </a:lnTo>
                    <a:lnTo>
                      <a:pt x="150" y="66"/>
                    </a:lnTo>
                    <a:lnTo>
                      <a:pt x="101" y="60"/>
                    </a:lnTo>
                    <a:lnTo>
                      <a:pt x="92" y="66"/>
                    </a:lnTo>
                    <a:lnTo>
                      <a:pt x="71" y="57"/>
                    </a:lnTo>
                    <a:lnTo>
                      <a:pt x="47" y="81"/>
                    </a:lnTo>
                    <a:lnTo>
                      <a:pt x="45" y="47"/>
                    </a:lnTo>
                    <a:lnTo>
                      <a:pt x="29" y="47"/>
                    </a:lnTo>
                    <a:lnTo>
                      <a:pt x="15" y="48"/>
                    </a:lnTo>
                    <a:lnTo>
                      <a:pt x="0" y="23"/>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sp>
            <p:nvSpPr>
              <p:cNvPr id="637045" name="Freeform 117"/>
              <p:cNvSpPr>
                <a:spLocks/>
              </p:cNvSpPr>
              <p:nvPr/>
            </p:nvSpPr>
            <p:spPr bwMode="gray">
              <a:xfrm>
                <a:off x="2796" y="2912"/>
                <a:ext cx="45" cy="124"/>
              </a:xfrm>
              <a:custGeom>
                <a:avLst/>
                <a:gdLst/>
                <a:ahLst/>
                <a:cxnLst>
                  <a:cxn ang="0">
                    <a:pos x="42" y="124"/>
                  </a:cxn>
                  <a:cxn ang="0">
                    <a:pos x="17" y="94"/>
                  </a:cxn>
                  <a:cxn ang="0">
                    <a:pos x="3" y="61"/>
                  </a:cxn>
                  <a:cxn ang="0">
                    <a:pos x="0" y="31"/>
                  </a:cxn>
                  <a:cxn ang="0">
                    <a:pos x="3" y="4"/>
                  </a:cxn>
                  <a:cxn ang="0">
                    <a:pos x="29" y="0"/>
                  </a:cxn>
                  <a:cxn ang="0">
                    <a:pos x="35" y="22"/>
                  </a:cxn>
                  <a:cxn ang="0">
                    <a:pos x="45" y="49"/>
                  </a:cxn>
                  <a:cxn ang="0">
                    <a:pos x="38" y="73"/>
                  </a:cxn>
                  <a:cxn ang="0">
                    <a:pos x="42" y="124"/>
                  </a:cxn>
                </a:cxnLst>
                <a:rect l="0" t="0" r="r" b="b"/>
                <a:pathLst>
                  <a:path w="45" h="124">
                    <a:moveTo>
                      <a:pt x="42" y="124"/>
                    </a:moveTo>
                    <a:lnTo>
                      <a:pt x="17" y="94"/>
                    </a:lnTo>
                    <a:lnTo>
                      <a:pt x="3" y="61"/>
                    </a:lnTo>
                    <a:lnTo>
                      <a:pt x="0" y="31"/>
                    </a:lnTo>
                    <a:lnTo>
                      <a:pt x="3" y="4"/>
                    </a:lnTo>
                    <a:lnTo>
                      <a:pt x="29" y="0"/>
                    </a:lnTo>
                    <a:lnTo>
                      <a:pt x="35" y="22"/>
                    </a:lnTo>
                    <a:lnTo>
                      <a:pt x="45" y="49"/>
                    </a:lnTo>
                    <a:lnTo>
                      <a:pt x="38" y="73"/>
                    </a:lnTo>
                    <a:lnTo>
                      <a:pt x="42" y="124"/>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sp>
            <p:nvSpPr>
              <p:cNvPr id="637046" name="Freeform 118"/>
              <p:cNvSpPr>
                <a:spLocks/>
              </p:cNvSpPr>
              <p:nvPr/>
            </p:nvSpPr>
            <p:spPr bwMode="gray">
              <a:xfrm>
                <a:off x="2783" y="3167"/>
                <a:ext cx="136" cy="169"/>
              </a:xfrm>
              <a:custGeom>
                <a:avLst/>
                <a:gdLst/>
                <a:ahLst/>
                <a:cxnLst>
                  <a:cxn ang="0">
                    <a:pos x="0" y="132"/>
                  </a:cxn>
                  <a:cxn ang="0">
                    <a:pos x="10" y="97"/>
                  </a:cxn>
                  <a:cxn ang="0">
                    <a:pos x="18" y="88"/>
                  </a:cxn>
                  <a:cxn ang="0">
                    <a:pos x="18" y="58"/>
                  </a:cxn>
                  <a:cxn ang="0">
                    <a:pos x="16" y="19"/>
                  </a:cxn>
                  <a:cxn ang="0">
                    <a:pos x="24" y="9"/>
                  </a:cxn>
                  <a:cxn ang="0">
                    <a:pos x="36" y="18"/>
                  </a:cxn>
                  <a:cxn ang="0">
                    <a:pos x="63" y="0"/>
                  </a:cxn>
                  <a:cxn ang="0">
                    <a:pos x="96" y="7"/>
                  </a:cxn>
                  <a:cxn ang="0">
                    <a:pos x="87" y="30"/>
                  </a:cxn>
                  <a:cxn ang="0">
                    <a:pos x="124" y="61"/>
                  </a:cxn>
                  <a:cxn ang="0">
                    <a:pos x="136" y="75"/>
                  </a:cxn>
                  <a:cxn ang="0">
                    <a:pos x="117" y="94"/>
                  </a:cxn>
                  <a:cxn ang="0">
                    <a:pos x="117" y="105"/>
                  </a:cxn>
                  <a:cxn ang="0">
                    <a:pos x="96" y="129"/>
                  </a:cxn>
                  <a:cxn ang="0">
                    <a:pos x="97" y="153"/>
                  </a:cxn>
                  <a:cxn ang="0">
                    <a:pos x="73" y="169"/>
                  </a:cxn>
                  <a:cxn ang="0">
                    <a:pos x="34" y="156"/>
                  </a:cxn>
                  <a:cxn ang="0">
                    <a:pos x="0" y="132"/>
                  </a:cxn>
                </a:cxnLst>
                <a:rect l="0" t="0" r="r" b="b"/>
                <a:pathLst>
                  <a:path w="136" h="169">
                    <a:moveTo>
                      <a:pt x="0" y="132"/>
                    </a:moveTo>
                    <a:lnTo>
                      <a:pt x="10" y="97"/>
                    </a:lnTo>
                    <a:lnTo>
                      <a:pt x="18" y="88"/>
                    </a:lnTo>
                    <a:lnTo>
                      <a:pt x="18" y="58"/>
                    </a:lnTo>
                    <a:lnTo>
                      <a:pt x="16" y="19"/>
                    </a:lnTo>
                    <a:lnTo>
                      <a:pt x="24" y="9"/>
                    </a:lnTo>
                    <a:lnTo>
                      <a:pt x="36" y="18"/>
                    </a:lnTo>
                    <a:lnTo>
                      <a:pt x="63" y="0"/>
                    </a:lnTo>
                    <a:lnTo>
                      <a:pt x="96" y="7"/>
                    </a:lnTo>
                    <a:lnTo>
                      <a:pt x="87" y="30"/>
                    </a:lnTo>
                    <a:lnTo>
                      <a:pt x="124" y="61"/>
                    </a:lnTo>
                    <a:lnTo>
                      <a:pt x="136" y="75"/>
                    </a:lnTo>
                    <a:lnTo>
                      <a:pt x="117" y="94"/>
                    </a:lnTo>
                    <a:lnTo>
                      <a:pt x="117" y="105"/>
                    </a:lnTo>
                    <a:lnTo>
                      <a:pt x="96" y="129"/>
                    </a:lnTo>
                    <a:lnTo>
                      <a:pt x="97" y="153"/>
                    </a:lnTo>
                    <a:lnTo>
                      <a:pt x="73" y="169"/>
                    </a:lnTo>
                    <a:lnTo>
                      <a:pt x="34" y="156"/>
                    </a:lnTo>
                    <a:lnTo>
                      <a:pt x="0" y="132"/>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sp>
            <p:nvSpPr>
              <p:cNvPr id="637047" name="Freeform 119"/>
              <p:cNvSpPr>
                <a:spLocks/>
              </p:cNvSpPr>
              <p:nvPr/>
            </p:nvSpPr>
            <p:spPr bwMode="gray">
              <a:xfrm>
                <a:off x="2183" y="3699"/>
                <a:ext cx="82" cy="111"/>
              </a:xfrm>
              <a:custGeom>
                <a:avLst/>
                <a:gdLst/>
                <a:ahLst/>
                <a:cxnLst>
                  <a:cxn ang="0">
                    <a:pos x="0" y="72"/>
                  </a:cxn>
                  <a:cxn ang="0">
                    <a:pos x="7" y="47"/>
                  </a:cxn>
                  <a:cxn ang="0">
                    <a:pos x="7" y="18"/>
                  </a:cxn>
                  <a:cxn ang="0">
                    <a:pos x="31" y="0"/>
                  </a:cxn>
                  <a:cxn ang="0">
                    <a:pos x="64" y="0"/>
                  </a:cxn>
                  <a:cxn ang="0">
                    <a:pos x="76" y="8"/>
                  </a:cxn>
                  <a:cxn ang="0">
                    <a:pos x="76" y="42"/>
                  </a:cxn>
                  <a:cxn ang="0">
                    <a:pos x="82" y="62"/>
                  </a:cxn>
                  <a:cxn ang="0">
                    <a:pos x="78" y="93"/>
                  </a:cxn>
                  <a:cxn ang="0">
                    <a:pos x="48" y="111"/>
                  </a:cxn>
                  <a:cxn ang="0">
                    <a:pos x="0" y="72"/>
                  </a:cxn>
                </a:cxnLst>
                <a:rect l="0" t="0" r="r" b="b"/>
                <a:pathLst>
                  <a:path w="82" h="111">
                    <a:moveTo>
                      <a:pt x="0" y="72"/>
                    </a:moveTo>
                    <a:lnTo>
                      <a:pt x="7" y="47"/>
                    </a:lnTo>
                    <a:lnTo>
                      <a:pt x="7" y="18"/>
                    </a:lnTo>
                    <a:lnTo>
                      <a:pt x="31" y="0"/>
                    </a:lnTo>
                    <a:lnTo>
                      <a:pt x="64" y="0"/>
                    </a:lnTo>
                    <a:lnTo>
                      <a:pt x="76" y="8"/>
                    </a:lnTo>
                    <a:lnTo>
                      <a:pt x="76" y="42"/>
                    </a:lnTo>
                    <a:lnTo>
                      <a:pt x="82" y="62"/>
                    </a:lnTo>
                    <a:lnTo>
                      <a:pt x="78" y="93"/>
                    </a:lnTo>
                    <a:lnTo>
                      <a:pt x="48" y="111"/>
                    </a:lnTo>
                    <a:lnTo>
                      <a:pt x="0" y="72"/>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sp>
            <p:nvSpPr>
              <p:cNvPr id="637048" name="Freeform 120"/>
              <p:cNvSpPr>
                <a:spLocks/>
              </p:cNvSpPr>
              <p:nvPr/>
            </p:nvSpPr>
            <p:spPr bwMode="gray">
              <a:xfrm>
                <a:off x="2120" y="3777"/>
                <a:ext cx="21" cy="20"/>
              </a:xfrm>
              <a:custGeom>
                <a:avLst/>
                <a:gdLst/>
                <a:ahLst/>
                <a:cxnLst>
                  <a:cxn ang="0">
                    <a:pos x="10" y="0"/>
                  </a:cxn>
                  <a:cxn ang="0">
                    <a:pos x="0" y="15"/>
                  </a:cxn>
                  <a:cxn ang="0">
                    <a:pos x="9" y="20"/>
                  </a:cxn>
                  <a:cxn ang="0">
                    <a:pos x="21" y="14"/>
                  </a:cxn>
                  <a:cxn ang="0">
                    <a:pos x="10" y="0"/>
                  </a:cxn>
                </a:cxnLst>
                <a:rect l="0" t="0" r="r" b="b"/>
                <a:pathLst>
                  <a:path w="21" h="20">
                    <a:moveTo>
                      <a:pt x="10" y="0"/>
                    </a:moveTo>
                    <a:lnTo>
                      <a:pt x="0" y="15"/>
                    </a:lnTo>
                    <a:lnTo>
                      <a:pt x="9" y="20"/>
                    </a:lnTo>
                    <a:lnTo>
                      <a:pt x="21" y="14"/>
                    </a:lnTo>
                    <a:lnTo>
                      <a:pt x="10" y="0"/>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sp>
            <p:nvSpPr>
              <p:cNvPr id="637049" name="Freeform 121"/>
              <p:cNvSpPr>
                <a:spLocks/>
              </p:cNvSpPr>
              <p:nvPr/>
            </p:nvSpPr>
            <p:spPr bwMode="gray">
              <a:xfrm>
                <a:off x="2405" y="3549"/>
                <a:ext cx="159" cy="221"/>
              </a:xfrm>
              <a:custGeom>
                <a:avLst/>
                <a:gdLst/>
                <a:ahLst/>
                <a:cxnLst>
                  <a:cxn ang="0">
                    <a:pos x="16" y="0"/>
                  </a:cxn>
                  <a:cxn ang="0">
                    <a:pos x="10" y="21"/>
                  </a:cxn>
                  <a:cxn ang="0">
                    <a:pos x="0" y="32"/>
                  </a:cxn>
                  <a:cxn ang="0">
                    <a:pos x="16" y="54"/>
                  </a:cxn>
                  <a:cxn ang="0">
                    <a:pos x="16" y="86"/>
                  </a:cxn>
                  <a:cxn ang="0">
                    <a:pos x="3" y="108"/>
                  </a:cxn>
                  <a:cxn ang="0">
                    <a:pos x="19" y="137"/>
                  </a:cxn>
                  <a:cxn ang="0">
                    <a:pos x="51" y="168"/>
                  </a:cxn>
                  <a:cxn ang="0">
                    <a:pos x="55" y="204"/>
                  </a:cxn>
                  <a:cxn ang="0">
                    <a:pos x="85" y="204"/>
                  </a:cxn>
                  <a:cxn ang="0">
                    <a:pos x="109" y="221"/>
                  </a:cxn>
                  <a:cxn ang="0">
                    <a:pos x="130" y="216"/>
                  </a:cxn>
                  <a:cxn ang="0">
                    <a:pos x="138" y="185"/>
                  </a:cxn>
                  <a:cxn ang="0">
                    <a:pos x="157" y="179"/>
                  </a:cxn>
                  <a:cxn ang="0">
                    <a:pos x="159" y="137"/>
                  </a:cxn>
                  <a:cxn ang="0">
                    <a:pos x="118" y="105"/>
                  </a:cxn>
                  <a:cxn ang="0">
                    <a:pos x="102" y="74"/>
                  </a:cxn>
                  <a:cxn ang="0">
                    <a:pos x="87" y="74"/>
                  </a:cxn>
                  <a:cxn ang="0">
                    <a:pos x="67" y="51"/>
                  </a:cxn>
                  <a:cxn ang="0">
                    <a:pos x="48" y="29"/>
                  </a:cxn>
                  <a:cxn ang="0">
                    <a:pos x="34" y="35"/>
                  </a:cxn>
                  <a:cxn ang="0">
                    <a:pos x="16" y="0"/>
                  </a:cxn>
                </a:cxnLst>
                <a:rect l="0" t="0" r="r" b="b"/>
                <a:pathLst>
                  <a:path w="159" h="221">
                    <a:moveTo>
                      <a:pt x="16" y="0"/>
                    </a:moveTo>
                    <a:lnTo>
                      <a:pt x="10" y="21"/>
                    </a:lnTo>
                    <a:lnTo>
                      <a:pt x="0" y="32"/>
                    </a:lnTo>
                    <a:lnTo>
                      <a:pt x="16" y="54"/>
                    </a:lnTo>
                    <a:lnTo>
                      <a:pt x="16" y="86"/>
                    </a:lnTo>
                    <a:lnTo>
                      <a:pt x="3" y="108"/>
                    </a:lnTo>
                    <a:lnTo>
                      <a:pt x="19" y="137"/>
                    </a:lnTo>
                    <a:lnTo>
                      <a:pt x="51" y="168"/>
                    </a:lnTo>
                    <a:lnTo>
                      <a:pt x="55" y="204"/>
                    </a:lnTo>
                    <a:lnTo>
                      <a:pt x="85" y="204"/>
                    </a:lnTo>
                    <a:lnTo>
                      <a:pt x="109" y="221"/>
                    </a:lnTo>
                    <a:lnTo>
                      <a:pt x="130" y="216"/>
                    </a:lnTo>
                    <a:lnTo>
                      <a:pt x="138" y="185"/>
                    </a:lnTo>
                    <a:lnTo>
                      <a:pt x="157" y="179"/>
                    </a:lnTo>
                    <a:lnTo>
                      <a:pt x="159" y="137"/>
                    </a:lnTo>
                    <a:lnTo>
                      <a:pt x="118" y="105"/>
                    </a:lnTo>
                    <a:lnTo>
                      <a:pt x="102" y="74"/>
                    </a:lnTo>
                    <a:lnTo>
                      <a:pt x="87" y="74"/>
                    </a:lnTo>
                    <a:lnTo>
                      <a:pt x="67" y="51"/>
                    </a:lnTo>
                    <a:lnTo>
                      <a:pt x="48" y="29"/>
                    </a:lnTo>
                    <a:lnTo>
                      <a:pt x="34" y="35"/>
                    </a:lnTo>
                    <a:lnTo>
                      <a:pt x="16" y="0"/>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sp>
            <p:nvSpPr>
              <p:cNvPr id="637050" name="Freeform 122"/>
              <p:cNvSpPr>
                <a:spLocks/>
              </p:cNvSpPr>
              <p:nvPr/>
            </p:nvSpPr>
            <p:spPr bwMode="gray">
              <a:xfrm>
                <a:off x="2607" y="3545"/>
                <a:ext cx="60" cy="82"/>
              </a:xfrm>
              <a:custGeom>
                <a:avLst/>
                <a:gdLst/>
                <a:ahLst/>
                <a:cxnLst>
                  <a:cxn ang="0">
                    <a:pos x="14" y="0"/>
                  </a:cxn>
                  <a:cxn ang="0">
                    <a:pos x="2" y="15"/>
                  </a:cxn>
                  <a:cxn ang="0">
                    <a:pos x="12" y="27"/>
                  </a:cxn>
                  <a:cxn ang="0">
                    <a:pos x="8" y="42"/>
                  </a:cxn>
                  <a:cxn ang="0">
                    <a:pos x="20" y="54"/>
                  </a:cxn>
                  <a:cxn ang="0">
                    <a:pos x="0" y="67"/>
                  </a:cxn>
                  <a:cxn ang="0">
                    <a:pos x="29" y="82"/>
                  </a:cxn>
                  <a:cxn ang="0">
                    <a:pos x="48" y="76"/>
                  </a:cxn>
                  <a:cxn ang="0">
                    <a:pos x="60" y="54"/>
                  </a:cxn>
                  <a:cxn ang="0">
                    <a:pos x="60" y="36"/>
                  </a:cxn>
                  <a:cxn ang="0">
                    <a:pos x="48" y="25"/>
                  </a:cxn>
                  <a:cxn ang="0">
                    <a:pos x="39" y="13"/>
                  </a:cxn>
                  <a:cxn ang="0">
                    <a:pos x="39" y="1"/>
                  </a:cxn>
                  <a:cxn ang="0">
                    <a:pos x="27" y="7"/>
                  </a:cxn>
                  <a:cxn ang="0">
                    <a:pos x="14" y="0"/>
                  </a:cxn>
                </a:cxnLst>
                <a:rect l="0" t="0" r="r" b="b"/>
                <a:pathLst>
                  <a:path w="60" h="82">
                    <a:moveTo>
                      <a:pt x="14" y="0"/>
                    </a:moveTo>
                    <a:lnTo>
                      <a:pt x="2" y="15"/>
                    </a:lnTo>
                    <a:lnTo>
                      <a:pt x="12" y="27"/>
                    </a:lnTo>
                    <a:lnTo>
                      <a:pt x="8" y="42"/>
                    </a:lnTo>
                    <a:lnTo>
                      <a:pt x="20" y="54"/>
                    </a:lnTo>
                    <a:lnTo>
                      <a:pt x="0" y="67"/>
                    </a:lnTo>
                    <a:lnTo>
                      <a:pt x="29" y="82"/>
                    </a:lnTo>
                    <a:lnTo>
                      <a:pt x="48" y="76"/>
                    </a:lnTo>
                    <a:lnTo>
                      <a:pt x="60" y="54"/>
                    </a:lnTo>
                    <a:lnTo>
                      <a:pt x="60" y="36"/>
                    </a:lnTo>
                    <a:lnTo>
                      <a:pt x="48" y="25"/>
                    </a:lnTo>
                    <a:lnTo>
                      <a:pt x="39" y="13"/>
                    </a:lnTo>
                    <a:lnTo>
                      <a:pt x="39" y="1"/>
                    </a:lnTo>
                    <a:lnTo>
                      <a:pt x="27" y="7"/>
                    </a:lnTo>
                    <a:lnTo>
                      <a:pt x="14" y="0"/>
                    </a:lnTo>
                    <a:close/>
                  </a:path>
                </a:pathLst>
              </a:custGeom>
              <a:solidFill>
                <a:srgbClr val="EAEAEA"/>
              </a:solidFill>
              <a:ln w="9525">
                <a:solidFill>
                  <a:schemeClr val="folHlink"/>
                </a:solidFill>
                <a:round/>
                <a:headEnd/>
                <a:tailEnd/>
              </a:ln>
              <a:effectLst/>
            </p:spPr>
            <p:txBody>
              <a:bodyPr/>
              <a:lstStyle/>
              <a:p>
                <a:endParaRPr lang="en-US" dirty="0">
                  <a:solidFill>
                    <a:srgbClr val="000000"/>
                  </a:solidFill>
                  <a:latin typeface="Arial" charset="0"/>
                </a:endParaRPr>
              </a:p>
            </p:txBody>
          </p:sp>
        </p:grpSp>
      </p:grpSp>
      <p:sp>
        <p:nvSpPr>
          <p:cNvPr id="637051" name="Rectangle 123"/>
          <p:cNvSpPr>
            <a:spLocks noChangeArrowheads="1"/>
          </p:cNvSpPr>
          <p:nvPr>
            <p:custDataLst>
              <p:tags r:id="rId110"/>
            </p:custDataLst>
          </p:nvPr>
        </p:nvSpPr>
        <p:spPr bwMode="gray">
          <a:xfrm>
            <a:off x="291572" y="2743856"/>
            <a:ext cx="482712" cy="108523"/>
          </a:xfrm>
          <a:prstGeom prst="rect">
            <a:avLst/>
          </a:prstGeom>
          <a:no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Cape Verde</a:t>
            </a:r>
          </a:p>
        </p:txBody>
      </p:sp>
      <p:sp>
        <p:nvSpPr>
          <p:cNvPr id="637052" name="Line 124"/>
          <p:cNvSpPr>
            <a:spLocks noChangeShapeType="1"/>
          </p:cNvSpPr>
          <p:nvPr>
            <p:custDataLst>
              <p:tags r:id="rId111"/>
            </p:custDataLst>
          </p:nvPr>
        </p:nvSpPr>
        <p:spPr bwMode="gray">
          <a:xfrm>
            <a:off x="2159257" y="3310760"/>
            <a:ext cx="1619" cy="226764"/>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53" name="Line 125"/>
          <p:cNvSpPr>
            <a:spLocks noChangeShapeType="1"/>
          </p:cNvSpPr>
          <p:nvPr>
            <p:custDataLst>
              <p:tags r:id="rId112"/>
            </p:custDataLst>
          </p:nvPr>
        </p:nvSpPr>
        <p:spPr bwMode="gray">
          <a:xfrm>
            <a:off x="4921076" y="1687774"/>
            <a:ext cx="116629"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54" name="Line 126"/>
          <p:cNvSpPr>
            <a:spLocks noChangeShapeType="1"/>
          </p:cNvSpPr>
          <p:nvPr>
            <p:custDataLst>
              <p:tags r:id="rId113"/>
            </p:custDataLst>
          </p:nvPr>
        </p:nvSpPr>
        <p:spPr bwMode="gray">
          <a:xfrm>
            <a:off x="3210532" y="3903585"/>
            <a:ext cx="132827" cy="0"/>
          </a:xfrm>
          <a:prstGeom prst="line">
            <a:avLst/>
          </a:prstGeom>
          <a:noFill/>
          <a:ln w="9525">
            <a:solidFill>
              <a:schemeClr val="tx1"/>
            </a:solidFill>
            <a:round/>
            <a:headEnd/>
            <a:tailEnd/>
          </a:ln>
          <a:effectLst/>
        </p:spPr>
        <p:txBody>
          <a:bodyPr lIns="93222" tIns="46612" rIns="93222" bIns="46612"/>
          <a:lstStyle/>
          <a:p>
            <a:endParaRPr lang="en-US" dirty="0">
              <a:solidFill>
                <a:srgbClr val="000000"/>
              </a:solidFill>
              <a:latin typeface="Arial" charset="0"/>
            </a:endParaRPr>
          </a:p>
        </p:txBody>
      </p:sp>
      <p:sp>
        <p:nvSpPr>
          <p:cNvPr id="637055" name="Line 127"/>
          <p:cNvSpPr>
            <a:spLocks noChangeShapeType="1"/>
          </p:cNvSpPr>
          <p:nvPr>
            <p:custDataLst>
              <p:tags r:id="rId114"/>
            </p:custDataLst>
          </p:nvPr>
        </p:nvSpPr>
        <p:spPr bwMode="gray">
          <a:xfrm>
            <a:off x="2031280" y="1564674"/>
            <a:ext cx="184662"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56" name="Rectangle 128"/>
          <p:cNvSpPr>
            <a:spLocks noChangeArrowheads="1"/>
          </p:cNvSpPr>
          <p:nvPr>
            <p:custDataLst>
              <p:tags r:id="rId115"/>
            </p:custDataLst>
          </p:nvPr>
        </p:nvSpPr>
        <p:spPr bwMode="gray">
          <a:xfrm>
            <a:off x="6132725" y="4274508"/>
            <a:ext cx="375103" cy="83100"/>
          </a:xfrm>
          <a:prstGeom prst="rect">
            <a:avLst/>
          </a:prstGeom>
          <a:noFill/>
          <a:ln w="9525">
            <a:noFill/>
            <a:miter lim="800000"/>
            <a:headEnd/>
            <a:tailEnd/>
          </a:ln>
          <a:effectLst/>
        </p:spPr>
        <p:txBody>
          <a:bodyPr wrap="none" lIns="0" tIns="0" rIns="0" bIns="0">
            <a:spAutoFit/>
          </a:bodyPr>
          <a:lstStyle/>
          <a:p>
            <a:pPr defTabSz="912802">
              <a:lnSpc>
                <a:spcPct val="90000"/>
              </a:lnSpc>
              <a:buClr>
                <a:srgbClr val="4F2100"/>
              </a:buClr>
            </a:pPr>
            <a:r>
              <a:rPr lang="en-US" sz="600" dirty="0">
                <a:solidFill>
                  <a:srgbClr val="000000"/>
                </a:solidFill>
                <a:latin typeface="Arial" charset="0"/>
              </a:rPr>
              <a:t>Seychelles</a:t>
            </a:r>
          </a:p>
        </p:txBody>
      </p:sp>
      <p:sp>
        <p:nvSpPr>
          <p:cNvPr id="637057" name="Line 129"/>
          <p:cNvSpPr>
            <a:spLocks noChangeShapeType="1"/>
          </p:cNvSpPr>
          <p:nvPr>
            <p:custDataLst>
              <p:tags r:id="rId116"/>
            </p:custDataLst>
          </p:nvPr>
        </p:nvSpPr>
        <p:spPr bwMode="gray">
          <a:xfrm>
            <a:off x="4804456" y="5636712"/>
            <a:ext cx="173323"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58" name="Line 130"/>
          <p:cNvSpPr>
            <a:spLocks noChangeShapeType="1"/>
          </p:cNvSpPr>
          <p:nvPr>
            <p:custDataLst>
              <p:tags r:id="rId117"/>
            </p:custDataLst>
          </p:nvPr>
        </p:nvSpPr>
        <p:spPr bwMode="gray">
          <a:xfrm>
            <a:off x="3764510" y="5876435"/>
            <a:ext cx="149025"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59" name="Line 131"/>
          <p:cNvSpPr>
            <a:spLocks noChangeShapeType="1"/>
          </p:cNvSpPr>
          <p:nvPr>
            <p:custDataLst>
              <p:tags r:id="rId118"/>
            </p:custDataLst>
          </p:nvPr>
        </p:nvSpPr>
        <p:spPr bwMode="gray">
          <a:xfrm>
            <a:off x="4749377" y="5076281"/>
            <a:ext cx="139306"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060" name="Rectangle 132"/>
          <p:cNvSpPr>
            <a:spLocks noChangeArrowheads="1"/>
          </p:cNvSpPr>
          <p:nvPr>
            <p:custDataLst>
              <p:tags r:id="rId119"/>
            </p:custDataLst>
          </p:nvPr>
        </p:nvSpPr>
        <p:spPr bwMode="gray">
          <a:xfrm>
            <a:off x="3435690" y="1125732"/>
            <a:ext cx="191141" cy="93945"/>
          </a:xfrm>
          <a:prstGeom prst="rect">
            <a:avLst/>
          </a:prstGeom>
          <a:solidFill>
            <a:schemeClr val="accent1"/>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Tunis</a:t>
            </a:r>
          </a:p>
        </p:txBody>
      </p:sp>
      <p:sp>
        <p:nvSpPr>
          <p:cNvPr id="637061" name="Rectangle 133"/>
          <p:cNvSpPr>
            <a:spLocks noChangeArrowheads="1"/>
          </p:cNvSpPr>
          <p:nvPr>
            <p:custDataLst>
              <p:tags r:id="rId120"/>
            </p:custDataLst>
          </p:nvPr>
        </p:nvSpPr>
        <p:spPr bwMode="gray">
          <a:xfrm>
            <a:off x="3834170" y="5533057"/>
            <a:ext cx="497291"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Johannesburg</a:t>
            </a:r>
          </a:p>
        </p:txBody>
      </p:sp>
      <p:sp>
        <p:nvSpPr>
          <p:cNvPr id="637062" name="Rectangle 134"/>
          <p:cNvSpPr>
            <a:spLocks noChangeArrowheads="1"/>
          </p:cNvSpPr>
          <p:nvPr>
            <p:custDataLst>
              <p:tags r:id="rId121"/>
            </p:custDataLst>
          </p:nvPr>
        </p:nvSpPr>
        <p:spPr bwMode="gray">
          <a:xfrm>
            <a:off x="4553380" y="5372703"/>
            <a:ext cx="273753"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Pretoria</a:t>
            </a:r>
          </a:p>
        </p:txBody>
      </p:sp>
      <p:sp>
        <p:nvSpPr>
          <p:cNvPr id="637063" name="Oval 135"/>
          <p:cNvSpPr>
            <a:spLocks noChangeArrowheads="1"/>
          </p:cNvSpPr>
          <p:nvPr>
            <p:custDataLst>
              <p:tags r:id="rId122"/>
            </p:custDataLst>
          </p:nvPr>
        </p:nvSpPr>
        <p:spPr bwMode="gray">
          <a:xfrm>
            <a:off x="4495058" y="1647288"/>
            <a:ext cx="260794" cy="260778"/>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64" name="Oval 136"/>
          <p:cNvSpPr>
            <a:spLocks noChangeArrowheads="1"/>
          </p:cNvSpPr>
          <p:nvPr>
            <p:custDataLst>
              <p:tags r:id="rId123"/>
            </p:custDataLst>
          </p:nvPr>
        </p:nvSpPr>
        <p:spPr bwMode="gray">
          <a:xfrm>
            <a:off x="3879526" y="5954190"/>
            <a:ext cx="260794" cy="26077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65" name="Oval 137"/>
          <p:cNvSpPr>
            <a:spLocks noChangeArrowheads="1"/>
          </p:cNvSpPr>
          <p:nvPr>
            <p:custDataLst>
              <p:tags r:id="rId124"/>
            </p:custDataLst>
          </p:nvPr>
        </p:nvSpPr>
        <p:spPr bwMode="gray">
          <a:xfrm>
            <a:off x="4342802" y="5492556"/>
            <a:ext cx="191141" cy="191130"/>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66" name="Oval 138"/>
          <p:cNvSpPr>
            <a:spLocks noChangeArrowheads="1"/>
          </p:cNvSpPr>
          <p:nvPr>
            <p:custDataLst>
              <p:tags r:id="rId125"/>
            </p:custDataLst>
          </p:nvPr>
        </p:nvSpPr>
        <p:spPr bwMode="gray">
          <a:xfrm>
            <a:off x="4540421" y="5458547"/>
            <a:ext cx="191141" cy="191130"/>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67" name="Oval 139"/>
          <p:cNvSpPr>
            <a:spLocks noChangeArrowheads="1"/>
          </p:cNvSpPr>
          <p:nvPr>
            <p:custDataLst>
              <p:tags r:id="rId126"/>
            </p:custDataLst>
          </p:nvPr>
        </p:nvSpPr>
        <p:spPr bwMode="gray">
          <a:xfrm>
            <a:off x="3249401" y="1520949"/>
            <a:ext cx="145786" cy="145777"/>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68" name="Rectangle 140"/>
          <p:cNvSpPr>
            <a:spLocks noChangeArrowheads="1"/>
          </p:cNvSpPr>
          <p:nvPr>
            <p:custDataLst>
              <p:tags r:id="rId127"/>
            </p:custDataLst>
          </p:nvPr>
        </p:nvSpPr>
        <p:spPr bwMode="gray">
          <a:xfrm>
            <a:off x="3396807" y="1490174"/>
            <a:ext cx="233257" cy="93945"/>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err="1">
                <a:solidFill>
                  <a:srgbClr val="000000"/>
                </a:solidFill>
                <a:latin typeface="Arial" charset="0"/>
              </a:rPr>
              <a:t>Sfax</a:t>
            </a:r>
            <a:endParaRPr lang="en-US" sz="600" dirty="0">
              <a:solidFill>
                <a:srgbClr val="000000"/>
              </a:solidFill>
              <a:latin typeface="Arial" charset="0"/>
            </a:endParaRPr>
          </a:p>
        </p:txBody>
      </p:sp>
      <p:sp>
        <p:nvSpPr>
          <p:cNvPr id="637069" name="Oval 141"/>
          <p:cNvSpPr>
            <a:spLocks noChangeArrowheads="1"/>
          </p:cNvSpPr>
          <p:nvPr>
            <p:custDataLst>
              <p:tags r:id="rId128"/>
            </p:custDataLst>
          </p:nvPr>
        </p:nvSpPr>
        <p:spPr bwMode="gray">
          <a:xfrm>
            <a:off x="4634364" y="5777639"/>
            <a:ext cx="145786" cy="145777"/>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70" name="Rectangle 142"/>
          <p:cNvSpPr>
            <a:spLocks noChangeArrowheads="1"/>
          </p:cNvSpPr>
          <p:nvPr>
            <p:custDataLst>
              <p:tags r:id="rId129"/>
            </p:custDataLst>
          </p:nvPr>
        </p:nvSpPr>
        <p:spPr bwMode="gray">
          <a:xfrm>
            <a:off x="4786629" y="5834330"/>
            <a:ext cx="257554" cy="93945"/>
          </a:xfrm>
          <a:prstGeom prst="rect">
            <a:avLst/>
          </a:prstGeom>
          <a:no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Durban</a:t>
            </a:r>
          </a:p>
        </p:txBody>
      </p:sp>
      <p:sp>
        <p:nvSpPr>
          <p:cNvPr id="637071" name="Rectangle 143"/>
          <p:cNvSpPr>
            <a:spLocks noChangeArrowheads="1"/>
          </p:cNvSpPr>
          <p:nvPr>
            <p:custDataLst>
              <p:tags r:id="rId130"/>
            </p:custDataLst>
          </p:nvPr>
        </p:nvSpPr>
        <p:spPr bwMode="gray">
          <a:xfrm>
            <a:off x="2105793" y="1216438"/>
            <a:ext cx="208960" cy="93945"/>
          </a:xfrm>
          <a:prstGeom prst="rect">
            <a:avLst/>
          </a:prstGeom>
          <a:no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Rabat</a:t>
            </a:r>
          </a:p>
        </p:txBody>
      </p:sp>
      <p:sp>
        <p:nvSpPr>
          <p:cNvPr id="637072" name="Oval 144"/>
          <p:cNvSpPr>
            <a:spLocks noChangeArrowheads="1"/>
          </p:cNvSpPr>
          <p:nvPr>
            <p:custDataLst>
              <p:tags r:id="rId131"/>
            </p:custDataLst>
          </p:nvPr>
        </p:nvSpPr>
        <p:spPr bwMode="gray">
          <a:xfrm>
            <a:off x="2886562" y="3152032"/>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73" name="Rectangle 145"/>
          <p:cNvSpPr>
            <a:spLocks noChangeArrowheads="1"/>
          </p:cNvSpPr>
          <p:nvPr>
            <p:custDataLst>
              <p:tags r:id="rId132"/>
            </p:custDataLst>
          </p:nvPr>
        </p:nvSpPr>
        <p:spPr bwMode="gray">
          <a:xfrm>
            <a:off x="2970788" y="3127737"/>
            <a:ext cx="239736"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Ibadan</a:t>
            </a:r>
          </a:p>
        </p:txBody>
      </p:sp>
      <p:sp>
        <p:nvSpPr>
          <p:cNvPr id="637074" name="Oval 146"/>
          <p:cNvSpPr>
            <a:spLocks noChangeArrowheads="1"/>
          </p:cNvSpPr>
          <p:nvPr>
            <p:custDataLst>
              <p:tags r:id="rId133"/>
            </p:custDataLst>
          </p:nvPr>
        </p:nvSpPr>
        <p:spPr bwMode="gray">
          <a:xfrm>
            <a:off x="2962689" y="1161358"/>
            <a:ext cx="111768" cy="111762"/>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75" name="Rectangle 147"/>
          <p:cNvSpPr>
            <a:spLocks noChangeArrowheads="1"/>
          </p:cNvSpPr>
          <p:nvPr>
            <p:custDataLst>
              <p:tags r:id="rId134"/>
            </p:custDataLst>
          </p:nvPr>
        </p:nvSpPr>
        <p:spPr bwMode="gray">
          <a:xfrm>
            <a:off x="2936771" y="1047984"/>
            <a:ext cx="285092" cy="93945"/>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Algiers</a:t>
            </a:r>
          </a:p>
        </p:txBody>
      </p:sp>
      <p:sp>
        <p:nvSpPr>
          <p:cNvPr id="637076" name="Oval 148"/>
          <p:cNvSpPr>
            <a:spLocks noChangeArrowheads="1"/>
          </p:cNvSpPr>
          <p:nvPr>
            <p:custDataLst>
              <p:tags r:id="rId135"/>
            </p:custDataLst>
          </p:nvPr>
        </p:nvSpPr>
        <p:spPr bwMode="gray">
          <a:xfrm>
            <a:off x="2726194" y="1205092"/>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77" name="Oval 149"/>
          <p:cNvSpPr>
            <a:spLocks noChangeArrowheads="1"/>
          </p:cNvSpPr>
          <p:nvPr>
            <p:custDataLst>
              <p:tags r:id="rId136"/>
            </p:custDataLst>
          </p:nvPr>
        </p:nvSpPr>
        <p:spPr bwMode="gray">
          <a:xfrm>
            <a:off x="2682456" y="3132594"/>
            <a:ext cx="111770"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78" name="Rectangle 150"/>
          <p:cNvSpPr>
            <a:spLocks noChangeArrowheads="1"/>
          </p:cNvSpPr>
          <p:nvPr>
            <p:custDataLst>
              <p:tags r:id="rId137"/>
            </p:custDataLst>
          </p:nvPr>
        </p:nvSpPr>
        <p:spPr bwMode="gray">
          <a:xfrm>
            <a:off x="2646819" y="3011115"/>
            <a:ext cx="200860"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Benin</a:t>
            </a:r>
          </a:p>
        </p:txBody>
      </p:sp>
      <p:sp>
        <p:nvSpPr>
          <p:cNvPr id="637079" name="Oval 151"/>
          <p:cNvSpPr>
            <a:spLocks noChangeArrowheads="1"/>
          </p:cNvSpPr>
          <p:nvPr>
            <p:custDataLst>
              <p:tags r:id="rId138"/>
            </p:custDataLst>
          </p:nvPr>
        </p:nvSpPr>
        <p:spPr bwMode="gray">
          <a:xfrm>
            <a:off x="4355759" y="5421294"/>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80" name="Oval 152"/>
          <p:cNvSpPr>
            <a:spLocks noChangeArrowheads="1"/>
          </p:cNvSpPr>
          <p:nvPr>
            <p:custDataLst>
              <p:tags r:id="rId139"/>
            </p:custDataLst>
          </p:nvPr>
        </p:nvSpPr>
        <p:spPr bwMode="gray">
          <a:xfrm>
            <a:off x="2317993" y="2855619"/>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81" name="Oval 153"/>
          <p:cNvSpPr>
            <a:spLocks noChangeArrowheads="1"/>
          </p:cNvSpPr>
          <p:nvPr>
            <p:custDataLst>
              <p:tags r:id="rId140"/>
            </p:custDataLst>
          </p:nvPr>
        </p:nvSpPr>
        <p:spPr bwMode="gray">
          <a:xfrm>
            <a:off x="3315815" y="3458164"/>
            <a:ext cx="145786" cy="145777"/>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82" name="Rectangle 154"/>
          <p:cNvSpPr>
            <a:spLocks noChangeArrowheads="1"/>
          </p:cNvSpPr>
          <p:nvPr>
            <p:custDataLst>
              <p:tags r:id="rId141"/>
            </p:custDataLst>
          </p:nvPr>
        </p:nvSpPr>
        <p:spPr bwMode="gray">
          <a:xfrm>
            <a:off x="3482666" y="3485700"/>
            <a:ext cx="314249"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err="1">
                <a:solidFill>
                  <a:srgbClr val="000000"/>
                </a:solidFill>
                <a:latin typeface="Arial" charset="0"/>
              </a:rPr>
              <a:t>Yaounde</a:t>
            </a:r>
            <a:endParaRPr lang="en-US" sz="600" dirty="0">
              <a:solidFill>
                <a:srgbClr val="000000"/>
              </a:solidFill>
              <a:latin typeface="Arial" charset="0"/>
            </a:endParaRPr>
          </a:p>
        </p:txBody>
      </p:sp>
      <p:sp>
        <p:nvSpPr>
          <p:cNvPr id="637083" name="Oval 155"/>
          <p:cNvSpPr>
            <a:spLocks noChangeArrowheads="1"/>
          </p:cNvSpPr>
          <p:nvPr>
            <p:custDataLst>
              <p:tags r:id="rId142"/>
            </p:custDataLst>
          </p:nvPr>
        </p:nvSpPr>
        <p:spPr bwMode="gray">
          <a:xfrm>
            <a:off x="3267226" y="3414424"/>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84" name="Oval 156"/>
          <p:cNvSpPr>
            <a:spLocks noChangeArrowheads="1"/>
          </p:cNvSpPr>
          <p:nvPr>
            <p:custDataLst>
              <p:tags r:id="rId143"/>
            </p:custDataLst>
          </p:nvPr>
        </p:nvSpPr>
        <p:spPr bwMode="gray">
          <a:xfrm>
            <a:off x="3657607" y="3955419"/>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85" name="Rectangle 157"/>
          <p:cNvSpPr>
            <a:spLocks noChangeArrowheads="1"/>
          </p:cNvSpPr>
          <p:nvPr>
            <p:custDataLst>
              <p:tags r:id="rId144"/>
            </p:custDataLst>
          </p:nvPr>
        </p:nvSpPr>
        <p:spPr bwMode="gray">
          <a:xfrm>
            <a:off x="2079883" y="3122877"/>
            <a:ext cx="262414"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Abidjan</a:t>
            </a:r>
          </a:p>
        </p:txBody>
      </p:sp>
      <p:sp>
        <p:nvSpPr>
          <p:cNvPr id="637086" name="Oval 158"/>
          <p:cNvSpPr>
            <a:spLocks noChangeArrowheads="1"/>
          </p:cNvSpPr>
          <p:nvPr>
            <p:custDataLst>
              <p:tags r:id="rId145"/>
            </p:custDataLst>
          </p:nvPr>
        </p:nvSpPr>
        <p:spPr bwMode="gray">
          <a:xfrm>
            <a:off x="2177066" y="3229772"/>
            <a:ext cx="111770"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87" name="Oval 159"/>
          <p:cNvSpPr>
            <a:spLocks noChangeArrowheads="1"/>
          </p:cNvSpPr>
          <p:nvPr>
            <p:custDataLst>
              <p:tags r:id="rId146"/>
            </p:custDataLst>
          </p:nvPr>
        </p:nvSpPr>
        <p:spPr bwMode="gray">
          <a:xfrm>
            <a:off x="4648943" y="1498272"/>
            <a:ext cx="145786" cy="145777"/>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88" name="Rectangle 160"/>
          <p:cNvSpPr>
            <a:spLocks noChangeArrowheads="1"/>
          </p:cNvSpPr>
          <p:nvPr>
            <p:custDataLst>
              <p:tags r:id="rId147"/>
            </p:custDataLst>
          </p:nvPr>
        </p:nvSpPr>
        <p:spPr bwMode="gray">
          <a:xfrm>
            <a:off x="4504785" y="1397849"/>
            <a:ext cx="370943" cy="93945"/>
          </a:xfrm>
          <a:prstGeom prst="rect">
            <a:avLst/>
          </a:prstGeom>
          <a:no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Alexandria</a:t>
            </a:r>
          </a:p>
        </p:txBody>
      </p:sp>
      <p:sp>
        <p:nvSpPr>
          <p:cNvPr id="637089" name="Oval 161"/>
          <p:cNvSpPr>
            <a:spLocks noChangeArrowheads="1"/>
          </p:cNvSpPr>
          <p:nvPr>
            <p:custDataLst>
              <p:tags r:id="rId148"/>
            </p:custDataLst>
          </p:nvPr>
        </p:nvSpPr>
        <p:spPr bwMode="gray">
          <a:xfrm>
            <a:off x="5507458" y="2962514"/>
            <a:ext cx="111770" cy="111762"/>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90" name="Rectangle 162"/>
          <p:cNvSpPr>
            <a:spLocks noChangeArrowheads="1"/>
          </p:cNvSpPr>
          <p:nvPr>
            <p:custDataLst>
              <p:tags r:id="rId149"/>
            </p:custDataLst>
          </p:nvPr>
        </p:nvSpPr>
        <p:spPr bwMode="gray">
          <a:xfrm>
            <a:off x="5262863" y="2821597"/>
            <a:ext cx="226778" cy="187890"/>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Addis </a:t>
            </a:r>
            <a:br>
              <a:rPr lang="en-US" sz="600" dirty="0">
                <a:solidFill>
                  <a:srgbClr val="000000"/>
                </a:solidFill>
                <a:latin typeface="Arial" charset="0"/>
              </a:rPr>
            </a:br>
            <a:r>
              <a:rPr lang="en-US" sz="600" dirty="0">
                <a:solidFill>
                  <a:srgbClr val="000000"/>
                </a:solidFill>
                <a:latin typeface="Arial" charset="0"/>
              </a:rPr>
              <a:t>Ababa</a:t>
            </a:r>
          </a:p>
        </p:txBody>
      </p:sp>
      <p:sp>
        <p:nvSpPr>
          <p:cNvPr id="637091" name="Oval 163"/>
          <p:cNvSpPr>
            <a:spLocks noChangeArrowheads="1"/>
          </p:cNvSpPr>
          <p:nvPr>
            <p:custDataLst>
              <p:tags r:id="rId150"/>
            </p:custDataLst>
          </p:nvPr>
        </p:nvSpPr>
        <p:spPr bwMode="gray">
          <a:xfrm>
            <a:off x="1524270" y="2680680"/>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92" name="Oval 164"/>
          <p:cNvSpPr>
            <a:spLocks noChangeArrowheads="1"/>
          </p:cNvSpPr>
          <p:nvPr>
            <p:custDataLst>
              <p:tags r:id="rId151"/>
            </p:custDataLst>
          </p:nvPr>
        </p:nvSpPr>
        <p:spPr bwMode="gray">
          <a:xfrm>
            <a:off x="2473504" y="3229772"/>
            <a:ext cx="111768"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93" name="Rectangle 165"/>
          <p:cNvSpPr>
            <a:spLocks noChangeArrowheads="1"/>
          </p:cNvSpPr>
          <p:nvPr>
            <p:custDataLst>
              <p:tags r:id="rId152"/>
            </p:custDataLst>
          </p:nvPr>
        </p:nvSpPr>
        <p:spPr bwMode="gray">
          <a:xfrm>
            <a:off x="2502654" y="3394994"/>
            <a:ext cx="199240" cy="93945"/>
          </a:xfrm>
          <a:prstGeom prst="rect">
            <a:avLst/>
          </a:prstGeom>
          <a:solidFill>
            <a:schemeClr val="accent1"/>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Accra</a:t>
            </a:r>
          </a:p>
        </p:txBody>
      </p:sp>
      <p:sp>
        <p:nvSpPr>
          <p:cNvPr id="637094" name="Oval 166"/>
          <p:cNvSpPr>
            <a:spLocks noChangeArrowheads="1"/>
          </p:cNvSpPr>
          <p:nvPr>
            <p:custDataLst>
              <p:tags r:id="rId153"/>
            </p:custDataLst>
          </p:nvPr>
        </p:nvSpPr>
        <p:spPr bwMode="gray">
          <a:xfrm>
            <a:off x="5157573" y="3718942"/>
            <a:ext cx="145786" cy="145777"/>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95" name="Rectangle 167"/>
          <p:cNvSpPr>
            <a:spLocks noChangeArrowheads="1"/>
          </p:cNvSpPr>
          <p:nvPr>
            <p:custDataLst>
              <p:tags r:id="rId154"/>
            </p:custDataLst>
          </p:nvPr>
        </p:nvSpPr>
        <p:spPr bwMode="gray">
          <a:xfrm>
            <a:off x="5300126" y="3808030"/>
            <a:ext cx="249455"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Nairobi</a:t>
            </a:r>
          </a:p>
        </p:txBody>
      </p:sp>
      <p:sp>
        <p:nvSpPr>
          <p:cNvPr id="637096" name="Oval 168"/>
          <p:cNvSpPr>
            <a:spLocks noChangeArrowheads="1"/>
          </p:cNvSpPr>
          <p:nvPr>
            <p:custDataLst>
              <p:tags r:id="rId155"/>
            </p:custDataLst>
          </p:nvPr>
        </p:nvSpPr>
        <p:spPr bwMode="gray">
          <a:xfrm>
            <a:off x="5337382" y="4198386"/>
            <a:ext cx="111768"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97" name="Rectangle 169"/>
          <p:cNvSpPr>
            <a:spLocks noChangeArrowheads="1"/>
          </p:cNvSpPr>
          <p:nvPr>
            <p:custDataLst>
              <p:tags r:id="rId156"/>
            </p:custDataLst>
          </p:nvPr>
        </p:nvSpPr>
        <p:spPr bwMode="gray">
          <a:xfrm>
            <a:off x="5468590" y="4212962"/>
            <a:ext cx="498534" cy="83100"/>
          </a:xfrm>
          <a:prstGeom prst="rect">
            <a:avLst/>
          </a:prstGeom>
          <a:noFill/>
          <a:ln w="9525">
            <a:noFill/>
            <a:miter lim="800000"/>
            <a:headEnd/>
            <a:tailEnd/>
          </a:ln>
          <a:effectLst/>
        </p:spPr>
        <p:txBody>
          <a:bodyPr wrap="none" lIns="0" tIns="0" rIns="0" bIns="0">
            <a:spAutoFit/>
          </a:bodyPr>
          <a:lstStyle/>
          <a:p>
            <a:pPr defTabSz="912802">
              <a:lnSpc>
                <a:spcPct val="90000"/>
              </a:lnSpc>
              <a:buClr>
                <a:srgbClr val="4F2100"/>
              </a:buClr>
            </a:pPr>
            <a:r>
              <a:rPr lang="en-US" sz="600" dirty="0">
                <a:solidFill>
                  <a:srgbClr val="000000"/>
                </a:solidFill>
                <a:latin typeface="Arial" charset="0"/>
              </a:rPr>
              <a:t>Dar </a:t>
            </a:r>
            <a:r>
              <a:rPr lang="en-US" sz="600" dirty="0" err="1">
                <a:solidFill>
                  <a:srgbClr val="000000"/>
                </a:solidFill>
                <a:latin typeface="Arial" charset="0"/>
              </a:rPr>
              <a:t>es</a:t>
            </a:r>
            <a:r>
              <a:rPr lang="en-US" sz="600" dirty="0">
                <a:solidFill>
                  <a:srgbClr val="000000"/>
                </a:solidFill>
                <a:latin typeface="Arial" charset="0"/>
              </a:rPr>
              <a:t> salaam</a:t>
            </a:r>
          </a:p>
        </p:txBody>
      </p:sp>
      <p:sp>
        <p:nvSpPr>
          <p:cNvPr id="637098" name="Oval 170"/>
          <p:cNvSpPr>
            <a:spLocks noChangeArrowheads="1"/>
          </p:cNvSpPr>
          <p:nvPr>
            <p:custDataLst>
              <p:tags r:id="rId157"/>
            </p:custDataLst>
          </p:nvPr>
        </p:nvSpPr>
        <p:spPr bwMode="gray">
          <a:xfrm>
            <a:off x="2787753" y="3192519"/>
            <a:ext cx="111768" cy="111762"/>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099" name="Rectangle 171"/>
          <p:cNvSpPr>
            <a:spLocks noChangeArrowheads="1"/>
          </p:cNvSpPr>
          <p:nvPr>
            <p:custDataLst>
              <p:tags r:id="rId158"/>
            </p:custDataLst>
          </p:nvPr>
        </p:nvSpPr>
        <p:spPr bwMode="gray">
          <a:xfrm>
            <a:off x="2876844" y="3226538"/>
            <a:ext cx="211596" cy="83100"/>
          </a:xfrm>
          <a:prstGeom prst="rect">
            <a:avLst/>
          </a:prstGeom>
          <a:noFill/>
          <a:ln w="9525">
            <a:noFill/>
            <a:miter lim="800000"/>
            <a:headEnd/>
            <a:tailEnd/>
          </a:ln>
          <a:effectLst/>
        </p:spPr>
        <p:txBody>
          <a:bodyPr wrap="none" lIns="0" tIns="0" rIns="0" bIns="0">
            <a:spAutoFit/>
          </a:bodyPr>
          <a:lstStyle/>
          <a:p>
            <a:pPr defTabSz="912802">
              <a:lnSpc>
                <a:spcPct val="90000"/>
              </a:lnSpc>
              <a:buClr>
                <a:srgbClr val="4F2100"/>
              </a:buClr>
            </a:pPr>
            <a:r>
              <a:rPr lang="en-US" sz="600" dirty="0">
                <a:solidFill>
                  <a:srgbClr val="000000"/>
                </a:solidFill>
                <a:latin typeface="Arial" charset="0"/>
              </a:rPr>
              <a:t>Lagos</a:t>
            </a:r>
          </a:p>
        </p:txBody>
      </p:sp>
      <p:sp>
        <p:nvSpPr>
          <p:cNvPr id="637100" name="Oval 172"/>
          <p:cNvSpPr>
            <a:spLocks noChangeArrowheads="1"/>
          </p:cNvSpPr>
          <p:nvPr>
            <p:custDataLst>
              <p:tags r:id="rId159"/>
            </p:custDataLst>
          </p:nvPr>
        </p:nvSpPr>
        <p:spPr bwMode="gray">
          <a:xfrm>
            <a:off x="2102554" y="1331432"/>
            <a:ext cx="111770"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01" name="Rectangle 173"/>
          <p:cNvSpPr>
            <a:spLocks noChangeArrowheads="1"/>
          </p:cNvSpPr>
          <p:nvPr>
            <p:custDataLst>
              <p:tags r:id="rId160"/>
            </p:custDataLst>
          </p:nvPr>
        </p:nvSpPr>
        <p:spPr bwMode="gray">
          <a:xfrm>
            <a:off x="1652239" y="1318481"/>
            <a:ext cx="414679" cy="93945"/>
          </a:xfrm>
          <a:prstGeom prst="rect">
            <a:avLst/>
          </a:prstGeom>
          <a:no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Casablanca</a:t>
            </a:r>
          </a:p>
        </p:txBody>
      </p:sp>
      <p:sp>
        <p:nvSpPr>
          <p:cNvPr id="637102" name="Oval 174"/>
          <p:cNvSpPr>
            <a:spLocks noChangeArrowheads="1"/>
          </p:cNvSpPr>
          <p:nvPr>
            <p:custDataLst>
              <p:tags r:id="rId161"/>
            </p:custDataLst>
          </p:nvPr>
        </p:nvSpPr>
        <p:spPr bwMode="gray">
          <a:xfrm>
            <a:off x="1415741" y="2560824"/>
            <a:ext cx="111770" cy="111762"/>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03" name="Rectangle 175"/>
          <p:cNvSpPr>
            <a:spLocks noChangeArrowheads="1"/>
          </p:cNvSpPr>
          <p:nvPr>
            <p:custDataLst>
              <p:tags r:id="rId162"/>
            </p:custDataLst>
          </p:nvPr>
        </p:nvSpPr>
        <p:spPr bwMode="gray">
          <a:xfrm>
            <a:off x="1201922" y="2539768"/>
            <a:ext cx="206788" cy="92333"/>
          </a:xfrm>
          <a:prstGeom prst="rect">
            <a:avLst/>
          </a:prstGeom>
          <a:noFill/>
          <a:ln w="9525">
            <a:noFill/>
            <a:miter lim="800000"/>
            <a:headEnd/>
            <a:tailEnd/>
          </a:ln>
          <a:effectLst/>
        </p:spPr>
        <p:txBody>
          <a:bodyPr wrap="none" lIns="0" tIns="0" rIns="0" bIns="0">
            <a:spAutoFit/>
          </a:bodyPr>
          <a:lstStyle/>
          <a:p>
            <a:pPr defTabSz="912802">
              <a:buClr>
                <a:srgbClr val="4F2100"/>
              </a:buClr>
            </a:pPr>
            <a:r>
              <a:rPr lang="en-US" sz="600" dirty="0">
                <a:solidFill>
                  <a:srgbClr val="000000"/>
                </a:solidFill>
                <a:latin typeface="Arial" charset="0"/>
              </a:rPr>
              <a:t>Dakar</a:t>
            </a:r>
          </a:p>
        </p:txBody>
      </p:sp>
      <p:sp>
        <p:nvSpPr>
          <p:cNvPr id="637104" name="Oval 176"/>
          <p:cNvSpPr>
            <a:spLocks noChangeArrowheads="1"/>
          </p:cNvSpPr>
          <p:nvPr>
            <p:custDataLst>
              <p:tags r:id="rId163"/>
            </p:custDataLst>
          </p:nvPr>
        </p:nvSpPr>
        <p:spPr bwMode="gray">
          <a:xfrm>
            <a:off x="4904877" y="3623370"/>
            <a:ext cx="111770" cy="111762"/>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05" name="Rectangle 177"/>
          <p:cNvSpPr>
            <a:spLocks noChangeArrowheads="1"/>
          </p:cNvSpPr>
          <p:nvPr>
            <p:custDataLst>
              <p:tags r:id="rId164"/>
            </p:custDataLst>
          </p:nvPr>
        </p:nvSpPr>
        <p:spPr bwMode="gray">
          <a:xfrm>
            <a:off x="4587395" y="3657393"/>
            <a:ext cx="309390"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Kampala</a:t>
            </a:r>
          </a:p>
        </p:txBody>
      </p:sp>
      <p:sp>
        <p:nvSpPr>
          <p:cNvPr id="637106" name="Oval 178"/>
          <p:cNvSpPr>
            <a:spLocks noChangeArrowheads="1"/>
          </p:cNvSpPr>
          <p:nvPr>
            <p:custDataLst>
              <p:tags r:id="rId165"/>
            </p:custDataLst>
          </p:nvPr>
        </p:nvSpPr>
        <p:spPr bwMode="gray">
          <a:xfrm>
            <a:off x="2207850" y="1456158"/>
            <a:ext cx="111768" cy="111762"/>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07" name="Rectangle 179"/>
          <p:cNvSpPr>
            <a:spLocks noChangeArrowheads="1"/>
          </p:cNvSpPr>
          <p:nvPr>
            <p:custDataLst>
              <p:tags r:id="rId166"/>
            </p:custDataLst>
          </p:nvPr>
        </p:nvSpPr>
        <p:spPr bwMode="gray">
          <a:xfrm>
            <a:off x="2322851" y="1410807"/>
            <a:ext cx="369324"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Marrakech</a:t>
            </a:r>
          </a:p>
        </p:txBody>
      </p:sp>
      <p:sp>
        <p:nvSpPr>
          <p:cNvPr id="637108" name="Oval 180"/>
          <p:cNvSpPr>
            <a:spLocks noChangeArrowheads="1"/>
          </p:cNvSpPr>
          <p:nvPr>
            <p:custDataLst>
              <p:tags r:id="rId167"/>
            </p:custDataLst>
          </p:nvPr>
        </p:nvSpPr>
        <p:spPr bwMode="gray">
          <a:xfrm>
            <a:off x="4614933" y="2617514"/>
            <a:ext cx="111768"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09" name="Rectangle 181"/>
          <p:cNvSpPr>
            <a:spLocks noChangeArrowheads="1"/>
          </p:cNvSpPr>
          <p:nvPr>
            <p:custDataLst>
              <p:tags r:id="rId168"/>
            </p:custDataLst>
          </p:nvPr>
        </p:nvSpPr>
        <p:spPr bwMode="gray">
          <a:xfrm>
            <a:off x="4744520" y="2615897"/>
            <a:ext cx="338546"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Khartoum</a:t>
            </a:r>
          </a:p>
        </p:txBody>
      </p:sp>
      <p:sp>
        <p:nvSpPr>
          <p:cNvPr id="637110" name="Oval 182"/>
          <p:cNvSpPr>
            <a:spLocks noChangeArrowheads="1"/>
          </p:cNvSpPr>
          <p:nvPr>
            <p:custDataLst>
              <p:tags r:id="rId169"/>
            </p:custDataLst>
          </p:nvPr>
        </p:nvSpPr>
        <p:spPr bwMode="gray">
          <a:xfrm>
            <a:off x="4668381" y="5040648"/>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11" name="Oval 183"/>
          <p:cNvSpPr>
            <a:spLocks noChangeArrowheads="1"/>
          </p:cNvSpPr>
          <p:nvPr>
            <p:custDataLst>
              <p:tags r:id="rId170"/>
            </p:custDataLst>
          </p:nvPr>
        </p:nvSpPr>
        <p:spPr bwMode="gray">
          <a:xfrm>
            <a:off x="4995589" y="4522336"/>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12" name="Oval 184"/>
          <p:cNvSpPr>
            <a:spLocks noChangeArrowheads="1"/>
          </p:cNvSpPr>
          <p:nvPr>
            <p:custDataLst>
              <p:tags r:id="rId171"/>
            </p:custDataLst>
          </p:nvPr>
        </p:nvSpPr>
        <p:spPr bwMode="gray">
          <a:xfrm>
            <a:off x="3249401" y="2888014"/>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13" name="Oval 185"/>
          <p:cNvSpPr>
            <a:spLocks noChangeArrowheads="1"/>
          </p:cNvSpPr>
          <p:nvPr>
            <p:custDataLst>
              <p:tags r:id="rId172"/>
            </p:custDataLst>
          </p:nvPr>
        </p:nvSpPr>
        <p:spPr bwMode="gray">
          <a:xfrm>
            <a:off x="5450772" y="3584501"/>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14" name="Oval 186"/>
          <p:cNvSpPr>
            <a:spLocks noChangeArrowheads="1"/>
          </p:cNvSpPr>
          <p:nvPr>
            <p:custDataLst>
              <p:tags r:id="rId173"/>
            </p:custDataLst>
          </p:nvPr>
        </p:nvSpPr>
        <p:spPr bwMode="gray">
          <a:xfrm>
            <a:off x="2938398" y="2881534"/>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15" name="Oval 187"/>
          <p:cNvSpPr>
            <a:spLocks noChangeArrowheads="1"/>
          </p:cNvSpPr>
          <p:nvPr>
            <p:custDataLst>
              <p:tags r:id="rId174"/>
            </p:custDataLst>
          </p:nvPr>
        </p:nvSpPr>
        <p:spPr bwMode="gray">
          <a:xfrm>
            <a:off x="4793108" y="2037640"/>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16" name="Oval 188"/>
          <p:cNvSpPr>
            <a:spLocks noChangeArrowheads="1"/>
          </p:cNvSpPr>
          <p:nvPr>
            <p:custDataLst>
              <p:tags r:id="rId175"/>
            </p:custDataLst>
          </p:nvPr>
        </p:nvSpPr>
        <p:spPr bwMode="gray">
          <a:xfrm>
            <a:off x="4386529" y="4906215"/>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17" name="Oval 189"/>
          <p:cNvSpPr>
            <a:spLocks noChangeArrowheads="1"/>
          </p:cNvSpPr>
          <p:nvPr>
            <p:custDataLst>
              <p:tags r:id="rId176"/>
            </p:custDataLst>
          </p:nvPr>
        </p:nvSpPr>
        <p:spPr bwMode="gray">
          <a:xfrm>
            <a:off x="2862267" y="2939838"/>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18" name="Oval 190"/>
          <p:cNvSpPr>
            <a:spLocks noChangeArrowheads="1"/>
          </p:cNvSpPr>
          <p:nvPr>
            <p:custDataLst>
              <p:tags r:id="rId177"/>
            </p:custDataLst>
          </p:nvPr>
        </p:nvSpPr>
        <p:spPr bwMode="gray">
          <a:xfrm>
            <a:off x="3273699" y="1349253"/>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19" name="Line 191"/>
          <p:cNvSpPr>
            <a:spLocks noChangeShapeType="1"/>
          </p:cNvSpPr>
          <p:nvPr>
            <p:custDataLst>
              <p:tags r:id="rId178"/>
            </p:custDataLst>
          </p:nvPr>
        </p:nvSpPr>
        <p:spPr bwMode="gray">
          <a:xfrm flipV="1">
            <a:off x="3387087" y="1022061"/>
            <a:ext cx="0" cy="204088"/>
          </a:xfrm>
          <a:prstGeom prst="line">
            <a:avLst/>
          </a:prstGeom>
          <a:noFill/>
          <a:ln w="9525">
            <a:solidFill>
              <a:schemeClr val="tx1"/>
            </a:solidFill>
            <a:round/>
            <a:headEnd/>
            <a:tailEnd/>
          </a:ln>
          <a:effectLst/>
        </p:spPr>
        <p:txBody>
          <a:bodyPr lIns="93222" tIns="46612" rIns="93222" bIns="46612"/>
          <a:lstStyle/>
          <a:p>
            <a:endParaRPr lang="en-US" dirty="0">
              <a:solidFill>
                <a:srgbClr val="000000"/>
              </a:solidFill>
              <a:latin typeface="Arial" charset="0"/>
            </a:endParaRPr>
          </a:p>
        </p:txBody>
      </p:sp>
      <p:sp>
        <p:nvSpPr>
          <p:cNvPr id="637120" name="Oval 192"/>
          <p:cNvSpPr>
            <a:spLocks noChangeArrowheads="1"/>
          </p:cNvSpPr>
          <p:nvPr>
            <p:custDataLst>
              <p:tags r:id="rId179"/>
            </p:custDataLst>
          </p:nvPr>
        </p:nvSpPr>
        <p:spPr bwMode="gray">
          <a:xfrm>
            <a:off x="3244549" y="1086857"/>
            <a:ext cx="191141" cy="191130"/>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21" name="Oval 193"/>
          <p:cNvSpPr>
            <a:spLocks noChangeArrowheads="1"/>
          </p:cNvSpPr>
          <p:nvPr>
            <p:custDataLst>
              <p:tags r:id="rId180"/>
            </p:custDataLst>
          </p:nvPr>
        </p:nvSpPr>
        <p:spPr bwMode="gray">
          <a:xfrm>
            <a:off x="5901079" y="4992062"/>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22" name="Oval 194"/>
          <p:cNvSpPr>
            <a:spLocks noChangeArrowheads="1"/>
          </p:cNvSpPr>
          <p:nvPr>
            <p:custDataLst>
              <p:tags r:id="rId181"/>
            </p:custDataLst>
          </p:nvPr>
        </p:nvSpPr>
        <p:spPr bwMode="gray">
          <a:xfrm>
            <a:off x="3505342" y="2792441"/>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23" name="Oval 195"/>
          <p:cNvSpPr>
            <a:spLocks noChangeArrowheads="1"/>
          </p:cNvSpPr>
          <p:nvPr>
            <p:custDataLst>
              <p:tags r:id="rId182"/>
            </p:custDataLst>
          </p:nvPr>
        </p:nvSpPr>
        <p:spPr bwMode="gray">
          <a:xfrm>
            <a:off x="3239685" y="2977093"/>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24" name="Oval 196"/>
          <p:cNvSpPr>
            <a:spLocks noChangeArrowheads="1"/>
          </p:cNvSpPr>
          <p:nvPr>
            <p:custDataLst>
              <p:tags r:id="rId183"/>
            </p:custDataLst>
          </p:nvPr>
        </p:nvSpPr>
        <p:spPr bwMode="gray">
          <a:xfrm>
            <a:off x="2454067" y="3085616"/>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25" name="Oval 197"/>
          <p:cNvSpPr>
            <a:spLocks noChangeArrowheads="1"/>
          </p:cNvSpPr>
          <p:nvPr>
            <p:custDataLst>
              <p:tags r:id="rId184"/>
            </p:custDataLst>
          </p:nvPr>
        </p:nvSpPr>
        <p:spPr bwMode="gray">
          <a:xfrm>
            <a:off x="2982135" y="3335056"/>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26" name="Oval 198"/>
          <p:cNvSpPr>
            <a:spLocks noChangeArrowheads="1"/>
          </p:cNvSpPr>
          <p:nvPr>
            <p:custDataLst>
              <p:tags r:id="rId185"/>
            </p:custDataLst>
          </p:nvPr>
        </p:nvSpPr>
        <p:spPr bwMode="gray">
          <a:xfrm>
            <a:off x="1977833" y="1631091"/>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27" name="Oval 199"/>
          <p:cNvSpPr>
            <a:spLocks noChangeArrowheads="1"/>
          </p:cNvSpPr>
          <p:nvPr>
            <p:custDataLst>
              <p:tags r:id="rId186"/>
            </p:custDataLst>
          </p:nvPr>
        </p:nvSpPr>
        <p:spPr bwMode="gray">
          <a:xfrm>
            <a:off x="4990729" y="4685923"/>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28" name="Oval 200"/>
          <p:cNvSpPr>
            <a:spLocks noChangeArrowheads="1"/>
          </p:cNvSpPr>
          <p:nvPr>
            <p:custDataLst>
              <p:tags r:id="rId187"/>
            </p:custDataLst>
          </p:nvPr>
        </p:nvSpPr>
        <p:spPr bwMode="gray">
          <a:xfrm>
            <a:off x="4389775" y="5845668"/>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29" name="Oval 201"/>
          <p:cNvSpPr>
            <a:spLocks noChangeArrowheads="1"/>
          </p:cNvSpPr>
          <p:nvPr>
            <p:custDataLst>
              <p:tags r:id="rId188"/>
            </p:custDataLst>
          </p:nvPr>
        </p:nvSpPr>
        <p:spPr bwMode="gray">
          <a:xfrm>
            <a:off x="4410827" y="6025452"/>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0" name="Oval 202"/>
          <p:cNvSpPr>
            <a:spLocks noChangeArrowheads="1"/>
          </p:cNvSpPr>
          <p:nvPr>
            <p:custDataLst>
              <p:tags r:id="rId189"/>
            </p:custDataLst>
          </p:nvPr>
        </p:nvSpPr>
        <p:spPr bwMode="gray">
          <a:xfrm>
            <a:off x="3377375" y="2993297"/>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1" name="Oval 203"/>
          <p:cNvSpPr>
            <a:spLocks noChangeArrowheads="1"/>
          </p:cNvSpPr>
          <p:nvPr>
            <p:custDataLst>
              <p:tags r:id="rId190"/>
            </p:custDataLst>
          </p:nvPr>
        </p:nvSpPr>
        <p:spPr bwMode="gray">
          <a:xfrm>
            <a:off x="2927053" y="1535520"/>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2" name="Oval 204"/>
          <p:cNvSpPr>
            <a:spLocks noChangeArrowheads="1"/>
          </p:cNvSpPr>
          <p:nvPr>
            <p:custDataLst>
              <p:tags r:id="rId191"/>
            </p:custDataLst>
          </p:nvPr>
        </p:nvSpPr>
        <p:spPr bwMode="gray">
          <a:xfrm>
            <a:off x="2922192" y="2773004"/>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3" name="Oval 205"/>
          <p:cNvSpPr>
            <a:spLocks noChangeArrowheads="1"/>
          </p:cNvSpPr>
          <p:nvPr>
            <p:custDataLst>
              <p:tags r:id="rId192"/>
            </p:custDataLst>
          </p:nvPr>
        </p:nvSpPr>
        <p:spPr bwMode="gray">
          <a:xfrm>
            <a:off x="4339553" y="5772779"/>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4" name="Oval 206"/>
          <p:cNvSpPr>
            <a:spLocks noChangeArrowheads="1"/>
          </p:cNvSpPr>
          <p:nvPr>
            <p:custDataLst>
              <p:tags r:id="rId193"/>
            </p:custDataLst>
          </p:nvPr>
        </p:nvSpPr>
        <p:spPr bwMode="gray">
          <a:xfrm>
            <a:off x="3427582" y="3268646"/>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5" name="Oval 207"/>
          <p:cNvSpPr>
            <a:spLocks noChangeArrowheads="1"/>
          </p:cNvSpPr>
          <p:nvPr>
            <p:custDataLst>
              <p:tags r:id="rId194"/>
            </p:custDataLst>
          </p:nvPr>
        </p:nvSpPr>
        <p:spPr bwMode="gray">
          <a:xfrm>
            <a:off x="4947000" y="3542390"/>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6" name="Oval 208"/>
          <p:cNvSpPr>
            <a:spLocks noChangeArrowheads="1"/>
          </p:cNvSpPr>
          <p:nvPr>
            <p:custDataLst>
              <p:tags r:id="rId195"/>
            </p:custDataLst>
          </p:nvPr>
        </p:nvSpPr>
        <p:spPr bwMode="gray">
          <a:xfrm>
            <a:off x="2619291" y="3233019"/>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7" name="Oval 209"/>
          <p:cNvSpPr>
            <a:spLocks noChangeArrowheads="1"/>
          </p:cNvSpPr>
          <p:nvPr>
            <p:custDataLst>
              <p:tags r:id="rId196"/>
            </p:custDataLst>
          </p:nvPr>
        </p:nvSpPr>
        <p:spPr bwMode="gray">
          <a:xfrm>
            <a:off x="4553374" y="2078135"/>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8" name="Oval 210"/>
          <p:cNvSpPr>
            <a:spLocks noChangeArrowheads="1"/>
          </p:cNvSpPr>
          <p:nvPr>
            <p:custDataLst>
              <p:tags r:id="rId197"/>
            </p:custDataLst>
          </p:nvPr>
        </p:nvSpPr>
        <p:spPr bwMode="gray">
          <a:xfrm>
            <a:off x="2849306" y="1781720"/>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39" name="Oval 211"/>
          <p:cNvSpPr>
            <a:spLocks noChangeArrowheads="1"/>
          </p:cNvSpPr>
          <p:nvPr>
            <p:custDataLst>
              <p:tags r:id="rId198"/>
            </p:custDataLst>
          </p:nvPr>
        </p:nvSpPr>
        <p:spPr bwMode="gray">
          <a:xfrm>
            <a:off x="2868740" y="3061326"/>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0" name="Oval 212"/>
          <p:cNvSpPr>
            <a:spLocks noChangeArrowheads="1"/>
          </p:cNvSpPr>
          <p:nvPr>
            <p:custDataLst>
              <p:tags r:id="rId199"/>
            </p:custDataLst>
          </p:nvPr>
        </p:nvSpPr>
        <p:spPr bwMode="gray">
          <a:xfrm>
            <a:off x="3150591" y="3210335"/>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1" name="Oval 213"/>
          <p:cNvSpPr>
            <a:spLocks noChangeArrowheads="1"/>
          </p:cNvSpPr>
          <p:nvPr>
            <p:custDataLst>
              <p:tags r:id="rId200"/>
            </p:custDataLst>
          </p:nvPr>
        </p:nvSpPr>
        <p:spPr bwMode="gray">
          <a:xfrm>
            <a:off x="3348217" y="1412419"/>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2" name="Oval 214"/>
          <p:cNvSpPr>
            <a:spLocks noChangeArrowheads="1"/>
          </p:cNvSpPr>
          <p:nvPr>
            <p:custDataLst>
              <p:tags r:id="rId201"/>
            </p:custDataLst>
          </p:nvPr>
        </p:nvSpPr>
        <p:spPr bwMode="gray">
          <a:xfrm>
            <a:off x="4890306" y="4144935"/>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3" name="Oval 215"/>
          <p:cNvSpPr>
            <a:spLocks noChangeArrowheads="1"/>
          </p:cNvSpPr>
          <p:nvPr>
            <p:custDataLst>
              <p:tags r:id="rId202"/>
            </p:custDataLst>
          </p:nvPr>
        </p:nvSpPr>
        <p:spPr bwMode="gray">
          <a:xfrm>
            <a:off x="4934035" y="1971234"/>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4" name="Oval 216"/>
          <p:cNvSpPr>
            <a:spLocks noChangeArrowheads="1"/>
          </p:cNvSpPr>
          <p:nvPr>
            <p:custDataLst>
              <p:tags r:id="rId203"/>
            </p:custDataLst>
          </p:nvPr>
        </p:nvSpPr>
        <p:spPr bwMode="gray">
          <a:xfrm>
            <a:off x="4381670" y="1621366"/>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5" name="Oval 217"/>
          <p:cNvSpPr>
            <a:spLocks noChangeArrowheads="1"/>
          </p:cNvSpPr>
          <p:nvPr>
            <p:custDataLst>
              <p:tags r:id="rId204"/>
            </p:custDataLst>
          </p:nvPr>
        </p:nvSpPr>
        <p:spPr bwMode="gray">
          <a:xfrm>
            <a:off x="2849306" y="1985809"/>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6" name="Oval 218"/>
          <p:cNvSpPr>
            <a:spLocks noChangeArrowheads="1"/>
          </p:cNvSpPr>
          <p:nvPr>
            <p:custDataLst>
              <p:tags r:id="rId205"/>
            </p:custDataLst>
          </p:nvPr>
        </p:nvSpPr>
        <p:spPr bwMode="gray">
          <a:xfrm>
            <a:off x="3464841" y="2928507"/>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7" name="Oval 219"/>
          <p:cNvSpPr>
            <a:spLocks noChangeArrowheads="1"/>
          </p:cNvSpPr>
          <p:nvPr>
            <p:custDataLst>
              <p:tags r:id="rId206"/>
            </p:custDataLst>
          </p:nvPr>
        </p:nvSpPr>
        <p:spPr bwMode="gray">
          <a:xfrm>
            <a:off x="4984256" y="4227536"/>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8" name="Oval 220"/>
          <p:cNvSpPr>
            <a:spLocks noChangeArrowheads="1"/>
          </p:cNvSpPr>
          <p:nvPr>
            <p:custDataLst>
              <p:tags r:id="rId207"/>
            </p:custDataLst>
          </p:nvPr>
        </p:nvSpPr>
        <p:spPr bwMode="gray">
          <a:xfrm>
            <a:off x="4425405" y="1963139"/>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49" name="Oval 221"/>
          <p:cNvSpPr>
            <a:spLocks noChangeArrowheads="1"/>
          </p:cNvSpPr>
          <p:nvPr>
            <p:custDataLst>
              <p:tags r:id="rId208"/>
            </p:custDataLst>
          </p:nvPr>
        </p:nvSpPr>
        <p:spPr bwMode="gray">
          <a:xfrm>
            <a:off x="2087982" y="1576013"/>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50" name="Oval 222"/>
          <p:cNvSpPr>
            <a:spLocks noChangeArrowheads="1"/>
          </p:cNvSpPr>
          <p:nvPr>
            <p:custDataLst>
              <p:tags r:id="rId209"/>
            </p:custDataLst>
          </p:nvPr>
        </p:nvSpPr>
        <p:spPr bwMode="gray">
          <a:xfrm>
            <a:off x="3353078" y="2803786"/>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51" name="Oval 223"/>
          <p:cNvSpPr>
            <a:spLocks noChangeArrowheads="1"/>
          </p:cNvSpPr>
          <p:nvPr>
            <p:custDataLst>
              <p:tags r:id="rId210"/>
            </p:custDataLst>
          </p:nvPr>
        </p:nvSpPr>
        <p:spPr bwMode="gray">
          <a:xfrm>
            <a:off x="3097137" y="2829703"/>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52" name="Oval 224"/>
          <p:cNvSpPr>
            <a:spLocks noChangeArrowheads="1"/>
          </p:cNvSpPr>
          <p:nvPr>
            <p:custDataLst>
              <p:tags r:id="rId211"/>
            </p:custDataLst>
          </p:nvPr>
        </p:nvSpPr>
        <p:spPr bwMode="gray">
          <a:xfrm>
            <a:off x="4005866" y="1472357"/>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53" name="Oval 225"/>
          <p:cNvSpPr>
            <a:spLocks noChangeArrowheads="1"/>
          </p:cNvSpPr>
          <p:nvPr>
            <p:custDataLst>
              <p:tags r:id="rId212"/>
            </p:custDataLst>
          </p:nvPr>
        </p:nvSpPr>
        <p:spPr bwMode="gray">
          <a:xfrm>
            <a:off x="2927053" y="1375171"/>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54" name="Oval 226"/>
          <p:cNvSpPr>
            <a:spLocks noChangeArrowheads="1"/>
          </p:cNvSpPr>
          <p:nvPr>
            <p:custDataLst>
              <p:tags r:id="rId213"/>
            </p:custDataLst>
          </p:nvPr>
        </p:nvSpPr>
        <p:spPr bwMode="gray">
          <a:xfrm>
            <a:off x="3553931" y="2873429"/>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55" name="Rectangle 227"/>
          <p:cNvSpPr>
            <a:spLocks noChangeArrowheads="1"/>
          </p:cNvSpPr>
          <p:nvPr>
            <p:custDataLst>
              <p:tags r:id="rId214"/>
            </p:custDataLst>
          </p:nvPr>
        </p:nvSpPr>
        <p:spPr bwMode="gray">
          <a:xfrm>
            <a:off x="3696478" y="4616282"/>
            <a:ext cx="291571"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Angola</a:t>
            </a:r>
          </a:p>
        </p:txBody>
      </p:sp>
      <p:sp>
        <p:nvSpPr>
          <p:cNvPr id="637156" name="Rectangle 228"/>
          <p:cNvSpPr>
            <a:spLocks noChangeArrowheads="1"/>
          </p:cNvSpPr>
          <p:nvPr>
            <p:custDataLst>
              <p:tags r:id="rId215"/>
            </p:custDataLst>
          </p:nvPr>
        </p:nvSpPr>
        <p:spPr bwMode="gray">
          <a:xfrm>
            <a:off x="3657600" y="5223687"/>
            <a:ext cx="288332"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Namibia</a:t>
            </a:r>
          </a:p>
        </p:txBody>
      </p:sp>
      <p:sp>
        <p:nvSpPr>
          <p:cNvPr id="637157" name="Rectangle 229"/>
          <p:cNvSpPr>
            <a:spLocks noChangeArrowheads="1"/>
          </p:cNvSpPr>
          <p:nvPr>
            <p:custDataLst>
              <p:tags r:id="rId216"/>
            </p:custDataLst>
          </p:nvPr>
        </p:nvSpPr>
        <p:spPr bwMode="gray">
          <a:xfrm>
            <a:off x="3217004" y="2487936"/>
            <a:ext cx="427638"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Niger</a:t>
            </a:r>
          </a:p>
        </p:txBody>
      </p:sp>
      <p:sp>
        <p:nvSpPr>
          <p:cNvPr id="637158" name="Rectangle 230"/>
          <p:cNvSpPr>
            <a:spLocks noChangeArrowheads="1"/>
          </p:cNvSpPr>
          <p:nvPr>
            <p:custDataLst>
              <p:tags r:id="rId217"/>
            </p:custDataLst>
          </p:nvPr>
        </p:nvSpPr>
        <p:spPr bwMode="gray">
          <a:xfrm>
            <a:off x="3770990" y="2487936"/>
            <a:ext cx="427638"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Chad</a:t>
            </a:r>
          </a:p>
        </p:txBody>
      </p:sp>
      <p:sp>
        <p:nvSpPr>
          <p:cNvPr id="637159" name="Rectangle 231"/>
          <p:cNvSpPr>
            <a:spLocks noChangeArrowheads="1"/>
          </p:cNvSpPr>
          <p:nvPr>
            <p:custDataLst>
              <p:tags r:id="rId218"/>
            </p:custDataLst>
          </p:nvPr>
        </p:nvSpPr>
        <p:spPr bwMode="gray">
          <a:xfrm>
            <a:off x="2293694" y="2487936"/>
            <a:ext cx="427638" cy="108523"/>
          </a:xfrm>
          <a:prstGeom prst="rect">
            <a:avLst/>
          </a:prstGeom>
          <a:solidFill>
            <a:srgbClr val="F8F8F8"/>
          </a:solid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Mali</a:t>
            </a:r>
          </a:p>
        </p:txBody>
      </p:sp>
      <p:sp>
        <p:nvSpPr>
          <p:cNvPr id="637160" name="Oval 232"/>
          <p:cNvSpPr>
            <a:spLocks noChangeArrowheads="1"/>
          </p:cNvSpPr>
          <p:nvPr>
            <p:custDataLst>
              <p:tags r:id="rId219"/>
            </p:custDataLst>
          </p:nvPr>
        </p:nvSpPr>
        <p:spPr bwMode="gray">
          <a:xfrm>
            <a:off x="3398432" y="1229396"/>
            <a:ext cx="145786" cy="145777"/>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61" name="Rectangle 233"/>
          <p:cNvSpPr>
            <a:spLocks noChangeArrowheads="1"/>
          </p:cNvSpPr>
          <p:nvPr>
            <p:custDataLst>
              <p:tags r:id="rId220"/>
            </p:custDataLst>
          </p:nvPr>
        </p:nvSpPr>
        <p:spPr bwMode="gray">
          <a:xfrm>
            <a:off x="3562031" y="1248833"/>
            <a:ext cx="299670" cy="93945"/>
          </a:xfrm>
          <a:prstGeom prst="rect">
            <a:avLst/>
          </a:prstGeom>
          <a:noFill/>
          <a:ln w="9525">
            <a:noFill/>
            <a:miter lim="800000"/>
            <a:headEnd/>
            <a:tailEnd/>
          </a:ln>
          <a:effectLst/>
        </p:spPr>
        <p:txBody>
          <a:bodyPr wrap="none" lIns="0" tIns="0" rIns="0" bIns="0"/>
          <a:lstStyle/>
          <a:p>
            <a:pPr defTabSz="912802">
              <a:buClr>
                <a:srgbClr val="4F2100"/>
              </a:buClr>
            </a:pPr>
            <a:r>
              <a:rPr lang="en-US" sz="600" dirty="0" err="1">
                <a:solidFill>
                  <a:srgbClr val="000000"/>
                </a:solidFill>
                <a:latin typeface="Arial" charset="0"/>
              </a:rPr>
              <a:t>Monastir</a:t>
            </a:r>
            <a:endParaRPr lang="en-US" sz="600" dirty="0">
              <a:solidFill>
                <a:srgbClr val="000000"/>
              </a:solidFill>
              <a:latin typeface="Arial" charset="0"/>
            </a:endParaRPr>
          </a:p>
        </p:txBody>
      </p:sp>
      <p:sp>
        <p:nvSpPr>
          <p:cNvPr id="637162" name="Oval 234"/>
          <p:cNvSpPr>
            <a:spLocks noChangeArrowheads="1"/>
          </p:cNvSpPr>
          <p:nvPr>
            <p:custDataLst>
              <p:tags r:id="rId221"/>
            </p:custDataLst>
          </p:nvPr>
        </p:nvSpPr>
        <p:spPr bwMode="gray">
          <a:xfrm>
            <a:off x="3438929" y="1380030"/>
            <a:ext cx="111768"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63" name="Rectangle 235"/>
          <p:cNvSpPr>
            <a:spLocks noChangeArrowheads="1"/>
          </p:cNvSpPr>
          <p:nvPr>
            <p:custDataLst>
              <p:tags r:id="rId222"/>
            </p:custDataLst>
          </p:nvPr>
        </p:nvSpPr>
        <p:spPr bwMode="gray">
          <a:xfrm>
            <a:off x="3618730" y="1383271"/>
            <a:ext cx="260795" cy="93945"/>
          </a:xfrm>
          <a:prstGeom prst="rect">
            <a:avLst/>
          </a:prstGeom>
          <a:solidFill>
            <a:schemeClr val="accent1"/>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Sousse</a:t>
            </a:r>
          </a:p>
        </p:txBody>
      </p:sp>
      <p:sp>
        <p:nvSpPr>
          <p:cNvPr id="637164" name="Rectangle 236"/>
          <p:cNvSpPr>
            <a:spLocks noChangeArrowheads="1"/>
          </p:cNvSpPr>
          <p:nvPr>
            <p:custDataLst>
              <p:tags r:id="rId223"/>
            </p:custDataLst>
          </p:nvPr>
        </p:nvSpPr>
        <p:spPr bwMode="gray">
          <a:xfrm>
            <a:off x="4530703" y="1729896"/>
            <a:ext cx="187901"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Cairo</a:t>
            </a:r>
          </a:p>
        </p:txBody>
      </p:sp>
      <p:sp>
        <p:nvSpPr>
          <p:cNvPr id="637165" name="Oval 237"/>
          <p:cNvSpPr>
            <a:spLocks noChangeArrowheads="1"/>
          </p:cNvSpPr>
          <p:nvPr>
            <p:custDataLst>
              <p:tags r:id="rId224"/>
            </p:custDataLst>
          </p:nvPr>
        </p:nvSpPr>
        <p:spPr bwMode="gray">
          <a:xfrm>
            <a:off x="4904881" y="1885386"/>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66" name="Oval 238"/>
          <p:cNvSpPr>
            <a:spLocks noChangeArrowheads="1"/>
          </p:cNvSpPr>
          <p:nvPr>
            <p:custDataLst>
              <p:tags r:id="rId225"/>
            </p:custDataLst>
          </p:nvPr>
        </p:nvSpPr>
        <p:spPr bwMode="gray">
          <a:xfrm>
            <a:off x="4853043" y="1506369"/>
            <a:ext cx="111770"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67" name="Rectangle 239"/>
          <p:cNvSpPr>
            <a:spLocks noChangeArrowheads="1"/>
          </p:cNvSpPr>
          <p:nvPr>
            <p:custDataLst>
              <p:tags r:id="rId226"/>
            </p:custDataLst>
          </p:nvPr>
        </p:nvSpPr>
        <p:spPr bwMode="gray">
          <a:xfrm>
            <a:off x="5000449" y="1477215"/>
            <a:ext cx="233257" cy="108523"/>
          </a:xfrm>
          <a:prstGeom prst="rect">
            <a:avLst/>
          </a:prstGeom>
          <a:noFill/>
          <a:ln w="9525">
            <a:noFill/>
            <a:miter lim="800000"/>
            <a:headEnd/>
            <a:tailEnd/>
          </a:ln>
          <a:effectLst/>
        </p:spPr>
        <p:txBody>
          <a:bodyPr lIns="0" tIns="0" rIns="0" bIns="0"/>
          <a:lstStyle/>
          <a:p>
            <a:pPr defTabSz="912802">
              <a:buClr>
                <a:srgbClr val="4F2100"/>
              </a:buClr>
            </a:pPr>
            <a:r>
              <a:rPr lang="en-US" sz="600" dirty="0">
                <a:solidFill>
                  <a:srgbClr val="000000"/>
                </a:solidFill>
                <a:latin typeface="Arial" charset="0"/>
              </a:rPr>
              <a:t>Tanta</a:t>
            </a:r>
          </a:p>
        </p:txBody>
      </p:sp>
      <p:sp>
        <p:nvSpPr>
          <p:cNvPr id="637168" name="Oval 240"/>
          <p:cNvSpPr>
            <a:spLocks noChangeArrowheads="1"/>
          </p:cNvSpPr>
          <p:nvPr>
            <p:custDataLst>
              <p:tags r:id="rId227"/>
            </p:custDataLst>
          </p:nvPr>
        </p:nvSpPr>
        <p:spPr bwMode="gray">
          <a:xfrm>
            <a:off x="4767191" y="1754192"/>
            <a:ext cx="145786" cy="145777"/>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69" name="Rectangle 241"/>
          <p:cNvSpPr>
            <a:spLocks noChangeArrowheads="1"/>
          </p:cNvSpPr>
          <p:nvPr>
            <p:custDataLst>
              <p:tags r:id="rId228"/>
            </p:custDataLst>
          </p:nvPr>
        </p:nvSpPr>
        <p:spPr bwMode="gray">
          <a:xfrm>
            <a:off x="4958333" y="1763904"/>
            <a:ext cx="233257" cy="108522"/>
          </a:xfrm>
          <a:prstGeom prst="rect">
            <a:avLst/>
          </a:prstGeom>
          <a:noFill/>
          <a:ln w="9525">
            <a:noFill/>
            <a:miter lim="800000"/>
            <a:headEnd/>
            <a:tailEnd/>
          </a:ln>
          <a:effectLst/>
        </p:spPr>
        <p:txBody>
          <a:bodyPr lIns="0" tIns="0" rIns="0" bIns="0"/>
          <a:lstStyle/>
          <a:p>
            <a:pPr defTabSz="912802">
              <a:buClr>
                <a:srgbClr val="4F2100"/>
              </a:buClr>
            </a:pPr>
            <a:r>
              <a:rPr lang="en-US" sz="600" dirty="0" err="1">
                <a:solidFill>
                  <a:srgbClr val="000000"/>
                </a:solidFill>
                <a:latin typeface="Arial" charset="0"/>
              </a:rPr>
              <a:t>Assiat</a:t>
            </a:r>
            <a:endParaRPr lang="en-US" sz="600" dirty="0">
              <a:solidFill>
                <a:srgbClr val="000000"/>
              </a:solidFill>
              <a:latin typeface="Arial" charset="0"/>
            </a:endParaRPr>
          </a:p>
        </p:txBody>
      </p:sp>
      <p:sp>
        <p:nvSpPr>
          <p:cNvPr id="637170" name="Oval 242"/>
          <p:cNvSpPr>
            <a:spLocks noChangeArrowheads="1"/>
          </p:cNvSpPr>
          <p:nvPr>
            <p:custDataLst>
              <p:tags r:id="rId229"/>
            </p:custDataLst>
          </p:nvPr>
        </p:nvSpPr>
        <p:spPr bwMode="gray">
          <a:xfrm>
            <a:off x="3089037" y="3255688"/>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71" name="Rectangle 243"/>
          <p:cNvSpPr>
            <a:spLocks noChangeArrowheads="1"/>
          </p:cNvSpPr>
          <p:nvPr>
            <p:custDataLst>
              <p:tags r:id="rId230"/>
            </p:custDataLst>
          </p:nvPr>
        </p:nvSpPr>
        <p:spPr bwMode="gray">
          <a:xfrm>
            <a:off x="3181368" y="3271891"/>
            <a:ext cx="224420" cy="83100"/>
          </a:xfrm>
          <a:prstGeom prst="rect">
            <a:avLst/>
          </a:prstGeom>
          <a:noFill/>
          <a:ln w="9525">
            <a:noFill/>
            <a:miter lim="800000"/>
            <a:headEnd/>
            <a:tailEnd/>
          </a:ln>
          <a:effectLst/>
        </p:spPr>
        <p:txBody>
          <a:bodyPr wrap="none" lIns="0" tIns="0" rIns="0" bIns="0">
            <a:spAutoFit/>
          </a:bodyPr>
          <a:lstStyle/>
          <a:p>
            <a:pPr defTabSz="912802">
              <a:lnSpc>
                <a:spcPct val="90000"/>
              </a:lnSpc>
              <a:buClr>
                <a:srgbClr val="4F2100"/>
              </a:buClr>
            </a:pPr>
            <a:r>
              <a:rPr lang="en-US" sz="600" dirty="0" err="1">
                <a:solidFill>
                  <a:srgbClr val="000000"/>
                </a:solidFill>
                <a:latin typeface="Arial" charset="0"/>
              </a:rPr>
              <a:t>Enuga</a:t>
            </a:r>
            <a:endParaRPr lang="en-US" sz="600" dirty="0">
              <a:solidFill>
                <a:srgbClr val="000000"/>
              </a:solidFill>
              <a:latin typeface="Arial" charset="0"/>
            </a:endParaRPr>
          </a:p>
        </p:txBody>
      </p:sp>
      <p:sp>
        <p:nvSpPr>
          <p:cNvPr id="637172" name="Oval 244"/>
          <p:cNvSpPr>
            <a:spLocks noChangeArrowheads="1"/>
          </p:cNvSpPr>
          <p:nvPr>
            <p:custDataLst>
              <p:tags r:id="rId231"/>
            </p:custDataLst>
          </p:nvPr>
        </p:nvSpPr>
        <p:spPr bwMode="gray">
          <a:xfrm>
            <a:off x="4211586" y="5925033"/>
            <a:ext cx="111770"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73" name="Rectangle 245"/>
          <p:cNvSpPr>
            <a:spLocks noChangeArrowheads="1"/>
          </p:cNvSpPr>
          <p:nvPr>
            <p:custDataLst>
              <p:tags r:id="rId232"/>
            </p:custDataLst>
          </p:nvPr>
        </p:nvSpPr>
        <p:spPr bwMode="gray">
          <a:xfrm>
            <a:off x="4344420" y="5921796"/>
            <a:ext cx="503771"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err="1">
                <a:solidFill>
                  <a:srgbClr val="000000"/>
                </a:solidFill>
                <a:latin typeface="Arial" charset="0"/>
              </a:rPr>
              <a:t>Bloemfonteem</a:t>
            </a:r>
            <a:endParaRPr lang="en-US" sz="600" dirty="0">
              <a:solidFill>
                <a:srgbClr val="000000"/>
              </a:solidFill>
              <a:latin typeface="Arial" charset="0"/>
            </a:endParaRPr>
          </a:p>
        </p:txBody>
      </p:sp>
      <p:sp>
        <p:nvSpPr>
          <p:cNvPr id="637174" name="Oval 246"/>
          <p:cNvSpPr>
            <a:spLocks noChangeArrowheads="1"/>
          </p:cNvSpPr>
          <p:nvPr>
            <p:custDataLst>
              <p:tags r:id="rId233"/>
            </p:custDataLst>
          </p:nvPr>
        </p:nvSpPr>
        <p:spPr bwMode="gray">
          <a:xfrm>
            <a:off x="4425404" y="5724187"/>
            <a:ext cx="111770"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75" name="Rectangle 247"/>
          <p:cNvSpPr>
            <a:spLocks noChangeArrowheads="1"/>
          </p:cNvSpPr>
          <p:nvPr>
            <p:custDataLst>
              <p:tags r:id="rId234"/>
            </p:custDataLst>
          </p:nvPr>
        </p:nvSpPr>
        <p:spPr bwMode="gray">
          <a:xfrm>
            <a:off x="3932981" y="5654539"/>
            <a:ext cx="502151"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Potchefstroom</a:t>
            </a:r>
          </a:p>
        </p:txBody>
      </p:sp>
      <p:sp>
        <p:nvSpPr>
          <p:cNvPr id="637176" name="Oval 248"/>
          <p:cNvSpPr>
            <a:spLocks noChangeArrowheads="1"/>
          </p:cNvSpPr>
          <p:nvPr>
            <p:custDataLst>
              <p:tags r:id="rId235"/>
            </p:custDataLst>
          </p:nvPr>
        </p:nvSpPr>
        <p:spPr bwMode="gray">
          <a:xfrm>
            <a:off x="3090655" y="3053221"/>
            <a:ext cx="111770" cy="111762"/>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77" name="Line 249"/>
          <p:cNvSpPr>
            <a:spLocks noChangeShapeType="1"/>
          </p:cNvSpPr>
          <p:nvPr>
            <p:custDataLst>
              <p:tags r:id="rId236"/>
            </p:custDataLst>
          </p:nvPr>
        </p:nvSpPr>
        <p:spPr bwMode="gray">
          <a:xfrm>
            <a:off x="3150597" y="3114770"/>
            <a:ext cx="100430"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178" name="Rectangle 250"/>
          <p:cNvSpPr>
            <a:spLocks noChangeArrowheads="1"/>
          </p:cNvSpPr>
          <p:nvPr>
            <p:custDataLst>
              <p:tags r:id="rId237"/>
            </p:custDataLst>
          </p:nvPr>
        </p:nvSpPr>
        <p:spPr bwMode="gray">
          <a:xfrm>
            <a:off x="3275319" y="3069426"/>
            <a:ext cx="178182"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Zaria</a:t>
            </a:r>
          </a:p>
        </p:txBody>
      </p:sp>
      <p:sp>
        <p:nvSpPr>
          <p:cNvPr id="637179" name="Oval 251"/>
          <p:cNvSpPr>
            <a:spLocks noChangeArrowheads="1"/>
          </p:cNvSpPr>
          <p:nvPr>
            <p:custDataLst>
              <p:tags r:id="rId238"/>
            </p:custDataLst>
          </p:nvPr>
        </p:nvSpPr>
        <p:spPr bwMode="gray">
          <a:xfrm>
            <a:off x="3077697" y="3331816"/>
            <a:ext cx="111770" cy="111762"/>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80" name="Rectangle 252"/>
          <p:cNvSpPr>
            <a:spLocks noChangeArrowheads="1"/>
          </p:cNvSpPr>
          <p:nvPr>
            <p:custDataLst>
              <p:tags r:id="rId239"/>
            </p:custDataLst>
          </p:nvPr>
        </p:nvSpPr>
        <p:spPr bwMode="gray">
          <a:xfrm>
            <a:off x="2781268" y="3461395"/>
            <a:ext cx="458459" cy="83100"/>
          </a:xfrm>
          <a:prstGeom prst="rect">
            <a:avLst/>
          </a:prstGeom>
          <a:noFill/>
          <a:ln w="9525">
            <a:noFill/>
            <a:miter lim="800000"/>
            <a:headEnd/>
            <a:tailEnd/>
          </a:ln>
          <a:effectLst/>
        </p:spPr>
        <p:txBody>
          <a:bodyPr wrap="none" lIns="0" tIns="0" rIns="0" bIns="0">
            <a:spAutoFit/>
          </a:bodyPr>
          <a:lstStyle/>
          <a:p>
            <a:pPr defTabSz="912802">
              <a:lnSpc>
                <a:spcPct val="90000"/>
              </a:lnSpc>
              <a:buClr>
                <a:srgbClr val="4F2100"/>
              </a:buClr>
            </a:pPr>
            <a:r>
              <a:rPr lang="en-US" sz="600" dirty="0">
                <a:solidFill>
                  <a:srgbClr val="000000"/>
                </a:solidFill>
                <a:latin typeface="Arial" charset="0"/>
              </a:rPr>
              <a:t>Part Harcourt</a:t>
            </a:r>
          </a:p>
        </p:txBody>
      </p:sp>
      <p:sp>
        <p:nvSpPr>
          <p:cNvPr id="637181" name="Line 253"/>
          <p:cNvSpPr>
            <a:spLocks noChangeShapeType="1"/>
          </p:cNvSpPr>
          <p:nvPr>
            <p:custDataLst>
              <p:tags r:id="rId240"/>
            </p:custDataLst>
          </p:nvPr>
        </p:nvSpPr>
        <p:spPr bwMode="gray">
          <a:xfrm>
            <a:off x="3124682" y="3378796"/>
            <a:ext cx="1619" cy="100424"/>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182" name="Oval 254"/>
          <p:cNvSpPr>
            <a:spLocks noChangeArrowheads="1"/>
          </p:cNvSpPr>
          <p:nvPr>
            <p:custDataLst>
              <p:tags r:id="rId241"/>
            </p:custDataLst>
          </p:nvPr>
        </p:nvSpPr>
        <p:spPr bwMode="gray">
          <a:xfrm>
            <a:off x="5089539" y="4240494"/>
            <a:ext cx="111770"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83" name="Rectangle 255"/>
          <p:cNvSpPr>
            <a:spLocks noChangeArrowheads="1"/>
          </p:cNvSpPr>
          <p:nvPr>
            <p:custDataLst>
              <p:tags r:id="rId242"/>
            </p:custDataLst>
          </p:nvPr>
        </p:nvSpPr>
        <p:spPr bwMode="gray">
          <a:xfrm>
            <a:off x="5151101" y="4345776"/>
            <a:ext cx="331822" cy="83100"/>
          </a:xfrm>
          <a:prstGeom prst="rect">
            <a:avLst/>
          </a:prstGeom>
          <a:noFill/>
          <a:ln w="9525">
            <a:noFill/>
            <a:miter lim="800000"/>
            <a:headEnd/>
            <a:tailEnd/>
          </a:ln>
          <a:effectLst/>
        </p:spPr>
        <p:txBody>
          <a:bodyPr wrap="none" lIns="0" tIns="0" rIns="0" bIns="0">
            <a:spAutoFit/>
          </a:bodyPr>
          <a:lstStyle/>
          <a:p>
            <a:pPr defTabSz="912802">
              <a:lnSpc>
                <a:spcPct val="90000"/>
              </a:lnSpc>
              <a:buClr>
                <a:srgbClr val="4F2100"/>
              </a:buClr>
            </a:pPr>
            <a:r>
              <a:rPr lang="en-US" sz="600" dirty="0" err="1">
                <a:solidFill>
                  <a:srgbClr val="000000"/>
                </a:solidFill>
                <a:latin typeface="Arial" charset="0"/>
              </a:rPr>
              <a:t>Morogoro</a:t>
            </a:r>
            <a:endParaRPr lang="en-US" sz="600" dirty="0">
              <a:solidFill>
                <a:srgbClr val="000000"/>
              </a:solidFill>
              <a:latin typeface="Arial" charset="0"/>
            </a:endParaRPr>
          </a:p>
        </p:txBody>
      </p:sp>
      <p:sp>
        <p:nvSpPr>
          <p:cNvPr id="637184" name="Rectangle 256"/>
          <p:cNvSpPr>
            <a:spLocks noChangeArrowheads="1"/>
          </p:cNvSpPr>
          <p:nvPr>
            <p:custDataLst>
              <p:tags r:id="rId243"/>
            </p:custDataLst>
          </p:nvPr>
        </p:nvSpPr>
        <p:spPr bwMode="gray">
          <a:xfrm>
            <a:off x="4101445" y="6190674"/>
            <a:ext cx="400101" cy="93945"/>
          </a:xfrm>
          <a:prstGeom prst="rect">
            <a:avLst/>
          </a:prstGeom>
          <a:no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Cape Town</a:t>
            </a:r>
          </a:p>
        </p:txBody>
      </p:sp>
      <p:sp>
        <p:nvSpPr>
          <p:cNvPr id="637185" name="Line 257"/>
          <p:cNvSpPr>
            <a:spLocks noChangeShapeType="1"/>
          </p:cNvSpPr>
          <p:nvPr>
            <p:custDataLst>
              <p:tags r:id="rId244"/>
            </p:custDataLst>
          </p:nvPr>
        </p:nvSpPr>
        <p:spPr bwMode="gray">
          <a:xfrm>
            <a:off x="4430265" y="5704749"/>
            <a:ext cx="51835" cy="63171"/>
          </a:xfrm>
          <a:prstGeom prst="line">
            <a:avLst/>
          </a:prstGeom>
          <a:noFill/>
          <a:ln w="9525">
            <a:solidFill>
              <a:schemeClr val="tx1"/>
            </a:solidFill>
            <a:round/>
            <a:headEnd/>
            <a:tailEnd/>
          </a:ln>
          <a:effectLst/>
        </p:spPr>
        <p:txBody>
          <a:bodyPr lIns="93222" tIns="46612" rIns="93222" bIns="46612"/>
          <a:lstStyle/>
          <a:p>
            <a:endParaRPr lang="en-US" dirty="0">
              <a:solidFill>
                <a:srgbClr val="000000"/>
              </a:solidFill>
              <a:latin typeface="Arial" charset="0"/>
            </a:endParaRPr>
          </a:p>
        </p:txBody>
      </p:sp>
      <p:sp>
        <p:nvSpPr>
          <p:cNvPr id="637186" name="Oval 258"/>
          <p:cNvSpPr>
            <a:spLocks noChangeArrowheads="1"/>
          </p:cNvSpPr>
          <p:nvPr>
            <p:custDataLst>
              <p:tags r:id="rId245"/>
            </p:custDataLst>
          </p:nvPr>
        </p:nvSpPr>
        <p:spPr bwMode="gray">
          <a:xfrm>
            <a:off x="4530695" y="5678833"/>
            <a:ext cx="111768" cy="111763"/>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87" name="Rectangle 259"/>
          <p:cNvSpPr>
            <a:spLocks noChangeArrowheads="1"/>
          </p:cNvSpPr>
          <p:nvPr>
            <p:custDataLst>
              <p:tags r:id="rId246"/>
            </p:custDataLst>
          </p:nvPr>
        </p:nvSpPr>
        <p:spPr bwMode="gray">
          <a:xfrm>
            <a:off x="4603592" y="5673976"/>
            <a:ext cx="573424" cy="93945"/>
          </a:xfrm>
          <a:prstGeom prst="rect">
            <a:avLst/>
          </a:prstGeom>
          <a:solidFill>
            <a:srgbClr val="F8F8F8"/>
          </a:solidFill>
          <a:ln w="9525">
            <a:noFill/>
            <a:miter lim="800000"/>
            <a:headEnd/>
            <a:tailEnd/>
          </a:ln>
          <a:effectLst/>
        </p:spPr>
        <p:txBody>
          <a:bodyPr wrap="none" lIns="0" tIns="0" rIns="0" bIns="0"/>
          <a:lstStyle/>
          <a:p>
            <a:pPr defTabSz="912802">
              <a:buClr>
                <a:srgbClr val="4F2100"/>
              </a:buClr>
            </a:pPr>
            <a:r>
              <a:rPr lang="en-US" sz="600" dirty="0">
                <a:solidFill>
                  <a:srgbClr val="000000"/>
                </a:solidFill>
                <a:latin typeface="Arial" charset="0"/>
              </a:rPr>
              <a:t>Pietermaritzburg</a:t>
            </a:r>
          </a:p>
        </p:txBody>
      </p:sp>
      <p:sp>
        <p:nvSpPr>
          <p:cNvPr id="637188" name="Rectangle 260"/>
          <p:cNvSpPr>
            <a:spLocks noChangeArrowheads="1"/>
          </p:cNvSpPr>
          <p:nvPr>
            <p:custDataLst>
              <p:tags r:id="rId247"/>
            </p:custDataLst>
          </p:nvPr>
        </p:nvSpPr>
        <p:spPr bwMode="gray">
          <a:xfrm>
            <a:off x="837461" y="5035787"/>
            <a:ext cx="498911" cy="155496"/>
          </a:xfrm>
          <a:prstGeom prst="rect">
            <a:avLst/>
          </a:prstGeom>
          <a:noFill/>
          <a:ln w="9525">
            <a:noFill/>
            <a:miter lim="800000"/>
            <a:headEnd/>
            <a:tailEnd/>
          </a:ln>
          <a:effectLst/>
        </p:spPr>
        <p:txBody>
          <a:bodyPr wrap="none" lIns="0" tIns="0" rIns="0" bIns="0">
            <a:spAutoFit/>
          </a:bodyPr>
          <a:lstStyle/>
          <a:p>
            <a:pPr defTabSz="912802">
              <a:buClr>
                <a:srgbClr val="4F2100"/>
              </a:buClr>
            </a:pPr>
            <a:r>
              <a:rPr lang="en-US" sz="1000" dirty="0">
                <a:solidFill>
                  <a:srgbClr val="000000"/>
                </a:solidFill>
                <a:latin typeface="Arial" charset="0"/>
              </a:rPr>
              <a:t>250–499</a:t>
            </a:r>
          </a:p>
        </p:txBody>
      </p:sp>
      <p:sp>
        <p:nvSpPr>
          <p:cNvPr id="637189" name="Oval 261"/>
          <p:cNvSpPr>
            <a:spLocks noChangeArrowheads="1"/>
          </p:cNvSpPr>
          <p:nvPr>
            <p:custDataLst>
              <p:tags r:id="rId248"/>
            </p:custDataLst>
          </p:nvPr>
        </p:nvSpPr>
        <p:spPr bwMode="gray">
          <a:xfrm>
            <a:off x="570184" y="5040654"/>
            <a:ext cx="145786" cy="145777"/>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90" name="Rectangle 262"/>
          <p:cNvSpPr>
            <a:spLocks noChangeArrowheads="1"/>
          </p:cNvSpPr>
          <p:nvPr>
            <p:custDataLst>
              <p:tags r:id="rId249"/>
            </p:custDataLst>
          </p:nvPr>
        </p:nvSpPr>
        <p:spPr bwMode="gray">
          <a:xfrm>
            <a:off x="837460" y="5576782"/>
            <a:ext cx="472993" cy="155496"/>
          </a:xfrm>
          <a:prstGeom prst="rect">
            <a:avLst/>
          </a:prstGeom>
          <a:noFill/>
          <a:ln w="9525">
            <a:noFill/>
            <a:miter lim="800000"/>
            <a:headEnd/>
            <a:tailEnd/>
          </a:ln>
          <a:effectLst/>
        </p:spPr>
        <p:txBody>
          <a:bodyPr wrap="none" lIns="0" tIns="0" rIns="0" bIns="0">
            <a:spAutoFit/>
          </a:bodyPr>
          <a:lstStyle/>
          <a:p>
            <a:pPr defTabSz="912802">
              <a:buClr>
                <a:srgbClr val="4F2100"/>
              </a:buClr>
            </a:pPr>
            <a:r>
              <a:rPr lang="en-US" sz="1000" dirty="0">
                <a:solidFill>
                  <a:srgbClr val="000000"/>
                </a:solidFill>
                <a:latin typeface="Arial" charset="0"/>
              </a:rPr>
              <a:t>&gt;=1,000</a:t>
            </a:r>
          </a:p>
        </p:txBody>
      </p:sp>
      <p:sp>
        <p:nvSpPr>
          <p:cNvPr id="637191" name="Oval 263"/>
          <p:cNvSpPr>
            <a:spLocks noChangeArrowheads="1"/>
          </p:cNvSpPr>
          <p:nvPr>
            <p:custDataLst>
              <p:tags r:id="rId250"/>
            </p:custDataLst>
          </p:nvPr>
        </p:nvSpPr>
        <p:spPr bwMode="gray">
          <a:xfrm>
            <a:off x="511876" y="5523331"/>
            <a:ext cx="260795" cy="26077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92" name="Rectangle 264"/>
          <p:cNvSpPr>
            <a:spLocks noChangeArrowheads="1"/>
          </p:cNvSpPr>
          <p:nvPr>
            <p:custDataLst>
              <p:tags r:id="rId251"/>
            </p:custDataLst>
          </p:nvPr>
        </p:nvSpPr>
        <p:spPr bwMode="gray">
          <a:xfrm>
            <a:off x="837461" y="5278749"/>
            <a:ext cx="498911" cy="155496"/>
          </a:xfrm>
          <a:prstGeom prst="rect">
            <a:avLst/>
          </a:prstGeom>
          <a:noFill/>
          <a:ln w="9525">
            <a:noFill/>
            <a:miter lim="800000"/>
            <a:headEnd/>
            <a:tailEnd/>
          </a:ln>
          <a:effectLst/>
        </p:spPr>
        <p:txBody>
          <a:bodyPr wrap="none" lIns="0" tIns="0" rIns="0" bIns="0">
            <a:spAutoFit/>
          </a:bodyPr>
          <a:lstStyle/>
          <a:p>
            <a:pPr defTabSz="912802">
              <a:buClr>
                <a:srgbClr val="4F2100"/>
              </a:buClr>
            </a:pPr>
            <a:r>
              <a:rPr lang="en-US" sz="1000" dirty="0">
                <a:solidFill>
                  <a:srgbClr val="000000"/>
                </a:solidFill>
                <a:latin typeface="Arial" charset="0"/>
              </a:rPr>
              <a:t>500–999</a:t>
            </a:r>
          </a:p>
        </p:txBody>
      </p:sp>
      <p:sp>
        <p:nvSpPr>
          <p:cNvPr id="637193" name="Oval 265"/>
          <p:cNvSpPr>
            <a:spLocks noChangeArrowheads="1"/>
          </p:cNvSpPr>
          <p:nvPr>
            <p:custDataLst>
              <p:tags r:id="rId252"/>
            </p:custDataLst>
          </p:nvPr>
        </p:nvSpPr>
        <p:spPr bwMode="gray">
          <a:xfrm>
            <a:off x="545895" y="5260935"/>
            <a:ext cx="191141" cy="191130"/>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94" name="Rectangle 266"/>
          <p:cNvSpPr>
            <a:spLocks noChangeArrowheads="1"/>
          </p:cNvSpPr>
          <p:nvPr>
            <p:custDataLst>
              <p:tags r:id="rId253"/>
            </p:custDataLst>
          </p:nvPr>
        </p:nvSpPr>
        <p:spPr bwMode="gray">
          <a:xfrm>
            <a:off x="837459" y="4585498"/>
            <a:ext cx="292783" cy="157014"/>
          </a:xfrm>
          <a:prstGeom prst="rect">
            <a:avLst/>
          </a:prstGeom>
          <a:noFill/>
          <a:ln w="9525">
            <a:noFill/>
            <a:miter lim="800000"/>
            <a:headEnd/>
            <a:tailEnd/>
          </a:ln>
          <a:effectLst/>
        </p:spPr>
        <p:txBody>
          <a:bodyPr wrap="none" lIns="0" tIns="0" rIns="0" bIns="0">
            <a:spAutoFit/>
          </a:bodyPr>
          <a:lstStyle/>
          <a:p>
            <a:pPr defTabSz="912802">
              <a:buClr>
                <a:srgbClr val="4F2100"/>
              </a:buClr>
            </a:pPr>
            <a:r>
              <a:rPr lang="en-US" sz="1000" dirty="0">
                <a:solidFill>
                  <a:srgbClr val="000000"/>
                </a:solidFill>
                <a:latin typeface="Arial" charset="0"/>
              </a:rPr>
              <a:t>&lt;100</a:t>
            </a:r>
          </a:p>
        </p:txBody>
      </p:sp>
      <p:sp>
        <p:nvSpPr>
          <p:cNvPr id="637195" name="Oval 267"/>
          <p:cNvSpPr>
            <a:spLocks noChangeArrowheads="1"/>
          </p:cNvSpPr>
          <p:nvPr>
            <p:custDataLst>
              <p:tags r:id="rId254"/>
            </p:custDataLst>
          </p:nvPr>
        </p:nvSpPr>
        <p:spPr bwMode="gray">
          <a:xfrm>
            <a:off x="607447" y="4627619"/>
            <a:ext cx="71273" cy="71269"/>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96" name="Rectangle 268"/>
          <p:cNvSpPr>
            <a:spLocks noChangeArrowheads="1"/>
          </p:cNvSpPr>
          <p:nvPr>
            <p:custDataLst>
              <p:tags r:id="rId255"/>
            </p:custDataLst>
          </p:nvPr>
        </p:nvSpPr>
        <p:spPr bwMode="gray">
          <a:xfrm>
            <a:off x="837461" y="4810642"/>
            <a:ext cx="498911" cy="155496"/>
          </a:xfrm>
          <a:prstGeom prst="rect">
            <a:avLst/>
          </a:prstGeom>
          <a:noFill/>
          <a:ln w="9525">
            <a:noFill/>
            <a:miter lim="800000"/>
            <a:headEnd/>
            <a:tailEnd/>
          </a:ln>
          <a:effectLst/>
        </p:spPr>
        <p:txBody>
          <a:bodyPr wrap="none" lIns="0" tIns="0" rIns="0" bIns="0">
            <a:spAutoFit/>
          </a:bodyPr>
          <a:lstStyle/>
          <a:p>
            <a:pPr defTabSz="912802">
              <a:buClr>
                <a:srgbClr val="4F2100"/>
              </a:buClr>
            </a:pPr>
            <a:r>
              <a:rPr lang="en-US" sz="1000" dirty="0">
                <a:solidFill>
                  <a:srgbClr val="000000"/>
                </a:solidFill>
                <a:latin typeface="Arial" charset="0"/>
              </a:rPr>
              <a:t>100–249</a:t>
            </a:r>
          </a:p>
        </p:txBody>
      </p:sp>
      <p:sp>
        <p:nvSpPr>
          <p:cNvPr id="637197" name="Oval 269"/>
          <p:cNvSpPr>
            <a:spLocks noChangeArrowheads="1"/>
          </p:cNvSpPr>
          <p:nvPr>
            <p:custDataLst>
              <p:tags r:id="rId256"/>
            </p:custDataLst>
          </p:nvPr>
        </p:nvSpPr>
        <p:spPr bwMode="gray">
          <a:xfrm>
            <a:off x="586382" y="4831700"/>
            <a:ext cx="111770" cy="111762"/>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198" name="Rectangle 270"/>
          <p:cNvSpPr>
            <a:spLocks noChangeArrowheads="1"/>
          </p:cNvSpPr>
          <p:nvPr>
            <p:custDataLst>
              <p:tags r:id="rId257"/>
            </p:custDataLst>
          </p:nvPr>
        </p:nvSpPr>
        <p:spPr bwMode="gray">
          <a:xfrm>
            <a:off x="511870" y="4342536"/>
            <a:ext cx="834218" cy="155496"/>
          </a:xfrm>
          <a:prstGeom prst="rect">
            <a:avLst/>
          </a:prstGeom>
          <a:noFill/>
          <a:ln w="9525">
            <a:noFill/>
            <a:miter lim="800000"/>
            <a:headEnd/>
            <a:tailEnd/>
          </a:ln>
          <a:effectLst/>
        </p:spPr>
        <p:txBody>
          <a:bodyPr lIns="0" tIns="0" rIns="0" bIns="0">
            <a:spAutoFit/>
          </a:bodyPr>
          <a:lstStyle/>
          <a:p>
            <a:pPr defTabSz="912802">
              <a:buClr>
                <a:srgbClr val="4F2100"/>
              </a:buClr>
            </a:pPr>
            <a:r>
              <a:rPr lang="en-US" sz="1000" b="1" dirty="0">
                <a:solidFill>
                  <a:srgbClr val="000000"/>
                </a:solidFill>
                <a:latin typeface="Arial" charset="0"/>
              </a:rPr>
              <a:t>No of articles</a:t>
            </a:r>
          </a:p>
        </p:txBody>
      </p:sp>
      <p:sp>
        <p:nvSpPr>
          <p:cNvPr id="637199" name="Line 271"/>
          <p:cNvSpPr>
            <a:spLocks noChangeShapeType="1"/>
          </p:cNvSpPr>
          <p:nvPr>
            <p:custDataLst>
              <p:tags r:id="rId258"/>
            </p:custDataLst>
          </p:nvPr>
        </p:nvSpPr>
        <p:spPr bwMode="gray">
          <a:xfrm>
            <a:off x="511870" y="4533667"/>
            <a:ext cx="834218" cy="0"/>
          </a:xfrm>
          <a:prstGeom prst="line">
            <a:avLst/>
          </a:prstGeom>
          <a:noFill/>
          <a:ln w="9525">
            <a:solidFill>
              <a:schemeClr val="folHlink"/>
            </a:solidFill>
            <a:round/>
            <a:headEnd/>
            <a:tailEnd/>
          </a:ln>
          <a:effectLst/>
        </p:spPr>
        <p:txBody>
          <a:bodyPr lIns="93222" tIns="46612" rIns="93222" bIns="46612"/>
          <a:lstStyle/>
          <a:p>
            <a:endParaRPr lang="en-US" dirty="0">
              <a:solidFill>
                <a:srgbClr val="000000"/>
              </a:solidFill>
              <a:latin typeface="Arial" charset="0"/>
            </a:endParaRPr>
          </a:p>
        </p:txBody>
      </p:sp>
      <p:sp>
        <p:nvSpPr>
          <p:cNvPr id="637200" name="McK 4. Footnote"/>
          <p:cNvSpPr txBox="1">
            <a:spLocks noChangeArrowheads="1"/>
          </p:cNvSpPr>
          <p:nvPr>
            <p:custDataLst>
              <p:tags r:id="rId259"/>
            </p:custDataLst>
          </p:nvPr>
        </p:nvSpPr>
        <p:spPr bwMode="auto">
          <a:xfrm>
            <a:off x="121488" y="6287850"/>
            <a:ext cx="7734738" cy="155496"/>
          </a:xfrm>
          <a:prstGeom prst="rect">
            <a:avLst/>
          </a:prstGeom>
          <a:noFill/>
          <a:ln w="9525" algn="ctr">
            <a:noFill/>
            <a:miter lim="800000"/>
            <a:headEnd/>
            <a:tailEnd/>
          </a:ln>
          <a:effectLst/>
        </p:spPr>
        <p:txBody>
          <a:bodyPr lIns="0" tIns="0" rIns="0" bIns="0" anchor="b">
            <a:spAutoFit/>
          </a:bodyPr>
          <a:lstStyle/>
          <a:p>
            <a:pPr marL="106817" indent="-106817" defTabSz="912802"/>
            <a:r>
              <a:rPr lang="en-US" sz="1000" dirty="0">
                <a:solidFill>
                  <a:srgbClr val="000000"/>
                </a:solidFill>
                <a:latin typeface="Arial" charset="0"/>
              </a:rPr>
              <a:t>Note: Only top 40 cities by research output labeled</a:t>
            </a:r>
          </a:p>
        </p:txBody>
      </p:sp>
      <p:sp>
        <p:nvSpPr>
          <p:cNvPr id="637201" name="Oval 273"/>
          <p:cNvSpPr>
            <a:spLocks noChangeArrowheads="1"/>
          </p:cNvSpPr>
          <p:nvPr>
            <p:custDataLst>
              <p:tags r:id="rId260"/>
            </p:custDataLst>
          </p:nvPr>
        </p:nvSpPr>
        <p:spPr bwMode="gray">
          <a:xfrm>
            <a:off x="2303414" y="1231015"/>
            <a:ext cx="145786" cy="145777"/>
          </a:xfrm>
          <a:prstGeom prst="ellipse">
            <a:avLst/>
          </a:prstGeom>
          <a:solidFill>
            <a:srgbClr val="FF3300"/>
          </a:solidFill>
          <a:ln w="9525">
            <a:noFill/>
            <a:round/>
            <a:headEnd/>
            <a:tailEnd/>
          </a:ln>
          <a:effectLst/>
        </p:spPr>
        <p:txBody>
          <a:bodyPr wrap="none" lIns="93222" tIns="46612" rIns="93222" bIns="46612" anchor="ctr"/>
          <a:lstStyle/>
          <a:p>
            <a:endParaRPr lang="en-US" dirty="0">
              <a:solidFill>
                <a:srgbClr val="000000"/>
              </a:solidFill>
              <a:latin typeface="Arial" charset="0"/>
            </a:endParaRPr>
          </a:p>
        </p:txBody>
      </p:sp>
      <p:sp>
        <p:nvSpPr>
          <p:cNvPr id="637202" name="Rectangle 274"/>
          <p:cNvSpPr>
            <a:spLocks noGrp="1" noChangeArrowheads="1"/>
          </p:cNvSpPr>
          <p:nvPr>
            <p:ph type="title"/>
            <p:custDataLst>
              <p:tags r:id="rId261"/>
            </p:custDataLst>
          </p:nvPr>
        </p:nvSpPr>
        <p:spPr>
          <a:xfrm>
            <a:off x="121495" y="103180"/>
            <a:ext cx="9022511" cy="753668"/>
          </a:xfrm>
          <a:noFill/>
          <a:ln/>
        </p:spPr>
        <p:txBody>
          <a:bodyPr/>
          <a:lstStyle/>
          <a:p>
            <a:pPr algn="ctr">
              <a:tabLst>
                <a:tab pos="362532" algn="l"/>
              </a:tabLst>
            </a:pPr>
            <a:r>
              <a:rPr lang="en-US" sz="2400" dirty="0">
                <a:solidFill>
                  <a:srgbClr val="800000"/>
                </a:solidFill>
              </a:rPr>
              <a:t>Mapping of African research output reveals that several "hot spots" or “competency centers” exist today</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 name="Slide Number Placeholder 2"/>
          <p:cNvSpPr>
            <a:spLocks noGrp="1"/>
          </p:cNvSpPr>
          <p:nvPr>
            <p:ph type="sldNum" sz="quarter" idx="10"/>
          </p:nvPr>
        </p:nvSpPr>
        <p:spPr/>
        <p:txBody>
          <a:bodyPr/>
          <a:lstStyle/>
          <a:p>
            <a:fld id="{BA7C2AA3-5743-40DA-BC11-E5B60B8AE5F2}" type="slidenum">
              <a:rPr lang="en-US"/>
              <a:pPr/>
              <a:t>8</a:t>
            </a:fld>
            <a:endParaRPr lang="en-US"/>
          </a:p>
        </p:txBody>
      </p:sp>
      <p:grpSp>
        <p:nvGrpSpPr>
          <p:cNvPr id="2" name="Group 2"/>
          <p:cNvGrpSpPr>
            <a:grpSpLocks/>
          </p:cNvGrpSpPr>
          <p:nvPr>
            <p:custDataLst>
              <p:tags r:id="rId2"/>
            </p:custDataLst>
          </p:nvPr>
        </p:nvGrpSpPr>
        <p:grpSpPr bwMode="auto">
          <a:xfrm>
            <a:off x="560470" y="928117"/>
            <a:ext cx="8011731" cy="5192902"/>
            <a:chOff x="214" y="551"/>
            <a:chExt cx="5210" cy="3378"/>
          </a:xfrm>
        </p:grpSpPr>
        <p:pic>
          <p:nvPicPr>
            <p:cNvPr id="638979" name="Picture 3"/>
            <p:cNvPicPr>
              <a:picLocks noChangeAspect="1" noChangeArrowheads="1"/>
            </p:cNvPicPr>
            <p:nvPr>
              <p:custDataLst>
                <p:tags r:id="rId9"/>
              </p:custDataLst>
            </p:nvPr>
          </p:nvPicPr>
          <p:blipFill>
            <a:blip r:embed="rId69" cstate="print"/>
            <a:srcRect/>
            <a:stretch>
              <a:fillRect/>
            </a:stretch>
          </p:blipFill>
          <p:spPr bwMode="auto">
            <a:xfrm>
              <a:off x="214" y="551"/>
              <a:ext cx="5210" cy="3378"/>
            </a:xfrm>
            <a:prstGeom prst="rect">
              <a:avLst/>
            </a:prstGeom>
            <a:noFill/>
            <a:ln w="9525">
              <a:noFill/>
              <a:miter lim="800000"/>
              <a:headEnd/>
              <a:tailEnd/>
            </a:ln>
            <a:effectLst/>
          </p:spPr>
        </p:pic>
        <p:sp>
          <p:nvSpPr>
            <p:cNvPr id="638980" name="Freeform 4"/>
            <p:cNvSpPr>
              <a:spLocks/>
            </p:cNvSpPr>
            <p:nvPr>
              <p:custDataLst>
                <p:tags r:id="rId10"/>
              </p:custDataLst>
            </p:nvPr>
          </p:nvSpPr>
          <p:spPr bwMode="gray">
            <a:xfrm>
              <a:off x="2920" y="2034"/>
              <a:ext cx="1355" cy="1400"/>
            </a:xfrm>
            <a:custGeom>
              <a:avLst/>
              <a:gdLst/>
              <a:ahLst/>
              <a:cxnLst>
                <a:cxn ang="0">
                  <a:pos x="312" y="1400"/>
                </a:cxn>
                <a:cxn ang="0">
                  <a:pos x="1072" y="904"/>
                </a:cxn>
                <a:cxn ang="0">
                  <a:pos x="1176" y="240"/>
                </a:cxn>
                <a:cxn ang="0">
                  <a:pos x="0" y="0"/>
                </a:cxn>
              </a:cxnLst>
              <a:rect l="0" t="0" r="r" b="b"/>
              <a:pathLst>
                <a:path w="1355" h="1400">
                  <a:moveTo>
                    <a:pt x="312" y="1400"/>
                  </a:moveTo>
                  <a:cubicBezTo>
                    <a:pt x="439" y="1317"/>
                    <a:pt x="912" y="1064"/>
                    <a:pt x="1072" y="904"/>
                  </a:cubicBezTo>
                  <a:cubicBezTo>
                    <a:pt x="1232" y="744"/>
                    <a:pt x="1355" y="389"/>
                    <a:pt x="1176" y="240"/>
                  </a:cubicBezTo>
                  <a:cubicBezTo>
                    <a:pt x="997" y="89"/>
                    <a:pt x="245" y="50"/>
                    <a:pt x="0"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81" name="Freeform 5"/>
            <p:cNvSpPr>
              <a:spLocks/>
            </p:cNvSpPr>
            <p:nvPr>
              <p:custDataLst>
                <p:tags r:id="rId11"/>
              </p:custDataLst>
            </p:nvPr>
          </p:nvSpPr>
          <p:spPr bwMode="gray">
            <a:xfrm>
              <a:off x="1416" y="2378"/>
              <a:ext cx="1936" cy="613"/>
            </a:xfrm>
            <a:custGeom>
              <a:avLst/>
              <a:gdLst/>
              <a:ahLst/>
              <a:cxnLst>
                <a:cxn ang="0">
                  <a:pos x="1936" y="560"/>
                </a:cxn>
                <a:cxn ang="0">
                  <a:pos x="1064" y="520"/>
                </a:cxn>
                <a:cxn ang="0">
                  <a:pos x="0" y="0"/>
                </a:cxn>
              </a:cxnLst>
              <a:rect l="0" t="0" r="r" b="b"/>
              <a:pathLst>
                <a:path w="1936" h="613">
                  <a:moveTo>
                    <a:pt x="1936" y="560"/>
                  </a:moveTo>
                  <a:cubicBezTo>
                    <a:pt x="1791" y="553"/>
                    <a:pt x="1387" y="613"/>
                    <a:pt x="1064" y="520"/>
                  </a:cubicBezTo>
                  <a:cubicBezTo>
                    <a:pt x="741" y="427"/>
                    <a:pt x="222" y="108"/>
                    <a:pt x="0"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82" name="Line 6"/>
            <p:cNvSpPr>
              <a:spLocks noChangeShapeType="1"/>
            </p:cNvSpPr>
            <p:nvPr>
              <p:custDataLst>
                <p:tags r:id="rId12"/>
              </p:custDataLst>
            </p:nvPr>
          </p:nvSpPr>
          <p:spPr bwMode="gray">
            <a:xfrm flipH="1" flipV="1">
              <a:off x="2880" y="2218"/>
              <a:ext cx="72" cy="160"/>
            </a:xfrm>
            <a:prstGeom prst="line">
              <a:avLst/>
            </a:pr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83" name="Freeform 7"/>
            <p:cNvSpPr>
              <a:spLocks/>
            </p:cNvSpPr>
            <p:nvPr>
              <p:custDataLst>
                <p:tags r:id="rId13"/>
              </p:custDataLst>
            </p:nvPr>
          </p:nvSpPr>
          <p:spPr bwMode="gray">
            <a:xfrm>
              <a:off x="2792" y="1922"/>
              <a:ext cx="1677" cy="1520"/>
            </a:xfrm>
            <a:custGeom>
              <a:avLst/>
              <a:gdLst/>
              <a:ahLst/>
              <a:cxnLst>
                <a:cxn ang="0">
                  <a:pos x="0" y="72"/>
                </a:cxn>
                <a:cxn ang="0">
                  <a:pos x="456" y="16"/>
                </a:cxn>
                <a:cxn ang="0">
                  <a:pos x="1376" y="192"/>
                </a:cxn>
                <a:cxn ang="0">
                  <a:pos x="1520" y="904"/>
                </a:cxn>
                <a:cxn ang="0">
                  <a:pos x="432" y="1520"/>
                </a:cxn>
              </a:cxnLst>
              <a:rect l="0" t="0" r="r" b="b"/>
              <a:pathLst>
                <a:path w="1677" h="1520">
                  <a:moveTo>
                    <a:pt x="0" y="72"/>
                  </a:moveTo>
                  <a:cubicBezTo>
                    <a:pt x="113" y="34"/>
                    <a:pt x="216" y="32"/>
                    <a:pt x="456" y="16"/>
                  </a:cubicBezTo>
                  <a:cubicBezTo>
                    <a:pt x="696" y="0"/>
                    <a:pt x="1176" y="72"/>
                    <a:pt x="1376" y="192"/>
                  </a:cubicBezTo>
                  <a:cubicBezTo>
                    <a:pt x="1576" y="312"/>
                    <a:pt x="1677" y="683"/>
                    <a:pt x="1520" y="904"/>
                  </a:cubicBezTo>
                  <a:cubicBezTo>
                    <a:pt x="1363" y="1125"/>
                    <a:pt x="659" y="1392"/>
                    <a:pt x="432" y="152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84" name="Freeform 8"/>
            <p:cNvSpPr>
              <a:spLocks/>
            </p:cNvSpPr>
            <p:nvPr>
              <p:custDataLst>
                <p:tags r:id="rId14"/>
              </p:custDataLst>
            </p:nvPr>
          </p:nvSpPr>
          <p:spPr bwMode="gray">
            <a:xfrm>
              <a:off x="2688" y="2034"/>
              <a:ext cx="224" cy="352"/>
            </a:xfrm>
            <a:custGeom>
              <a:avLst/>
              <a:gdLst/>
              <a:ahLst/>
              <a:cxnLst>
                <a:cxn ang="0">
                  <a:pos x="120" y="0"/>
                </a:cxn>
                <a:cxn ang="0">
                  <a:pos x="24" y="208"/>
                </a:cxn>
                <a:cxn ang="0">
                  <a:pos x="264" y="360"/>
                </a:cxn>
              </a:cxnLst>
              <a:rect l="0" t="0" r="r" b="b"/>
              <a:pathLst>
                <a:path w="264" h="360">
                  <a:moveTo>
                    <a:pt x="120" y="0"/>
                  </a:moveTo>
                  <a:cubicBezTo>
                    <a:pt x="104" y="35"/>
                    <a:pt x="0" y="148"/>
                    <a:pt x="24" y="208"/>
                  </a:cubicBezTo>
                  <a:cubicBezTo>
                    <a:pt x="48" y="268"/>
                    <a:pt x="214" y="328"/>
                    <a:pt x="264" y="36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85" name="Freeform 9"/>
            <p:cNvSpPr>
              <a:spLocks/>
            </p:cNvSpPr>
            <p:nvPr>
              <p:custDataLst>
                <p:tags r:id="rId15"/>
              </p:custDataLst>
            </p:nvPr>
          </p:nvSpPr>
          <p:spPr bwMode="gray">
            <a:xfrm>
              <a:off x="2968" y="2370"/>
              <a:ext cx="1816" cy="16"/>
            </a:xfrm>
            <a:custGeom>
              <a:avLst/>
              <a:gdLst/>
              <a:ahLst/>
              <a:cxnLst>
                <a:cxn ang="0">
                  <a:pos x="1816" y="0"/>
                </a:cxn>
                <a:cxn ang="0">
                  <a:pos x="0" y="16"/>
                </a:cxn>
              </a:cxnLst>
              <a:rect l="0" t="0" r="r" b="b"/>
              <a:pathLst>
                <a:path w="1816" h="16">
                  <a:moveTo>
                    <a:pt x="1816" y="0"/>
                  </a:moveTo>
                  <a:cubicBezTo>
                    <a:pt x="1816" y="0"/>
                    <a:pt x="908" y="8"/>
                    <a:pt x="0" y="16"/>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86" name="Freeform 10"/>
            <p:cNvSpPr>
              <a:spLocks/>
            </p:cNvSpPr>
            <p:nvPr>
              <p:custDataLst>
                <p:tags r:id="rId16"/>
              </p:custDataLst>
            </p:nvPr>
          </p:nvSpPr>
          <p:spPr bwMode="gray">
            <a:xfrm>
              <a:off x="2873" y="2095"/>
              <a:ext cx="1121" cy="1139"/>
            </a:xfrm>
            <a:custGeom>
              <a:avLst/>
              <a:gdLst/>
              <a:ahLst/>
              <a:cxnLst>
                <a:cxn ang="0">
                  <a:pos x="0" y="0"/>
                </a:cxn>
                <a:cxn ang="0">
                  <a:pos x="628" y="67"/>
                </a:cxn>
                <a:cxn ang="0">
                  <a:pos x="1039" y="299"/>
                </a:cxn>
                <a:cxn ang="0">
                  <a:pos x="987" y="710"/>
                </a:cxn>
                <a:cxn ang="0">
                  <a:pos x="623" y="1139"/>
                </a:cxn>
              </a:cxnLst>
              <a:rect l="0" t="0" r="r" b="b"/>
              <a:pathLst>
                <a:path w="1121" h="1139">
                  <a:moveTo>
                    <a:pt x="0" y="0"/>
                  </a:moveTo>
                  <a:cubicBezTo>
                    <a:pt x="105" y="11"/>
                    <a:pt x="455" y="17"/>
                    <a:pt x="628" y="67"/>
                  </a:cubicBezTo>
                  <a:cubicBezTo>
                    <a:pt x="801" y="117"/>
                    <a:pt x="979" y="192"/>
                    <a:pt x="1039" y="299"/>
                  </a:cubicBezTo>
                  <a:cubicBezTo>
                    <a:pt x="1121" y="396"/>
                    <a:pt x="1056" y="570"/>
                    <a:pt x="987" y="710"/>
                  </a:cubicBezTo>
                  <a:cubicBezTo>
                    <a:pt x="918" y="850"/>
                    <a:pt x="699" y="1050"/>
                    <a:pt x="623" y="1139"/>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87" name="Freeform 11"/>
            <p:cNvSpPr>
              <a:spLocks/>
            </p:cNvSpPr>
            <p:nvPr>
              <p:custDataLst>
                <p:tags r:id="rId17"/>
              </p:custDataLst>
            </p:nvPr>
          </p:nvSpPr>
          <p:spPr bwMode="gray">
            <a:xfrm>
              <a:off x="2728" y="2218"/>
              <a:ext cx="112" cy="224"/>
            </a:xfrm>
            <a:custGeom>
              <a:avLst/>
              <a:gdLst/>
              <a:ahLst/>
              <a:cxnLst>
                <a:cxn ang="0">
                  <a:pos x="0" y="224"/>
                </a:cxn>
                <a:cxn ang="0">
                  <a:pos x="112" y="0"/>
                </a:cxn>
              </a:cxnLst>
              <a:rect l="0" t="0" r="r" b="b"/>
              <a:pathLst>
                <a:path w="112" h="224">
                  <a:moveTo>
                    <a:pt x="0" y="224"/>
                  </a:moveTo>
                  <a:cubicBezTo>
                    <a:pt x="0" y="224"/>
                    <a:pt x="56" y="112"/>
                    <a:pt x="112"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88" name="Freeform 12"/>
            <p:cNvSpPr>
              <a:spLocks/>
            </p:cNvSpPr>
            <p:nvPr>
              <p:custDataLst>
                <p:tags r:id="rId18"/>
              </p:custDataLst>
            </p:nvPr>
          </p:nvSpPr>
          <p:spPr bwMode="gray">
            <a:xfrm>
              <a:off x="1416" y="2338"/>
              <a:ext cx="1208" cy="440"/>
            </a:xfrm>
            <a:custGeom>
              <a:avLst/>
              <a:gdLst/>
              <a:ahLst/>
              <a:cxnLst>
                <a:cxn ang="0">
                  <a:pos x="1208" y="440"/>
                </a:cxn>
                <a:cxn ang="0">
                  <a:pos x="0" y="0"/>
                </a:cxn>
              </a:cxnLst>
              <a:rect l="0" t="0" r="r" b="b"/>
              <a:pathLst>
                <a:path w="1208" h="440">
                  <a:moveTo>
                    <a:pt x="1208" y="440"/>
                  </a:moveTo>
                  <a:cubicBezTo>
                    <a:pt x="1208" y="440"/>
                    <a:pt x="604" y="220"/>
                    <a:pt x="0"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89" name="Freeform 13"/>
            <p:cNvSpPr>
              <a:spLocks/>
            </p:cNvSpPr>
            <p:nvPr>
              <p:custDataLst>
                <p:tags r:id="rId19"/>
              </p:custDataLst>
            </p:nvPr>
          </p:nvSpPr>
          <p:spPr bwMode="gray">
            <a:xfrm>
              <a:off x="2800" y="1970"/>
              <a:ext cx="1512" cy="1472"/>
            </a:xfrm>
            <a:custGeom>
              <a:avLst/>
              <a:gdLst/>
              <a:ahLst/>
              <a:cxnLst>
                <a:cxn ang="0">
                  <a:pos x="0" y="48"/>
                </a:cxn>
                <a:cxn ang="0">
                  <a:pos x="440" y="8"/>
                </a:cxn>
                <a:cxn ang="0">
                  <a:pos x="1352" y="232"/>
                </a:cxn>
                <a:cxn ang="0">
                  <a:pos x="1360" y="872"/>
                </a:cxn>
                <a:cxn ang="0">
                  <a:pos x="440" y="1472"/>
                </a:cxn>
              </a:cxnLst>
              <a:rect l="0" t="0" r="r" b="b"/>
              <a:pathLst>
                <a:path w="1512" h="1472">
                  <a:moveTo>
                    <a:pt x="0" y="48"/>
                  </a:moveTo>
                  <a:cubicBezTo>
                    <a:pt x="110" y="17"/>
                    <a:pt x="216" y="0"/>
                    <a:pt x="440" y="8"/>
                  </a:cubicBezTo>
                  <a:cubicBezTo>
                    <a:pt x="664" y="16"/>
                    <a:pt x="1199" y="88"/>
                    <a:pt x="1352" y="232"/>
                  </a:cubicBezTo>
                  <a:cubicBezTo>
                    <a:pt x="1505" y="376"/>
                    <a:pt x="1512" y="665"/>
                    <a:pt x="1360" y="872"/>
                  </a:cubicBezTo>
                  <a:cubicBezTo>
                    <a:pt x="1208" y="1079"/>
                    <a:pt x="632" y="1347"/>
                    <a:pt x="440" y="1472"/>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90" name="Line 14"/>
            <p:cNvSpPr>
              <a:spLocks noChangeShapeType="1"/>
            </p:cNvSpPr>
            <p:nvPr>
              <p:custDataLst>
                <p:tags r:id="rId20"/>
              </p:custDataLst>
            </p:nvPr>
          </p:nvSpPr>
          <p:spPr bwMode="gray">
            <a:xfrm flipH="1" flipV="1">
              <a:off x="2866" y="2226"/>
              <a:ext cx="72" cy="145"/>
            </a:xfrm>
            <a:prstGeom prst="line">
              <a:avLst/>
            </a:pr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91" name="Freeform 15"/>
            <p:cNvSpPr>
              <a:spLocks/>
            </p:cNvSpPr>
            <p:nvPr>
              <p:custDataLst>
                <p:tags r:id="rId21"/>
              </p:custDataLst>
            </p:nvPr>
          </p:nvSpPr>
          <p:spPr bwMode="gray">
            <a:xfrm>
              <a:off x="1416" y="2346"/>
              <a:ext cx="1936" cy="616"/>
            </a:xfrm>
            <a:custGeom>
              <a:avLst/>
              <a:gdLst/>
              <a:ahLst/>
              <a:cxnLst>
                <a:cxn ang="0">
                  <a:pos x="1936" y="576"/>
                </a:cxn>
                <a:cxn ang="0">
                  <a:pos x="1064" y="520"/>
                </a:cxn>
                <a:cxn ang="0">
                  <a:pos x="0" y="0"/>
                </a:cxn>
              </a:cxnLst>
              <a:rect l="0" t="0" r="r" b="b"/>
              <a:pathLst>
                <a:path w="1936" h="616">
                  <a:moveTo>
                    <a:pt x="1936" y="576"/>
                  </a:moveTo>
                  <a:cubicBezTo>
                    <a:pt x="1791" y="568"/>
                    <a:pt x="1387" y="616"/>
                    <a:pt x="1064" y="520"/>
                  </a:cubicBezTo>
                  <a:cubicBezTo>
                    <a:pt x="741" y="424"/>
                    <a:pt x="222" y="108"/>
                    <a:pt x="0"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92" name="Freeform 16"/>
            <p:cNvSpPr>
              <a:spLocks/>
            </p:cNvSpPr>
            <p:nvPr>
              <p:custDataLst>
                <p:tags r:id="rId22"/>
              </p:custDataLst>
            </p:nvPr>
          </p:nvSpPr>
          <p:spPr bwMode="gray">
            <a:xfrm>
              <a:off x="1391" y="2370"/>
              <a:ext cx="1689" cy="1000"/>
            </a:xfrm>
            <a:custGeom>
              <a:avLst/>
              <a:gdLst/>
              <a:ahLst/>
              <a:cxnLst>
                <a:cxn ang="0">
                  <a:pos x="1" y="0"/>
                </a:cxn>
                <a:cxn ang="0">
                  <a:pos x="281" y="352"/>
                </a:cxn>
                <a:cxn ang="0">
                  <a:pos x="1689" y="1000"/>
                </a:cxn>
              </a:cxnLst>
              <a:rect l="0" t="0" r="r" b="b"/>
              <a:pathLst>
                <a:path w="1689" h="1000">
                  <a:moveTo>
                    <a:pt x="1" y="0"/>
                  </a:moveTo>
                  <a:cubicBezTo>
                    <a:pt x="48" y="59"/>
                    <a:pt x="0" y="185"/>
                    <a:pt x="281" y="352"/>
                  </a:cubicBezTo>
                  <a:cubicBezTo>
                    <a:pt x="562" y="519"/>
                    <a:pt x="1396" y="865"/>
                    <a:pt x="1689" y="100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93" name="Freeform 17"/>
            <p:cNvSpPr>
              <a:spLocks/>
            </p:cNvSpPr>
            <p:nvPr>
              <p:custDataLst>
                <p:tags r:id="rId23"/>
              </p:custDataLst>
            </p:nvPr>
          </p:nvSpPr>
          <p:spPr bwMode="gray">
            <a:xfrm>
              <a:off x="3168" y="2954"/>
              <a:ext cx="192" cy="416"/>
            </a:xfrm>
            <a:custGeom>
              <a:avLst/>
              <a:gdLst/>
              <a:ahLst/>
              <a:cxnLst>
                <a:cxn ang="0">
                  <a:pos x="0" y="416"/>
                </a:cxn>
                <a:cxn ang="0">
                  <a:pos x="192" y="0"/>
                </a:cxn>
              </a:cxnLst>
              <a:rect l="0" t="0" r="r" b="b"/>
              <a:pathLst>
                <a:path w="192" h="416">
                  <a:moveTo>
                    <a:pt x="0" y="416"/>
                  </a:moveTo>
                  <a:cubicBezTo>
                    <a:pt x="0" y="416"/>
                    <a:pt x="96" y="208"/>
                    <a:pt x="192"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94" name="Freeform 18"/>
            <p:cNvSpPr>
              <a:spLocks/>
            </p:cNvSpPr>
            <p:nvPr>
              <p:custDataLst>
                <p:tags r:id="rId24"/>
              </p:custDataLst>
            </p:nvPr>
          </p:nvSpPr>
          <p:spPr bwMode="gray">
            <a:xfrm>
              <a:off x="2887" y="2203"/>
              <a:ext cx="74" cy="163"/>
            </a:xfrm>
            <a:custGeom>
              <a:avLst/>
              <a:gdLst/>
              <a:ahLst/>
              <a:cxnLst>
                <a:cxn ang="0">
                  <a:pos x="68" y="172"/>
                </a:cxn>
                <a:cxn ang="0">
                  <a:pos x="0" y="0"/>
                </a:cxn>
              </a:cxnLst>
              <a:rect l="0" t="0" r="r" b="b"/>
              <a:pathLst>
                <a:path w="68" h="172">
                  <a:moveTo>
                    <a:pt x="68" y="172"/>
                  </a:moveTo>
                  <a:cubicBezTo>
                    <a:pt x="68" y="172"/>
                    <a:pt x="34" y="86"/>
                    <a:pt x="0"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95" name="Freeform 19"/>
            <p:cNvSpPr>
              <a:spLocks/>
            </p:cNvSpPr>
            <p:nvPr>
              <p:custDataLst>
                <p:tags r:id="rId25"/>
              </p:custDataLst>
            </p:nvPr>
          </p:nvSpPr>
          <p:spPr bwMode="gray">
            <a:xfrm>
              <a:off x="1376" y="2384"/>
              <a:ext cx="1689" cy="1023"/>
            </a:xfrm>
            <a:custGeom>
              <a:avLst/>
              <a:gdLst/>
              <a:ahLst/>
              <a:cxnLst>
                <a:cxn ang="0">
                  <a:pos x="1" y="0"/>
                </a:cxn>
                <a:cxn ang="0">
                  <a:pos x="281" y="352"/>
                </a:cxn>
                <a:cxn ang="0">
                  <a:pos x="1689" y="1000"/>
                </a:cxn>
              </a:cxnLst>
              <a:rect l="0" t="0" r="r" b="b"/>
              <a:pathLst>
                <a:path w="1689" h="1000">
                  <a:moveTo>
                    <a:pt x="1" y="0"/>
                  </a:moveTo>
                  <a:cubicBezTo>
                    <a:pt x="48" y="59"/>
                    <a:pt x="0" y="185"/>
                    <a:pt x="281" y="352"/>
                  </a:cubicBezTo>
                  <a:cubicBezTo>
                    <a:pt x="562" y="519"/>
                    <a:pt x="1396" y="865"/>
                    <a:pt x="1689" y="100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96" name="Freeform 20"/>
            <p:cNvSpPr>
              <a:spLocks/>
            </p:cNvSpPr>
            <p:nvPr>
              <p:custDataLst>
                <p:tags r:id="rId26"/>
              </p:custDataLst>
            </p:nvPr>
          </p:nvSpPr>
          <p:spPr bwMode="gray">
            <a:xfrm>
              <a:off x="2910" y="2155"/>
              <a:ext cx="959" cy="1062"/>
            </a:xfrm>
            <a:custGeom>
              <a:avLst/>
              <a:gdLst/>
              <a:ahLst/>
              <a:cxnLst>
                <a:cxn ang="0">
                  <a:pos x="583" y="1062"/>
                </a:cxn>
                <a:cxn ang="0">
                  <a:pos x="868" y="650"/>
                </a:cxn>
                <a:cxn ang="0">
                  <a:pos x="928" y="306"/>
                </a:cxn>
                <a:cxn ang="0">
                  <a:pos x="681" y="89"/>
                </a:cxn>
                <a:cxn ang="0">
                  <a:pos x="0" y="0"/>
                </a:cxn>
              </a:cxnLst>
              <a:rect l="0" t="0" r="r" b="b"/>
              <a:pathLst>
                <a:path w="959" h="1062">
                  <a:moveTo>
                    <a:pt x="583" y="1062"/>
                  </a:moveTo>
                  <a:cubicBezTo>
                    <a:pt x="692" y="913"/>
                    <a:pt x="811" y="776"/>
                    <a:pt x="868" y="650"/>
                  </a:cubicBezTo>
                  <a:cubicBezTo>
                    <a:pt x="925" y="524"/>
                    <a:pt x="959" y="399"/>
                    <a:pt x="928" y="306"/>
                  </a:cubicBezTo>
                  <a:cubicBezTo>
                    <a:pt x="897" y="213"/>
                    <a:pt x="836" y="140"/>
                    <a:pt x="681" y="89"/>
                  </a:cubicBezTo>
                  <a:cubicBezTo>
                    <a:pt x="526" y="38"/>
                    <a:pt x="258" y="13"/>
                    <a:pt x="0"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97" name="Freeform 21"/>
            <p:cNvSpPr>
              <a:spLocks/>
            </p:cNvSpPr>
            <p:nvPr>
              <p:custDataLst>
                <p:tags r:id="rId27"/>
              </p:custDataLst>
            </p:nvPr>
          </p:nvSpPr>
          <p:spPr bwMode="gray">
            <a:xfrm>
              <a:off x="2850" y="2226"/>
              <a:ext cx="86" cy="168"/>
            </a:xfrm>
            <a:custGeom>
              <a:avLst/>
              <a:gdLst/>
              <a:ahLst/>
              <a:cxnLst>
                <a:cxn ang="0">
                  <a:pos x="74" y="180"/>
                </a:cxn>
                <a:cxn ang="0">
                  <a:pos x="0" y="0"/>
                </a:cxn>
              </a:cxnLst>
              <a:rect l="0" t="0" r="r" b="b"/>
              <a:pathLst>
                <a:path w="74" h="180">
                  <a:moveTo>
                    <a:pt x="74" y="180"/>
                  </a:moveTo>
                  <a:cubicBezTo>
                    <a:pt x="74" y="180"/>
                    <a:pt x="37" y="90"/>
                    <a:pt x="0"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8998" name="Rectangle 22"/>
            <p:cNvSpPr>
              <a:spLocks noChangeArrowheads="1"/>
            </p:cNvSpPr>
            <p:nvPr>
              <p:custDataLst>
                <p:tags r:id="rId28"/>
              </p:custDataLst>
            </p:nvPr>
          </p:nvSpPr>
          <p:spPr bwMode="gray">
            <a:xfrm>
              <a:off x="1176" y="2284"/>
              <a:ext cx="95" cy="82"/>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800" dirty="0">
                  <a:solidFill>
                    <a:srgbClr val="000000"/>
                  </a:solidFill>
                  <a:latin typeface="Arial" charset="0"/>
                </a:rPr>
                <a:t>US</a:t>
              </a:r>
            </a:p>
          </p:txBody>
        </p:sp>
        <p:sp>
          <p:nvSpPr>
            <p:cNvPr id="638999" name="Rectangle 23"/>
            <p:cNvSpPr>
              <a:spLocks noChangeArrowheads="1"/>
            </p:cNvSpPr>
            <p:nvPr>
              <p:custDataLst>
                <p:tags r:id="rId29"/>
              </p:custDataLst>
            </p:nvPr>
          </p:nvSpPr>
          <p:spPr bwMode="gray">
            <a:xfrm>
              <a:off x="2030" y="3481"/>
              <a:ext cx="257" cy="82"/>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800" dirty="0">
                  <a:solidFill>
                    <a:srgbClr val="000000"/>
                  </a:solidFill>
                  <a:latin typeface="Arial" charset="0"/>
                </a:rPr>
                <a:t>Uruguay</a:t>
              </a:r>
            </a:p>
          </p:txBody>
        </p:sp>
        <p:sp>
          <p:nvSpPr>
            <p:cNvPr id="639000" name="Rectangle 24"/>
            <p:cNvSpPr>
              <a:spLocks noChangeArrowheads="1"/>
            </p:cNvSpPr>
            <p:nvPr>
              <p:custDataLst>
                <p:tags r:id="rId30"/>
              </p:custDataLst>
            </p:nvPr>
          </p:nvSpPr>
          <p:spPr bwMode="gray">
            <a:xfrm>
              <a:off x="2934" y="3548"/>
              <a:ext cx="371" cy="82"/>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800" dirty="0">
                  <a:solidFill>
                    <a:srgbClr val="000000"/>
                  </a:solidFill>
                  <a:latin typeface="Arial" charset="0"/>
                </a:rPr>
                <a:t>South Africa</a:t>
              </a:r>
            </a:p>
          </p:txBody>
        </p:sp>
        <p:sp>
          <p:nvSpPr>
            <p:cNvPr id="639001" name="Rectangle 25"/>
            <p:cNvSpPr>
              <a:spLocks noChangeArrowheads="1"/>
            </p:cNvSpPr>
            <p:nvPr>
              <p:custDataLst>
                <p:tags r:id="rId31"/>
              </p:custDataLst>
            </p:nvPr>
          </p:nvSpPr>
          <p:spPr bwMode="gray">
            <a:xfrm>
              <a:off x="3422" y="3371"/>
              <a:ext cx="374" cy="82"/>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800" dirty="0">
                  <a:solidFill>
                    <a:srgbClr val="000000"/>
                  </a:solidFill>
                  <a:latin typeface="Arial" charset="0"/>
                </a:rPr>
                <a:t>Madagascar</a:t>
              </a:r>
            </a:p>
          </p:txBody>
        </p:sp>
        <p:sp>
          <p:nvSpPr>
            <p:cNvPr id="639002" name="Line 26"/>
            <p:cNvSpPr>
              <a:spLocks noChangeShapeType="1"/>
            </p:cNvSpPr>
            <p:nvPr>
              <p:custDataLst>
                <p:tags r:id="rId32"/>
              </p:custDataLst>
            </p:nvPr>
          </p:nvSpPr>
          <p:spPr bwMode="gray">
            <a:xfrm>
              <a:off x="3488" y="3226"/>
              <a:ext cx="1" cy="124"/>
            </a:xfrm>
            <a:prstGeom prst="line">
              <a:avLst/>
            </a:pr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9003" name="Rectangle 27"/>
            <p:cNvSpPr>
              <a:spLocks noChangeArrowheads="1"/>
            </p:cNvSpPr>
            <p:nvPr>
              <p:custDataLst>
                <p:tags r:id="rId33"/>
              </p:custDataLst>
            </p:nvPr>
          </p:nvSpPr>
          <p:spPr bwMode="gray">
            <a:xfrm>
              <a:off x="3402" y="2927"/>
              <a:ext cx="193" cy="82"/>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800" dirty="0">
                  <a:solidFill>
                    <a:srgbClr val="000000"/>
                  </a:solidFill>
                  <a:latin typeface="Arial" charset="0"/>
                </a:rPr>
                <a:t>Kenya</a:t>
              </a:r>
            </a:p>
          </p:txBody>
        </p:sp>
        <p:sp>
          <p:nvSpPr>
            <p:cNvPr id="639004" name="Rectangle 28"/>
            <p:cNvSpPr>
              <a:spLocks noChangeArrowheads="1"/>
            </p:cNvSpPr>
            <p:nvPr>
              <p:custDataLst>
                <p:tags r:id="rId34"/>
              </p:custDataLst>
            </p:nvPr>
          </p:nvSpPr>
          <p:spPr bwMode="gray">
            <a:xfrm>
              <a:off x="2918" y="2779"/>
              <a:ext cx="174" cy="82"/>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800" dirty="0">
                  <a:solidFill>
                    <a:srgbClr val="000000"/>
                  </a:solidFill>
                  <a:latin typeface="Arial" charset="0"/>
                </a:rPr>
                <a:t>Benin</a:t>
              </a:r>
            </a:p>
          </p:txBody>
        </p:sp>
        <p:sp>
          <p:nvSpPr>
            <p:cNvPr id="639005" name="Rectangle 29"/>
            <p:cNvSpPr>
              <a:spLocks noChangeArrowheads="1"/>
            </p:cNvSpPr>
            <p:nvPr>
              <p:custDataLst>
                <p:tags r:id="rId35"/>
              </p:custDataLst>
            </p:nvPr>
          </p:nvSpPr>
          <p:spPr bwMode="gray">
            <a:xfrm>
              <a:off x="2510" y="2643"/>
              <a:ext cx="208" cy="77"/>
            </a:xfrm>
            <a:prstGeom prst="rect">
              <a:avLst/>
            </a:prstGeom>
            <a:solidFill>
              <a:schemeClr val="bg1"/>
            </a:solidFill>
            <a:ln w="9525">
              <a:noFill/>
              <a:miter lim="800000"/>
              <a:headEnd/>
              <a:tailEnd/>
            </a:ln>
            <a:effectLst/>
          </p:spPr>
          <p:txBody>
            <a:bodyPr wrap="none" lIns="0" tIns="0" rIns="0" bIns="0"/>
            <a:lstStyle/>
            <a:p>
              <a:pPr defTabSz="912996">
                <a:buClr>
                  <a:srgbClr val="4F2100"/>
                </a:buClr>
              </a:pPr>
              <a:r>
                <a:rPr lang="en-US" sz="800" dirty="0">
                  <a:solidFill>
                    <a:srgbClr val="000000"/>
                  </a:solidFill>
                  <a:latin typeface="Arial" charset="0"/>
                </a:rPr>
                <a:t>Guinea</a:t>
              </a:r>
            </a:p>
          </p:txBody>
        </p:sp>
        <p:sp>
          <p:nvSpPr>
            <p:cNvPr id="639006" name="Rectangle 30"/>
            <p:cNvSpPr>
              <a:spLocks noChangeArrowheads="1"/>
            </p:cNvSpPr>
            <p:nvPr>
              <p:custDataLst>
                <p:tags r:id="rId36"/>
              </p:custDataLst>
            </p:nvPr>
          </p:nvSpPr>
          <p:spPr bwMode="gray">
            <a:xfrm>
              <a:off x="2591" y="2514"/>
              <a:ext cx="246" cy="77"/>
            </a:xfrm>
            <a:prstGeom prst="rect">
              <a:avLst/>
            </a:prstGeom>
            <a:solidFill>
              <a:schemeClr val="bg1"/>
            </a:solidFill>
            <a:ln w="9525">
              <a:noFill/>
              <a:miter lim="800000"/>
              <a:headEnd/>
              <a:tailEnd/>
            </a:ln>
            <a:effectLst/>
          </p:spPr>
          <p:txBody>
            <a:bodyPr wrap="none" lIns="0" tIns="0" rIns="0" bIns="0"/>
            <a:lstStyle/>
            <a:p>
              <a:pPr defTabSz="912996">
                <a:buClr>
                  <a:srgbClr val="4F2100"/>
                </a:buClr>
              </a:pPr>
              <a:r>
                <a:rPr lang="en-US" sz="800" dirty="0">
                  <a:solidFill>
                    <a:srgbClr val="000000"/>
                  </a:solidFill>
                  <a:latin typeface="Arial" charset="0"/>
                </a:rPr>
                <a:t>Morocco</a:t>
              </a:r>
            </a:p>
          </p:txBody>
        </p:sp>
        <p:sp>
          <p:nvSpPr>
            <p:cNvPr id="639007" name="Rectangle 31"/>
            <p:cNvSpPr>
              <a:spLocks noChangeArrowheads="1"/>
            </p:cNvSpPr>
            <p:nvPr>
              <p:custDataLst>
                <p:tags r:id="rId37"/>
              </p:custDataLst>
            </p:nvPr>
          </p:nvSpPr>
          <p:spPr bwMode="gray">
            <a:xfrm>
              <a:off x="3174" y="2619"/>
              <a:ext cx="165" cy="77"/>
            </a:xfrm>
            <a:prstGeom prst="rect">
              <a:avLst/>
            </a:prstGeom>
            <a:solidFill>
              <a:schemeClr val="bg1"/>
            </a:solidFill>
            <a:ln w="9525">
              <a:noFill/>
              <a:miter lim="800000"/>
              <a:headEnd/>
              <a:tailEnd/>
            </a:ln>
            <a:effectLst/>
          </p:spPr>
          <p:txBody>
            <a:bodyPr wrap="none" lIns="0" tIns="0" rIns="0" bIns="0"/>
            <a:lstStyle/>
            <a:p>
              <a:pPr defTabSz="912996">
                <a:buClr>
                  <a:srgbClr val="4F2100"/>
                </a:buClr>
              </a:pPr>
              <a:r>
                <a:rPr lang="en-US" sz="800" dirty="0">
                  <a:solidFill>
                    <a:srgbClr val="000000"/>
                  </a:solidFill>
                  <a:latin typeface="Arial" charset="0"/>
                </a:rPr>
                <a:t>Egypt</a:t>
              </a:r>
            </a:p>
          </p:txBody>
        </p:sp>
        <p:sp>
          <p:nvSpPr>
            <p:cNvPr id="639008" name="Rectangle 32"/>
            <p:cNvSpPr>
              <a:spLocks noChangeArrowheads="1"/>
            </p:cNvSpPr>
            <p:nvPr>
              <p:custDataLst>
                <p:tags r:id="rId38"/>
              </p:custDataLst>
            </p:nvPr>
          </p:nvSpPr>
          <p:spPr bwMode="gray">
            <a:xfrm>
              <a:off x="2922" y="2467"/>
              <a:ext cx="207" cy="77"/>
            </a:xfrm>
            <a:prstGeom prst="rect">
              <a:avLst/>
            </a:prstGeom>
            <a:solidFill>
              <a:schemeClr val="bg1"/>
            </a:solidFill>
            <a:ln w="9525">
              <a:noFill/>
              <a:miter lim="800000"/>
              <a:headEnd/>
              <a:tailEnd/>
            </a:ln>
            <a:effectLst/>
          </p:spPr>
          <p:txBody>
            <a:bodyPr wrap="none" lIns="0" tIns="0" rIns="0" bIns="0"/>
            <a:lstStyle/>
            <a:p>
              <a:pPr defTabSz="912996">
                <a:buClr>
                  <a:srgbClr val="4F2100"/>
                </a:buClr>
              </a:pPr>
              <a:r>
                <a:rPr lang="en-US" sz="800" dirty="0">
                  <a:solidFill>
                    <a:srgbClr val="000000"/>
                  </a:solidFill>
                  <a:latin typeface="Arial" charset="0"/>
                </a:rPr>
                <a:t>Tunisia</a:t>
              </a:r>
            </a:p>
          </p:txBody>
        </p:sp>
        <p:sp>
          <p:nvSpPr>
            <p:cNvPr id="639009" name="Rectangle 33"/>
            <p:cNvSpPr>
              <a:spLocks noChangeArrowheads="1"/>
            </p:cNvSpPr>
            <p:nvPr>
              <p:custDataLst>
                <p:tags r:id="rId39"/>
              </p:custDataLst>
            </p:nvPr>
          </p:nvSpPr>
          <p:spPr bwMode="gray">
            <a:xfrm>
              <a:off x="2613" y="1968"/>
              <a:ext cx="89" cy="77"/>
            </a:xfrm>
            <a:prstGeom prst="rect">
              <a:avLst/>
            </a:prstGeom>
            <a:solidFill>
              <a:schemeClr val="bg1"/>
            </a:solidFill>
            <a:ln w="9525">
              <a:noFill/>
              <a:miter lim="800000"/>
              <a:headEnd/>
              <a:tailEnd/>
            </a:ln>
            <a:effectLst/>
          </p:spPr>
          <p:txBody>
            <a:bodyPr wrap="none" lIns="0" tIns="0" rIns="0" bIns="0"/>
            <a:lstStyle/>
            <a:p>
              <a:pPr defTabSz="912996">
                <a:buClr>
                  <a:srgbClr val="4F2100"/>
                </a:buClr>
              </a:pPr>
              <a:r>
                <a:rPr lang="en-US" sz="800" dirty="0">
                  <a:solidFill>
                    <a:srgbClr val="000000"/>
                  </a:solidFill>
                  <a:latin typeface="Arial" charset="0"/>
                </a:rPr>
                <a:t>UK</a:t>
              </a:r>
            </a:p>
          </p:txBody>
        </p:sp>
        <p:sp>
          <p:nvSpPr>
            <p:cNvPr id="639010" name="Rectangle 34"/>
            <p:cNvSpPr>
              <a:spLocks noChangeArrowheads="1"/>
            </p:cNvSpPr>
            <p:nvPr>
              <p:custDataLst>
                <p:tags r:id="rId40"/>
              </p:custDataLst>
            </p:nvPr>
          </p:nvSpPr>
          <p:spPr bwMode="gray">
            <a:xfrm>
              <a:off x="2946" y="2187"/>
              <a:ext cx="200" cy="77"/>
            </a:xfrm>
            <a:prstGeom prst="rect">
              <a:avLst/>
            </a:prstGeom>
            <a:solidFill>
              <a:schemeClr val="bg1"/>
            </a:solidFill>
            <a:ln w="9525">
              <a:noFill/>
              <a:miter lim="800000"/>
              <a:headEnd/>
              <a:tailEnd/>
            </a:ln>
            <a:effectLst/>
          </p:spPr>
          <p:txBody>
            <a:bodyPr wrap="none" lIns="0" tIns="0" rIns="0" bIns="0"/>
            <a:lstStyle/>
            <a:p>
              <a:pPr defTabSz="912996">
                <a:buClr>
                  <a:srgbClr val="4F2100"/>
                </a:buClr>
              </a:pPr>
              <a:r>
                <a:rPr lang="en-US" sz="800" dirty="0">
                  <a:solidFill>
                    <a:srgbClr val="000000"/>
                  </a:solidFill>
                  <a:latin typeface="Arial" charset="0"/>
                </a:rPr>
                <a:t>France</a:t>
              </a:r>
            </a:p>
          </p:txBody>
        </p:sp>
        <p:sp>
          <p:nvSpPr>
            <p:cNvPr id="639011" name="Rectangle 35"/>
            <p:cNvSpPr>
              <a:spLocks noChangeArrowheads="1"/>
            </p:cNvSpPr>
            <p:nvPr>
              <p:custDataLst>
                <p:tags r:id="rId41"/>
              </p:custDataLst>
            </p:nvPr>
          </p:nvSpPr>
          <p:spPr bwMode="gray">
            <a:xfrm>
              <a:off x="2622" y="1821"/>
              <a:ext cx="232" cy="77"/>
            </a:xfrm>
            <a:prstGeom prst="rect">
              <a:avLst/>
            </a:prstGeom>
            <a:solidFill>
              <a:schemeClr val="bg1"/>
            </a:solidFill>
            <a:ln w="9525">
              <a:noFill/>
              <a:miter lim="800000"/>
              <a:headEnd/>
              <a:tailEnd/>
            </a:ln>
            <a:effectLst/>
          </p:spPr>
          <p:txBody>
            <a:bodyPr wrap="none" lIns="0" tIns="0" rIns="0" bIns="0"/>
            <a:lstStyle/>
            <a:p>
              <a:pPr defTabSz="912996">
                <a:buClr>
                  <a:srgbClr val="4F2100"/>
                </a:buClr>
              </a:pPr>
              <a:r>
                <a:rPr lang="en-US" sz="800" dirty="0">
                  <a:solidFill>
                    <a:srgbClr val="000000"/>
                  </a:solidFill>
                  <a:latin typeface="Arial" charset="0"/>
                </a:rPr>
                <a:t>Belgium</a:t>
              </a:r>
            </a:p>
          </p:txBody>
        </p:sp>
        <p:sp>
          <p:nvSpPr>
            <p:cNvPr id="639012" name="Line 36"/>
            <p:cNvSpPr>
              <a:spLocks noChangeShapeType="1"/>
            </p:cNvSpPr>
            <p:nvPr>
              <p:custDataLst>
                <p:tags r:id="rId42"/>
              </p:custDataLst>
            </p:nvPr>
          </p:nvSpPr>
          <p:spPr bwMode="gray">
            <a:xfrm flipH="1" flipV="1">
              <a:off x="2808" y="1914"/>
              <a:ext cx="60" cy="174"/>
            </a:xfrm>
            <a:prstGeom prst="line">
              <a:avLst/>
            </a:pr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9013" name="Rectangle 37"/>
            <p:cNvSpPr>
              <a:spLocks noChangeArrowheads="1"/>
            </p:cNvSpPr>
            <p:nvPr>
              <p:custDataLst>
                <p:tags r:id="rId43"/>
              </p:custDataLst>
            </p:nvPr>
          </p:nvSpPr>
          <p:spPr bwMode="gray">
            <a:xfrm>
              <a:off x="2877" y="1842"/>
              <a:ext cx="347" cy="77"/>
            </a:xfrm>
            <a:prstGeom prst="rect">
              <a:avLst/>
            </a:prstGeom>
            <a:solidFill>
              <a:schemeClr val="bg1"/>
            </a:solidFill>
            <a:ln w="9525">
              <a:noFill/>
              <a:miter lim="800000"/>
              <a:headEnd/>
              <a:tailEnd/>
            </a:ln>
            <a:effectLst/>
          </p:spPr>
          <p:txBody>
            <a:bodyPr wrap="none" lIns="0" tIns="0" rIns="0" bIns="0"/>
            <a:lstStyle/>
            <a:p>
              <a:pPr defTabSz="912996">
                <a:buClr>
                  <a:srgbClr val="4F2100"/>
                </a:buClr>
              </a:pPr>
              <a:r>
                <a:rPr lang="en-US" sz="800" dirty="0">
                  <a:solidFill>
                    <a:srgbClr val="000000"/>
                  </a:solidFill>
                  <a:latin typeface="Arial" charset="0"/>
                </a:rPr>
                <a:t>Netherlands</a:t>
              </a:r>
            </a:p>
          </p:txBody>
        </p:sp>
        <p:sp>
          <p:nvSpPr>
            <p:cNvPr id="639014" name="Line 38"/>
            <p:cNvSpPr>
              <a:spLocks noChangeShapeType="1"/>
            </p:cNvSpPr>
            <p:nvPr>
              <p:custDataLst>
                <p:tags r:id="rId44"/>
              </p:custDataLst>
            </p:nvPr>
          </p:nvSpPr>
          <p:spPr bwMode="gray">
            <a:xfrm flipV="1">
              <a:off x="2901" y="1932"/>
              <a:ext cx="1" cy="105"/>
            </a:xfrm>
            <a:prstGeom prst="line">
              <a:avLst/>
            </a:pr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9015" name="Rectangle 39"/>
            <p:cNvSpPr>
              <a:spLocks noChangeArrowheads="1"/>
            </p:cNvSpPr>
            <p:nvPr>
              <p:custDataLst>
                <p:tags r:id="rId45"/>
              </p:custDataLst>
            </p:nvPr>
          </p:nvSpPr>
          <p:spPr bwMode="gray">
            <a:xfrm>
              <a:off x="4869" y="2352"/>
              <a:ext cx="176" cy="77"/>
            </a:xfrm>
            <a:prstGeom prst="rect">
              <a:avLst/>
            </a:prstGeom>
            <a:solidFill>
              <a:schemeClr val="bg1"/>
            </a:solidFill>
            <a:ln w="9525">
              <a:noFill/>
              <a:miter lim="800000"/>
              <a:headEnd/>
              <a:tailEnd/>
            </a:ln>
            <a:effectLst/>
          </p:spPr>
          <p:txBody>
            <a:bodyPr wrap="none" lIns="0" tIns="0" rIns="0" bIns="0"/>
            <a:lstStyle/>
            <a:p>
              <a:pPr defTabSz="912996">
                <a:buClr>
                  <a:srgbClr val="4F2100"/>
                </a:buClr>
              </a:pPr>
              <a:r>
                <a:rPr lang="en-US" sz="800" dirty="0">
                  <a:solidFill>
                    <a:srgbClr val="000000"/>
                  </a:solidFill>
                  <a:latin typeface="Arial" charset="0"/>
                </a:rPr>
                <a:t>Japan</a:t>
              </a:r>
            </a:p>
          </p:txBody>
        </p:sp>
        <p:sp>
          <p:nvSpPr>
            <p:cNvPr id="639016" name="Freeform 40"/>
            <p:cNvSpPr>
              <a:spLocks/>
            </p:cNvSpPr>
            <p:nvPr>
              <p:custDataLst>
                <p:tags r:id="rId46"/>
              </p:custDataLst>
            </p:nvPr>
          </p:nvSpPr>
          <p:spPr bwMode="gray">
            <a:xfrm>
              <a:off x="1406" y="2364"/>
              <a:ext cx="1712" cy="983"/>
            </a:xfrm>
            <a:custGeom>
              <a:avLst/>
              <a:gdLst/>
              <a:ahLst/>
              <a:cxnLst>
                <a:cxn ang="0">
                  <a:pos x="0" y="0"/>
                </a:cxn>
                <a:cxn ang="0">
                  <a:pos x="304" y="320"/>
                </a:cxn>
                <a:cxn ang="0">
                  <a:pos x="1712" y="983"/>
                </a:cxn>
              </a:cxnLst>
              <a:rect l="0" t="0" r="r" b="b"/>
              <a:pathLst>
                <a:path w="1712" h="983">
                  <a:moveTo>
                    <a:pt x="0" y="0"/>
                  </a:moveTo>
                  <a:cubicBezTo>
                    <a:pt x="51" y="52"/>
                    <a:pt x="19" y="156"/>
                    <a:pt x="304" y="320"/>
                  </a:cubicBezTo>
                  <a:cubicBezTo>
                    <a:pt x="589" y="484"/>
                    <a:pt x="1419" y="845"/>
                    <a:pt x="1712" y="983"/>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9017" name="Freeform 41"/>
            <p:cNvSpPr>
              <a:spLocks/>
            </p:cNvSpPr>
            <p:nvPr>
              <p:custDataLst>
                <p:tags r:id="rId47"/>
              </p:custDataLst>
            </p:nvPr>
          </p:nvSpPr>
          <p:spPr bwMode="gray">
            <a:xfrm>
              <a:off x="2899" y="2203"/>
              <a:ext cx="74" cy="163"/>
            </a:xfrm>
            <a:custGeom>
              <a:avLst/>
              <a:gdLst/>
              <a:ahLst/>
              <a:cxnLst>
                <a:cxn ang="0">
                  <a:pos x="68" y="172"/>
                </a:cxn>
                <a:cxn ang="0">
                  <a:pos x="0" y="0"/>
                </a:cxn>
              </a:cxnLst>
              <a:rect l="0" t="0" r="r" b="b"/>
              <a:pathLst>
                <a:path w="68" h="172">
                  <a:moveTo>
                    <a:pt x="68" y="172"/>
                  </a:moveTo>
                  <a:cubicBezTo>
                    <a:pt x="68" y="172"/>
                    <a:pt x="34" y="86"/>
                    <a:pt x="0"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9018" name="Oval 42"/>
            <p:cNvSpPr>
              <a:spLocks noChangeArrowheads="1"/>
            </p:cNvSpPr>
            <p:nvPr>
              <p:custDataLst>
                <p:tags r:id="rId48"/>
              </p:custDataLst>
            </p:nvPr>
          </p:nvSpPr>
          <p:spPr bwMode="gray">
            <a:xfrm>
              <a:off x="3054" y="3291"/>
              <a:ext cx="210" cy="210"/>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19" name="Oval 43"/>
            <p:cNvSpPr>
              <a:spLocks noChangeArrowheads="1"/>
            </p:cNvSpPr>
            <p:nvPr>
              <p:custDataLst>
                <p:tags r:id="rId49"/>
              </p:custDataLst>
            </p:nvPr>
          </p:nvSpPr>
          <p:spPr bwMode="gray">
            <a:xfrm>
              <a:off x="2776" y="2108"/>
              <a:ext cx="154" cy="15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0" name="Oval 44"/>
            <p:cNvSpPr>
              <a:spLocks noChangeArrowheads="1"/>
            </p:cNvSpPr>
            <p:nvPr>
              <p:custDataLst>
                <p:tags r:id="rId50"/>
              </p:custDataLst>
            </p:nvPr>
          </p:nvSpPr>
          <p:spPr bwMode="gray">
            <a:xfrm>
              <a:off x="1310" y="2251"/>
              <a:ext cx="154" cy="15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1" name="Oval 45"/>
            <p:cNvSpPr>
              <a:spLocks noChangeArrowheads="1"/>
            </p:cNvSpPr>
            <p:nvPr>
              <p:custDataLst>
                <p:tags r:id="rId51"/>
              </p:custDataLst>
            </p:nvPr>
          </p:nvSpPr>
          <p:spPr bwMode="gray">
            <a:xfrm>
              <a:off x="3180" y="2488"/>
              <a:ext cx="118" cy="118"/>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2" name="Oval 46"/>
            <p:cNvSpPr>
              <a:spLocks noChangeArrowheads="1"/>
            </p:cNvSpPr>
            <p:nvPr>
              <p:custDataLst>
                <p:tags r:id="rId52"/>
              </p:custDataLst>
            </p:nvPr>
          </p:nvSpPr>
          <p:spPr bwMode="gray">
            <a:xfrm>
              <a:off x="2816" y="2780"/>
              <a:ext cx="82" cy="82"/>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3" name="Oval 47"/>
            <p:cNvSpPr>
              <a:spLocks noChangeArrowheads="1"/>
            </p:cNvSpPr>
            <p:nvPr>
              <p:custDataLst>
                <p:tags r:id="rId53"/>
              </p:custDataLst>
            </p:nvPr>
          </p:nvSpPr>
          <p:spPr bwMode="gray">
            <a:xfrm>
              <a:off x="2741" y="1972"/>
              <a:ext cx="82" cy="82"/>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4" name="Oval 48"/>
            <p:cNvSpPr>
              <a:spLocks noChangeArrowheads="1"/>
            </p:cNvSpPr>
            <p:nvPr>
              <p:custDataLst>
                <p:tags r:id="rId54"/>
              </p:custDataLst>
            </p:nvPr>
          </p:nvSpPr>
          <p:spPr bwMode="gray">
            <a:xfrm>
              <a:off x="2855" y="2059"/>
              <a:ext cx="64" cy="6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5" name="Oval 49"/>
            <p:cNvSpPr>
              <a:spLocks noChangeArrowheads="1"/>
            </p:cNvSpPr>
            <p:nvPr>
              <p:custDataLst>
                <p:tags r:id="rId55"/>
              </p:custDataLst>
            </p:nvPr>
          </p:nvSpPr>
          <p:spPr bwMode="gray">
            <a:xfrm>
              <a:off x="3329" y="2905"/>
              <a:ext cx="64" cy="6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6" name="Oval 50"/>
            <p:cNvSpPr>
              <a:spLocks noChangeArrowheads="1"/>
            </p:cNvSpPr>
            <p:nvPr>
              <p:custDataLst>
                <p:tags r:id="rId56"/>
              </p:custDataLst>
            </p:nvPr>
          </p:nvSpPr>
          <p:spPr bwMode="gray">
            <a:xfrm>
              <a:off x="2609" y="2749"/>
              <a:ext cx="64" cy="6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7" name="Oval 51"/>
            <p:cNvSpPr>
              <a:spLocks noChangeArrowheads="1"/>
            </p:cNvSpPr>
            <p:nvPr>
              <p:custDataLst>
                <p:tags r:id="rId57"/>
              </p:custDataLst>
            </p:nvPr>
          </p:nvSpPr>
          <p:spPr bwMode="gray">
            <a:xfrm>
              <a:off x="4775" y="2341"/>
              <a:ext cx="64" cy="6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8" name="Oval 52"/>
            <p:cNvSpPr>
              <a:spLocks noChangeArrowheads="1"/>
            </p:cNvSpPr>
            <p:nvPr>
              <p:custDataLst>
                <p:tags r:id="rId58"/>
              </p:custDataLst>
            </p:nvPr>
          </p:nvSpPr>
          <p:spPr bwMode="gray">
            <a:xfrm>
              <a:off x="3455" y="3193"/>
              <a:ext cx="64" cy="6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29" name="Oval 53"/>
            <p:cNvSpPr>
              <a:spLocks noChangeArrowheads="1"/>
            </p:cNvSpPr>
            <p:nvPr>
              <p:custDataLst>
                <p:tags r:id="rId59"/>
              </p:custDataLst>
            </p:nvPr>
          </p:nvSpPr>
          <p:spPr bwMode="gray">
            <a:xfrm>
              <a:off x="2867" y="2017"/>
              <a:ext cx="64" cy="6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30" name="Rectangle 54"/>
            <p:cNvSpPr>
              <a:spLocks noChangeArrowheads="1"/>
            </p:cNvSpPr>
            <p:nvPr>
              <p:custDataLst>
                <p:tags r:id="rId60"/>
              </p:custDataLst>
            </p:nvPr>
          </p:nvSpPr>
          <p:spPr bwMode="gray">
            <a:xfrm>
              <a:off x="1083" y="1747"/>
              <a:ext cx="238" cy="82"/>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800" dirty="0">
                  <a:solidFill>
                    <a:srgbClr val="000000"/>
                  </a:solidFill>
                  <a:latin typeface="Arial" charset="0"/>
                </a:rPr>
                <a:t>Canada</a:t>
              </a:r>
            </a:p>
          </p:txBody>
        </p:sp>
        <p:sp>
          <p:nvSpPr>
            <p:cNvPr id="639031" name="Freeform 55"/>
            <p:cNvSpPr>
              <a:spLocks/>
            </p:cNvSpPr>
            <p:nvPr>
              <p:custDataLst>
                <p:tags r:id="rId61"/>
              </p:custDataLst>
            </p:nvPr>
          </p:nvSpPr>
          <p:spPr bwMode="gray">
            <a:xfrm>
              <a:off x="1246" y="1929"/>
              <a:ext cx="1478" cy="526"/>
            </a:xfrm>
            <a:custGeom>
              <a:avLst/>
              <a:gdLst/>
              <a:ahLst/>
              <a:cxnLst>
                <a:cxn ang="0">
                  <a:pos x="1208" y="440"/>
                </a:cxn>
                <a:cxn ang="0">
                  <a:pos x="0" y="0"/>
                </a:cxn>
              </a:cxnLst>
              <a:rect l="0" t="0" r="r" b="b"/>
              <a:pathLst>
                <a:path w="1208" h="440">
                  <a:moveTo>
                    <a:pt x="1208" y="440"/>
                  </a:moveTo>
                  <a:cubicBezTo>
                    <a:pt x="1208" y="440"/>
                    <a:pt x="604" y="220"/>
                    <a:pt x="0" y="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9032" name="Oval 56"/>
            <p:cNvSpPr>
              <a:spLocks noChangeArrowheads="1"/>
            </p:cNvSpPr>
            <p:nvPr>
              <p:custDataLst>
                <p:tags r:id="rId62"/>
              </p:custDataLst>
            </p:nvPr>
          </p:nvSpPr>
          <p:spPr bwMode="gray">
            <a:xfrm>
              <a:off x="2681" y="2414"/>
              <a:ext cx="82" cy="82"/>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33" name="Oval 57"/>
            <p:cNvSpPr>
              <a:spLocks noChangeArrowheads="1"/>
            </p:cNvSpPr>
            <p:nvPr>
              <p:custDataLst>
                <p:tags r:id="rId63"/>
              </p:custDataLst>
            </p:nvPr>
          </p:nvSpPr>
          <p:spPr bwMode="gray">
            <a:xfrm>
              <a:off x="1178" y="1869"/>
              <a:ext cx="94" cy="9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34" name="Freeform 58"/>
            <p:cNvSpPr>
              <a:spLocks/>
            </p:cNvSpPr>
            <p:nvPr>
              <p:custDataLst>
                <p:tags r:id="rId64"/>
              </p:custDataLst>
            </p:nvPr>
          </p:nvSpPr>
          <p:spPr bwMode="gray">
            <a:xfrm>
              <a:off x="2026" y="2392"/>
              <a:ext cx="912" cy="1040"/>
            </a:xfrm>
            <a:custGeom>
              <a:avLst/>
              <a:gdLst/>
              <a:ahLst/>
              <a:cxnLst>
                <a:cxn ang="0">
                  <a:pos x="912" y="0"/>
                </a:cxn>
                <a:cxn ang="0">
                  <a:pos x="720" y="368"/>
                </a:cxn>
                <a:cxn ang="0">
                  <a:pos x="0" y="1040"/>
                </a:cxn>
              </a:cxnLst>
              <a:rect l="0" t="0" r="r" b="b"/>
              <a:pathLst>
                <a:path w="912" h="1040">
                  <a:moveTo>
                    <a:pt x="912" y="0"/>
                  </a:moveTo>
                  <a:cubicBezTo>
                    <a:pt x="880" y="61"/>
                    <a:pt x="832" y="192"/>
                    <a:pt x="720" y="368"/>
                  </a:cubicBezTo>
                  <a:cubicBezTo>
                    <a:pt x="608" y="544"/>
                    <a:pt x="150" y="900"/>
                    <a:pt x="0" y="1040"/>
                  </a:cubicBezTo>
                </a:path>
              </a:pathLst>
            </a:custGeom>
            <a:noFill/>
            <a:ln w="9525">
              <a:solidFill>
                <a:schemeClr val="tx1"/>
              </a:solidFill>
              <a:round/>
              <a:headEnd/>
              <a:tailEnd/>
            </a:ln>
            <a:effectLst/>
          </p:spPr>
          <p:txBody>
            <a:bodyPr/>
            <a:lstStyle/>
            <a:p>
              <a:endParaRPr lang="en-US" dirty="0">
                <a:solidFill>
                  <a:srgbClr val="000000"/>
                </a:solidFill>
                <a:latin typeface="Arial" charset="0"/>
              </a:endParaRPr>
            </a:p>
          </p:txBody>
        </p:sp>
        <p:sp>
          <p:nvSpPr>
            <p:cNvPr id="639035" name="Oval 59"/>
            <p:cNvSpPr>
              <a:spLocks noChangeArrowheads="1"/>
            </p:cNvSpPr>
            <p:nvPr>
              <p:custDataLst>
                <p:tags r:id="rId65"/>
              </p:custDataLst>
            </p:nvPr>
          </p:nvSpPr>
          <p:spPr bwMode="gray">
            <a:xfrm>
              <a:off x="2895" y="2339"/>
              <a:ext cx="118" cy="118"/>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36" name="Oval 60"/>
            <p:cNvSpPr>
              <a:spLocks noChangeArrowheads="1"/>
            </p:cNvSpPr>
            <p:nvPr>
              <p:custDataLst>
                <p:tags r:id="rId66"/>
              </p:custDataLst>
            </p:nvPr>
          </p:nvSpPr>
          <p:spPr bwMode="gray">
            <a:xfrm>
              <a:off x="1979" y="3409"/>
              <a:ext cx="64" cy="6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grpSp>
      <p:sp>
        <p:nvSpPr>
          <p:cNvPr id="639037" name="McK 5. Source"/>
          <p:cNvSpPr>
            <a:spLocks noChangeArrowheads="1"/>
          </p:cNvSpPr>
          <p:nvPr>
            <p:custDataLst>
              <p:tags r:id="rId3"/>
            </p:custDataLst>
          </p:nvPr>
        </p:nvSpPr>
        <p:spPr bwMode="auto">
          <a:xfrm>
            <a:off x="121489" y="6609364"/>
            <a:ext cx="6208848" cy="153888"/>
          </a:xfrm>
          <a:prstGeom prst="rect">
            <a:avLst/>
          </a:prstGeom>
          <a:noFill/>
          <a:ln w="9525" algn="ctr">
            <a:noFill/>
            <a:miter lim="800000"/>
            <a:headEnd/>
            <a:tailEnd/>
          </a:ln>
          <a:effectLst/>
        </p:spPr>
        <p:txBody>
          <a:bodyPr lIns="0" tIns="0" rIns="0" bIns="0" anchor="ctr">
            <a:spAutoFit/>
          </a:bodyPr>
          <a:lstStyle/>
          <a:p>
            <a:pPr marL="582764" indent="-582764" defTabSz="912996">
              <a:tabLst>
                <a:tab pos="581145" algn="l"/>
              </a:tabLst>
            </a:pPr>
            <a:r>
              <a:rPr lang="en-US" sz="1000" dirty="0">
                <a:solidFill>
                  <a:srgbClr val="000000"/>
                </a:solidFill>
                <a:latin typeface="Arial" charset="0"/>
              </a:rPr>
              <a:t>SOURCE: </a:t>
            </a:r>
            <a:r>
              <a:rPr lang="en-US" sz="1000" dirty="0" err="1">
                <a:solidFill>
                  <a:srgbClr val="000000"/>
                </a:solidFill>
                <a:latin typeface="Arial" charset="0"/>
              </a:rPr>
              <a:t>Delphion</a:t>
            </a:r>
            <a:r>
              <a:rPr lang="en-US" sz="1000" dirty="0">
                <a:solidFill>
                  <a:srgbClr val="000000"/>
                </a:solidFill>
                <a:latin typeface="Arial" charset="0"/>
              </a:rPr>
              <a:t>, </a:t>
            </a:r>
            <a:r>
              <a:rPr lang="en-US" sz="1000" dirty="0" err="1">
                <a:solidFill>
                  <a:srgbClr val="000000"/>
                </a:solidFill>
                <a:latin typeface="Arial" charset="0"/>
              </a:rPr>
              <a:t>VantagePoint</a:t>
            </a:r>
            <a:r>
              <a:rPr lang="en-US" sz="1000" dirty="0">
                <a:solidFill>
                  <a:srgbClr val="000000"/>
                </a:solidFill>
                <a:latin typeface="Arial" charset="0"/>
              </a:rPr>
              <a:t>, UCINET</a:t>
            </a:r>
          </a:p>
        </p:txBody>
      </p:sp>
      <p:graphicFrame>
        <p:nvGraphicFramePr>
          <p:cNvPr id="639038" name="Rectangle 62" hidden="1"/>
          <p:cNvGraphicFramePr>
            <a:graphicFrameLocks/>
          </p:cNvGraphicFramePr>
          <p:nvPr>
            <p:custDataLst>
              <p:tags r:id="rId4"/>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6323" name="think-cell Slide" r:id="rId70" imgW="0" imgH="0" progId="">
                  <p:embed/>
                </p:oleObj>
              </mc:Choice>
              <mc:Fallback>
                <p:oleObj name="think-cell Slide" r:id="rId70"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gray">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pSp>
        <p:nvGrpSpPr>
          <p:cNvPr id="3" name="Group 63"/>
          <p:cNvGrpSpPr>
            <a:grpSpLocks/>
          </p:cNvGrpSpPr>
          <p:nvPr/>
        </p:nvGrpSpPr>
        <p:grpSpPr bwMode="auto">
          <a:xfrm>
            <a:off x="361225" y="4183809"/>
            <a:ext cx="819638" cy="1817355"/>
            <a:chOff x="223" y="2583"/>
            <a:chExt cx="506" cy="1122"/>
          </a:xfrm>
        </p:grpSpPr>
        <p:sp>
          <p:nvSpPr>
            <p:cNvPr id="639040" name="Oval 64"/>
            <p:cNvSpPr>
              <a:spLocks noChangeArrowheads="1"/>
            </p:cNvSpPr>
            <p:nvPr/>
          </p:nvSpPr>
          <p:spPr bwMode="gray">
            <a:xfrm>
              <a:off x="296" y="2760"/>
              <a:ext cx="64" cy="6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41" name="Rectangle 65"/>
            <p:cNvSpPr>
              <a:spLocks noChangeArrowheads="1"/>
            </p:cNvSpPr>
            <p:nvPr/>
          </p:nvSpPr>
          <p:spPr bwMode="gray">
            <a:xfrm>
              <a:off x="489" y="2735"/>
              <a:ext cx="167" cy="116"/>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1200" dirty="0">
                  <a:solidFill>
                    <a:srgbClr val="000000"/>
                  </a:solidFill>
                  <a:latin typeface="Arial" charset="0"/>
                </a:rPr>
                <a:t>1 -2</a:t>
              </a:r>
            </a:p>
          </p:txBody>
        </p:sp>
        <p:sp>
          <p:nvSpPr>
            <p:cNvPr id="639042" name="Oval 66"/>
            <p:cNvSpPr>
              <a:spLocks noChangeArrowheads="1"/>
            </p:cNvSpPr>
            <p:nvPr/>
          </p:nvSpPr>
          <p:spPr bwMode="gray">
            <a:xfrm>
              <a:off x="287" y="2894"/>
              <a:ext cx="82" cy="82"/>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43" name="Rectangle 67"/>
            <p:cNvSpPr>
              <a:spLocks noChangeArrowheads="1"/>
            </p:cNvSpPr>
            <p:nvPr/>
          </p:nvSpPr>
          <p:spPr bwMode="gray">
            <a:xfrm>
              <a:off x="489" y="2878"/>
              <a:ext cx="194" cy="116"/>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1200" dirty="0">
                  <a:solidFill>
                    <a:srgbClr val="000000"/>
                  </a:solidFill>
                  <a:latin typeface="Arial" charset="0"/>
                </a:rPr>
                <a:t>3 - 4</a:t>
              </a:r>
            </a:p>
          </p:txBody>
        </p:sp>
        <p:sp>
          <p:nvSpPr>
            <p:cNvPr id="639044" name="Oval 68"/>
            <p:cNvSpPr>
              <a:spLocks noChangeArrowheads="1"/>
            </p:cNvSpPr>
            <p:nvPr/>
          </p:nvSpPr>
          <p:spPr bwMode="gray">
            <a:xfrm>
              <a:off x="269" y="3021"/>
              <a:ext cx="118" cy="118"/>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45" name="Rectangle 69"/>
            <p:cNvSpPr>
              <a:spLocks noChangeArrowheads="1"/>
            </p:cNvSpPr>
            <p:nvPr/>
          </p:nvSpPr>
          <p:spPr bwMode="gray">
            <a:xfrm>
              <a:off x="489" y="3023"/>
              <a:ext cx="194" cy="116"/>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1200" dirty="0">
                  <a:solidFill>
                    <a:srgbClr val="000000"/>
                  </a:solidFill>
                  <a:latin typeface="Arial" charset="0"/>
                </a:rPr>
                <a:t>5 - 8</a:t>
              </a:r>
            </a:p>
          </p:txBody>
        </p:sp>
        <p:sp>
          <p:nvSpPr>
            <p:cNvPr id="639046" name="Oval 70"/>
            <p:cNvSpPr>
              <a:spLocks noChangeArrowheads="1"/>
            </p:cNvSpPr>
            <p:nvPr/>
          </p:nvSpPr>
          <p:spPr bwMode="gray">
            <a:xfrm>
              <a:off x="251" y="3167"/>
              <a:ext cx="154" cy="154"/>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47" name="Rectangle 71"/>
            <p:cNvSpPr>
              <a:spLocks noChangeArrowheads="1"/>
            </p:cNvSpPr>
            <p:nvPr/>
          </p:nvSpPr>
          <p:spPr bwMode="gray">
            <a:xfrm>
              <a:off x="489" y="3187"/>
              <a:ext cx="240" cy="116"/>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1200" dirty="0">
                  <a:solidFill>
                    <a:srgbClr val="000000"/>
                  </a:solidFill>
                  <a:latin typeface="Arial" charset="0"/>
                </a:rPr>
                <a:t>9 - 11</a:t>
              </a:r>
            </a:p>
          </p:txBody>
        </p:sp>
        <p:sp>
          <p:nvSpPr>
            <p:cNvPr id="639048" name="Oval 72"/>
            <p:cNvSpPr>
              <a:spLocks noChangeArrowheads="1"/>
            </p:cNvSpPr>
            <p:nvPr/>
          </p:nvSpPr>
          <p:spPr bwMode="gray">
            <a:xfrm>
              <a:off x="223" y="3350"/>
              <a:ext cx="210" cy="210"/>
            </a:xfrm>
            <a:prstGeom prst="ellipse">
              <a:avLst/>
            </a:prstGeom>
            <a:solidFill>
              <a:schemeClr val="hlink"/>
            </a:solidFill>
            <a:ln w="9525">
              <a:solidFill>
                <a:schemeClr val="tx1"/>
              </a:solidFill>
              <a:round/>
              <a:headEnd/>
              <a:tailEnd/>
            </a:ln>
            <a:effectLst/>
          </p:spPr>
          <p:txBody>
            <a:bodyPr wrap="none" anchor="ctr"/>
            <a:lstStyle/>
            <a:p>
              <a:endParaRPr lang="en-US" dirty="0">
                <a:solidFill>
                  <a:srgbClr val="000000"/>
                </a:solidFill>
                <a:latin typeface="Arial" charset="0"/>
              </a:endParaRPr>
            </a:p>
          </p:txBody>
        </p:sp>
        <p:sp>
          <p:nvSpPr>
            <p:cNvPr id="639049" name="Rectangle 73"/>
            <p:cNvSpPr>
              <a:spLocks noChangeArrowheads="1"/>
            </p:cNvSpPr>
            <p:nvPr/>
          </p:nvSpPr>
          <p:spPr bwMode="gray">
            <a:xfrm>
              <a:off x="489" y="3397"/>
              <a:ext cx="184" cy="116"/>
            </a:xfrm>
            <a:prstGeom prst="rect">
              <a:avLst/>
            </a:prstGeom>
            <a:noFill/>
            <a:ln w="9525">
              <a:noFill/>
              <a:miter lim="800000"/>
              <a:headEnd/>
              <a:tailEnd/>
            </a:ln>
            <a:effectLst/>
          </p:spPr>
          <p:txBody>
            <a:bodyPr wrap="none" lIns="0" tIns="0" rIns="0" bIns="0">
              <a:spAutoFit/>
            </a:bodyPr>
            <a:lstStyle/>
            <a:p>
              <a:pPr defTabSz="912996">
                <a:buClr>
                  <a:srgbClr val="4F2100"/>
                </a:buClr>
              </a:pPr>
              <a:r>
                <a:rPr lang="en-US" sz="1200" dirty="0">
                  <a:solidFill>
                    <a:srgbClr val="000000"/>
                  </a:solidFill>
                  <a:latin typeface="Arial" charset="0"/>
                </a:rPr>
                <a:t>&gt; 11</a:t>
              </a:r>
            </a:p>
          </p:txBody>
        </p:sp>
        <p:sp>
          <p:nvSpPr>
            <p:cNvPr id="639050" name="Rectangle 74"/>
            <p:cNvSpPr>
              <a:spLocks noChangeArrowheads="1"/>
            </p:cNvSpPr>
            <p:nvPr>
              <p:custDataLst>
                <p:tags r:id="rId6"/>
              </p:custDataLst>
            </p:nvPr>
          </p:nvSpPr>
          <p:spPr bwMode="gray">
            <a:xfrm>
              <a:off x="223" y="2583"/>
              <a:ext cx="377" cy="116"/>
            </a:xfrm>
            <a:prstGeom prst="rect">
              <a:avLst/>
            </a:prstGeom>
            <a:solidFill>
              <a:schemeClr val="bg1"/>
            </a:solidFill>
            <a:ln w="9525">
              <a:noFill/>
              <a:miter lim="800000"/>
              <a:headEnd/>
              <a:tailEnd/>
            </a:ln>
            <a:effectLst/>
          </p:spPr>
          <p:txBody>
            <a:bodyPr wrap="none" lIns="0" tIns="0" rIns="0" bIns="0" anchor="b">
              <a:spAutoFit/>
            </a:bodyPr>
            <a:lstStyle/>
            <a:p>
              <a:pPr defTabSz="912996">
                <a:buClr>
                  <a:srgbClr val="4F2100"/>
                </a:buClr>
              </a:pPr>
              <a:r>
                <a:rPr lang="en-US" sz="1200" b="1" dirty="0">
                  <a:solidFill>
                    <a:srgbClr val="4F2100"/>
                  </a:solidFill>
                  <a:latin typeface="Arial" charset="0"/>
                </a:rPr>
                <a:t>Patent #</a:t>
              </a:r>
            </a:p>
          </p:txBody>
        </p:sp>
        <p:sp>
          <p:nvSpPr>
            <p:cNvPr id="639051" name="Line 75"/>
            <p:cNvSpPr>
              <a:spLocks noChangeShapeType="1"/>
            </p:cNvSpPr>
            <p:nvPr>
              <p:custDataLst>
                <p:tags r:id="rId7"/>
              </p:custDataLst>
            </p:nvPr>
          </p:nvSpPr>
          <p:spPr bwMode="gray">
            <a:xfrm>
              <a:off x="223" y="2723"/>
              <a:ext cx="501" cy="0"/>
            </a:xfrm>
            <a:prstGeom prst="line">
              <a:avLst/>
            </a:prstGeom>
            <a:noFill/>
            <a:ln w="9525">
              <a:solidFill>
                <a:schemeClr val="tx2"/>
              </a:solidFill>
              <a:round/>
              <a:headEnd/>
              <a:tailEnd/>
            </a:ln>
            <a:effectLst/>
          </p:spPr>
          <p:txBody>
            <a:bodyPr wrap="none" anchor="ctr"/>
            <a:lstStyle/>
            <a:p>
              <a:endParaRPr lang="en-US" dirty="0">
                <a:solidFill>
                  <a:srgbClr val="000000"/>
                </a:solidFill>
                <a:latin typeface="Arial" charset="0"/>
              </a:endParaRPr>
            </a:p>
          </p:txBody>
        </p:sp>
        <p:sp>
          <p:nvSpPr>
            <p:cNvPr id="639052" name="Rectangle 76"/>
            <p:cNvSpPr>
              <a:spLocks noChangeArrowheads="1"/>
            </p:cNvSpPr>
            <p:nvPr>
              <p:custDataLst>
                <p:tags r:id="rId8"/>
              </p:custDataLst>
            </p:nvPr>
          </p:nvSpPr>
          <p:spPr bwMode="gray">
            <a:xfrm>
              <a:off x="223" y="3589"/>
              <a:ext cx="445" cy="116"/>
            </a:xfrm>
            <a:prstGeom prst="rect">
              <a:avLst/>
            </a:prstGeom>
            <a:solidFill>
              <a:schemeClr val="bg1"/>
            </a:solidFill>
            <a:ln w="9525">
              <a:noFill/>
              <a:miter lim="800000"/>
              <a:headEnd/>
              <a:tailEnd/>
            </a:ln>
            <a:effectLst/>
          </p:spPr>
          <p:txBody>
            <a:bodyPr wrap="none" lIns="0" tIns="0" rIns="0" bIns="0" anchor="b">
              <a:spAutoFit/>
            </a:bodyPr>
            <a:lstStyle/>
            <a:p>
              <a:pPr defTabSz="912996">
                <a:buClr>
                  <a:srgbClr val="4F2100"/>
                </a:buClr>
              </a:pPr>
              <a:r>
                <a:rPr lang="en-US" sz="1200" b="1" dirty="0">
                  <a:solidFill>
                    <a:srgbClr val="4F2100"/>
                  </a:solidFill>
                  <a:latin typeface="Arial" charset="0"/>
                </a:rPr>
                <a:t>Total: 164</a:t>
              </a:r>
            </a:p>
          </p:txBody>
        </p:sp>
      </p:grpSp>
      <p:sp>
        <p:nvSpPr>
          <p:cNvPr id="639053" name="McK 4. Footnote"/>
          <p:cNvSpPr txBox="1">
            <a:spLocks noChangeArrowheads="1"/>
          </p:cNvSpPr>
          <p:nvPr>
            <p:custDataLst>
              <p:tags r:id="rId5"/>
            </p:custDataLst>
          </p:nvPr>
        </p:nvSpPr>
        <p:spPr bwMode="auto">
          <a:xfrm>
            <a:off x="121488" y="6135570"/>
            <a:ext cx="7734738" cy="307777"/>
          </a:xfrm>
          <a:prstGeom prst="rect">
            <a:avLst/>
          </a:prstGeom>
          <a:noFill/>
          <a:ln w="9525" algn="ctr">
            <a:noFill/>
            <a:miter lim="800000"/>
            <a:headEnd/>
            <a:tailEnd/>
          </a:ln>
          <a:effectLst/>
        </p:spPr>
        <p:txBody>
          <a:bodyPr lIns="0" tIns="0" rIns="0" bIns="0" anchor="b">
            <a:spAutoFit/>
          </a:bodyPr>
          <a:lstStyle/>
          <a:p>
            <a:pPr marL="106840" indent="-106840" defTabSz="912996"/>
            <a:r>
              <a:rPr lang="en-US" sz="1000" dirty="0">
                <a:solidFill>
                  <a:srgbClr val="000000"/>
                </a:solidFill>
                <a:latin typeface="Arial" charset="0"/>
              </a:rPr>
              <a:t>Note: Patents published in the period 2004-2009 by WIPO or the US and European patent offices with at least one assignee from Africa (under </a:t>
            </a:r>
            <a:r>
              <a:rPr lang="en-US" sz="1000" dirty="0" err="1">
                <a:solidFill>
                  <a:srgbClr val="000000"/>
                </a:solidFill>
                <a:latin typeface="Arial" charset="0"/>
              </a:rPr>
              <a:t>under</a:t>
            </a:r>
            <a:r>
              <a:rPr lang="en-US" sz="1000" dirty="0">
                <a:solidFill>
                  <a:srgbClr val="000000"/>
                </a:solidFill>
                <a:latin typeface="Arial" charset="0"/>
              </a:rPr>
              <a:t> International Patent Codes A61K or A61P)</a:t>
            </a:r>
          </a:p>
        </p:txBody>
      </p:sp>
      <p:sp>
        <p:nvSpPr>
          <p:cNvPr id="639054" name="Rectangle 78"/>
          <p:cNvSpPr>
            <a:spLocks noGrp="1" noChangeArrowheads="1"/>
          </p:cNvSpPr>
          <p:nvPr>
            <p:ph type="title"/>
          </p:nvPr>
        </p:nvSpPr>
        <p:spPr>
          <a:xfrm>
            <a:off x="121495" y="64306"/>
            <a:ext cx="8797353" cy="753668"/>
          </a:xfrm>
          <a:noFill/>
          <a:ln/>
        </p:spPr>
        <p:txBody>
          <a:bodyPr/>
          <a:lstStyle/>
          <a:p>
            <a:pPr algn="ctr">
              <a:tabLst>
                <a:tab pos="362609" algn="l"/>
              </a:tabLst>
            </a:pPr>
            <a:r>
              <a:rPr lang="en-US" sz="2400" dirty="0">
                <a:solidFill>
                  <a:srgbClr val="800000"/>
                </a:solidFill>
              </a:rPr>
              <a:t>In addition, some African centers show patent activity in the biomedical areas</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4" name="Slide Number Placeholder 2"/>
          <p:cNvSpPr>
            <a:spLocks noGrp="1"/>
          </p:cNvSpPr>
          <p:nvPr>
            <p:ph type="sldNum" sz="quarter" idx="10"/>
          </p:nvPr>
        </p:nvSpPr>
        <p:spPr/>
        <p:txBody>
          <a:bodyPr/>
          <a:lstStyle/>
          <a:p>
            <a:fld id="{E5F5FBA7-82C7-49D9-9166-B406B752E6B1}" type="slidenum">
              <a:rPr lang="en-US"/>
              <a:pPr/>
              <a:t>9</a:t>
            </a:fld>
            <a:endParaRPr lang="en-US"/>
          </a:p>
        </p:txBody>
      </p:sp>
      <p:graphicFrame>
        <p:nvGraphicFramePr>
          <p:cNvPr id="608258" name="Rectangle 2" hidden="1"/>
          <p:cNvGraphicFramePr>
            <a:graphicFrameLocks/>
          </p:cNvGraphicFramePr>
          <p:nvPr>
            <p:custDataLst>
              <p:tags r:id="rId2"/>
            </p:custDataLst>
          </p:nvPr>
        </p:nvGraphicFramePr>
        <p:xfrm>
          <a:off x="0" y="0"/>
          <a:ext cx="161984" cy="161974"/>
        </p:xfrm>
        <a:graphic>
          <a:graphicData uri="http://schemas.openxmlformats.org/presentationml/2006/ole">
            <mc:AlternateContent xmlns:mc="http://schemas.openxmlformats.org/markup-compatibility/2006">
              <mc:Choice xmlns:v="urn:schemas-microsoft-com:vml" Requires="v">
                <p:oleObj spid="_x0000_s57347" name="think-cell Slide" r:id="rId11" imgW="0" imgH="0" progId="">
                  <p:embed/>
                </p:oleObj>
              </mc:Choice>
              <mc:Fallback>
                <p:oleObj name="think-cell Slide" r:id="rId11"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61984" cy="1619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08259" name="Rectangle 3"/>
          <p:cNvSpPr>
            <a:spLocks noChangeArrowheads="1"/>
          </p:cNvSpPr>
          <p:nvPr>
            <p:custDataLst>
              <p:tags r:id="rId3"/>
            </p:custDataLst>
          </p:nvPr>
        </p:nvSpPr>
        <p:spPr bwMode="auto">
          <a:xfrm>
            <a:off x="7018779" y="2643424"/>
            <a:ext cx="429257" cy="254300"/>
          </a:xfrm>
          <a:prstGeom prst="rect">
            <a:avLst/>
          </a:prstGeom>
          <a:solidFill>
            <a:schemeClr val="accent2"/>
          </a:solidFill>
          <a:ln w="9525">
            <a:noFill/>
            <a:miter lim="800000"/>
            <a:headEnd/>
            <a:tailEnd/>
          </a:ln>
          <a:effectLst/>
        </p:spPr>
        <p:txBody>
          <a:bodyPr wrap="none" lIns="93212" tIns="46606" rIns="93212" bIns="46606" anchor="ctr"/>
          <a:lstStyle/>
          <a:p>
            <a:endParaRPr lang="en-US" dirty="0">
              <a:solidFill>
                <a:srgbClr val="000000"/>
              </a:solidFill>
              <a:latin typeface="Arial" charset="0"/>
            </a:endParaRPr>
          </a:p>
        </p:txBody>
      </p:sp>
      <p:sp>
        <p:nvSpPr>
          <p:cNvPr id="608260" name="Rectangle 4"/>
          <p:cNvSpPr>
            <a:spLocks noGrp="1" noChangeArrowheads="1"/>
          </p:cNvSpPr>
          <p:nvPr>
            <p:ph type="title"/>
            <p:custDataLst>
              <p:tags r:id="rId4"/>
            </p:custDataLst>
          </p:nvPr>
        </p:nvSpPr>
        <p:spPr bwMode="gray">
          <a:xfrm>
            <a:off x="8" y="282610"/>
            <a:ext cx="8797354" cy="446276"/>
          </a:xfrm>
          <a:noFill/>
          <a:ln/>
        </p:spPr>
        <p:txBody>
          <a:bodyPr/>
          <a:lstStyle/>
          <a:p>
            <a:pPr algn="ctr"/>
            <a:r>
              <a:rPr lang="de-DE" sz="2900" dirty="0">
                <a:solidFill>
                  <a:srgbClr val="800000"/>
                </a:solidFill>
              </a:rPr>
              <a:t>Evolution of ANDI</a:t>
            </a:r>
          </a:p>
        </p:txBody>
      </p:sp>
      <p:sp>
        <p:nvSpPr>
          <p:cNvPr id="608261" name="Rectangle 5"/>
          <p:cNvSpPr>
            <a:spLocks noChangeArrowheads="1"/>
          </p:cNvSpPr>
          <p:nvPr>
            <p:custDataLst>
              <p:tags r:id="rId5"/>
            </p:custDataLst>
          </p:nvPr>
        </p:nvSpPr>
        <p:spPr bwMode="auto">
          <a:xfrm>
            <a:off x="322187" y="4616284"/>
            <a:ext cx="2436564" cy="830997"/>
          </a:xfrm>
          <a:prstGeom prst="rect">
            <a:avLst/>
          </a:prstGeom>
          <a:noFill/>
          <a:ln w="9525">
            <a:noFill/>
            <a:miter lim="800000"/>
            <a:headEnd/>
            <a:tailEnd/>
          </a:ln>
          <a:effectLst/>
        </p:spPr>
        <p:txBody>
          <a:bodyPr wrap="none" lIns="0" tIns="0" rIns="0" bIns="0">
            <a:spAutoFit/>
          </a:bodyPr>
          <a:lstStyle/>
          <a:p>
            <a:pPr algn="ctr" defTabSz="912705">
              <a:buClr>
                <a:srgbClr val="4F2100"/>
              </a:buClr>
            </a:pPr>
            <a:r>
              <a:rPr lang="en-US" b="1" dirty="0">
                <a:solidFill>
                  <a:srgbClr val="000000"/>
                </a:solidFill>
                <a:latin typeface="Arial" charset="0"/>
              </a:rPr>
              <a:t>ANDI Concept Launch</a:t>
            </a:r>
          </a:p>
          <a:p>
            <a:pPr algn="ctr" defTabSz="912705">
              <a:buClr>
                <a:srgbClr val="4F2100"/>
              </a:buClr>
            </a:pPr>
            <a:r>
              <a:rPr lang="en-US" dirty="0">
                <a:solidFill>
                  <a:srgbClr val="000000"/>
                </a:solidFill>
                <a:latin typeface="Arial" charset="0"/>
              </a:rPr>
              <a:t>(Abuja, </a:t>
            </a:r>
          </a:p>
          <a:p>
            <a:pPr algn="ctr" defTabSz="912705">
              <a:buClr>
                <a:srgbClr val="4F2100"/>
              </a:buClr>
            </a:pPr>
            <a:r>
              <a:rPr lang="en-US" dirty="0">
                <a:solidFill>
                  <a:srgbClr val="000000"/>
                </a:solidFill>
                <a:latin typeface="Arial" charset="0"/>
              </a:rPr>
              <a:t>Nigeria)</a:t>
            </a:r>
          </a:p>
        </p:txBody>
      </p:sp>
      <p:sp>
        <p:nvSpPr>
          <p:cNvPr id="608262" name="Rectangle 6"/>
          <p:cNvSpPr>
            <a:spLocks noChangeArrowheads="1"/>
          </p:cNvSpPr>
          <p:nvPr>
            <p:custDataLst>
              <p:tags r:id="rId6"/>
            </p:custDataLst>
          </p:nvPr>
        </p:nvSpPr>
        <p:spPr bwMode="auto">
          <a:xfrm>
            <a:off x="3083805" y="4616284"/>
            <a:ext cx="3013647" cy="830997"/>
          </a:xfrm>
          <a:prstGeom prst="rect">
            <a:avLst/>
          </a:prstGeom>
          <a:noFill/>
          <a:ln w="9525">
            <a:noFill/>
            <a:miter lim="800000"/>
            <a:headEnd/>
            <a:tailEnd/>
          </a:ln>
          <a:effectLst/>
        </p:spPr>
        <p:txBody>
          <a:bodyPr wrap="none" lIns="0" tIns="0" rIns="0" bIns="0">
            <a:spAutoFit/>
          </a:bodyPr>
          <a:lstStyle/>
          <a:p>
            <a:pPr algn="ctr" defTabSz="912705">
              <a:buClr>
                <a:srgbClr val="4F2100"/>
              </a:buClr>
            </a:pPr>
            <a:r>
              <a:rPr lang="en-US" b="1" dirty="0">
                <a:solidFill>
                  <a:srgbClr val="000000"/>
                </a:solidFill>
                <a:latin typeface="Arial" charset="0"/>
              </a:rPr>
              <a:t>ANDI Business Plan launch</a:t>
            </a:r>
          </a:p>
          <a:p>
            <a:pPr algn="ctr" defTabSz="912705">
              <a:buClr>
                <a:srgbClr val="4F2100"/>
              </a:buClr>
            </a:pPr>
            <a:r>
              <a:rPr lang="en-US" dirty="0">
                <a:solidFill>
                  <a:srgbClr val="000000"/>
                </a:solidFill>
                <a:latin typeface="Arial" charset="0"/>
              </a:rPr>
              <a:t>(Cape Town, </a:t>
            </a:r>
          </a:p>
          <a:p>
            <a:pPr algn="ctr" defTabSz="912705">
              <a:buClr>
                <a:srgbClr val="4F2100"/>
              </a:buClr>
            </a:pPr>
            <a:r>
              <a:rPr lang="en-US" dirty="0">
                <a:solidFill>
                  <a:srgbClr val="000000"/>
                </a:solidFill>
                <a:latin typeface="Arial" charset="0"/>
              </a:rPr>
              <a:t>South Africa)</a:t>
            </a:r>
          </a:p>
        </p:txBody>
      </p:sp>
      <p:sp>
        <p:nvSpPr>
          <p:cNvPr id="608263" name="Rectangle 7"/>
          <p:cNvSpPr>
            <a:spLocks noChangeArrowheads="1"/>
          </p:cNvSpPr>
          <p:nvPr>
            <p:custDataLst>
              <p:tags r:id="rId7"/>
            </p:custDataLst>
          </p:nvPr>
        </p:nvSpPr>
        <p:spPr bwMode="auto">
          <a:xfrm>
            <a:off x="6400099" y="4616284"/>
            <a:ext cx="2487862" cy="830997"/>
          </a:xfrm>
          <a:prstGeom prst="rect">
            <a:avLst/>
          </a:prstGeom>
          <a:noFill/>
          <a:ln w="9525">
            <a:noFill/>
            <a:miter lim="800000"/>
            <a:headEnd/>
            <a:tailEnd/>
          </a:ln>
          <a:effectLst/>
        </p:spPr>
        <p:txBody>
          <a:bodyPr wrap="none" lIns="0" tIns="0" rIns="0" bIns="0">
            <a:spAutoFit/>
          </a:bodyPr>
          <a:lstStyle/>
          <a:p>
            <a:pPr algn="ctr" defTabSz="912705">
              <a:buClr>
                <a:srgbClr val="4F2100"/>
              </a:buClr>
            </a:pPr>
            <a:r>
              <a:rPr lang="en-US" b="1" dirty="0">
                <a:solidFill>
                  <a:srgbClr val="000000"/>
                </a:solidFill>
                <a:latin typeface="Arial" charset="0"/>
              </a:rPr>
              <a:t>ANDI operation launch</a:t>
            </a:r>
          </a:p>
          <a:p>
            <a:pPr algn="ctr" defTabSz="912705">
              <a:buClr>
                <a:srgbClr val="4F2100"/>
              </a:buClr>
            </a:pPr>
            <a:r>
              <a:rPr lang="en-US" dirty="0">
                <a:solidFill>
                  <a:srgbClr val="000000"/>
                </a:solidFill>
                <a:latin typeface="Arial" charset="0"/>
              </a:rPr>
              <a:t>(in regions </a:t>
            </a:r>
          </a:p>
          <a:p>
            <a:pPr algn="ctr" defTabSz="912705">
              <a:buClr>
                <a:srgbClr val="4F2100"/>
              </a:buClr>
            </a:pPr>
            <a:r>
              <a:rPr lang="en-US" dirty="0">
                <a:solidFill>
                  <a:srgbClr val="000000"/>
                </a:solidFill>
                <a:latin typeface="Arial" charset="0"/>
              </a:rPr>
              <a:t>across the Continent)</a:t>
            </a:r>
          </a:p>
        </p:txBody>
      </p:sp>
      <p:grpSp>
        <p:nvGrpSpPr>
          <p:cNvPr id="2" name="Group 8"/>
          <p:cNvGrpSpPr>
            <a:grpSpLocks/>
          </p:cNvGrpSpPr>
          <p:nvPr/>
        </p:nvGrpSpPr>
        <p:grpSpPr bwMode="auto">
          <a:xfrm>
            <a:off x="482722" y="1553336"/>
            <a:ext cx="2224041" cy="176552"/>
            <a:chOff x="126" y="3062"/>
            <a:chExt cx="1660" cy="109"/>
          </a:xfrm>
        </p:grpSpPr>
        <p:sp>
          <p:nvSpPr>
            <p:cNvPr id="608265" name="Line 9"/>
            <p:cNvSpPr>
              <a:spLocks noChangeShapeType="1"/>
            </p:cNvSpPr>
            <p:nvPr/>
          </p:nvSpPr>
          <p:spPr bwMode="auto">
            <a:xfrm>
              <a:off x="126" y="3171"/>
              <a:ext cx="1606" cy="0"/>
            </a:xfrm>
            <a:prstGeom prst="line">
              <a:avLst/>
            </a:prstGeom>
            <a:noFill/>
            <a:ln w="76200">
              <a:solidFill>
                <a:schemeClr val="tx2"/>
              </a:solidFill>
              <a:round/>
              <a:headEnd/>
              <a:tailEnd/>
            </a:ln>
            <a:effectLst/>
          </p:spPr>
          <p:txBody>
            <a:bodyPr/>
            <a:lstStyle/>
            <a:p>
              <a:endParaRPr lang="en-US" dirty="0">
                <a:solidFill>
                  <a:srgbClr val="000000"/>
                </a:solidFill>
                <a:latin typeface="Arial" charset="0"/>
              </a:endParaRPr>
            </a:p>
          </p:txBody>
        </p:sp>
        <p:sp>
          <p:nvSpPr>
            <p:cNvPr id="608266" name="AutoShape 10"/>
            <p:cNvSpPr>
              <a:spLocks noChangeArrowheads="1"/>
            </p:cNvSpPr>
            <p:nvPr/>
          </p:nvSpPr>
          <p:spPr bwMode="auto">
            <a:xfrm>
              <a:off x="1575" y="3062"/>
              <a:ext cx="211" cy="109"/>
            </a:xfrm>
            <a:prstGeom prst="rtTriangle">
              <a:avLst/>
            </a:prstGeom>
            <a:solidFill>
              <a:schemeClr val="tx2"/>
            </a:solidFill>
            <a:ln w="76200">
              <a:solidFill>
                <a:schemeClr val="folHlink"/>
              </a:solidFill>
              <a:miter lim="800000"/>
              <a:headEnd/>
              <a:tailEnd/>
            </a:ln>
            <a:effectLst/>
          </p:spPr>
          <p:txBody>
            <a:bodyPr wrap="none" anchor="ctr"/>
            <a:lstStyle/>
            <a:p>
              <a:pPr algn="ctr"/>
              <a:endParaRPr lang="de-DE" dirty="0">
                <a:solidFill>
                  <a:srgbClr val="4F2100"/>
                </a:solidFill>
                <a:latin typeface="Arial" charset="0"/>
              </a:endParaRPr>
            </a:p>
          </p:txBody>
        </p:sp>
      </p:grpSp>
      <p:grpSp>
        <p:nvGrpSpPr>
          <p:cNvPr id="3" name="Group 11"/>
          <p:cNvGrpSpPr>
            <a:grpSpLocks/>
          </p:cNvGrpSpPr>
          <p:nvPr/>
        </p:nvGrpSpPr>
        <p:grpSpPr bwMode="auto">
          <a:xfrm>
            <a:off x="127977" y="1961513"/>
            <a:ext cx="2794224" cy="2364828"/>
            <a:chOff x="144" y="740"/>
            <a:chExt cx="3686" cy="3120"/>
          </a:xfrm>
        </p:grpSpPr>
        <p:sp>
          <p:nvSpPr>
            <p:cNvPr id="608268" name="Freeform 12"/>
            <p:cNvSpPr>
              <a:spLocks/>
            </p:cNvSpPr>
            <p:nvPr/>
          </p:nvSpPr>
          <p:spPr bwMode="gray">
            <a:xfrm>
              <a:off x="2637" y="972"/>
              <a:ext cx="477" cy="424"/>
            </a:xfrm>
            <a:custGeom>
              <a:avLst/>
              <a:gdLst/>
              <a:ahLst/>
              <a:cxnLst>
                <a:cxn ang="0">
                  <a:pos x="10" y="70"/>
                </a:cxn>
                <a:cxn ang="0">
                  <a:pos x="17" y="99"/>
                </a:cxn>
                <a:cxn ang="0">
                  <a:pos x="2" y="130"/>
                </a:cxn>
                <a:cxn ang="0">
                  <a:pos x="10" y="170"/>
                </a:cxn>
                <a:cxn ang="0">
                  <a:pos x="660" y="755"/>
                </a:cxn>
                <a:cxn ang="0">
                  <a:pos x="683" y="765"/>
                </a:cxn>
                <a:cxn ang="0">
                  <a:pos x="710" y="763"/>
                </a:cxn>
                <a:cxn ang="0">
                  <a:pos x="721" y="734"/>
                </a:cxn>
                <a:cxn ang="0">
                  <a:pos x="750" y="729"/>
                </a:cxn>
                <a:cxn ang="0">
                  <a:pos x="771" y="719"/>
                </a:cxn>
                <a:cxn ang="0">
                  <a:pos x="784" y="694"/>
                </a:cxn>
                <a:cxn ang="0">
                  <a:pos x="820" y="664"/>
                </a:cxn>
                <a:cxn ang="0">
                  <a:pos x="838" y="645"/>
                </a:cxn>
                <a:cxn ang="0">
                  <a:pos x="822" y="610"/>
                </a:cxn>
                <a:cxn ang="0">
                  <a:pos x="832" y="591"/>
                </a:cxn>
                <a:cxn ang="0">
                  <a:pos x="826" y="570"/>
                </a:cxn>
                <a:cxn ang="0">
                  <a:pos x="790" y="521"/>
                </a:cxn>
                <a:cxn ang="0">
                  <a:pos x="754" y="467"/>
                </a:cxn>
                <a:cxn ang="0">
                  <a:pos x="731" y="437"/>
                </a:cxn>
                <a:cxn ang="0">
                  <a:pos x="704" y="406"/>
                </a:cxn>
                <a:cxn ang="0">
                  <a:pos x="691" y="370"/>
                </a:cxn>
                <a:cxn ang="0">
                  <a:pos x="670" y="332"/>
                </a:cxn>
                <a:cxn ang="0">
                  <a:pos x="649" y="309"/>
                </a:cxn>
                <a:cxn ang="0">
                  <a:pos x="639" y="282"/>
                </a:cxn>
                <a:cxn ang="0">
                  <a:pos x="613" y="259"/>
                </a:cxn>
                <a:cxn ang="0">
                  <a:pos x="588" y="221"/>
                </a:cxn>
                <a:cxn ang="0">
                  <a:pos x="569" y="174"/>
                </a:cxn>
                <a:cxn ang="0">
                  <a:pos x="555" y="160"/>
                </a:cxn>
                <a:cxn ang="0">
                  <a:pos x="552" y="139"/>
                </a:cxn>
                <a:cxn ang="0">
                  <a:pos x="550" y="132"/>
                </a:cxn>
                <a:cxn ang="0">
                  <a:pos x="586" y="164"/>
                </a:cxn>
                <a:cxn ang="0">
                  <a:pos x="614" y="214"/>
                </a:cxn>
                <a:cxn ang="0">
                  <a:pos x="645" y="250"/>
                </a:cxn>
                <a:cxn ang="0">
                  <a:pos x="679" y="284"/>
                </a:cxn>
                <a:cxn ang="0">
                  <a:pos x="698" y="278"/>
                </a:cxn>
                <a:cxn ang="0">
                  <a:pos x="716" y="250"/>
                </a:cxn>
                <a:cxn ang="0">
                  <a:pos x="716" y="206"/>
                </a:cxn>
                <a:cxn ang="0">
                  <a:pos x="717" y="177"/>
                </a:cxn>
                <a:cxn ang="0">
                  <a:pos x="721" y="156"/>
                </a:cxn>
                <a:cxn ang="0">
                  <a:pos x="708" y="135"/>
                </a:cxn>
                <a:cxn ang="0">
                  <a:pos x="695" y="111"/>
                </a:cxn>
                <a:cxn ang="0">
                  <a:pos x="676" y="70"/>
                </a:cxn>
                <a:cxn ang="0">
                  <a:pos x="656" y="30"/>
                </a:cxn>
                <a:cxn ang="0">
                  <a:pos x="630" y="29"/>
                </a:cxn>
                <a:cxn ang="0">
                  <a:pos x="593" y="36"/>
                </a:cxn>
                <a:cxn ang="0">
                  <a:pos x="555" y="42"/>
                </a:cxn>
                <a:cxn ang="0">
                  <a:pos x="517" y="32"/>
                </a:cxn>
                <a:cxn ang="0">
                  <a:pos x="477" y="9"/>
                </a:cxn>
                <a:cxn ang="0">
                  <a:pos x="441" y="0"/>
                </a:cxn>
                <a:cxn ang="0">
                  <a:pos x="389" y="19"/>
                </a:cxn>
                <a:cxn ang="0">
                  <a:pos x="346" y="51"/>
                </a:cxn>
                <a:cxn ang="0">
                  <a:pos x="290" y="61"/>
                </a:cxn>
                <a:cxn ang="0">
                  <a:pos x="204" y="42"/>
                </a:cxn>
                <a:cxn ang="0">
                  <a:pos x="124" y="19"/>
                </a:cxn>
                <a:cxn ang="0">
                  <a:pos x="69" y="15"/>
                </a:cxn>
                <a:cxn ang="0">
                  <a:pos x="46" y="23"/>
                </a:cxn>
                <a:cxn ang="0">
                  <a:pos x="8" y="30"/>
                </a:cxn>
              </a:cxnLst>
              <a:rect l="0" t="0" r="r" b="b"/>
              <a:pathLst>
                <a:path w="843" h="771">
                  <a:moveTo>
                    <a:pt x="0" y="49"/>
                  </a:moveTo>
                  <a:lnTo>
                    <a:pt x="0" y="49"/>
                  </a:lnTo>
                  <a:lnTo>
                    <a:pt x="2" y="55"/>
                  </a:lnTo>
                  <a:lnTo>
                    <a:pt x="4" y="61"/>
                  </a:lnTo>
                  <a:lnTo>
                    <a:pt x="6" y="67"/>
                  </a:lnTo>
                  <a:lnTo>
                    <a:pt x="10" y="70"/>
                  </a:lnTo>
                  <a:lnTo>
                    <a:pt x="14" y="74"/>
                  </a:lnTo>
                  <a:lnTo>
                    <a:pt x="16" y="80"/>
                  </a:lnTo>
                  <a:lnTo>
                    <a:pt x="17" y="86"/>
                  </a:lnTo>
                  <a:lnTo>
                    <a:pt x="19" y="91"/>
                  </a:lnTo>
                  <a:lnTo>
                    <a:pt x="19" y="91"/>
                  </a:lnTo>
                  <a:lnTo>
                    <a:pt x="17" y="99"/>
                  </a:lnTo>
                  <a:lnTo>
                    <a:pt x="16" y="105"/>
                  </a:lnTo>
                  <a:lnTo>
                    <a:pt x="14" y="111"/>
                  </a:lnTo>
                  <a:lnTo>
                    <a:pt x="10" y="114"/>
                  </a:lnTo>
                  <a:lnTo>
                    <a:pt x="6" y="118"/>
                  </a:lnTo>
                  <a:lnTo>
                    <a:pt x="4" y="124"/>
                  </a:lnTo>
                  <a:lnTo>
                    <a:pt x="2" y="130"/>
                  </a:lnTo>
                  <a:lnTo>
                    <a:pt x="0" y="135"/>
                  </a:lnTo>
                  <a:lnTo>
                    <a:pt x="0" y="135"/>
                  </a:lnTo>
                  <a:lnTo>
                    <a:pt x="2" y="145"/>
                  </a:lnTo>
                  <a:lnTo>
                    <a:pt x="4" y="153"/>
                  </a:lnTo>
                  <a:lnTo>
                    <a:pt x="6" y="162"/>
                  </a:lnTo>
                  <a:lnTo>
                    <a:pt x="10" y="170"/>
                  </a:lnTo>
                  <a:lnTo>
                    <a:pt x="14" y="177"/>
                  </a:lnTo>
                  <a:lnTo>
                    <a:pt x="16" y="183"/>
                  </a:lnTo>
                  <a:lnTo>
                    <a:pt x="17" y="189"/>
                  </a:lnTo>
                  <a:lnTo>
                    <a:pt x="19" y="194"/>
                  </a:lnTo>
                  <a:lnTo>
                    <a:pt x="48" y="771"/>
                  </a:lnTo>
                  <a:lnTo>
                    <a:pt x="660" y="755"/>
                  </a:lnTo>
                  <a:lnTo>
                    <a:pt x="660" y="755"/>
                  </a:lnTo>
                  <a:lnTo>
                    <a:pt x="668" y="757"/>
                  </a:lnTo>
                  <a:lnTo>
                    <a:pt x="672" y="759"/>
                  </a:lnTo>
                  <a:lnTo>
                    <a:pt x="677" y="761"/>
                  </a:lnTo>
                  <a:lnTo>
                    <a:pt x="679" y="763"/>
                  </a:lnTo>
                  <a:lnTo>
                    <a:pt x="683" y="765"/>
                  </a:lnTo>
                  <a:lnTo>
                    <a:pt x="687" y="767"/>
                  </a:lnTo>
                  <a:lnTo>
                    <a:pt x="693" y="767"/>
                  </a:lnTo>
                  <a:lnTo>
                    <a:pt x="698" y="769"/>
                  </a:lnTo>
                  <a:lnTo>
                    <a:pt x="698" y="769"/>
                  </a:lnTo>
                  <a:lnTo>
                    <a:pt x="704" y="767"/>
                  </a:lnTo>
                  <a:lnTo>
                    <a:pt x="710" y="763"/>
                  </a:lnTo>
                  <a:lnTo>
                    <a:pt x="714" y="759"/>
                  </a:lnTo>
                  <a:lnTo>
                    <a:pt x="714" y="753"/>
                  </a:lnTo>
                  <a:lnTo>
                    <a:pt x="716" y="748"/>
                  </a:lnTo>
                  <a:lnTo>
                    <a:pt x="717" y="744"/>
                  </a:lnTo>
                  <a:lnTo>
                    <a:pt x="719" y="738"/>
                  </a:lnTo>
                  <a:lnTo>
                    <a:pt x="721" y="734"/>
                  </a:lnTo>
                  <a:lnTo>
                    <a:pt x="721" y="734"/>
                  </a:lnTo>
                  <a:lnTo>
                    <a:pt x="727" y="732"/>
                  </a:lnTo>
                  <a:lnTo>
                    <a:pt x="733" y="731"/>
                  </a:lnTo>
                  <a:lnTo>
                    <a:pt x="738" y="731"/>
                  </a:lnTo>
                  <a:lnTo>
                    <a:pt x="744" y="729"/>
                  </a:lnTo>
                  <a:lnTo>
                    <a:pt x="750" y="729"/>
                  </a:lnTo>
                  <a:lnTo>
                    <a:pt x="754" y="729"/>
                  </a:lnTo>
                  <a:lnTo>
                    <a:pt x="759" y="729"/>
                  </a:lnTo>
                  <a:lnTo>
                    <a:pt x="763" y="727"/>
                  </a:lnTo>
                  <a:lnTo>
                    <a:pt x="763" y="727"/>
                  </a:lnTo>
                  <a:lnTo>
                    <a:pt x="767" y="723"/>
                  </a:lnTo>
                  <a:lnTo>
                    <a:pt x="771" y="719"/>
                  </a:lnTo>
                  <a:lnTo>
                    <a:pt x="773" y="717"/>
                  </a:lnTo>
                  <a:lnTo>
                    <a:pt x="777" y="711"/>
                  </a:lnTo>
                  <a:lnTo>
                    <a:pt x="777" y="708"/>
                  </a:lnTo>
                  <a:lnTo>
                    <a:pt x="779" y="704"/>
                  </a:lnTo>
                  <a:lnTo>
                    <a:pt x="780" y="698"/>
                  </a:lnTo>
                  <a:lnTo>
                    <a:pt x="784" y="694"/>
                  </a:lnTo>
                  <a:lnTo>
                    <a:pt x="784" y="694"/>
                  </a:lnTo>
                  <a:lnTo>
                    <a:pt x="790" y="687"/>
                  </a:lnTo>
                  <a:lnTo>
                    <a:pt x="796" y="679"/>
                  </a:lnTo>
                  <a:lnTo>
                    <a:pt x="803" y="673"/>
                  </a:lnTo>
                  <a:lnTo>
                    <a:pt x="811" y="670"/>
                  </a:lnTo>
                  <a:lnTo>
                    <a:pt x="820" y="664"/>
                  </a:lnTo>
                  <a:lnTo>
                    <a:pt x="828" y="660"/>
                  </a:lnTo>
                  <a:lnTo>
                    <a:pt x="836" y="654"/>
                  </a:lnTo>
                  <a:lnTo>
                    <a:pt x="843" y="650"/>
                  </a:lnTo>
                  <a:lnTo>
                    <a:pt x="843" y="650"/>
                  </a:lnTo>
                  <a:lnTo>
                    <a:pt x="841" y="649"/>
                  </a:lnTo>
                  <a:lnTo>
                    <a:pt x="838" y="645"/>
                  </a:lnTo>
                  <a:lnTo>
                    <a:pt x="834" y="639"/>
                  </a:lnTo>
                  <a:lnTo>
                    <a:pt x="830" y="633"/>
                  </a:lnTo>
                  <a:lnTo>
                    <a:pt x="826" y="628"/>
                  </a:lnTo>
                  <a:lnTo>
                    <a:pt x="824" y="622"/>
                  </a:lnTo>
                  <a:lnTo>
                    <a:pt x="822" y="616"/>
                  </a:lnTo>
                  <a:lnTo>
                    <a:pt x="822" y="610"/>
                  </a:lnTo>
                  <a:lnTo>
                    <a:pt x="822" y="610"/>
                  </a:lnTo>
                  <a:lnTo>
                    <a:pt x="822" y="605"/>
                  </a:lnTo>
                  <a:lnTo>
                    <a:pt x="824" y="601"/>
                  </a:lnTo>
                  <a:lnTo>
                    <a:pt x="826" y="597"/>
                  </a:lnTo>
                  <a:lnTo>
                    <a:pt x="828" y="595"/>
                  </a:lnTo>
                  <a:lnTo>
                    <a:pt x="832" y="591"/>
                  </a:lnTo>
                  <a:lnTo>
                    <a:pt x="834" y="589"/>
                  </a:lnTo>
                  <a:lnTo>
                    <a:pt x="838" y="587"/>
                  </a:lnTo>
                  <a:lnTo>
                    <a:pt x="840" y="586"/>
                  </a:lnTo>
                  <a:lnTo>
                    <a:pt x="840" y="586"/>
                  </a:lnTo>
                  <a:lnTo>
                    <a:pt x="832" y="578"/>
                  </a:lnTo>
                  <a:lnTo>
                    <a:pt x="826" y="570"/>
                  </a:lnTo>
                  <a:lnTo>
                    <a:pt x="820" y="563"/>
                  </a:lnTo>
                  <a:lnTo>
                    <a:pt x="813" y="555"/>
                  </a:lnTo>
                  <a:lnTo>
                    <a:pt x="807" y="546"/>
                  </a:lnTo>
                  <a:lnTo>
                    <a:pt x="801" y="538"/>
                  </a:lnTo>
                  <a:lnTo>
                    <a:pt x="796" y="530"/>
                  </a:lnTo>
                  <a:lnTo>
                    <a:pt x="790" y="521"/>
                  </a:lnTo>
                  <a:lnTo>
                    <a:pt x="784" y="511"/>
                  </a:lnTo>
                  <a:lnTo>
                    <a:pt x="779" y="504"/>
                  </a:lnTo>
                  <a:lnTo>
                    <a:pt x="773" y="494"/>
                  </a:lnTo>
                  <a:lnTo>
                    <a:pt x="767" y="486"/>
                  </a:lnTo>
                  <a:lnTo>
                    <a:pt x="761" y="477"/>
                  </a:lnTo>
                  <a:lnTo>
                    <a:pt x="754" y="467"/>
                  </a:lnTo>
                  <a:lnTo>
                    <a:pt x="748" y="460"/>
                  </a:lnTo>
                  <a:lnTo>
                    <a:pt x="742" y="452"/>
                  </a:lnTo>
                  <a:lnTo>
                    <a:pt x="742" y="452"/>
                  </a:lnTo>
                  <a:lnTo>
                    <a:pt x="738" y="446"/>
                  </a:lnTo>
                  <a:lnTo>
                    <a:pt x="735" y="441"/>
                  </a:lnTo>
                  <a:lnTo>
                    <a:pt x="731" y="437"/>
                  </a:lnTo>
                  <a:lnTo>
                    <a:pt x="727" y="431"/>
                  </a:lnTo>
                  <a:lnTo>
                    <a:pt x="721" y="425"/>
                  </a:lnTo>
                  <a:lnTo>
                    <a:pt x="717" y="422"/>
                  </a:lnTo>
                  <a:lnTo>
                    <a:pt x="714" y="416"/>
                  </a:lnTo>
                  <a:lnTo>
                    <a:pt x="708" y="410"/>
                  </a:lnTo>
                  <a:lnTo>
                    <a:pt x="704" y="406"/>
                  </a:lnTo>
                  <a:lnTo>
                    <a:pt x="702" y="401"/>
                  </a:lnTo>
                  <a:lnTo>
                    <a:pt x="698" y="395"/>
                  </a:lnTo>
                  <a:lnTo>
                    <a:pt x="695" y="389"/>
                  </a:lnTo>
                  <a:lnTo>
                    <a:pt x="693" y="381"/>
                  </a:lnTo>
                  <a:lnTo>
                    <a:pt x="691" y="376"/>
                  </a:lnTo>
                  <a:lnTo>
                    <a:pt x="691" y="370"/>
                  </a:lnTo>
                  <a:lnTo>
                    <a:pt x="689" y="362"/>
                  </a:lnTo>
                  <a:lnTo>
                    <a:pt x="689" y="362"/>
                  </a:lnTo>
                  <a:lnTo>
                    <a:pt x="689" y="357"/>
                  </a:lnTo>
                  <a:lnTo>
                    <a:pt x="683" y="349"/>
                  </a:lnTo>
                  <a:lnTo>
                    <a:pt x="677" y="341"/>
                  </a:lnTo>
                  <a:lnTo>
                    <a:pt x="670" y="332"/>
                  </a:lnTo>
                  <a:lnTo>
                    <a:pt x="664" y="324"/>
                  </a:lnTo>
                  <a:lnTo>
                    <a:pt x="658" y="317"/>
                  </a:lnTo>
                  <a:lnTo>
                    <a:pt x="653" y="311"/>
                  </a:lnTo>
                  <a:lnTo>
                    <a:pt x="651" y="309"/>
                  </a:lnTo>
                  <a:lnTo>
                    <a:pt x="651" y="309"/>
                  </a:lnTo>
                  <a:lnTo>
                    <a:pt x="649" y="309"/>
                  </a:lnTo>
                  <a:lnTo>
                    <a:pt x="645" y="305"/>
                  </a:lnTo>
                  <a:lnTo>
                    <a:pt x="643" y="301"/>
                  </a:lnTo>
                  <a:lnTo>
                    <a:pt x="643" y="296"/>
                  </a:lnTo>
                  <a:lnTo>
                    <a:pt x="641" y="292"/>
                  </a:lnTo>
                  <a:lnTo>
                    <a:pt x="639" y="286"/>
                  </a:lnTo>
                  <a:lnTo>
                    <a:pt x="639" y="282"/>
                  </a:lnTo>
                  <a:lnTo>
                    <a:pt x="637" y="280"/>
                  </a:lnTo>
                  <a:lnTo>
                    <a:pt x="637" y="280"/>
                  </a:lnTo>
                  <a:lnTo>
                    <a:pt x="630" y="275"/>
                  </a:lnTo>
                  <a:lnTo>
                    <a:pt x="624" y="269"/>
                  </a:lnTo>
                  <a:lnTo>
                    <a:pt x="618" y="263"/>
                  </a:lnTo>
                  <a:lnTo>
                    <a:pt x="613" y="259"/>
                  </a:lnTo>
                  <a:lnTo>
                    <a:pt x="607" y="254"/>
                  </a:lnTo>
                  <a:lnTo>
                    <a:pt x="603" y="246"/>
                  </a:lnTo>
                  <a:lnTo>
                    <a:pt x="599" y="240"/>
                  </a:lnTo>
                  <a:lnTo>
                    <a:pt x="595" y="235"/>
                  </a:lnTo>
                  <a:lnTo>
                    <a:pt x="592" y="229"/>
                  </a:lnTo>
                  <a:lnTo>
                    <a:pt x="588" y="221"/>
                  </a:lnTo>
                  <a:lnTo>
                    <a:pt x="584" y="214"/>
                  </a:lnTo>
                  <a:lnTo>
                    <a:pt x="582" y="206"/>
                  </a:lnTo>
                  <a:lnTo>
                    <a:pt x="578" y="198"/>
                  </a:lnTo>
                  <a:lnTo>
                    <a:pt x="574" y="191"/>
                  </a:lnTo>
                  <a:lnTo>
                    <a:pt x="571" y="183"/>
                  </a:lnTo>
                  <a:lnTo>
                    <a:pt x="569" y="174"/>
                  </a:lnTo>
                  <a:lnTo>
                    <a:pt x="569" y="174"/>
                  </a:lnTo>
                  <a:lnTo>
                    <a:pt x="567" y="170"/>
                  </a:lnTo>
                  <a:lnTo>
                    <a:pt x="563" y="168"/>
                  </a:lnTo>
                  <a:lnTo>
                    <a:pt x="561" y="166"/>
                  </a:lnTo>
                  <a:lnTo>
                    <a:pt x="557" y="162"/>
                  </a:lnTo>
                  <a:lnTo>
                    <a:pt x="555" y="160"/>
                  </a:lnTo>
                  <a:lnTo>
                    <a:pt x="553" y="156"/>
                  </a:lnTo>
                  <a:lnTo>
                    <a:pt x="552" y="153"/>
                  </a:lnTo>
                  <a:lnTo>
                    <a:pt x="550" y="147"/>
                  </a:lnTo>
                  <a:lnTo>
                    <a:pt x="550" y="147"/>
                  </a:lnTo>
                  <a:lnTo>
                    <a:pt x="550" y="141"/>
                  </a:lnTo>
                  <a:lnTo>
                    <a:pt x="552" y="139"/>
                  </a:lnTo>
                  <a:lnTo>
                    <a:pt x="552" y="137"/>
                  </a:lnTo>
                  <a:lnTo>
                    <a:pt x="552" y="137"/>
                  </a:lnTo>
                  <a:lnTo>
                    <a:pt x="553" y="137"/>
                  </a:lnTo>
                  <a:lnTo>
                    <a:pt x="553" y="137"/>
                  </a:lnTo>
                  <a:lnTo>
                    <a:pt x="552" y="135"/>
                  </a:lnTo>
                  <a:lnTo>
                    <a:pt x="550" y="132"/>
                  </a:lnTo>
                  <a:lnTo>
                    <a:pt x="550" y="132"/>
                  </a:lnTo>
                  <a:lnTo>
                    <a:pt x="559" y="137"/>
                  </a:lnTo>
                  <a:lnTo>
                    <a:pt x="567" y="143"/>
                  </a:lnTo>
                  <a:lnTo>
                    <a:pt x="574" y="151"/>
                  </a:lnTo>
                  <a:lnTo>
                    <a:pt x="580" y="156"/>
                  </a:lnTo>
                  <a:lnTo>
                    <a:pt x="586" y="164"/>
                  </a:lnTo>
                  <a:lnTo>
                    <a:pt x="592" y="172"/>
                  </a:lnTo>
                  <a:lnTo>
                    <a:pt x="597" y="179"/>
                  </a:lnTo>
                  <a:lnTo>
                    <a:pt x="601" y="189"/>
                  </a:lnTo>
                  <a:lnTo>
                    <a:pt x="605" y="196"/>
                  </a:lnTo>
                  <a:lnTo>
                    <a:pt x="611" y="206"/>
                  </a:lnTo>
                  <a:lnTo>
                    <a:pt x="614" y="214"/>
                  </a:lnTo>
                  <a:lnTo>
                    <a:pt x="620" y="221"/>
                  </a:lnTo>
                  <a:lnTo>
                    <a:pt x="624" y="229"/>
                  </a:lnTo>
                  <a:lnTo>
                    <a:pt x="632" y="236"/>
                  </a:lnTo>
                  <a:lnTo>
                    <a:pt x="637" y="244"/>
                  </a:lnTo>
                  <a:lnTo>
                    <a:pt x="645" y="250"/>
                  </a:lnTo>
                  <a:lnTo>
                    <a:pt x="645" y="250"/>
                  </a:lnTo>
                  <a:lnTo>
                    <a:pt x="649" y="256"/>
                  </a:lnTo>
                  <a:lnTo>
                    <a:pt x="655" y="261"/>
                  </a:lnTo>
                  <a:lnTo>
                    <a:pt x="660" y="267"/>
                  </a:lnTo>
                  <a:lnTo>
                    <a:pt x="666" y="275"/>
                  </a:lnTo>
                  <a:lnTo>
                    <a:pt x="674" y="280"/>
                  </a:lnTo>
                  <a:lnTo>
                    <a:pt x="679" y="284"/>
                  </a:lnTo>
                  <a:lnTo>
                    <a:pt x="685" y="288"/>
                  </a:lnTo>
                  <a:lnTo>
                    <a:pt x="689" y="290"/>
                  </a:lnTo>
                  <a:lnTo>
                    <a:pt x="689" y="290"/>
                  </a:lnTo>
                  <a:lnTo>
                    <a:pt x="693" y="288"/>
                  </a:lnTo>
                  <a:lnTo>
                    <a:pt x="695" y="284"/>
                  </a:lnTo>
                  <a:lnTo>
                    <a:pt x="698" y="278"/>
                  </a:lnTo>
                  <a:lnTo>
                    <a:pt x="704" y="273"/>
                  </a:lnTo>
                  <a:lnTo>
                    <a:pt x="708" y="265"/>
                  </a:lnTo>
                  <a:lnTo>
                    <a:pt x="712" y="259"/>
                  </a:lnTo>
                  <a:lnTo>
                    <a:pt x="716" y="254"/>
                  </a:lnTo>
                  <a:lnTo>
                    <a:pt x="716" y="250"/>
                  </a:lnTo>
                  <a:lnTo>
                    <a:pt x="716" y="250"/>
                  </a:lnTo>
                  <a:lnTo>
                    <a:pt x="716" y="242"/>
                  </a:lnTo>
                  <a:lnTo>
                    <a:pt x="716" y="235"/>
                  </a:lnTo>
                  <a:lnTo>
                    <a:pt x="716" y="227"/>
                  </a:lnTo>
                  <a:lnTo>
                    <a:pt x="716" y="219"/>
                  </a:lnTo>
                  <a:lnTo>
                    <a:pt x="716" y="212"/>
                  </a:lnTo>
                  <a:lnTo>
                    <a:pt x="716" y="206"/>
                  </a:lnTo>
                  <a:lnTo>
                    <a:pt x="717" y="196"/>
                  </a:lnTo>
                  <a:lnTo>
                    <a:pt x="717" y="189"/>
                  </a:lnTo>
                  <a:lnTo>
                    <a:pt x="717" y="189"/>
                  </a:lnTo>
                  <a:lnTo>
                    <a:pt x="717" y="185"/>
                  </a:lnTo>
                  <a:lnTo>
                    <a:pt x="717" y="181"/>
                  </a:lnTo>
                  <a:lnTo>
                    <a:pt x="717" y="177"/>
                  </a:lnTo>
                  <a:lnTo>
                    <a:pt x="719" y="174"/>
                  </a:lnTo>
                  <a:lnTo>
                    <a:pt x="719" y="168"/>
                  </a:lnTo>
                  <a:lnTo>
                    <a:pt x="721" y="164"/>
                  </a:lnTo>
                  <a:lnTo>
                    <a:pt x="721" y="160"/>
                  </a:lnTo>
                  <a:lnTo>
                    <a:pt x="721" y="156"/>
                  </a:lnTo>
                  <a:lnTo>
                    <a:pt x="721" y="156"/>
                  </a:lnTo>
                  <a:lnTo>
                    <a:pt x="721" y="153"/>
                  </a:lnTo>
                  <a:lnTo>
                    <a:pt x="719" y="149"/>
                  </a:lnTo>
                  <a:lnTo>
                    <a:pt x="716" y="145"/>
                  </a:lnTo>
                  <a:lnTo>
                    <a:pt x="714" y="141"/>
                  </a:lnTo>
                  <a:lnTo>
                    <a:pt x="710" y="137"/>
                  </a:lnTo>
                  <a:lnTo>
                    <a:pt x="708" y="135"/>
                  </a:lnTo>
                  <a:lnTo>
                    <a:pt x="704" y="132"/>
                  </a:lnTo>
                  <a:lnTo>
                    <a:pt x="704" y="130"/>
                  </a:lnTo>
                  <a:lnTo>
                    <a:pt x="704" y="130"/>
                  </a:lnTo>
                  <a:lnTo>
                    <a:pt x="700" y="124"/>
                  </a:lnTo>
                  <a:lnTo>
                    <a:pt x="698" y="116"/>
                  </a:lnTo>
                  <a:lnTo>
                    <a:pt x="695" y="111"/>
                  </a:lnTo>
                  <a:lnTo>
                    <a:pt x="693" y="103"/>
                  </a:lnTo>
                  <a:lnTo>
                    <a:pt x="689" y="97"/>
                  </a:lnTo>
                  <a:lnTo>
                    <a:pt x="685" y="91"/>
                  </a:lnTo>
                  <a:lnTo>
                    <a:pt x="683" y="84"/>
                  </a:lnTo>
                  <a:lnTo>
                    <a:pt x="679" y="78"/>
                  </a:lnTo>
                  <a:lnTo>
                    <a:pt x="676" y="70"/>
                  </a:lnTo>
                  <a:lnTo>
                    <a:pt x="672" y="65"/>
                  </a:lnTo>
                  <a:lnTo>
                    <a:pt x="670" y="57"/>
                  </a:lnTo>
                  <a:lnTo>
                    <a:pt x="666" y="51"/>
                  </a:lnTo>
                  <a:lnTo>
                    <a:pt x="662" y="44"/>
                  </a:lnTo>
                  <a:lnTo>
                    <a:pt x="660" y="38"/>
                  </a:lnTo>
                  <a:lnTo>
                    <a:pt x="656" y="30"/>
                  </a:lnTo>
                  <a:lnTo>
                    <a:pt x="655" y="23"/>
                  </a:lnTo>
                  <a:lnTo>
                    <a:pt x="655" y="23"/>
                  </a:lnTo>
                  <a:lnTo>
                    <a:pt x="649" y="25"/>
                  </a:lnTo>
                  <a:lnTo>
                    <a:pt x="641" y="25"/>
                  </a:lnTo>
                  <a:lnTo>
                    <a:pt x="635" y="27"/>
                  </a:lnTo>
                  <a:lnTo>
                    <a:pt x="630" y="29"/>
                  </a:lnTo>
                  <a:lnTo>
                    <a:pt x="624" y="29"/>
                  </a:lnTo>
                  <a:lnTo>
                    <a:pt x="618" y="30"/>
                  </a:lnTo>
                  <a:lnTo>
                    <a:pt x="613" y="32"/>
                  </a:lnTo>
                  <a:lnTo>
                    <a:pt x="607" y="34"/>
                  </a:lnTo>
                  <a:lnTo>
                    <a:pt x="599" y="34"/>
                  </a:lnTo>
                  <a:lnTo>
                    <a:pt x="593" y="36"/>
                  </a:lnTo>
                  <a:lnTo>
                    <a:pt x="588" y="38"/>
                  </a:lnTo>
                  <a:lnTo>
                    <a:pt x="582" y="40"/>
                  </a:lnTo>
                  <a:lnTo>
                    <a:pt x="576" y="40"/>
                  </a:lnTo>
                  <a:lnTo>
                    <a:pt x="569" y="42"/>
                  </a:lnTo>
                  <a:lnTo>
                    <a:pt x="563" y="42"/>
                  </a:lnTo>
                  <a:lnTo>
                    <a:pt x="555" y="42"/>
                  </a:lnTo>
                  <a:lnTo>
                    <a:pt x="555" y="42"/>
                  </a:lnTo>
                  <a:lnTo>
                    <a:pt x="548" y="42"/>
                  </a:lnTo>
                  <a:lnTo>
                    <a:pt x="540" y="40"/>
                  </a:lnTo>
                  <a:lnTo>
                    <a:pt x="532" y="38"/>
                  </a:lnTo>
                  <a:lnTo>
                    <a:pt x="525" y="34"/>
                  </a:lnTo>
                  <a:lnTo>
                    <a:pt x="517" y="32"/>
                  </a:lnTo>
                  <a:lnTo>
                    <a:pt x="510" y="29"/>
                  </a:lnTo>
                  <a:lnTo>
                    <a:pt x="504" y="25"/>
                  </a:lnTo>
                  <a:lnTo>
                    <a:pt x="496" y="21"/>
                  </a:lnTo>
                  <a:lnTo>
                    <a:pt x="490" y="17"/>
                  </a:lnTo>
                  <a:lnTo>
                    <a:pt x="485" y="13"/>
                  </a:lnTo>
                  <a:lnTo>
                    <a:pt x="477" y="9"/>
                  </a:lnTo>
                  <a:lnTo>
                    <a:pt x="471" y="8"/>
                  </a:lnTo>
                  <a:lnTo>
                    <a:pt x="464" y="4"/>
                  </a:lnTo>
                  <a:lnTo>
                    <a:pt x="456" y="2"/>
                  </a:lnTo>
                  <a:lnTo>
                    <a:pt x="450" y="0"/>
                  </a:lnTo>
                  <a:lnTo>
                    <a:pt x="441" y="0"/>
                  </a:lnTo>
                  <a:lnTo>
                    <a:pt x="441" y="0"/>
                  </a:lnTo>
                  <a:lnTo>
                    <a:pt x="431" y="0"/>
                  </a:lnTo>
                  <a:lnTo>
                    <a:pt x="422" y="2"/>
                  </a:lnTo>
                  <a:lnTo>
                    <a:pt x="412" y="6"/>
                  </a:lnTo>
                  <a:lnTo>
                    <a:pt x="405" y="9"/>
                  </a:lnTo>
                  <a:lnTo>
                    <a:pt x="397" y="15"/>
                  </a:lnTo>
                  <a:lnTo>
                    <a:pt x="389" y="19"/>
                  </a:lnTo>
                  <a:lnTo>
                    <a:pt x="382" y="25"/>
                  </a:lnTo>
                  <a:lnTo>
                    <a:pt x="376" y="30"/>
                  </a:lnTo>
                  <a:lnTo>
                    <a:pt x="368" y="36"/>
                  </a:lnTo>
                  <a:lnTo>
                    <a:pt x="361" y="42"/>
                  </a:lnTo>
                  <a:lnTo>
                    <a:pt x="353" y="48"/>
                  </a:lnTo>
                  <a:lnTo>
                    <a:pt x="346" y="51"/>
                  </a:lnTo>
                  <a:lnTo>
                    <a:pt x="336" y="55"/>
                  </a:lnTo>
                  <a:lnTo>
                    <a:pt x="328" y="59"/>
                  </a:lnTo>
                  <a:lnTo>
                    <a:pt x="319" y="61"/>
                  </a:lnTo>
                  <a:lnTo>
                    <a:pt x="307" y="61"/>
                  </a:lnTo>
                  <a:lnTo>
                    <a:pt x="307" y="61"/>
                  </a:lnTo>
                  <a:lnTo>
                    <a:pt x="290" y="61"/>
                  </a:lnTo>
                  <a:lnTo>
                    <a:pt x="275" y="59"/>
                  </a:lnTo>
                  <a:lnTo>
                    <a:pt x="260" y="57"/>
                  </a:lnTo>
                  <a:lnTo>
                    <a:pt x="244" y="53"/>
                  </a:lnTo>
                  <a:lnTo>
                    <a:pt x="231" y="51"/>
                  </a:lnTo>
                  <a:lnTo>
                    <a:pt x="218" y="48"/>
                  </a:lnTo>
                  <a:lnTo>
                    <a:pt x="204" y="42"/>
                  </a:lnTo>
                  <a:lnTo>
                    <a:pt x="191" y="38"/>
                  </a:lnTo>
                  <a:lnTo>
                    <a:pt x="178" y="34"/>
                  </a:lnTo>
                  <a:lnTo>
                    <a:pt x="166" y="29"/>
                  </a:lnTo>
                  <a:lnTo>
                    <a:pt x="153" y="25"/>
                  </a:lnTo>
                  <a:lnTo>
                    <a:pt x="139" y="21"/>
                  </a:lnTo>
                  <a:lnTo>
                    <a:pt x="124" y="19"/>
                  </a:lnTo>
                  <a:lnTo>
                    <a:pt x="111" y="17"/>
                  </a:lnTo>
                  <a:lnTo>
                    <a:pt x="94" y="15"/>
                  </a:lnTo>
                  <a:lnTo>
                    <a:pt x="78" y="13"/>
                  </a:lnTo>
                  <a:lnTo>
                    <a:pt x="78" y="13"/>
                  </a:lnTo>
                  <a:lnTo>
                    <a:pt x="73" y="15"/>
                  </a:lnTo>
                  <a:lnTo>
                    <a:pt x="69" y="15"/>
                  </a:lnTo>
                  <a:lnTo>
                    <a:pt x="65" y="17"/>
                  </a:lnTo>
                  <a:lnTo>
                    <a:pt x="61" y="19"/>
                  </a:lnTo>
                  <a:lnTo>
                    <a:pt x="57" y="21"/>
                  </a:lnTo>
                  <a:lnTo>
                    <a:pt x="54" y="23"/>
                  </a:lnTo>
                  <a:lnTo>
                    <a:pt x="50" y="23"/>
                  </a:lnTo>
                  <a:lnTo>
                    <a:pt x="46" y="23"/>
                  </a:lnTo>
                  <a:lnTo>
                    <a:pt x="46" y="23"/>
                  </a:lnTo>
                  <a:lnTo>
                    <a:pt x="35" y="23"/>
                  </a:lnTo>
                  <a:lnTo>
                    <a:pt x="27" y="25"/>
                  </a:lnTo>
                  <a:lnTo>
                    <a:pt x="17" y="25"/>
                  </a:lnTo>
                  <a:lnTo>
                    <a:pt x="12" y="27"/>
                  </a:lnTo>
                  <a:lnTo>
                    <a:pt x="8" y="30"/>
                  </a:lnTo>
                  <a:lnTo>
                    <a:pt x="4" y="34"/>
                  </a:lnTo>
                  <a:lnTo>
                    <a:pt x="2" y="42"/>
                  </a:lnTo>
                  <a:lnTo>
                    <a:pt x="0" y="4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69" name="Freeform 13"/>
            <p:cNvSpPr>
              <a:spLocks/>
            </p:cNvSpPr>
            <p:nvPr/>
          </p:nvSpPr>
          <p:spPr bwMode="gray">
            <a:xfrm>
              <a:off x="3420" y="1779"/>
              <a:ext cx="73" cy="79"/>
            </a:xfrm>
            <a:custGeom>
              <a:avLst/>
              <a:gdLst/>
              <a:ahLst/>
              <a:cxnLst>
                <a:cxn ang="0">
                  <a:pos x="103" y="130"/>
                </a:cxn>
                <a:cxn ang="0">
                  <a:pos x="101" y="126"/>
                </a:cxn>
                <a:cxn ang="0">
                  <a:pos x="97" y="122"/>
                </a:cxn>
                <a:cxn ang="0">
                  <a:pos x="94" y="120"/>
                </a:cxn>
                <a:cxn ang="0">
                  <a:pos x="88" y="118"/>
                </a:cxn>
                <a:cxn ang="0">
                  <a:pos x="82" y="120"/>
                </a:cxn>
                <a:cxn ang="0">
                  <a:pos x="69" y="126"/>
                </a:cxn>
                <a:cxn ang="0">
                  <a:pos x="52" y="133"/>
                </a:cxn>
                <a:cxn ang="0">
                  <a:pos x="35" y="139"/>
                </a:cxn>
                <a:cxn ang="0">
                  <a:pos x="0" y="143"/>
                </a:cxn>
                <a:cxn ang="0">
                  <a:pos x="2" y="137"/>
                </a:cxn>
                <a:cxn ang="0">
                  <a:pos x="4" y="122"/>
                </a:cxn>
                <a:cxn ang="0">
                  <a:pos x="2" y="107"/>
                </a:cxn>
                <a:cxn ang="0">
                  <a:pos x="0" y="90"/>
                </a:cxn>
                <a:cxn ang="0">
                  <a:pos x="0" y="82"/>
                </a:cxn>
                <a:cxn ang="0">
                  <a:pos x="2" y="69"/>
                </a:cxn>
                <a:cxn ang="0">
                  <a:pos x="10" y="55"/>
                </a:cxn>
                <a:cxn ang="0">
                  <a:pos x="19" y="44"/>
                </a:cxn>
                <a:cxn ang="0">
                  <a:pos x="33" y="32"/>
                </a:cxn>
                <a:cxn ang="0">
                  <a:pos x="46" y="21"/>
                </a:cxn>
                <a:cxn ang="0">
                  <a:pos x="61" y="13"/>
                </a:cxn>
                <a:cxn ang="0">
                  <a:pos x="75" y="6"/>
                </a:cxn>
                <a:cxn ang="0">
                  <a:pos x="86" y="0"/>
                </a:cxn>
                <a:cxn ang="0">
                  <a:pos x="94" y="0"/>
                </a:cxn>
                <a:cxn ang="0">
                  <a:pos x="107" y="9"/>
                </a:cxn>
                <a:cxn ang="0">
                  <a:pos x="118" y="21"/>
                </a:cxn>
                <a:cxn ang="0">
                  <a:pos x="126" y="34"/>
                </a:cxn>
                <a:cxn ang="0">
                  <a:pos x="128" y="42"/>
                </a:cxn>
                <a:cxn ang="0">
                  <a:pos x="120" y="53"/>
                </a:cxn>
                <a:cxn ang="0">
                  <a:pos x="103" y="67"/>
                </a:cxn>
                <a:cxn ang="0">
                  <a:pos x="84" y="82"/>
                </a:cxn>
                <a:cxn ang="0">
                  <a:pos x="71" y="92"/>
                </a:cxn>
                <a:cxn ang="0">
                  <a:pos x="77" y="92"/>
                </a:cxn>
                <a:cxn ang="0">
                  <a:pos x="90" y="93"/>
                </a:cxn>
                <a:cxn ang="0">
                  <a:pos x="103" y="95"/>
                </a:cxn>
                <a:cxn ang="0">
                  <a:pos x="115" y="97"/>
                </a:cxn>
                <a:cxn ang="0">
                  <a:pos x="118" y="97"/>
                </a:cxn>
                <a:cxn ang="0">
                  <a:pos x="117" y="107"/>
                </a:cxn>
                <a:cxn ang="0">
                  <a:pos x="113" y="113"/>
                </a:cxn>
                <a:cxn ang="0">
                  <a:pos x="107" y="118"/>
                </a:cxn>
                <a:cxn ang="0">
                  <a:pos x="101" y="122"/>
                </a:cxn>
                <a:cxn ang="0">
                  <a:pos x="103" y="130"/>
                </a:cxn>
              </a:cxnLst>
              <a:rect l="0" t="0" r="r" b="b"/>
              <a:pathLst>
                <a:path w="128" h="143">
                  <a:moveTo>
                    <a:pt x="103" y="130"/>
                  </a:moveTo>
                  <a:lnTo>
                    <a:pt x="103" y="130"/>
                  </a:lnTo>
                  <a:lnTo>
                    <a:pt x="103" y="128"/>
                  </a:lnTo>
                  <a:lnTo>
                    <a:pt x="101" y="126"/>
                  </a:lnTo>
                  <a:lnTo>
                    <a:pt x="99" y="124"/>
                  </a:lnTo>
                  <a:lnTo>
                    <a:pt x="97" y="122"/>
                  </a:lnTo>
                  <a:lnTo>
                    <a:pt x="96" y="122"/>
                  </a:lnTo>
                  <a:lnTo>
                    <a:pt x="94" y="120"/>
                  </a:lnTo>
                  <a:lnTo>
                    <a:pt x="90" y="118"/>
                  </a:lnTo>
                  <a:lnTo>
                    <a:pt x="88" y="118"/>
                  </a:lnTo>
                  <a:lnTo>
                    <a:pt x="88" y="118"/>
                  </a:lnTo>
                  <a:lnTo>
                    <a:pt x="82" y="120"/>
                  </a:lnTo>
                  <a:lnTo>
                    <a:pt x="77" y="122"/>
                  </a:lnTo>
                  <a:lnTo>
                    <a:pt x="69" y="126"/>
                  </a:lnTo>
                  <a:lnTo>
                    <a:pt x="61" y="128"/>
                  </a:lnTo>
                  <a:lnTo>
                    <a:pt x="52" y="133"/>
                  </a:lnTo>
                  <a:lnTo>
                    <a:pt x="42" y="137"/>
                  </a:lnTo>
                  <a:lnTo>
                    <a:pt x="35" y="139"/>
                  </a:lnTo>
                  <a:lnTo>
                    <a:pt x="27" y="143"/>
                  </a:lnTo>
                  <a:lnTo>
                    <a:pt x="0" y="143"/>
                  </a:lnTo>
                  <a:lnTo>
                    <a:pt x="0" y="143"/>
                  </a:lnTo>
                  <a:lnTo>
                    <a:pt x="2" y="137"/>
                  </a:lnTo>
                  <a:lnTo>
                    <a:pt x="4" y="130"/>
                  </a:lnTo>
                  <a:lnTo>
                    <a:pt x="4" y="122"/>
                  </a:lnTo>
                  <a:lnTo>
                    <a:pt x="4" y="114"/>
                  </a:lnTo>
                  <a:lnTo>
                    <a:pt x="2" y="107"/>
                  </a:lnTo>
                  <a:lnTo>
                    <a:pt x="2" y="97"/>
                  </a:lnTo>
                  <a:lnTo>
                    <a:pt x="0" y="90"/>
                  </a:lnTo>
                  <a:lnTo>
                    <a:pt x="0" y="82"/>
                  </a:lnTo>
                  <a:lnTo>
                    <a:pt x="0" y="82"/>
                  </a:lnTo>
                  <a:lnTo>
                    <a:pt x="0" y="74"/>
                  </a:lnTo>
                  <a:lnTo>
                    <a:pt x="2" y="69"/>
                  </a:lnTo>
                  <a:lnTo>
                    <a:pt x="6" y="63"/>
                  </a:lnTo>
                  <a:lnTo>
                    <a:pt x="10" y="55"/>
                  </a:lnTo>
                  <a:lnTo>
                    <a:pt x="14" y="50"/>
                  </a:lnTo>
                  <a:lnTo>
                    <a:pt x="19" y="44"/>
                  </a:lnTo>
                  <a:lnTo>
                    <a:pt x="25" y="38"/>
                  </a:lnTo>
                  <a:lnTo>
                    <a:pt x="33" y="32"/>
                  </a:lnTo>
                  <a:lnTo>
                    <a:pt x="38" y="27"/>
                  </a:lnTo>
                  <a:lnTo>
                    <a:pt x="46" y="21"/>
                  </a:lnTo>
                  <a:lnTo>
                    <a:pt x="54" y="17"/>
                  </a:lnTo>
                  <a:lnTo>
                    <a:pt x="61" y="13"/>
                  </a:lnTo>
                  <a:lnTo>
                    <a:pt x="67" y="8"/>
                  </a:lnTo>
                  <a:lnTo>
                    <a:pt x="75" y="6"/>
                  </a:lnTo>
                  <a:lnTo>
                    <a:pt x="80" y="2"/>
                  </a:lnTo>
                  <a:lnTo>
                    <a:pt x="86" y="0"/>
                  </a:lnTo>
                  <a:lnTo>
                    <a:pt x="86" y="0"/>
                  </a:lnTo>
                  <a:lnTo>
                    <a:pt x="94" y="0"/>
                  </a:lnTo>
                  <a:lnTo>
                    <a:pt x="101" y="4"/>
                  </a:lnTo>
                  <a:lnTo>
                    <a:pt x="107" y="9"/>
                  </a:lnTo>
                  <a:lnTo>
                    <a:pt x="115" y="13"/>
                  </a:lnTo>
                  <a:lnTo>
                    <a:pt x="118" y="21"/>
                  </a:lnTo>
                  <a:lnTo>
                    <a:pt x="124" y="27"/>
                  </a:lnTo>
                  <a:lnTo>
                    <a:pt x="126" y="34"/>
                  </a:lnTo>
                  <a:lnTo>
                    <a:pt x="128" y="42"/>
                  </a:lnTo>
                  <a:lnTo>
                    <a:pt x="128" y="42"/>
                  </a:lnTo>
                  <a:lnTo>
                    <a:pt x="126" y="48"/>
                  </a:lnTo>
                  <a:lnTo>
                    <a:pt x="120" y="53"/>
                  </a:lnTo>
                  <a:lnTo>
                    <a:pt x="113" y="59"/>
                  </a:lnTo>
                  <a:lnTo>
                    <a:pt x="103" y="67"/>
                  </a:lnTo>
                  <a:lnTo>
                    <a:pt x="94" y="74"/>
                  </a:lnTo>
                  <a:lnTo>
                    <a:pt x="84" y="82"/>
                  </a:lnTo>
                  <a:lnTo>
                    <a:pt x="77" y="88"/>
                  </a:lnTo>
                  <a:lnTo>
                    <a:pt x="71" y="92"/>
                  </a:lnTo>
                  <a:lnTo>
                    <a:pt x="71" y="92"/>
                  </a:lnTo>
                  <a:lnTo>
                    <a:pt x="77" y="92"/>
                  </a:lnTo>
                  <a:lnTo>
                    <a:pt x="84" y="93"/>
                  </a:lnTo>
                  <a:lnTo>
                    <a:pt x="90" y="93"/>
                  </a:lnTo>
                  <a:lnTo>
                    <a:pt x="97" y="95"/>
                  </a:lnTo>
                  <a:lnTo>
                    <a:pt x="103" y="95"/>
                  </a:lnTo>
                  <a:lnTo>
                    <a:pt x="109" y="97"/>
                  </a:lnTo>
                  <a:lnTo>
                    <a:pt x="115" y="97"/>
                  </a:lnTo>
                  <a:lnTo>
                    <a:pt x="118" y="97"/>
                  </a:lnTo>
                  <a:lnTo>
                    <a:pt x="118" y="97"/>
                  </a:lnTo>
                  <a:lnTo>
                    <a:pt x="117" y="103"/>
                  </a:lnTo>
                  <a:lnTo>
                    <a:pt x="117" y="107"/>
                  </a:lnTo>
                  <a:lnTo>
                    <a:pt x="115" y="111"/>
                  </a:lnTo>
                  <a:lnTo>
                    <a:pt x="113" y="113"/>
                  </a:lnTo>
                  <a:lnTo>
                    <a:pt x="111" y="116"/>
                  </a:lnTo>
                  <a:lnTo>
                    <a:pt x="107" y="118"/>
                  </a:lnTo>
                  <a:lnTo>
                    <a:pt x="105" y="120"/>
                  </a:lnTo>
                  <a:lnTo>
                    <a:pt x="101" y="122"/>
                  </a:lnTo>
                  <a:lnTo>
                    <a:pt x="103" y="122"/>
                  </a:lnTo>
                  <a:lnTo>
                    <a:pt x="103" y="13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0" name="Freeform 14"/>
            <p:cNvSpPr>
              <a:spLocks/>
            </p:cNvSpPr>
            <p:nvPr/>
          </p:nvSpPr>
          <p:spPr bwMode="gray">
            <a:xfrm>
              <a:off x="3405" y="1788"/>
              <a:ext cx="425" cy="637"/>
            </a:xfrm>
            <a:custGeom>
              <a:avLst/>
              <a:gdLst/>
              <a:ahLst/>
              <a:cxnLst>
                <a:cxn ang="0">
                  <a:pos x="54" y="723"/>
                </a:cxn>
                <a:cxn ang="0">
                  <a:pos x="29" y="763"/>
                </a:cxn>
                <a:cxn ang="0">
                  <a:pos x="0" y="788"/>
                </a:cxn>
                <a:cxn ang="0">
                  <a:pos x="60" y="1147"/>
                </a:cxn>
                <a:cxn ang="0">
                  <a:pos x="81" y="1122"/>
                </a:cxn>
                <a:cxn ang="0">
                  <a:pos x="104" y="1080"/>
                </a:cxn>
                <a:cxn ang="0">
                  <a:pos x="138" y="1048"/>
                </a:cxn>
                <a:cxn ang="0">
                  <a:pos x="168" y="1013"/>
                </a:cxn>
                <a:cxn ang="0">
                  <a:pos x="218" y="962"/>
                </a:cxn>
                <a:cxn ang="0">
                  <a:pos x="271" y="914"/>
                </a:cxn>
                <a:cxn ang="0">
                  <a:pos x="329" y="866"/>
                </a:cxn>
                <a:cxn ang="0">
                  <a:pos x="384" y="819"/>
                </a:cxn>
                <a:cxn ang="0">
                  <a:pos x="434" y="767"/>
                </a:cxn>
                <a:cxn ang="0">
                  <a:pos x="472" y="727"/>
                </a:cxn>
                <a:cxn ang="0">
                  <a:pos x="508" y="685"/>
                </a:cxn>
                <a:cxn ang="0">
                  <a:pos x="550" y="622"/>
                </a:cxn>
                <a:cxn ang="0">
                  <a:pos x="590" y="555"/>
                </a:cxn>
                <a:cxn ang="0">
                  <a:pos x="607" y="508"/>
                </a:cxn>
                <a:cxn ang="0">
                  <a:pos x="619" y="468"/>
                </a:cxn>
                <a:cxn ang="0">
                  <a:pos x="632" y="429"/>
                </a:cxn>
                <a:cxn ang="0">
                  <a:pos x="651" y="389"/>
                </a:cxn>
                <a:cxn ang="0">
                  <a:pos x="680" y="334"/>
                </a:cxn>
                <a:cxn ang="0">
                  <a:pos x="704" y="283"/>
                </a:cxn>
                <a:cxn ang="0">
                  <a:pos x="718" y="250"/>
                </a:cxn>
                <a:cxn ang="0">
                  <a:pos x="729" y="218"/>
                </a:cxn>
                <a:cxn ang="0">
                  <a:pos x="731" y="174"/>
                </a:cxn>
                <a:cxn ang="0">
                  <a:pos x="737" y="138"/>
                </a:cxn>
                <a:cxn ang="0">
                  <a:pos x="750" y="122"/>
                </a:cxn>
                <a:cxn ang="0">
                  <a:pos x="744" y="88"/>
                </a:cxn>
                <a:cxn ang="0">
                  <a:pos x="741" y="54"/>
                </a:cxn>
                <a:cxn ang="0">
                  <a:pos x="743" y="31"/>
                </a:cxn>
                <a:cxn ang="0">
                  <a:pos x="750" y="0"/>
                </a:cxn>
                <a:cxn ang="0">
                  <a:pos x="737" y="0"/>
                </a:cxn>
                <a:cxn ang="0">
                  <a:pos x="710" y="4"/>
                </a:cxn>
                <a:cxn ang="0">
                  <a:pos x="687" y="25"/>
                </a:cxn>
                <a:cxn ang="0">
                  <a:pos x="664" y="46"/>
                </a:cxn>
                <a:cxn ang="0">
                  <a:pos x="611" y="59"/>
                </a:cxn>
                <a:cxn ang="0">
                  <a:pos x="540" y="67"/>
                </a:cxn>
                <a:cxn ang="0">
                  <a:pos x="464" y="84"/>
                </a:cxn>
                <a:cxn ang="0">
                  <a:pos x="441" y="98"/>
                </a:cxn>
                <a:cxn ang="0">
                  <a:pos x="414" y="118"/>
                </a:cxn>
                <a:cxn ang="0">
                  <a:pos x="386" y="128"/>
                </a:cxn>
                <a:cxn ang="0">
                  <a:pos x="355" y="120"/>
                </a:cxn>
                <a:cxn ang="0">
                  <a:pos x="325" y="122"/>
                </a:cxn>
                <a:cxn ang="0">
                  <a:pos x="294" y="145"/>
                </a:cxn>
                <a:cxn ang="0">
                  <a:pos x="254" y="162"/>
                </a:cxn>
                <a:cxn ang="0">
                  <a:pos x="212" y="153"/>
                </a:cxn>
                <a:cxn ang="0">
                  <a:pos x="176" y="118"/>
                </a:cxn>
                <a:cxn ang="0">
                  <a:pos x="145" y="82"/>
                </a:cxn>
                <a:cxn ang="0">
                  <a:pos x="138" y="101"/>
                </a:cxn>
                <a:cxn ang="0">
                  <a:pos x="119" y="117"/>
                </a:cxn>
                <a:cxn ang="0">
                  <a:pos x="98" y="155"/>
                </a:cxn>
                <a:cxn ang="0">
                  <a:pos x="117" y="174"/>
                </a:cxn>
                <a:cxn ang="0">
                  <a:pos x="136" y="199"/>
                </a:cxn>
                <a:cxn ang="0">
                  <a:pos x="165" y="241"/>
                </a:cxn>
                <a:cxn ang="0">
                  <a:pos x="201" y="273"/>
                </a:cxn>
                <a:cxn ang="0">
                  <a:pos x="304" y="611"/>
                </a:cxn>
                <a:cxn ang="0">
                  <a:pos x="184" y="635"/>
                </a:cxn>
                <a:cxn ang="0">
                  <a:pos x="130" y="670"/>
                </a:cxn>
                <a:cxn ang="0">
                  <a:pos x="69" y="693"/>
                </a:cxn>
              </a:cxnLst>
              <a:rect l="0" t="0" r="r" b="b"/>
              <a:pathLst>
                <a:path w="750" h="1160">
                  <a:moveTo>
                    <a:pt x="60" y="695"/>
                  </a:moveTo>
                  <a:lnTo>
                    <a:pt x="60" y="695"/>
                  </a:lnTo>
                  <a:lnTo>
                    <a:pt x="60" y="702"/>
                  </a:lnTo>
                  <a:lnTo>
                    <a:pt x="58" y="708"/>
                  </a:lnTo>
                  <a:lnTo>
                    <a:pt x="58" y="716"/>
                  </a:lnTo>
                  <a:lnTo>
                    <a:pt x="54" y="723"/>
                  </a:lnTo>
                  <a:lnTo>
                    <a:pt x="52" y="729"/>
                  </a:lnTo>
                  <a:lnTo>
                    <a:pt x="48" y="737"/>
                  </a:lnTo>
                  <a:lnTo>
                    <a:pt x="44" y="744"/>
                  </a:lnTo>
                  <a:lnTo>
                    <a:pt x="39" y="750"/>
                  </a:lnTo>
                  <a:lnTo>
                    <a:pt x="35" y="758"/>
                  </a:lnTo>
                  <a:lnTo>
                    <a:pt x="29" y="763"/>
                  </a:lnTo>
                  <a:lnTo>
                    <a:pt x="25" y="769"/>
                  </a:lnTo>
                  <a:lnTo>
                    <a:pt x="20" y="773"/>
                  </a:lnTo>
                  <a:lnTo>
                    <a:pt x="16" y="779"/>
                  </a:lnTo>
                  <a:lnTo>
                    <a:pt x="10" y="782"/>
                  </a:lnTo>
                  <a:lnTo>
                    <a:pt x="6" y="786"/>
                  </a:lnTo>
                  <a:lnTo>
                    <a:pt x="0" y="788"/>
                  </a:lnTo>
                  <a:lnTo>
                    <a:pt x="0" y="1090"/>
                  </a:lnTo>
                  <a:lnTo>
                    <a:pt x="50" y="1160"/>
                  </a:lnTo>
                  <a:lnTo>
                    <a:pt x="50" y="1160"/>
                  </a:lnTo>
                  <a:lnTo>
                    <a:pt x="54" y="1156"/>
                  </a:lnTo>
                  <a:lnTo>
                    <a:pt x="58" y="1151"/>
                  </a:lnTo>
                  <a:lnTo>
                    <a:pt x="60" y="1147"/>
                  </a:lnTo>
                  <a:lnTo>
                    <a:pt x="63" y="1143"/>
                  </a:lnTo>
                  <a:lnTo>
                    <a:pt x="67" y="1137"/>
                  </a:lnTo>
                  <a:lnTo>
                    <a:pt x="73" y="1133"/>
                  </a:lnTo>
                  <a:lnTo>
                    <a:pt x="77" y="1128"/>
                  </a:lnTo>
                  <a:lnTo>
                    <a:pt x="81" y="1122"/>
                  </a:lnTo>
                  <a:lnTo>
                    <a:pt x="81" y="1122"/>
                  </a:lnTo>
                  <a:lnTo>
                    <a:pt x="83" y="1114"/>
                  </a:lnTo>
                  <a:lnTo>
                    <a:pt x="86" y="1107"/>
                  </a:lnTo>
                  <a:lnTo>
                    <a:pt x="90" y="1099"/>
                  </a:lnTo>
                  <a:lnTo>
                    <a:pt x="94" y="1091"/>
                  </a:lnTo>
                  <a:lnTo>
                    <a:pt x="100" y="1086"/>
                  </a:lnTo>
                  <a:lnTo>
                    <a:pt x="104" y="1080"/>
                  </a:lnTo>
                  <a:lnTo>
                    <a:pt x="109" y="1074"/>
                  </a:lnTo>
                  <a:lnTo>
                    <a:pt x="115" y="1069"/>
                  </a:lnTo>
                  <a:lnTo>
                    <a:pt x="119" y="1063"/>
                  </a:lnTo>
                  <a:lnTo>
                    <a:pt x="126" y="1059"/>
                  </a:lnTo>
                  <a:lnTo>
                    <a:pt x="132" y="1053"/>
                  </a:lnTo>
                  <a:lnTo>
                    <a:pt x="138" y="1048"/>
                  </a:lnTo>
                  <a:lnTo>
                    <a:pt x="144" y="1042"/>
                  </a:lnTo>
                  <a:lnTo>
                    <a:pt x="149" y="1036"/>
                  </a:lnTo>
                  <a:lnTo>
                    <a:pt x="155" y="1030"/>
                  </a:lnTo>
                  <a:lnTo>
                    <a:pt x="161" y="1023"/>
                  </a:lnTo>
                  <a:lnTo>
                    <a:pt x="161" y="1023"/>
                  </a:lnTo>
                  <a:lnTo>
                    <a:pt x="168" y="1013"/>
                  </a:lnTo>
                  <a:lnTo>
                    <a:pt x="176" y="1004"/>
                  </a:lnTo>
                  <a:lnTo>
                    <a:pt x="184" y="996"/>
                  </a:lnTo>
                  <a:lnTo>
                    <a:pt x="191" y="987"/>
                  </a:lnTo>
                  <a:lnTo>
                    <a:pt x="201" y="979"/>
                  </a:lnTo>
                  <a:lnTo>
                    <a:pt x="208" y="969"/>
                  </a:lnTo>
                  <a:lnTo>
                    <a:pt x="218" y="962"/>
                  </a:lnTo>
                  <a:lnTo>
                    <a:pt x="226" y="954"/>
                  </a:lnTo>
                  <a:lnTo>
                    <a:pt x="235" y="945"/>
                  </a:lnTo>
                  <a:lnTo>
                    <a:pt x="245" y="937"/>
                  </a:lnTo>
                  <a:lnTo>
                    <a:pt x="254" y="929"/>
                  </a:lnTo>
                  <a:lnTo>
                    <a:pt x="262" y="922"/>
                  </a:lnTo>
                  <a:lnTo>
                    <a:pt x="271" y="914"/>
                  </a:lnTo>
                  <a:lnTo>
                    <a:pt x="281" y="906"/>
                  </a:lnTo>
                  <a:lnTo>
                    <a:pt x="290" y="899"/>
                  </a:lnTo>
                  <a:lnTo>
                    <a:pt x="300" y="891"/>
                  </a:lnTo>
                  <a:lnTo>
                    <a:pt x="310" y="883"/>
                  </a:lnTo>
                  <a:lnTo>
                    <a:pt x="319" y="876"/>
                  </a:lnTo>
                  <a:lnTo>
                    <a:pt x="329" y="866"/>
                  </a:lnTo>
                  <a:lnTo>
                    <a:pt x="338" y="859"/>
                  </a:lnTo>
                  <a:lnTo>
                    <a:pt x="346" y="851"/>
                  </a:lnTo>
                  <a:lnTo>
                    <a:pt x="355" y="843"/>
                  </a:lnTo>
                  <a:lnTo>
                    <a:pt x="365" y="836"/>
                  </a:lnTo>
                  <a:lnTo>
                    <a:pt x="374" y="826"/>
                  </a:lnTo>
                  <a:lnTo>
                    <a:pt x="384" y="819"/>
                  </a:lnTo>
                  <a:lnTo>
                    <a:pt x="392" y="811"/>
                  </a:lnTo>
                  <a:lnTo>
                    <a:pt x="401" y="801"/>
                  </a:lnTo>
                  <a:lnTo>
                    <a:pt x="409" y="794"/>
                  </a:lnTo>
                  <a:lnTo>
                    <a:pt x="416" y="784"/>
                  </a:lnTo>
                  <a:lnTo>
                    <a:pt x="426" y="775"/>
                  </a:lnTo>
                  <a:lnTo>
                    <a:pt x="434" y="767"/>
                  </a:lnTo>
                  <a:lnTo>
                    <a:pt x="441" y="758"/>
                  </a:lnTo>
                  <a:lnTo>
                    <a:pt x="441" y="758"/>
                  </a:lnTo>
                  <a:lnTo>
                    <a:pt x="449" y="748"/>
                  </a:lnTo>
                  <a:lnTo>
                    <a:pt x="456" y="740"/>
                  </a:lnTo>
                  <a:lnTo>
                    <a:pt x="464" y="735"/>
                  </a:lnTo>
                  <a:lnTo>
                    <a:pt x="472" y="727"/>
                  </a:lnTo>
                  <a:lnTo>
                    <a:pt x="481" y="719"/>
                  </a:lnTo>
                  <a:lnTo>
                    <a:pt x="489" y="712"/>
                  </a:lnTo>
                  <a:lnTo>
                    <a:pt x="496" y="704"/>
                  </a:lnTo>
                  <a:lnTo>
                    <a:pt x="502" y="695"/>
                  </a:lnTo>
                  <a:lnTo>
                    <a:pt x="502" y="695"/>
                  </a:lnTo>
                  <a:lnTo>
                    <a:pt x="508" y="685"/>
                  </a:lnTo>
                  <a:lnTo>
                    <a:pt x="514" y="676"/>
                  </a:lnTo>
                  <a:lnTo>
                    <a:pt x="521" y="664"/>
                  </a:lnTo>
                  <a:lnTo>
                    <a:pt x="529" y="655"/>
                  </a:lnTo>
                  <a:lnTo>
                    <a:pt x="535" y="643"/>
                  </a:lnTo>
                  <a:lnTo>
                    <a:pt x="542" y="634"/>
                  </a:lnTo>
                  <a:lnTo>
                    <a:pt x="550" y="622"/>
                  </a:lnTo>
                  <a:lnTo>
                    <a:pt x="557" y="611"/>
                  </a:lnTo>
                  <a:lnTo>
                    <a:pt x="565" y="599"/>
                  </a:lnTo>
                  <a:lnTo>
                    <a:pt x="571" y="588"/>
                  </a:lnTo>
                  <a:lnTo>
                    <a:pt x="578" y="576"/>
                  </a:lnTo>
                  <a:lnTo>
                    <a:pt x="584" y="567"/>
                  </a:lnTo>
                  <a:lnTo>
                    <a:pt x="590" y="555"/>
                  </a:lnTo>
                  <a:lnTo>
                    <a:pt x="596" y="544"/>
                  </a:lnTo>
                  <a:lnTo>
                    <a:pt x="599" y="534"/>
                  </a:lnTo>
                  <a:lnTo>
                    <a:pt x="603" y="523"/>
                  </a:lnTo>
                  <a:lnTo>
                    <a:pt x="603" y="523"/>
                  </a:lnTo>
                  <a:lnTo>
                    <a:pt x="605" y="515"/>
                  </a:lnTo>
                  <a:lnTo>
                    <a:pt x="607" y="508"/>
                  </a:lnTo>
                  <a:lnTo>
                    <a:pt x="611" y="500"/>
                  </a:lnTo>
                  <a:lnTo>
                    <a:pt x="613" y="492"/>
                  </a:lnTo>
                  <a:lnTo>
                    <a:pt x="613" y="487"/>
                  </a:lnTo>
                  <a:lnTo>
                    <a:pt x="615" y="481"/>
                  </a:lnTo>
                  <a:lnTo>
                    <a:pt x="617" y="473"/>
                  </a:lnTo>
                  <a:lnTo>
                    <a:pt x="619" y="468"/>
                  </a:lnTo>
                  <a:lnTo>
                    <a:pt x="620" y="462"/>
                  </a:lnTo>
                  <a:lnTo>
                    <a:pt x="622" y="456"/>
                  </a:lnTo>
                  <a:lnTo>
                    <a:pt x="624" y="449"/>
                  </a:lnTo>
                  <a:lnTo>
                    <a:pt x="626" y="443"/>
                  </a:lnTo>
                  <a:lnTo>
                    <a:pt x="630" y="435"/>
                  </a:lnTo>
                  <a:lnTo>
                    <a:pt x="632" y="429"/>
                  </a:lnTo>
                  <a:lnTo>
                    <a:pt x="636" y="422"/>
                  </a:lnTo>
                  <a:lnTo>
                    <a:pt x="640" y="414"/>
                  </a:lnTo>
                  <a:lnTo>
                    <a:pt x="640" y="414"/>
                  </a:lnTo>
                  <a:lnTo>
                    <a:pt x="643" y="407"/>
                  </a:lnTo>
                  <a:lnTo>
                    <a:pt x="647" y="399"/>
                  </a:lnTo>
                  <a:lnTo>
                    <a:pt x="651" y="389"/>
                  </a:lnTo>
                  <a:lnTo>
                    <a:pt x="655" y="382"/>
                  </a:lnTo>
                  <a:lnTo>
                    <a:pt x="661" y="372"/>
                  </a:lnTo>
                  <a:lnTo>
                    <a:pt x="664" y="363"/>
                  </a:lnTo>
                  <a:lnTo>
                    <a:pt x="670" y="353"/>
                  </a:lnTo>
                  <a:lnTo>
                    <a:pt x="674" y="344"/>
                  </a:lnTo>
                  <a:lnTo>
                    <a:pt x="680" y="334"/>
                  </a:lnTo>
                  <a:lnTo>
                    <a:pt x="683" y="325"/>
                  </a:lnTo>
                  <a:lnTo>
                    <a:pt x="687" y="315"/>
                  </a:lnTo>
                  <a:lnTo>
                    <a:pt x="693" y="305"/>
                  </a:lnTo>
                  <a:lnTo>
                    <a:pt x="697" y="298"/>
                  </a:lnTo>
                  <a:lnTo>
                    <a:pt x="701" y="290"/>
                  </a:lnTo>
                  <a:lnTo>
                    <a:pt x="704" y="283"/>
                  </a:lnTo>
                  <a:lnTo>
                    <a:pt x="706" y="275"/>
                  </a:lnTo>
                  <a:lnTo>
                    <a:pt x="706" y="275"/>
                  </a:lnTo>
                  <a:lnTo>
                    <a:pt x="708" y="269"/>
                  </a:lnTo>
                  <a:lnTo>
                    <a:pt x="712" y="262"/>
                  </a:lnTo>
                  <a:lnTo>
                    <a:pt x="714" y="256"/>
                  </a:lnTo>
                  <a:lnTo>
                    <a:pt x="718" y="250"/>
                  </a:lnTo>
                  <a:lnTo>
                    <a:pt x="720" y="244"/>
                  </a:lnTo>
                  <a:lnTo>
                    <a:pt x="723" y="239"/>
                  </a:lnTo>
                  <a:lnTo>
                    <a:pt x="725" y="231"/>
                  </a:lnTo>
                  <a:lnTo>
                    <a:pt x="727" y="225"/>
                  </a:lnTo>
                  <a:lnTo>
                    <a:pt x="727" y="225"/>
                  </a:lnTo>
                  <a:lnTo>
                    <a:pt x="729" y="218"/>
                  </a:lnTo>
                  <a:lnTo>
                    <a:pt x="731" y="210"/>
                  </a:lnTo>
                  <a:lnTo>
                    <a:pt x="731" y="202"/>
                  </a:lnTo>
                  <a:lnTo>
                    <a:pt x="731" y="195"/>
                  </a:lnTo>
                  <a:lnTo>
                    <a:pt x="731" y="187"/>
                  </a:lnTo>
                  <a:lnTo>
                    <a:pt x="731" y="180"/>
                  </a:lnTo>
                  <a:lnTo>
                    <a:pt x="731" y="174"/>
                  </a:lnTo>
                  <a:lnTo>
                    <a:pt x="731" y="166"/>
                  </a:lnTo>
                  <a:lnTo>
                    <a:pt x="731" y="160"/>
                  </a:lnTo>
                  <a:lnTo>
                    <a:pt x="731" y="155"/>
                  </a:lnTo>
                  <a:lnTo>
                    <a:pt x="733" y="149"/>
                  </a:lnTo>
                  <a:lnTo>
                    <a:pt x="735" y="143"/>
                  </a:lnTo>
                  <a:lnTo>
                    <a:pt x="737" y="138"/>
                  </a:lnTo>
                  <a:lnTo>
                    <a:pt x="741" y="134"/>
                  </a:lnTo>
                  <a:lnTo>
                    <a:pt x="744" y="128"/>
                  </a:lnTo>
                  <a:lnTo>
                    <a:pt x="750" y="124"/>
                  </a:lnTo>
                  <a:lnTo>
                    <a:pt x="750" y="124"/>
                  </a:lnTo>
                  <a:lnTo>
                    <a:pt x="750" y="124"/>
                  </a:lnTo>
                  <a:lnTo>
                    <a:pt x="750" y="122"/>
                  </a:lnTo>
                  <a:lnTo>
                    <a:pt x="750" y="118"/>
                  </a:lnTo>
                  <a:lnTo>
                    <a:pt x="750" y="113"/>
                  </a:lnTo>
                  <a:lnTo>
                    <a:pt x="748" y="109"/>
                  </a:lnTo>
                  <a:lnTo>
                    <a:pt x="746" y="101"/>
                  </a:lnTo>
                  <a:lnTo>
                    <a:pt x="746" y="96"/>
                  </a:lnTo>
                  <a:lnTo>
                    <a:pt x="744" y="88"/>
                  </a:lnTo>
                  <a:lnTo>
                    <a:pt x="744" y="82"/>
                  </a:lnTo>
                  <a:lnTo>
                    <a:pt x="743" y="75"/>
                  </a:lnTo>
                  <a:lnTo>
                    <a:pt x="743" y="69"/>
                  </a:lnTo>
                  <a:lnTo>
                    <a:pt x="741" y="63"/>
                  </a:lnTo>
                  <a:lnTo>
                    <a:pt x="741" y="57"/>
                  </a:lnTo>
                  <a:lnTo>
                    <a:pt x="741" y="54"/>
                  </a:lnTo>
                  <a:lnTo>
                    <a:pt x="739" y="50"/>
                  </a:lnTo>
                  <a:lnTo>
                    <a:pt x="739" y="48"/>
                  </a:lnTo>
                  <a:lnTo>
                    <a:pt x="739" y="48"/>
                  </a:lnTo>
                  <a:lnTo>
                    <a:pt x="741" y="42"/>
                  </a:lnTo>
                  <a:lnTo>
                    <a:pt x="741" y="35"/>
                  </a:lnTo>
                  <a:lnTo>
                    <a:pt x="743" y="31"/>
                  </a:lnTo>
                  <a:lnTo>
                    <a:pt x="744" y="25"/>
                  </a:lnTo>
                  <a:lnTo>
                    <a:pt x="746" y="21"/>
                  </a:lnTo>
                  <a:lnTo>
                    <a:pt x="748" y="15"/>
                  </a:lnTo>
                  <a:lnTo>
                    <a:pt x="750" y="10"/>
                  </a:lnTo>
                  <a:lnTo>
                    <a:pt x="750" y="0"/>
                  </a:lnTo>
                  <a:lnTo>
                    <a:pt x="750" y="0"/>
                  </a:lnTo>
                  <a:lnTo>
                    <a:pt x="748" y="2"/>
                  </a:lnTo>
                  <a:lnTo>
                    <a:pt x="746" y="2"/>
                  </a:lnTo>
                  <a:lnTo>
                    <a:pt x="744" y="2"/>
                  </a:lnTo>
                  <a:lnTo>
                    <a:pt x="743" y="2"/>
                  </a:lnTo>
                  <a:lnTo>
                    <a:pt x="741" y="2"/>
                  </a:lnTo>
                  <a:lnTo>
                    <a:pt x="737" y="0"/>
                  </a:lnTo>
                  <a:lnTo>
                    <a:pt x="733" y="0"/>
                  </a:lnTo>
                  <a:lnTo>
                    <a:pt x="727" y="0"/>
                  </a:lnTo>
                  <a:lnTo>
                    <a:pt x="727" y="0"/>
                  </a:lnTo>
                  <a:lnTo>
                    <a:pt x="722" y="0"/>
                  </a:lnTo>
                  <a:lnTo>
                    <a:pt x="716" y="2"/>
                  </a:lnTo>
                  <a:lnTo>
                    <a:pt x="710" y="4"/>
                  </a:lnTo>
                  <a:lnTo>
                    <a:pt x="706" y="8"/>
                  </a:lnTo>
                  <a:lnTo>
                    <a:pt x="702" y="10"/>
                  </a:lnTo>
                  <a:lnTo>
                    <a:pt x="699" y="14"/>
                  </a:lnTo>
                  <a:lnTo>
                    <a:pt x="695" y="17"/>
                  </a:lnTo>
                  <a:lnTo>
                    <a:pt x="691" y="21"/>
                  </a:lnTo>
                  <a:lnTo>
                    <a:pt x="687" y="25"/>
                  </a:lnTo>
                  <a:lnTo>
                    <a:pt x="683" y="29"/>
                  </a:lnTo>
                  <a:lnTo>
                    <a:pt x="681" y="33"/>
                  </a:lnTo>
                  <a:lnTo>
                    <a:pt x="678" y="36"/>
                  </a:lnTo>
                  <a:lnTo>
                    <a:pt x="674" y="40"/>
                  </a:lnTo>
                  <a:lnTo>
                    <a:pt x="668" y="44"/>
                  </a:lnTo>
                  <a:lnTo>
                    <a:pt x="664" y="46"/>
                  </a:lnTo>
                  <a:lnTo>
                    <a:pt x="659" y="48"/>
                  </a:lnTo>
                  <a:lnTo>
                    <a:pt x="659" y="48"/>
                  </a:lnTo>
                  <a:lnTo>
                    <a:pt x="647" y="52"/>
                  </a:lnTo>
                  <a:lnTo>
                    <a:pt x="634" y="56"/>
                  </a:lnTo>
                  <a:lnTo>
                    <a:pt x="622" y="57"/>
                  </a:lnTo>
                  <a:lnTo>
                    <a:pt x="611" y="59"/>
                  </a:lnTo>
                  <a:lnTo>
                    <a:pt x="599" y="61"/>
                  </a:lnTo>
                  <a:lnTo>
                    <a:pt x="588" y="63"/>
                  </a:lnTo>
                  <a:lnTo>
                    <a:pt x="577" y="63"/>
                  </a:lnTo>
                  <a:lnTo>
                    <a:pt x="563" y="65"/>
                  </a:lnTo>
                  <a:lnTo>
                    <a:pt x="552" y="67"/>
                  </a:lnTo>
                  <a:lnTo>
                    <a:pt x="540" y="67"/>
                  </a:lnTo>
                  <a:lnTo>
                    <a:pt x="529" y="69"/>
                  </a:lnTo>
                  <a:lnTo>
                    <a:pt x="516" y="71"/>
                  </a:lnTo>
                  <a:lnTo>
                    <a:pt x="504" y="73"/>
                  </a:lnTo>
                  <a:lnTo>
                    <a:pt x="491" y="77"/>
                  </a:lnTo>
                  <a:lnTo>
                    <a:pt x="477" y="78"/>
                  </a:lnTo>
                  <a:lnTo>
                    <a:pt x="464" y="84"/>
                  </a:lnTo>
                  <a:lnTo>
                    <a:pt x="464" y="84"/>
                  </a:lnTo>
                  <a:lnTo>
                    <a:pt x="458" y="86"/>
                  </a:lnTo>
                  <a:lnTo>
                    <a:pt x="454" y="88"/>
                  </a:lnTo>
                  <a:lnTo>
                    <a:pt x="449" y="92"/>
                  </a:lnTo>
                  <a:lnTo>
                    <a:pt x="445" y="94"/>
                  </a:lnTo>
                  <a:lnTo>
                    <a:pt x="441" y="98"/>
                  </a:lnTo>
                  <a:lnTo>
                    <a:pt x="437" y="101"/>
                  </a:lnTo>
                  <a:lnTo>
                    <a:pt x="434" y="105"/>
                  </a:lnTo>
                  <a:lnTo>
                    <a:pt x="428" y="109"/>
                  </a:lnTo>
                  <a:lnTo>
                    <a:pt x="424" y="113"/>
                  </a:lnTo>
                  <a:lnTo>
                    <a:pt x="420" y="117"/>
                  </a:lnTo>
                  <a:lnTo>
                    <a:pt x="414" y="118"/>
                  </a:lnTo>
                  <a:lnTo>
                    <a:pt x="411" y="122"/>
                  </a:lnTo>
                  <a:lnTo>
                    <a:pt x="405" y="124"/>
                  </a:lnTo>
                  <a:lnTo>
                    <a:pt x="399" y="126"/>
                  </a:lnTo>
                  <a:lnTo>
                    <a:pt x="392" y="126"/>
                  </a:lnTo>
                  <a:lnTo>
                    <a:pt x="386" y="128"/>
                  </a:lnTo>
                  <a:lnTo>
                    <a:pt x="386" y="128"/>
                  </a:lnTo>
                  <a:lnTo>
                    <a:pt x="380" y="126"/>
                  </a:lnTo>
                  <a:lnTo>
                    <a:pt x="374" y="126"/>
                  </a:lnTo>
                  <a:lnTo>
                    <a:pt x="371" y="124"/>
                  </a:lnTo>
                  <a:lnTo>
                    <a:pt x="365" y="122"/>
                  </a:lnTo>
                  <a:lnTo>
                    <a:pt x="361" y="122"/>
                  </a:lnTo>
                  <a:lnTo>
                    <a:pt x="355" y="120"/>
                  </a:lnTo>
                  <a:lnTo>
                    <a:pt x="351" y="118"/>
                  </a:lnTo>
                  <a:lnTo>
                    <a:pt x="346" y="118"/>
                  </a:lnTo>
                  <a:lnTo>
                    <a:pt x="346" y="118"/>
                  </a:lnTo>
                  <a:lnTo>
                    <a:pt x="338" y="118"/>
                  </a:lnTo>
                  <a:lnTo>
                    <a:pt x="332" y="120"/>
                  </a:lnTo>
                  <a:lnTo>
                    <a:pt x="325" y="122"/>
                  </a:lnTo>
                  <a:lnTo>
                    <a:pt x="319" y="126"/>
                  </a:lnTo>
                  <a:lnTo>
                    <a:pt x="315" y="130"/>
                  </a:lnTo>
                  <a:lnTo>
                    <a:pt x="310" y="134"/>
                  </a:lnTo>
                  <a:lnTo>
                    <a:pt x="304" y="138"/>
                  </a:lnTo>
                  <a:lnTo>
                    <a:pt x="300" y="141"/>
                  </a:lnTo>
                  <a:lnTo>
                    <a:pt x="294" y="145"/>
                  </a:lnTo>
                  <a:lnTo>
                    <a:pt x="289" y="149"/>
                  </a:lnTo>
                  <a:lnTo>
                    <a:pt x="283" y="153"/>
                  </a:lnTo>
                  <a:lnTo>
                    <a:pt x="277" y="157"/>
                  </a:lnTo>
                  <a:lnTo>
                    <a:pt x="269" y="159"/>
                  </a:lnTo>
                  <a:lnTo>
                    <a:pt x="262" y="160"/>
                  </a:lnTo>
                  <a:lnTo>
                    <a:pt x="254" y="162"/>
                  </a:lnTo>
                  <a:lnTo>
                    <a:pt x="245" y="162"/>
                  </a:lnTo>
                  <a:lnTo>
                    <a:pt x="245" y="162"/>
                  </a:lnTo>
                  <a:lnTo>
                    <a:pt x="237" y="162"/>
                  </a:lnTo>
                  <a:lnTo>
                    <a:pt x="227" y="160"/>
                  </a:lnTo>
                  <a:lnTo>
                    <a:pt x="220" y="157"/>
                  </a:lnTo>
                  <a:lnTo>
                    <a:pt x="212" y="153"/>
                  </a:lnTo>
                  <a:lnTo>
                    <a:pt x="207" y="149"/>
                  </a:lnTo>
                  <a:lnTo>
                    <a:pt x="199" y="143"/>
                  </a:lnTo>
                  <a:lnTo>
                    <a:pt x="193" y="138"/>
                  </a:lnTo>
                  <a:lnTo>
                    <a:pt x="187" y="132"/>
                  </a:lnTo>
                  <a:lnTo>
                    <a:pt x="180" y="126"/>
                  </a:lnTo>
                  <a:lnTo>
                    <a:pt x="176" y="118"/>
                  </a:lnTo>
                  <a:lnTo>
                    <a:pt x="168" y="111"/>
                  </a:lnTo>
                  <a:lnTo>
                    <a:pt x="165" y="105"/>
                  </a:lnTo>
                  <a:lnTo>
                    <a:pt x="159" y="99"/>
                  </a:lnTo>
                  <a:lnTo>
                    <a:pt x="155" y="94"/>
                  </a:lnTo>
                  <a:lnTo>
                    <a:pt x="149" y="88"/>
                  </a:lnTo>
                  <a:lnTo>
                    <a:pt x="145" y="82"/>
                  </a:lnTo>
                  <a:lnTo>
                    <a:pt x="145" y="82"/>
                  </a:lnTo>
                  <a:lnTo>
                    <a:pt x="144" y="88"/>
                  </a:lnTo>
                  <a:lnTo>
                    <a:pt x="144" y="92"/>
                  </a:lnTo>
                  <a:lnTo>
                    <a:pt x="142" y="96"/>
                  </a:lnTo>
                  <a:lnTo>
                    <a:pt x="140" y="98"/>
                  </a:lnTo>
                  <a:lnTo>
                    <a:pt x="138" y="101"/>
                  </a:lnTo>
                  <a:lnTo>
                    <a:pt x="134" y="103"/>
                  </a:lnTo>
                  <a:lnTo>
                    <a:pt x="132" y="105"/>
                  </a:lnTo>
                  <a:lnTo>
                    <a:pt x="128" y="107"/>
                  </a:lnTo>
                  <a:lnTo>
                    <a:pt x="128" y="107"/>
                  </a:lnTo>
                  <a:lnTo>
                    <a:pt x="123" y="111"/>
                  </a:lnTo>
                  <a:lnTo>
                    <a:pt x="119" y="117"/>
                  </a:lnTo>
                  <a:lnTo>
                    <a:pt x="113" y="122"/>
                  </a:lnTo>
                  <a:lnTo>
                    <a:pt x="109" y="130"/>
                  </a:lnTo>
                  <a:lnTo>
                    <a:pt x="105" y="138"/>
                  </a:lnTo>
                  <a:lnTo>
                    <a:pt x="102" y="143"/>
                  </a:lnTo>
                  <a:lnTo>
                    <a:pt x="98" y="149"/>
                  </a:lnTo>
                  <a:lnTo>
                    <a:pt x="98" y="155"/>
                  </a:lnTo>
                  <a:lnTo>
                    <a:pt x="98" y="155"/>
                  </a:lnTo>
                  <a:lnTo>
                    <a:pt x="100" y="157"/>
                  </a:lnTo>
                  <a:lnTo>
                    <a:pt x="102" y="159"/>
                  </a:lnTo>
                  <a:lnTo>
                    <a:pt x="105" y="162"/>
                  </a:lnTo>
                  <a:lnTo>
                    <a:pt x="111" y="168"/>
                  </a:lnTo>
                  <a:lnTo>
                    <a:pt x="117" y="174"/>
                  </a:lnTo>
                  <a:lnTo>
                    <a:pt x="121" y="178"/>
                  </a:lnTo>
                  <a:lnTo>
                    <a:pt x="123" y="181"/>
                  </a:lnTo>
                  <a:lnTo>
                    <a:pt x="124" y="183"/>
                  </a:lnTo>
                  <a:lnTo>
                    <a:pt x="124" y="183"/>
                  </a:lnTo>
                  <a:lnTo>
                    <a:pt x="130" y="191"/>
                  </a:lnTo>
                  <a:lnTo>
                    <a:pt x="136" y="199"/>
                  </a:lnTo>
                  <a:lnTo>
                    <a:pt x="140" y="206"/>
                  </a:lnTo>
                  <a:lnTo>
                    <a:pt x="145" y="214"/>
                  </a:lnTo>
                  <a:lnTo>
                    <a:pt x="149" y="222"/>
                  </a:lnTo>
                  <a:lnTo>
                    <a:pt x="155" y="227"/>
                  </a:lnTo>
                  <a:lnTo>
                    <a:pt x="159" y="235"/>
                  </a:lnTo>
                  <a:lnTo>
                    <a:pt x="165" y="241"/>
                  </a:lnTo>
                  <a:lnTo>
                    <a:pt x="168" y="246"/>
                  </a:lnTo>
                  <a:lnTo>
                    <a:pt x="174" y="254"/>
                  </a:lnTo>
                  <a:lnTo>
                    <a:pt x="180" y="260"/>
                  </a:lnTo>
                  <a:lnTo>
                    <a:pt x="187" y="263"/>
                  </a:lnTo>
                  <a:lnTo>
                    <a:pt x="193" y="269"/>
                  </a:lnTo>
                  <a:lnTo>
                    <a:pt x="201" y="273"/>
                  </a:lnTo>
                  <a:lnTo>
                    <a:pt x="208" y="277"/>
                  </a:lnTo>
                  <a:lnTo>
                    <a:pt x="216" y="281"/>
                  </a:lnTo>
                  <a:lnTo>
                    <a:pt x="435" y="349"/>
                  </a:lnTo>
                  <a:lnTo>
                    <a:pt x="521" y="349"/>
                  </a:lnTo>
                  <a:lnTo>
                    <a:pt x="521" y="346"/>
                  </a:lnTo>
                  <a:lnTo>
                    <a:pt x="304" y="611"/>
                  </a:lnTo>
                  <a:lnTo>
                    <a:pt x="210" y="611"/>
                  </a:lnTo>
                  <a:lnTo>
                    <a:pt x="210" y="611"/>
                  </a:lnTo>
                  <a:lnTo>
                    <a:pt x="205" y="618"/>
                  </a:lnTo>
                  <a:lnTo>
                    <a:pt x="197" y="624"/>
                  </a:lnTo>
                  <a:lnTo>
                    <a:pt x="191" y="630"/>
                  </a:lnTo>
                  <a:lnTo>
                    <a:pt x="184" y="635"/>
                  </a:lnTo>
                  <a:lnTo>
                    <a:pt x="176" y="643"/>
                  </a:lnTo>
                  <a:lnTo>
                    <a:pt x="166" y="649"/>
                  </a:lnTo>
                  <a:lnTo>
                    <a:pt x="159" y="655"/>
                  </a:lnTo>
                  <a:lnTo>
                    <a:pt x="149" y="660"/>
                  </a:lnTo>
                  <a:lnTo>
                    <a:pt x="140" y="664"/>
                  </a:lnTo>
                  <a:lnTo>
                    <a:pt x="130" y="670"/>
                  </a:lnTo>
                  <a:lnTo>
                    <a:pt x="121" y="676"/>
                  </a:lnTo>
                  <a:lnTo>
                    <a:pt x="111" y="679"/>
                  </a:lnTo>
                  <a:lnTo>
                    <a:pt x="102" y="683"/>
                  </a:lnTo>
                  <a:lnTo>
                    <a:pt x="90" y="687"/>
                  </a:lnTo>
                  <a:lnTo>
                    <a:pt x="81" y="691"/>
                  </a:lnTo>
                  <a:lnTo>
                    <a:pt x="69" y="693"/>
                  </a:lnTo>
                  <a:lnTo>
                    <a:pt x="60" y="695"/>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1" name="Freeform 15"/>
            <p:cNvSpPr>
              <a:spLocks/>
            </p:cNvSpPr>
            <p:nvPr/>
          </p:nvSpPr>
          <p:spPr bwMode="gray">
            <a:xfrm>
              <a:off x="3094" y="2139"/>
              <a:ext cx="344" cy="424"/>
            </a:xfrm>
            <a:custGeom>
              <a:avLst/>
              <a:gdLst/>
              <a:ahLst/>
              <a:cxnLst>
                <a:cxn ang="0">
                  <a:pos x="4" y="471"/>
                </a:cxn>
                <a:cxn ang="0">
                  <a:pos x="10" y="447"/>
                </a:cxn>
                <a:cxn ang="0">
                  <a:pos x="21" y="431"/>
                </a:cxn>
                <a:cxn ang="0">
                  <a:pos x="42" y="428"/>
                </a:cxn>
                <a:cxn ang="0">
                  <a:pos x="63" y="416"/>
                </a:cxn>
                <a:cxn ang="0">
                  <a:pos x="46" y="410"/>
                </a:cxn>
                <a:cxn ang="0">
                  <a:pos x="13" y="410"/>
                </a:cxn>
                <a:cxn ang="0">
                  <a:pos x="2" y="401"/>
                </a:cxn>
                <a:cxn ang="0">
                  <a:pos x="4" y="387"/>
                </a:cxn>
                <a:cxn ang="0">
                  <a:pos x="10" y="368"/>
                </a:cxn>
                <a:cxn ang="0">
                  <a:pos x="33" y="334"/>
                </a:cxn>
                <a:cxn ang="0">
                  <a:pos x="57" y="304"/>
                </a:cxn>
                <a:cxn ang="0">
                  <a:pos x="78" y="269"/>
                </a:cxn>
                <a:cxn ang="0">
                  <a:pos x="84" y="237"/>
                </a:cxn>
                <a:cxn ang="0">
                  <a:pos x="75" y="181"/>
                </a:cxn>
                <a:cxn ang="0">
                  <a:pos x="54" y="132"/>
                </a:cxn>
                <a:cxn ang="0">
                  <a:pos x="27" y="88"/>
                </a:cxn>
                <a:cxn ang="0">
                  <a:pos x="4" y="44"/>
                </a:cxn>
                <a:cxn ang="0">
                  <a:pos x="15" y="33"/>
                </a:cxn>
                <a:cxn ang="0">
                  <a:pos x="25" y="19"/>
                </a:cxn>
                <a:cxn ang="0">
                  <a:pos x="139" y="0"/>
                </a:cxn>
                <a:cxn ang="0">
                  <a:pos x="141" y="8"/>
                </a:cxn>
                <a:cxn ang="0">
                  <a:pos x="145" y="17"/>
                </a:cxn>
                <a:cxn ang="0">
                  <a:pos x="170" y="27"/>
                </a:cxn>
                <a:cxn ang="0">
                  <a:pos x="212" y="42"/>
                </a:cxn>
                <a:cxn ang="0">
                  <a:pos x="250" y="56"/>
                </a:cxn>
                <a:cxn ang="0">
                  <a:pos x="288" y="77"/>
                </a:cxn>
                <a:cxn ang="0">
                  <a:pos x="366" y="92"/>
                </a:cxn>
                <a:cxn ang="0">
                  <a:pos x="391" y="101"/>
                </a:cxn>
                <a:cxn ang="0">
                  <a:pos x="422" y="107"/>
                </a:cxn>
                <a:cxn ang="0">
                  <a:pos x="441" y="99"/>
                </a:cxn>
                <a:cxn ang="0">
                  <a:pos x="464" y="78"/>
                </a:cxn>
                <a:cxn ang="0">
                  <a:pos x="487" y="52"/>
                </a:cxn>
                <a:cxn ang="0">
                  <a:pos x="513" y="36"/>
                </a:cxn>
                <a:cxn ang="0">
                  <a:pos x="536" y="40"/>
                </a:cxn>
                <a:cxn ang="0">
                  <a:pos x="553" y="56"/>
                </a:cxn>
                <a:cxn ang="0">
                  <a:pos x="572" y="59"/>
                </a:cxn>
                <a:cxn ang="0">
                  <a:pos x="593" y="57"/>
                </a:cxn>
                <a:cxn ang="0">
                  <a:pos x="609" y="54"/>
                </a:cxn>
                <a:cxn ang="0">
                  <a:pos x="603" y="82"/>
                </a:cxn>
                <a:cxn ang="0">
                  <a:pos x="588" y="109"/>
                </a:cxn>
                <a:cxn ang="0">
                  <a:pos x="569" y="132"/>
                </a:cxn>
                <a:cxn ang="0">
                  <a:pos x="549" y="147"/>
                </a:cxn>
                <a:cxn ang="0">
                  <a:pos x="597" y="523"/>
                </a:cxn>
                <a:cxn ang="0">
                  <a:pos x="586" y="540"/>
                </a:cxn>
                <a:cxn ang="0">
                  <a:pos x="567" y="561"/>
                </a:cxn>
                <a:cxn ang="0">
                  <a:pos x="548" y="580"/>
                </a:cxn>
                <a:cxn ang="0">
                  <a:pos x="538" y="588"/>
                </a:cxn>
                <a:cxn ang="0">
                  <a:pos x="509" y="605"/>
                </a:cxn>
                <a:cxn ang="0">
                  <a:pos x="490" y="637"/>
                </a:cxn>
                <a:cxn ang="0">
                  <a:pos x="485" y="664"/>
                </a:cxn>
                <a:cxn ang="0">
                  <a:pos x="466" y="702"/>
                </a:cxn>
                <a:cxn ang="0">
                  <a:pos x="441" y="739"/>
                </a:cxn>
                <a:cxn ang="0">
                  <a:pos x="416" y="767"/>
                </a:cxn>
                <a:cxn ang="0">
                  <a:pos x="288" y="672"/>
                </a:cxn>
                <a:cxn ang="0">
                  <a:pos x="292" y="655"/>
                </a:cxn>
                <a:cxn ang="0">
                  <a:pos x="6" y="479"/>
                </a:cxn>
              </a:cxnLst>
              <a:rect l="0" t="0" r="r" b="b"/>
              <a:pathLst>
                <a:path w="609" h="771">
                  <a:moveTo>
                    <a:pt x="6" y="479"/>
                  </a:moveTo>
                  <a:lnTo>
                    <a:pt x="0" y="475"/>
                  </a:lnTo>
                  <a:lnTo>
                    <a:pt x="0" y="475"/>
                  </a:lnTo>
                  <a:lnTo>
                    <a:pt x="4" y="471"/>
                  </a:lnTo>
                  <a:lnTo>
                    <a:pt x="6" y="468"/>
                  </a:lnTo>
                  <a:lnTo>
                    <a:pt x="8" y="460"/>
                  </a:lnTo>
                  <a:lnTo>
                    <a:pt x="8" y="454"/>
                  </a:lnTo>
                  <a:lnTo>
                    <a:pt x="10" y="447"/>
                  </a:lnTo>
                  <a:lnTo>
                    <a:pt x="12" y="441"/>
                  </a:lnTo>
                  <a:lnTo>
                    <a:pt x="15" y="435"/>
                  </a:lnTo>
                  <a:lnTo>
                    <a:pt x="21" y="431"/>
                  </a:lnTo>
                  <a:lnTo>
                    <a:pt x="21" y="431"/>
                  </a:lnTo>
                  <a:lnTo>
                    <a:pt x="27" y="429"/>
                  </a:lnTo>
                  <a:lnTo>
                    <a:pt x="33" y="428"/>
                  </a:lnTo>
                  <a:lnTo>
                    <a:pt x="38" y="428"/>
                  </a:lnTo>
                  <a:lnTo>
                    <a:pt x="42" y="428"/>
                  </a:lnTo>
                  <a:lnTo>
                    <a:pt x="48" y="426"/>
                  </a:lnTo>
                  <a:lnTo>
                    <a:pt x="54" y="426"/>
                  </a:lnTo>
                  <a:lnTo>
                    <a:pt x="57" y="422"/>
                  </a:lnTo>
                  <a:lnTo>
                    <a:pt x="63" y="416"/>
                  </a:lnTo>
                  <a:lnTo>
                    <a:pt x="63" y="416"/>
                  </a:lnTo>
                  <a:lnTo>
                    <a:pt x="57" y="412"/>
                  </a:lnTo>
                  <a:lnTo>
                    <a:pt x="52" y="410"/>
                  </a:lnTo>
                  <a:lnTo>
                    <a:pt x="46" y="410"/>
                  </a:lnTo>
                  <a:lnTo>
                    <a:pt x="38" y="412"/>
                  </a:lnTo>
                  <a:lnTo>
                    <a:pt x="31" y="412"/>
                  </a:lnTo>
                  <a:lnTo>
                    <a:pt x="23" y="412"/>
                  </a:lnTo>
                  <a:lnTo>
                    <a:pt x="13" y="410"/>
                  </a:lnTo>
                  <a:lnTo>
                    <a:pt x="2" y="408"/>
                  </a:lnTo>
                  <a:lnTo>
                    <a:pt x="2" y="408"/>
                  </a:lnTo>
                  <a:lnTo>
                    <a:pt x="2" y="405"/>
                  </a:lnTo>
                  <a:lnTo>
                    <a:pt x="2" y="401"/>
                  </a:lnTo>
                  <a:lnTo>
                    <a:pt x="4" y="397"/>
                  </a:lnTo>
                  <a:lnTo>
                    <a:pt x="4" y="393"/>
                  </a:lnTo>
                  <a:lnTo>
                    <a:pt x="4" y="391"/>
                  </a:lnTo>
                  <a:lnTo>
                    <a:pt x="4" y="387"/>
                  </a:lnTo>
                  <a:lnTo>
                    <a:pt x="6" y="382"/>
                  </a:lnTo>
                  <a:lnTo>
                    <a:pt x="6" y="378"/>
                  </a:lnTo>
                  <a:lnTo>
                    <a:pt x="6" y="378"/>
                  </a:lnTo>
                  <a:lnTo>
                    <a:pt x="10" y="368"/>
                  </a:lnTo>
                  <a:lnTo>
                    <a:pt x="15" y="359"/>
                  </a:lnTo>
                  <a:lnTo>
                    <a:pt x="21" y="349"/>
                  </a:lnTo>
                  <a:lnTo>
                    <a:pt x="27" y="342"/>
                  </a:lnTo>
                  <a:lnTo>
                    <a:pt x="33" y="334"/>
                  </a:lnTo>
                  <a:lnTo>
                    <a:pt x="38" y="326"/>
                  </a:lnTo>
                  <a:lnTo>
                    <a:pt x="46" y="319"/>
                  </a:lnTo>
                  <a:lnTo>
                    <a:pt x="52" y="311"/>
                  </a:lnTo>
                  <a:lnTo>
                    <a:pt x="57" y="304"/>
                  </a:lnTo>
                  <a:lnTo>
                    <a:pt x="63" y="296"/>
                  </a:lnTo>
                  <a:lnTo>
                    <a:pt x="69" y="286"/>
                  </a:lnTo>
                  <a:lnTo>
                    <a:pt x="75" y="279"/>
                  </a:lnTo>
                  <a:lnTo>
                    <a:pt x="78" y="269"/>
                  </a:lnTo>
                  <a:lnTo>
                    <a:pt x="80" y="260"/>
                  </a:lnTo>
                  <a:lnTo>
                    <a:pt x="82" y="248"/>
                  </a:lnTo>
                  <a:lnTo>
                    <a:pt x="84" y="237"/>
                  </a:lnTo>
                  <a:lnTo>
                    <a:pt x="84" y="237"/>
                  </a:lnTo>
                  <a:lnTo>
                    <a:pt x="82" y="222"/>
                  </a:lnTo>
                  <a:lnTo>
                    <a:pt x="80" y="208"/>
                  </a:lnTo>
                  <a:lnTo>
                    <a:pt x="78" y="195"/>
                  </a:lnTo>
                  <a:lnTo>
                    <a:pt x="75" y="181"/>
                  </a:lnTo>
                  <a:lnTo>
                    <a:pt x="71" y="170"/>
                  </a:lnTo>
                  <a:lnTo>
                    <a:pt x="65" y="157"/>
                  </a:lnTo>
                  <a:lnTo>
                    <a:pt x="59" y="145"/>
                  </a:lnTo>
                  <a:lnTo>
                    <a:pt x="54" y="132"/>
                  </a:lnTo>
                  <a:lnTo>
                    <a:pt x="46" y="120"/>
                  </a:lnTo>
                  <a:lnTo>
                    <a:pt x="40" y="109"/>
                  </a:lnTo>
                  <a:lnTo>
                    <a:pt x="33" y="98"/>
                  </a:lnTo>
                  <a:lnTo>
                    <a:pt x="27" y="88"/>
                  </a:lnTo>
                  <a:lnTo>
                    <a:pt x="19" y="77"/>
                  </a:lnTo>
                  <a:lnTo>
                    <a:pt x="13" y="65"/>
                  </a:lnTo>
                  <a:lnTo>
                    <a:pt x="10" y="56"/>
                  </a:lnTo>
                  <a:lnTo>
                    <a:pt x="4" y="44"/>
                  </a:lnTo>
                  <a:lnTo>
                    <a:pt x="4" y="44"/>
                  </a:lnTo>
                  <a:lnTo>
                    <a:pt x="8" y="40"/>
                  </a:lnTo>
                  <a:lnTo>
                    <a:pt x="12" y="36"/>
                  </a:lnTo>
                  <a:lnTo>
                    <a:pt x="15" y="33"/>
                  </a:lnTo>
                  <a:lnTo>
                    <a:pt x="17" y="29"/>
                  </a:lnTo>
                  <a:lnTo>
                    <a:pt x="21" y="27"/>
                  </a:lnTo>
                  <a:lnTo>
                    <a:pt x="23" y="23"/>
                  </a:lnTo>
                  <a:lnTo>
                    <a:pt x="25" y="19"/>
                  </a:lnTo>
                  <a:lnTo>
                    <a:pt x="27" y="17"/>
                  </a:lnTo>
                  <a:lnTo>
                    <a:pt x="145" y="17"/>
                  </a:lnTo>
                  <a:lnTo>
                    <a:pt x="139" y="0"/>
                  </a:lnTo>
                  <a:lnTo>
                    <a:pt x="139" y="0"/>
                  </a:lnTo>
                  <a:lnTo>
                    <a:pt x="139" y="0"/>
                  </a:lnTo>
                  <a:lnTo>
                    <a:pt x="139" y="2"/>
                  </a:lnTo>
                  <a:lnTo>
                    <a:pt x="139" y="4"/>
                  </a:lnTo>
                  <a:lnTo>
                    <a:pt x="141" y="8"/>
                  </a:lnTo>
                  <a:lnTo>
                    <a:pt x="141" y="10"/>
                  </a:lnTo>
                  <a:lnTo>
                    <a:pt x="143" y="12"/>
                  </a:lnTo>
                  <a:lnTo>
                    <a:pt x="143" y="14"/>
                  </a:lnTo>
                  <a:lnTo>
                    <a:pt x="145" y="17"/>
                  </a:lnTo>
                  <a:lnTo>
                    <a:pt x="145" y="17"/>
                  </a:lnTo>
                  <a:lnTo>
                    <a:pt x="145" y="17"/>
                  </a:lnTo>
                  <a:lnTo>
                    <a:pt x="158" y="23"/>
                  </a:lnTo>
                  <a:lnTo>
                    <a:pt x="170" y="27"/>
                  </a:lnTo>
                  <a:lnTo>
                    <a:pt x="181" y="31"/>
                  </a:lnTo>
                  <a:lnTo>
                    <a:pt x="193" y="35"/>
                  </a:lnTo>
                  <a:lnTo>
                    <a:pt x="202" y="38"/>
                  </a:lnTo>
                  <a:lnTo>
                    <a:pt x="212" y="42"/>
                  </a:lnTo>
                  <a:lnTo>
                    <a:pt x="221" y="44"/>
                  </a:lnTo>
                  <a:lnTo>
                    <a:pt x="231" y="48"/>
                  </a:lnTo>
                  <a:lnTo>
                    <a:pt x="240" y="52"/>
                  </a:lnTo>
                  <a:lnTo>
                    <a:pt x="250" y="56"/>
                  </a:lnTo>
                  <a:lnTo>
                    <a:pt x="260" y="59"/>
                  </a:lnTo>
                  <a:lnTo>
                    <a:pt x="269" y="65"/>
                  </a:lnTo>
                  <a:lnTo>
                    <a:pt x="279" y="71"/>
                  </a:lnTo>
                  <a:lnTo>
                    <a:pt x="288" y="77"/>
                  </a:lnTo>
                  <a:lnTo>
                    <a:pt x="298" y="84"/>
                  </a:lnTo>
                  <a:lnTo>
                    <a:pt x="307" y="92"/>
                  </a:lnTo>
                  <a:lnTo>
                    <a:pt x="366" y="92"/>
                  </a:lnTo>
                  <a:lnTo>
                    <a:pt x="366" y="92"/>
                  </a:lnTo>
                  <a:lnTo>
                    <a:pt x="372" y="96"/>
                  </a:lnTo>
                  <a:lnTo>
                    <a:pt x="378" y="98"/>
                  </a:lnTo>
                  <a:lnTo>
                    <a:pt x="384" y="99"/>
                  </a:lnTo>
                  <a:lnTo>
                    <a:pt x="391" y="101"/>
                  </a:lnTo>
                  <a:lnTo>
                    <a:pt x="399" y="103"/>
                  </a:lnTo>
                  <a:lnTo>
                    <a:pt x="408" y="105"/>
                  </a:lnTo>
                  <a:lnTo>
                    <a:pt x="414" y="105"/>
                  </a:lnTo>
                  <a:lnTo>
                    <a:pt x="422" y="107"/>
                  </a:lnTo>
                  <a:lnTo>
                    <a:pt x="422" y="107"/>
                  </a:lnTo>
                  <a:lnTo>
                    <a:pt x="429" y="105"/>
                  </a:lnTo>
                  <a:lnTo>
                    <a:pt x="435" y="103"/>
                  </a:lnTo>
                  <a:lnTo>
                    <a:pt x="441" y="99"/>
                  </a:lnTo>
                  <a:lnTo>
                    <a:pt x="448" y="96"/>
                  </a:lnTo>
                  <a:lnTo>
                    <a:pt x="452" y="90"/>
                  </a:lnTo>
                  <a:lnTo>
                    <a:pt x="458" y="84"/>
                  </a:lnTo>
                  <a:lnTo>
                    <a:pt x="464" y="78"/>
                  </a:lnTo>
                  <a:lnTo>
                    <a:pt x="469" y="71"/>
                  </a:lnTo>
                  <a:lnTo>
                    <a:pt x="475" y="65"/>
                  </a:lnTo>
                  <a:lnTo>
                    <a:pt x="481" y="57"/>
                  </a:lnTo>
                  <a:lnTo>
                    <a:pt x="487" y="52"/>
                  </a:lnTo>
                  <a:lnTo>
                    <a:pt x="492" y="48"/>
                  </a:lnTo>
                  <a:lnTo>
                    <a:pt x="500" y="42"/>
                  </a:lnTo>
                  <a:lnTo>
                    <a:pt x="508" y="38"/>
                  </a:lnTo>
                  <a:lnTo>
                    <a:pt x="513" y="36"/>
                  </a:lnTo>
                  <a:lnTo>
                    <a:pt x="523" y="36"/>
                  </a:lnTo>
                  <a:lnTo>
                    <a:pt x="523" y="36"/>
                  </a:lnTo>
                  <a:lnTo>
                    <a:pt x="530" y="36"/>
                  </a:lnTo>
                  <a:lnTo>
                    <a:pt x="536" y="40"/>
                  </a:lnTo>
                  <a:lnTo>
                    <a:pt x="540" y="44"/>
                  </a:lnTo>
                  <a:lnTo>
                    <a:pt x="544" y="48"/>
                  </a:lnTo>
                  <a:lnTo>
                    <a:pt x="548" y="52"/>
                  </a:lnTo>
                  <a:lnTo>
                    <a:pt x="553" y="56"/>
                  </a:lnTo>
                  <a:lnTo>
                    <a:pt x="559" y="57"/>
                  </a:lnTo>
                  <a:lnTo>
                    <a:pt x="569" y="59"/>
                  </a:lnTo>
                  <a:lnTo>
                    <a:pt x="569" y="59"/>
                  </a:lnTo>
                  <a:lnTo>
                    <a:pt x="572" y="59"/>
                  </a:lnTo>
                  <a:lnTo>
                    <a:pt x="578" y="59"/>
                  </a:lnTo>
                  <a:lnTo>
                    <a:pt x="584" y="57"/>
                  </a:lnTo>
                  <a:lnTo>
                    <a:pt x="590" y="57"/>
                  </a:lnTo>
                  <a:lnTo>
                    <a:pt x="593" y="57"/>
                  </a:lnTo>
                  <a:lnTo>
                    <a:pt x="599" y="57"/>
                  </a:lnTo>
                  <a:lnTo>
                    <a:pt x="605" y="56"/>
                  </a:lnTo>
                  <a:lnTo>
                    <a:pt x="609" y="54"/>
                  </a:lnTo>
                  <a:lnTo>
                    <a:pt x="609" y="54"/>
                  </a:lnTo>
                  <a:lnTo>
                    <a:pt x="609" y="61"/>
                  </a:lnTo>
                  <a:lnTo>
                    <a:pt x="607" y="67"/>
                  </a:lnTo>
                  <a:lnTo>
                    <a:pt x="607" y="75"/>
                  </a:lnTo>
                  <a:lnTo>
                    <a:pt x="603" y="82"/>
                  </a:lnTo>
                  <a:lnTo>
                    <a:pt x="601" y="88"/>
                  </a:lnTo>
                  <a:lnTo>
                    <a:pt x="597" y="96"/>
                  </a:lnTo>
                  <a:lnTo>
                    <a:pt x="593" y="103"/>
                  </a:lnTo>
                  <a:lnTo>
                    <a:pt x="588" y="109"/>
                  </a:lnTo>
                  <a:lnTo>
                    <a:pt x="584" y="117"/>
                  </a:lnTo>
                  <a:lnTo>
                    <a:pt x="578" y="122"/>
                  </a:lnTo>
                  <a:lnTo>
                    <a:pt x="574" y="128"/>
                  </a:lnTo>
                  <a:lnTo>
                    <a:pt x="569" y="132"/>
                  </a:lnTo>
                  <a:lnTo>
                    <a:pt x="565" y="138"/>
                  </a:lnTo>
                  <a:lnTo>
                    <a:pt x="559" y="141"/>
                  </a:lnTo>
                  <a:lnTo>
                    <a:pt x="555" y="145"/>
                  </a:lnTo>
                  <a:lnTo>
                    <a:pt x="549" y="147"/>
                  </a:lnTo>
                  <a:lnTo>
                    <a:pt x="549" y="449"/>
                  </a:lnTo>
                  <a:lnTo>
                    <a:pt x="599" y="519"/>
                  </a:lnTo>
                  <a:lnTo>
                    <a:pt x="599" y="519"/>
                  </a:lnTo>
                  <a:lnTo>
                    <a:pt x="597" y="523"/>
                  </a:lnTo>
                  <a:lnTo>
                    <a:pt x="595" y="527"/>
                  </a:lnTo>
                  <a:lnTo>
                    <a:pt x="593" y="531"/>
                  </a:lnTo>
                  <a:lnTo>
                    <a:pt x="590" y="534"/>
                  </a:lnTo>
                  <a:lnTo>
                    <a:pt x="586" y="540"/>
                  </a:lnTo>
                  <a:lnTo>
                    <a:pt x="582" y="546"/>
                  </a:lnTo>
                  <a:lnTo>
                    <a:pt x="576" y="550"/>
                  </a:lnTo>
                  <a:lnTo>
                    <a:pt x="572" y="555"/>
                  </a:lnTo>
                  <a:lnTo>
                    <a:pt x="567" y="561"/>
                  </a:lnTo>
                  <a:lnTo>
                    <a:pt x="563" y="565"/>
                  </a:lnTo>
                  <a:lnTo>
                    <a:pt x="557" y="571"/>
                  </a:lnTo>
                  <a:lnTo>
                    <a:pt x="553" y="574"/>
                  </a:lnTo>
                  <a:lnTo>
                    <a:pt x="548" y="580"/>
                  </a:lnTo>
                  <a:lnTo>
                    <a:pt x="544" y="584"/>
                  </a:lnTo>
                  <a:lnTo>
                    <a:pt x="542" y="586"/>
                  </a:lnTo>
                  <a:lnTo>
                    <a:pt x="538" y="588"/>
                  </a:lnTo>
                  <a:lnTo>
                    <a:pt x="538" y="588"/>
                  </a:lnTo>
                  <a:lnTo>
                    <a:pt x="532" y="594"/>
                  </a:lnTo>
                  <a:lnTo>
                    <a:pt x="525" y="597"/>
                  </a:lnTo>
                  <a:lnTo>
                    <a:pt x="517" y="601"/>
                  </a:lnTo>
                  <a:lnTo>
                    <a:pt x="509" y="605"/>
                  </a:lnTo>
                  <a:lnTo>
                    <a:pt x="504" y="613"/>
                  </a:lnTo>
                  <a:lnTo>
                    <a:pt x="498" y="618"/>
                  </a:lnTo>
                  <a:lnTo>
                    <a:pt x="494" y="628"/>
                  </a:lnTo>
                  <a:lnTo>
                    <a:pt x="490" y="637"/>
                  </a:lnTo>
                  <a:lnTo>
                    <a:pt x="490" y="637"/>
                  </a:lnTo>
                  <a:lnTo>
                    <a:pt x="488" y="647"/>
                  </a:lnTo>
                  <a:lnTo>
                    <a:pt x="487" y="655"/>
                  </a:lnTo>
                  <a:lnTo>
                    <a:pt x="485" y="664"/>
                  </a:lnTo>
                  <a:lnTo>
                    <a:pt x="481" y="674"/>
                  </a:lnTo>
                  <a:lnTo>
                    <a:pt x="475" y="683"/>
                  </a:lnTo>
                  <a:lnTo>
                    <a:pt x="471" y="693"/>
                  </a:lnTo>
                  <a:lnTo>
                    <a:pt x="466" y="702"/>
                  </a:lnTo>
                  <a:lnTo>
                    <a:pt x="460" y="712"/>
                  </a:lnTo>
                  <a:lnTo>
                    <a:pt x="454" y="721"/>
                  </a:lnTo>
                  <a:lnTo>
                    <a:pt x="448" y="729"/>
                  </a:lnTo>
                  <a:lnTo>
                    <a:pt x="441" y="739"/>
                  </a:lnTo>
                  <a:lnTo>
                    <a:pt x="435" y="746"/>
                  </a:lnTo>
                  <a:lnTo>
                    <a:pt x="429" y="754"/>
                  </a:lnTo>
                  <a:lnTo>
                    <a:pt x="422" y="759"/>
                  </a:lnTo>
                  <a:lnTo>
                    <a:pt x="416" y="767"/>
                  </a:lnTo>
                  <a:lnTo>
                    <a:pt x="410" y="771"/>
                  </a:lnTo>
                  <a:lnTo>
                    <a:pt x="286" y="677"/>
                  </a:lnTo>
                  <a:lnTo>
                    <a:pt x="286" y="677"/>
                  </a:lnTo>
                  <a:lnTo>
                    <a:pt x="288" y="672"/>
                  </a:lnTo>
                  <a:lnTo>
                    <a:pt x="290" y="668"/>
                  </a:lnTo>
                  <a:lnTo>
                    <a:pt x="290" y="664"/>
                  </a:lnTo>
                  <a:lnTo>
                    <a:pt x="292" y="658"/>
                  </a:lnTo>
                  <a:lnTo>
                    <a:pt x="292" y="655"/>
                  </a:lnTo>
                  <a:lnTo>
                    <a:pt x="294" y="651"/>
                  </a:lnTo>
                  <a:lnTo>
                    <a:pt x="296" y="647"/>
                  </a:lnTo>
                  <a:lnTo>
                    <a:pt x="296" y="641"/>
                  </a:lnTo>
                  <a:lnTo>
                    <a:pt x="6" y="47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2" name="Freeform 16"/>
            <p:cNvSpPr>
              <a:spLocks/>
            </p:cNvSpPr>
            <p:nvPr/>
          </p:nvSpPr>
          <p:spPr bwMode="gray">
            <a:xfrm>
              <a:off x="2862" y="2411"/>
              <a:ext cx="93" cy="75"/>
            </a:xfrm>
            <a:custGeom>
              <a:avLst/>
              <a:gdLst/>
              <a:ahLst/>
              <a:cxnLst>
                <a:cxn ang="0">
                  <a:pos x="124" y="100"/>
                </a:cxn>
                <a:cxn ang="0">
                  <a:pos x="126" y="100"/>
                </a:cxn>
                <a:cxn ang="0">
                  <a:pos x="132" y="100"/>
                </a:cxn>
                <a:cxn ang="0">
                  <a:pos x="137" y="100"/>
                </a:cxn>
                <a:cxn ang="0">
                  <a:pos x="145" y="100"/>
                </a:cxn>
                <a:cxn ang="0">
                  <a:pos x="151" y="100"/>
                </a:cxn>
                <a:cxn ang="0">
                  <a:pos x="156" y="96"/>
                </a:cxn>
                <a:cxn ang="0">
                  <a:pos x="162" y="88"/>
                </a:cxn>
                <a:cxn ang="0">
                  <a:pos x="164" y="77"/>
                </a:cxn>
                <a:cxn ang="0">
                  <a:pos x="164" y="71"/>
                </a:cxn>
                <a:cxn ang="0">
                  <a:pos x="162" y="65"/>
                </a:cxn>
                <a:cxn ang="0">
                  <a:pos x="158" y="61"/>
                </a:cxn>
                <a:cxn ang="0">
                  <a:pos x="155" y="56"/>
                </a:cxn>
                <a:cxn ang="0">
                  <a:pos x="153" y="48"/>
                </a:cxn>
                <a:cxn ang="0">
                  <a:pos x="153" y="40"/>
                </a:cxn>
                <a:cxn ang="0">
                  <a:pos x="147" y="27"/>
                </a:cxn>
                <a:cxn ang="0">
                  <a:pos x="139" y="17"/>
                </a:cxn>
                <a:cxn ang="0">
                  <a:pos x="132" y="6"/>
                </a:cxn>
                <a:cxn ang="0">
                  <a:pos x="128" y="0"/>
                </a:cxn>
                <a:cxn ang="0">
                  <a:pos x="116" y="6"/>
                </a:cxn>
                <a:cxn ang="0">
                  <a:pos x="109" y="14"/>
                </a:cxn>
                <a:cxn ang="0">
                  <a:pos x="99" y="19"/>
                </a:cxn>
                <a:cxn ang="0">
                  <a:pos x="86" y="23"/>
                </a:cxn>
                <a:cxn ang="0">
                  <a:pos x="84" y="23"/>
                </a:cxn>
                <a:cxn ang="0">
                  <a:pos x="78" y="17"/>
                </a:cxn>
                <a:cxn ang="0">
                  <a:pos x="74" y="17"/>
                </a:cxn>
                <a:cxn ang="0">
                  <a:pos x="57" y="21"/>
                </a:cxn>
                <a:cxn ang="0">
                  <a:pos x="42" y="33"/>
                </a:cxn>
                <a:cxn ang="0">
                  <a:pos x="29" y="46"/>
                </a:cxn>
                <a:cxn ang="0">
                  <a:pos x="25" y="61"/>
                </a:cxn>
                <a:cxn ang="0">
                  <a:pos x="25" y="65"/>
                </a:cxn>
                <a:cxn ang="0">
                  <a:pos x="27" y="71"/>
                </a:cxn>
                <a:cxn ang="0">
                  <a:pos x="27" y="77"/>
                </a:cxn>
                <a:cxn ang="0">
                  <a:pos x="25" y="82"/>
                </a:cxn>
                <a:cxn ang="0">
                  <a:pos x="23" y="84"/>
                </a:cxn>
                <a:cxn ang="0">
                  <a:pos x="15" y="88"/>
                </a:cxn>
                <a:cxn ang="0">
                  <a:pos x="8" y="92"/>
                </a:cxn>
                <a:cxn ang="0">
                  <a:pos x="4" y="100"/>
                </a:cxn>
                <a:cxn ang="0">
                  <a:pos x="0" y="111"/>
                </a:cxn>
                <a:cxn ang="0">
                  <a:pos x="2" y="115"/>
                </a:cxn>
                <a:cxn ang="0">
                  <a:pos x="4" y="121"/>
                </a:cxn>
                <a:cxn ang="0">
                  <a:pos x="6" y="124"/>
                </a:cxn>
                <a:cxn ang="0">
                  <a:pos x="10" y="130"/>
                </a:cxn>
                <a:cxn ang="0">
                  <a:pos x="11" y="132"/>
                </a:cxn>
                <a:cxn ang="0">
                  <a:pos x="11" y="130"/>
                </a:cxn>
                <a:cxn ang="0">
                  <a:pos x="13" y="126"/>
                </a:cxn>
                <a:cxn ang="0">
                  <a:pos x="17" y="122"/>
                </a:cxn>
                <a:cxn ang="0">
                  <a:pos x="23" y="121"/>
                </a:cxn>
                <a:cxn ang="0">
                  <a:pos x="25" y="121"/>
                </a:cxn>
                <a:cxn ang="0">
                  <a:pos x="34" y="122"/>
                </a:cxn>
                <a:cxn ang="0">
                  <a:pos x="40" y="128"/>
                </a:cxn>
                <a:cxn ang="0">
                  <a:pos x="48" y="134"/>
                </a:cxn>
                <a:cxn ang="0">
                  <a:pos x="57" y="136"/>
                </a:cxn>
                <a:cxn ang="0">
                  <a:pos x="69" y="136"/>
                </a:cxn>
                <a:cxn ang="0">
                  <a:pos x="84" y="124"/>
                </a:cxn>
                <a:cxn ang="0">
                  <a:pos x="93" y="109"/>
                </a:cxn>
                <a:cxn ang="0">
                  <a:pos x="107" y="98"/>
                </a:cxn>
                <a:cxn ang="0">
                  <a:pos x="118" y="96"/>
                </a:cxn>
                <a:cxn ang="0">
                  <a:pos x="124" y="98"/>
                </a:cxn>
                <a:cxn ang="0">
                  <a:pos x="128" y="100"/>
                </a:cxn>
              </a:cxnLst>
              <a:rect l="0" t="0" r="r" b="b"/>
              <a:pathLst>
                <a:path w="164" h="136">
                  <a:moveTo>
                    <a:pt x="124" y="100"/>
                  </a:moveTo>
                  <a:lnTo>
                    <a:pt x="124" y="100"/>
                  </a:lnTo>
                  <a:lnTo>
                    <a:pt x="126" y="100"/>
                  </a:lnTo>
                  <a:lnTo>
                    <a:pt x="126" y="100"/>
                  </a:lnTo>
                  <a:lnTo>
                    <a:pt x="128" y="100"/>
                  </a:lnTo>
                  <a:lnTo>
                    <a:pt x="132" y="100"/>
                  </a:lnTo>
                  <a:lnTo>
                    <a:pt x="134" y="100"/>
                  </a:lnTo>
                  <a:lnTo>
                    <a:pt x="137" y="100"/>
                  </a:lnTo>
                  <a:lnTo>
                    <a:pt x="141" y="100"/>
                  </a:lnTo>
                  <a:lnTo>
                    <a:pt x="145" y="100"/>
                  </a:lnTo>
                  <a:lnTo>
                    <a:pt x="145" y="100"/>
                  </a:lnTo>
                  <a:lnTo>
                    <a:pt x="151" y="100"/>
                  </a:lnTo>
                  <a:lnTo>
                    <a:pt x="155" y="98"/>
                  </a:lnTo>
                  <a:lnTo>
                    <a:pt x="156" y="96"/>
                  </a:lnTo>
                  <a:lnTo>
                    <a:pt x="160" y="92"/>
                  </a:lnTo>
                  <a:lnTo>
                    <a:pt x="162" y="88"/>
                  </a:lnTo>
                  <a:lnTo>
                    <a:pt x="162" y="84"/>
                  </a:lnTo>
                  <a:lnTo>
                    <a:pt x="164" y="77"/>
                  </a:lnTo>
                  <a:lnTo>
                    <a:pt x="164" y="71"/>
                  </a:lnTo>
                  <a:lnTo>
                    <a:pt x="164" y="71"/>
                  </a:lnTo>
                  <a:lnTo>
                    <a:pt x="164" y="69"/>
                  </a:lnTo>
                  <a:lnTo>
                    <a:pt x="162" y="65"/>
                  </a:lnTo>
                  <a:lnTo>
                    <a:pt x="160" y="63"/>
                  </a:lnTo>
                  <a:lnTo>
                    <a:pt x="158" y="61"/>
                  </a:lnTo>
                  <a:lnTo>
                    <a:pt x="156" y="59"/>
                  </a:lnTo>
                  <a:lnTo>
                    <a:pt x="155" y="56"/>
                  </a:lnTo>
                  <a:lnTo>
                    <a:pt x="155" y="52"/>
                  </a:lnTo>
                  <a:lnTo>
                    <a:pt x="153" y="48"/>
                  </a:lnTo>
                  <a:lnTo>
                    <a:pt x="153" y="48"/>
                  </a:lnTo>
                  <a:lnTo>
                    <a:pt x="153" y="40"/>
                  </a:lnTo>
                  <a:lnTo>
                    <a:pt x="151" y="33"/>
                  </a:lnTo>
                  <a:lnTo>
                    <a:pt x="147" y="27"/>
                  </a:lnTo>
                  <a:lnTo>
                    <a:pt x="143" y="21"/>
                  </a:lnTo>
                  <a:lnTo>
                    <a:pt x="139" y="17"/>
                  </a:lnTo>
                  <a:lnTo>
                    <a:pt x="135" y="12"/>
                  </a:lnTo>
                  <a:lnTo>
                    <a:pt x="132" y="6"/>
                  </a:lnTo>
                  <a:lnTo>
                    <a:pt x="128" y="0"/>
                  </a:lnTo>
                  <a:lnTo>
                    <a:pt x="128" y="0"/>
                  </a:lnTo>
                  <a:lnTo>
                    <a:pt x="122" y="2"/>
                  </a:lnTo>
                  <a:lnTo>
                    <a:pt x="116" y="6"/>
                  </a:lnTo>
                  <a:lnTo>
                    <a:pt x="113" y="8"/>
                  </a:lnTo>
                  <a:lnTo>
                    <a:pt x="109" y="14"/>
                  </a:lnTo>
                  <a:lnTo>
                    <a:pt x="103" y="17"/>
                  </a:lnTo>
                  <a:lnTo>
                    <a:pt x="99" y="19"/>
                  </a:lnTo>
                  <a:lnTo>
                    <a:pt x="93" y="23"/>
                  </a:lnTo>
                  <a:lnTo>
                    <a:pt x="86" y="23"/>
                  </a:lnTo>
                  <a:lnTo>
                    <a:pt x="86" y="23"/>
                  </a:lnTo>
                  <a:lnTo>
                    <a:pt x="84" y="23"/>
                  </a:lnTo>
                  <a:lnTo>
                    <a:pt x="82" y="21"/>
                  </a:lnTo>
                  <a:lnTo>
                    <a:pt x="78" y="17"/>
                  </a:lnTo>
                  <a:lnTo>
                    <a:pt x="74" y="17"/>
                  </a:lnTo>
                  <a:lnTo>
                    <a:pt x="74" y="17"/>
                  </a:lnTo>
                  <a:lnTo>
                    <a:pt x="67" y="19"/>
                  </a:lnTo>
                  <a:lnTo>
                    <a:pt x="57" y="21"/>
                  </a:lnTo>
                  <a:lnTo>
                    <a:pt x="50" y="27"/>
                  </a:lnTo>
                  <a:lnTo>
                    <a:pt x="42" y="33"/>
                  </a:lnTo>
                  <a:lnTo>
                    <a:pt x="34" y="38"/>
                  </a:lnTo>
                  <a:lnTo>
                    <a:pt x="29" y="46"/>
                  </a:lnTo>
                  <a:lnTo>
                    <a:pt x="25" y="54"/>
                  </a:lnTo>
                  <a:lnTo>
                    <a:pt x="25" y="61"/>
                  </a:lnTo>
                  <a:lnTo>
                    <a:pt x="25" y="61"/>
                  </a:lnTo>
                  <a:lnTo>
                    <a:pt x="25" y="65"/>
                  </a:lnTo>
                  <a:lnTo>
                    <a:pt x="25" y="67"/>
                  </a:lnTo>
                  <a:lnTo>
                    <a:pt x="27" y="71"/>
                  </a:lnTo>
                  <a:lnTo>
                    <a:pt x="27" y="75"/>
                  </a:lnTo>
                  <a:lnTo>
                    <a:pt x="27" y="77"/>
                  </a:lnTo>
                  <a:lnTo>
                    <a:pt x="27" y="80"/>
                  </a:lnTo>
                  <a:lnTo>
                    <a:pt x="25" y="82"/>
                  </a:lnTo>
                  <a:lnTo>
                    <a:pt x="23" y="84"/>
                  </a:lnTo>
                  <a:lnTo>
                    <a:pt x="23" y="84"/>
                  </a:lnTo>
                  <a:lnTo>
                    <a:pt x="19" y="86"/>
                  </a:lnTo>
                  <a:lnTo>
                    <a:pt x="15" y="88"/>
                  </a:lnTo>
                  <a:lnTo>
                    <a:pt x="11" y="90"/>
                  </a:lnTo>
                  <a:lnTo>
                    <a:pt x="8" y="92"/>
                  </a:lnTo>
                  <a:lnTo>
                    <a:pt x="6" y="96"/>
                  </a:lnTo>
                  <a:lnTo>
                    <a:pt x="4" y="100"/>
                  </a:lnTo>
                  <a:lnTo>
                    <a:pt x="2" y="105"/>
                  </a:lnTo>
                  <a:lnTo>
                    <a:pt x="0" y="111"/>
                  </a:lnTo>
                  <a:lnTo>
                    <a:pt x="0" y="111"/>
                  </a:lnTo>
                  <a:lnTo>
                    <a:pt x="2" y="115"/>
                  </a:lnTo>
                  <a:lnTo>
                    <a:pt x="2" y="117"/>
                  </a:lnTo>
                  <a:lnTo>
                    <a:pt x="4" y="121"/>
                  </a:lnTo>
                  <a:lnTo>
                    <a:pt x="4" y="122"/>
                  </a:lnTo>
                  <a:lnTo>
                    <a:pt x="6" y="124"/>
                  </a:lnTo>
                  <a:lnTo>
                    <a:pt x="8" y="128"/>
                  </a:lnTo>
                  <a:lnTo>
                    <a:pt x="10" y="130"/>
                  </a:lnTo>
                  <a:lnTo>
                    <a:pt x="11" y="132"/>
                  </a:lnTo>
                  <a:lnTo>
                    <a:pt x="11" y="132"/>
                  </a:lnTo>
                  <a:lnTo>
                    <a:pt x="11" y="132"/>
                  </a:lnTo>
                  <a:lnTo>
                    <a:pt x="11" y="130"/>
                  </a:lnTo>
                  <a:lnTo>
                    <a:pt x="13" y="128"/>
                  </a:lnTo>
                  <a:lnTo>
                    <a:pt x="13" y="126"/>
                  </a:lnTo>
                  <a:lnTo>
                    <a:pt x="15" y="124"/>
                  </a:lnTo>
                  <a:lnTo>
                    <a:pt x="17" y="122"/>
                  </a:lnTo>
                  <a:lnTo>
                    <a:pt x="19" y="121"/>
                  </a:lnTo>
                  <a:lnTo>
                    <a:pt x="23" y="121"/>
                  </a:lnTo>
                  <a:lnTo>
                    <a:pt x="25" y="121"/>
                  </a:lnTo>
                  <a:lnTo>
                    <a:pt x="25" y="121"/>
                  </a:lnTo>
                  <a:lnTo>
                    <a:pt x="29" y="121"/>
                  </a:lnTo>
                  <a:lnTo>
                    <a:pt x="34" y="122"/>
                  </a:lnTo>
                  <a:lnTo>
                    <a:pt x="38" y="126"/>
                  </a:lnTo>
                  <a:lnTo>
                    <a:pt x="40" y="128"/>
                  </a:lnTo>
                  <a:lnTo>
                    <a:pt x="44" y="132"/>
                  </a:lnTo>
                  <a:lnTo>
                    <a:pt x="48" y="134"/>
                  </a:lnTo>
                  <a:lnTo>
                    <a:pt x="53" y="136"/>
                  </a:lnTo>
                  <a:lnTo>
                    <a:pt x="57" y="136"/>
                  </a:lnTo>
                  <a:lnTo>
                    <a:pt x="57" y="136"/>
                  </a:lnTo>
                  <a:lnTo>
                    <a:pt x="69" y="136"/>
                  </a:lnTo>
                  <a:lnTo>
                    <a:pt x="78" y="130"/>
                  </a:lnTo>
                  <a:lnTo>
                    <a:pt x="84" y="124"/>
                  </a:lnTo>
                  <a:lnTo>
                    <a:pt x="88" y="117"/>
                  </a:lnTo>
                  <a:lnTo>
                    <a:pt x="93" y="109"/>
                  </a:lnTo>
                  <a:lnTo>
                    <a:pt x="99" y="103"/>
                  </a:lnTo>
                  <a:lnTo>
                    <a:pt x="107" y="98"/>
                  </a:lnTo>
                  <a:lnTo>
                    <a:pt x="118" y="96"/>
                  </a:lnTo>
                  <a:lnTo>
                    <a:pt x="118" y="96"/>
                  </a:lnTo>
                  <a:lnTo>
                    <a:pt x="122" y="96"/>
                  </a:lnTo>
                  <a:lnTo>
                    <a:pt x="124" y="98"/>
                  </a:lnTo>
                  <a:lnTo>
                    <a:pt x="126" y="98"/>
                  </a:lnTo>
                  <a:lnTo>
                    <a:pt x="128" y="100"/>
                  </a:lnTo>
                  <a:lnTo>
                    <a:pt x="124" y="10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3" name="Freeform 17"/>
            <p:cNvSpPr>
              <a:spLocks/>
            </p:cNvSpPr>
            <p:nvPr/>
          </p:nvSpPr>
          <p:spPr bwMode="gray">
            <a:xfrm>
              <a:off x="2897" y="2400"/>
              <a:ext cx="468" cy="466"/>
            </a:xfrm>
            <a:custGeom>
              <a:avLst/>
              <a:gdLst/>
              <a:ahLst/>
              <a:cxnLst>
                <a:cxn ang="0">
                  <a:pos x="641" y="178"/>
                </a:cxn>
                <a:cxn ang="0">
                  <a:pos x="341" y="14"/>
                </a:cxn>
                <a:cxn ang="0">
                  <a:pos x="320" y="52"/>
                </a:cxn>
                <a:cxn ang="0">
                  <a:pos x="294" y="82"/>
                </a:cxn>
                <a:cxn ang="0">
                  <a:pos x="319" y="113"/>
                </a:cxn>
                <a:cxn ang="0">
                  <a:pos x="292" y="126"/>
                </a:cxn>
                <a:cxn ang="0">
                  <a:pos x="277" y="119"/>
                </a:cxn>
                <a:cxn ang="0">
                  <a:pos x="256" y="130"/>
                </a:cxn>
                <a:cxn ang="0">
                  <a:pos x="217" y="113"/>
                </a:cxn>
                <a:cxn ang="0">
                  <a:pos x="185" y="134"/>
                </a:cxn>
                <a:cxn ang="0">
                  <a:pos x="179" y="126"/>
                </a:cxn>
                <a:cxn ang="0">
                  <a:pos x="179" y="107"/>
                </a:cxn>
                <a:cxn ang="0">
                  <a:pos x="168" y="86"/>
                </a:cxn>
                <a:cxn ang="0">
                  <a:pos x="183" y="38"/>
                </a:cxn>
                <a:cxn ang="0">
                  <a:pos x="181" y="10"/>
                </a:cxn>
                <a:cxn ang="0">
                  <a:pos x="65" y="21"/>
                </a:cxn>
                <a:cxn ang="0">
                  <a:pos x="90" y="69"/>
                </a:cxn>
                <a:cxn ang="0">
                  <a:pos x="101" y="92"/>
                </a:cxn>
                <a:cxn ang="0">
                  <a:pos x="82" y="121"/>
                </a:cxn>
                <a:cxn ang="0">
                  <a:pos x="61" y="121"/>
                </a:cxn>
                <a:cxn ang="0">
                  <a:pos x="84" y="168"/>
                </a:cxn>
                <a:cxn ang="0">
                  <a:pos x="93" y="174"/>
                </a:cxn>
                <a:cxn ang="0">
                  <a:pos x="69" y="214"/>
                </a:cxn>
                <a:cxn ang="0">
                  <a:pos x="30" y="275"/>
                </a:cxn>
                <a:cxn ang="0">
                  <a:pos x="0" y="286"/>
                </a:cxn>
                <a:cxn ang="0">
                  <a:pos x="11" y="332"/>
                </a:cxn>
                <a:cxn ang="0">
                  <a:pos x="27" y="388"/>
                </a:cxn>
                <a:cxn ang="0">
                  <a:pos x="11" y="424"/>
                </a:cxn>
                <a:cxn ang="0">
                  <a:pos x="48" y="454"/>
                </a:cxn>
                <a:cxn ang="0">
                  <a:pos x="76" y="517"/>
                </a:cxn>
                <a:cxn ang="0">
                  <a:pos x="103" y="582"/>
                </a:cxn>
                <a:cxn ang="0">
                  <a:pos x="126" y="624"/>
                </a:cxn>
                <a:cxn ang="0">
                  <a:pos x="141" y="622"/>
                </a:cxn>
                <a:cxn ang="0">
                  <a:pos x="162" y="639"/>
                </a:cxn>
                <a:cxn ang="0">
                  <a:pos x="219" y="660"/>
                </a:cxn>
                <a:cxn ang="0">
                  <a:pos x="278" y="689"/>
                </a:cxn>
                <a:cxn ang="0">
                  <a:pos x="334" y="691"/>
                </a:cxn>
                <a:cxn ang="0">
                  <a:pos x="370" y="725"/>
                </a:cxn>
                <a:cxn ang="0">
                  <a:pos x="385" y="805"/>
                </a:cxn>
                <a:cxn ang="0">
                  <a:pos x="391" y="836"/>
                </a:cxn>
                <a:cxn ang="0">
                  <a:pos x="420" y="842"/>
                </a:cxn>
                <a:cxn ang="0">
                  <a:pos x="462" y="828"/>
                </a:cxn>
                <a:cxn ang="0">
                  <a:pos x="494" y="836"/>
                </a:cxn>
                <a:cxn ang="0">
                  <a:pos x="540" y="847"/>
                </a:cxn>
                <a:cxn ang="0">
                  <a:pos x="595" y="842"/>
                </a:cxn>
                <a:cxn ang="0">
                  <a:pos x="641" y="819"/>
                </a:cxn>
                <a:cxn ang="0">
                  <a:pos x="675" y="817"/>
                </a:cxn>
                <a:cxn ang="0">
                  <a:pos x="742" y="803"/>
                </a:cxn>
                <a:cxn ang="0">
                  <a:pos x="822" y="750"/>
                </a:cxn>
                <a:cxn ang="0">
                  <a:pos x="795" y="721"/>
                </a:cxn>
                <a:cxn ang="0">
                  <a:pos x="782" y="670"/>
                </a:cxn>
                <a:cxn ang="0">
                  <a:pos x="761" y="605"/>
                </a:cxn>
                <a:cxn ang="0">
                  <a:pos x="771" y="565"/>
                </a:cxn>
                <a:cxn ang="0">
                  <a:pos x="761" y="531"/>
                </a:cxn>
                <a:cxn ang="0">
                  <a:pos x="782" y="493"/>
                </a:cxn>
                <a:cxn ang="0">
                  <a:pos x="782" y="479"/>
                </a:cxn>
                <a:cxn ang="0">
                  <a:pos x="750" y="451"/>
                </a:cxn>
                <a:cxn ang="0">
                  <a:pos x="727" y="410"/>
                </a:cxn>
                <a:cxn ang="0">
                  <a:pos x="746" y="348"/>
                </a:cxn>
              </a:cxnLst>
              <a:rect l="0" t="0" r="r" b="b"/>
              <a:pathLst>
                <a:path w="826" h="849">
                  <a:moveTo>
                    <a:pt x="757" y="298"/>
                  </a:moveTo>
                  <a:lnTo>
                    <a:pt x="633" y="204"/>
                  </a:lnTo>
                  <a:lnTo>
                    <a:pt x="633" y="204"/>
                  </a:lnTo>
                  <a:lnTo>
                    <a:pt x="635" y="199"/>
                  </a:lnTo>
                  <a:lnTo>
                    <a:pt x="637" y="195"/>
                  </a:lnTo>
                  <a:lnTo>
                    <a:pt x="637" y="191"/>
                  </a:lnTo>
                  <a:lnTo>
                    <a:pt x="639" y="185"/>
                  </a:lnTo>
                  <a:lnTo>
                    <a:pt x="639" y="182"/>
                  </a:lnTo>
                  <a:lnTo>
                    <a:pt x="641" y="178"/>
                  </a:lnTo>
                  <a:lnTo>
                    <a:pt x="643" y="174"/>
                  </a:lnTo>
                  <a:lnTo>
                    <a:pt x="643" y="168"/>
                  </a:lnTo>
                  <a:lnTo>
                    <a:pt x="353" y="6"/>
                  </a:lnTo>
                  <a:lnTo>
                    <a:pt x="353" y="6"/>
                  </a:lnTo>
                  <a:lnTo>
                    <a:pt x="349" y="0"/>
                  </a:lnTo>
                  <a:lnTo>
                    <a:pt x="349" y="0"/>
                  </a:lnTo>
                  <a:lnTo>
                    <a:pt x="347" y="4"/>
                  </a:lnTo>
                  <a:lnTo>
                    <a:pt x="343" y="10"/>
                  </a:lnTo>
                  <a:lnTo>
                    <a:pt x="341" y="14"/>
                  </a:lnTo>
                  <a:lnTo>
                    <a:pt x="338" y="18"/>
                  </a:lnTo>
                  <a:lnTo>
                    <a:pt x="336" y="23"/>
                  </a:lnTo>
                  <a:lnTo>
                    <a:pt x="334" y="27"/>
                  </a:lnTo>
                  <a:lnTo>
                    <a:pt x="332" y="31"/>
                  </a:lnTo>
                  <a:lnTo>
                    <a:pt x="328" y="35"/>
                  </a:lnTo>
                  <a:lnTo>
                    <a:pt x="326" y="38"/>
                  </a:lnTo>
                  <a:lnTo>
                    <a:pt x="324" y="42"/>
                  </a:lnTo>
                  <a:lnTo>
                    <a:pt x="322" y="48"/>
                  </a:lnTo>
                  <a:lnTo>
                    <a:pt x="320" y="52"/>
                  </a:lnTo>
                  <a:lnTo>
                    <a:pt x="319" y="56"/>
                  </a:lnTo>
                  <a:lnTo>
                    <a:pt x="317" y="59"/>
                  </a:lnTo>
                  <a:lnTo>
                    <a:pt x="315" y="63"/>
                  </a:lnTo>
                  <a:lnTo>
                    <a:pt x="313" y="67"/>
                  </a:lnTo>
                  <a:lnTo>
                    <a:pt x="313" y="67"/>
                  </a:lnTo>
                  <a:lnTo>
                    <a:pt x="309" y="73"/>
                  </a:lnTo>
                  <a:lnTo>
                    <a:pt x="305" y="77"/>
                  </a:lnTo>
                  <a:lnTo>
                    <a:pt x="299" y="79"/>
                  </a:lnTo>
                  <a:lnTo>
                    <a:pt x="294" y="82"/>
                  </a:lnTo>
                  <a:lnTo>
                    <a:pt x="290" y="84"/>
                  </a:lnTo>
                  <a:lnTo>
                    <a:pt x="286" y="86"/>
                  </a:lnTo>
                  <a:lnTo>
                    <a:pt x="282" y="92"/>
                  </a:lnTo>
                  <a:lnTo>
                    <a:pt x="278" y="96"/>
                  </a:lnTo>
                  <a:lnTo>
                    <a:pt x="326" y="96"/>
                  </a:lnTo>
                  <a:lnTo>
                    <a:pt x="326" y="96"/>
                  </a:lnTo>
                  <a:lnTo>
                    <a:pt x="324" y="101"/>
                  </a:lnTo>
                  <a:lnTo>
                    <a:pt x="322" y="107"/>
                  </a:lnTo>
                  <a:lnTo>
                    <a:pt x="319" y="113"/>
                  </a:lnTo>
                  <a:lnTo>
                    <a:pt x="315" y="117"/>
                  </a:lnTo>
                  <a:lnTo>
                    <a:pt x="311" y="121"/>
                  </a:lnTo>
                  <a:lnTo>
                    <a:pt x="307" y="124"/>
                  </a:lnTo>
                  <a:lnTo>
                    <a:pt x="303" y="128"/>
                  </a:lnTo>
                  <a:lnTo>
                    <a:pt x="301" y="132"/>
                  </a:lnTo>
                  <a:lnTo>
                    <a:pt x="301" y="132"/>
                  </a:lnTo>
                  <a:lnTo>
                    <a:pt x="298" y="130"/>
                  </a:lnTo>
                  <a:lnTo>
                    <a:pt x="294" y="128"/>
                  </a:lnTo>
                  <a:lnTo>
                    <a:pt x="292" y="126"/>
                  </a:lnTo>
                  <a:lnTo>
                    <a:pt x="292" y="124"/>
                  </a:lnTo>
                  <a:lnTo>
                    <a:pt x="292" y="124"/>
                  </a:lnTo>
                  <a:lnTo>
                    <a:pt x="288" y="122"/>
                  </a:lnTo>
                  <a:lnTo>
                    <a:pt x="286" y="122"/>
                  </a:lnTo>
                  <a:lnTo>
                    <a:pt x="284" y="122"/>
                  </a:lnTo>
                  <a:lnTo>
                    <a:pt x="282" y="121"/>
                  </a:lnTo>
                  <a:lnTo>
                    <a:pt x="280" y="121"/>
                  </a:lnTo>
                  <a:lnTo>
                    <a:pt x="278" y="119"/>
                  </a:lnTo>
                  <a:lnTo>
                    <a:pt x="277" y="119"/>
                  </a:lnTo>
                  <a:lnTo>
                    <a:pt x="273" y="117"/>
                  </a:lnTo>
                  <a:lnTo>
                    <a:pt x="273" y="117"/>
                  </a:lnTo>
                  <a:lnTo>
                    <a:pt x="269" y="119"/>
                  </a:lnTo>
                  <a:lnTo>
                    <a:pt x="265" y="121"/>
                  </a:lnTo>
                  <a:lnTo>
                    <a:pt x="263" y="121"/>
                  </a:lnTo>
                  <a:lnTo>
                    <a:pt x="261" y="122"/>
                  </a:lnTo>
                  <a:lnTo>
                    <a:pt x="259" y="126"/>
                  </a:lnTo>
                  <a:lnTo>
                    <a:pt x="257" y="128"/>
                  </a:lnTo>
                  <a:lnTo>
                    <a:pt x="256" y="130"/>
                  </a:lnTo>
                  <a:lnTo>
                    <a:pt x="254" y="130"/>
                  </a:lnTo>
                  <a:lnTo>
                    <a:pt x="254" y="130"/>
                  </a:lnTo>
                  <a:lnTo>
                    <a:pt x="250" y="128"/>
                  </a:lnTo>
                  <a:lnTo>
                    <a:pt x="244" y="126"/>
                  </a:lnTo>
                  <a:lnTo>
                    <a:pt x="240" y="124"/>
                  </a:lnTo>
                  <a:lnTo>
                    <a:pt x="235" y="121"/>
                  </a:lnTo>
                  <a:lnTo>
                    <a:pt x="229" y="117"/>
                  </a:lnTo>
                  <a:lnTo>
                    <a:pt x="223" y="115"/>
                  </a:lnTo>
                  <a:lnTo>
                    <a:pt x="217" y="113"/>
                  </a:lnTo>
                  <a:lnTo>
                    <a:pt x="214" y="111"/>
                  </a:lnTo>
                  <a:lnTo>
                    <a:pt x="214" y="111"/>
                  </a:lnTo>
                  <a:lnTo>
                    <a:pt x="208" y="113"/>
                  </a:lnTo>
                  <a:lnTo>
                    <a:pt x="204" y="115"/>
                  </a:lnTo>
                  <a:lnTo>
                    <a:pt x="198" y="117"/>
                  </a:lnTo>
                  <a:lnTo>
                    <a:pt x="195" y="121"/>
                  </a:lnTo>
                  <a:lnTo>
                    <a:pt x="193" y="126"/>
                  </a:lnTo>
                  <a:lnTo>
                    <a:pt x="189" y="130"/>
                  </a:lnTo>
                  <a:lnTo>
                    <a:pt x="185" y="134"/>
                  </a:lnTo>
                  <a:lnTo>
                    <a:pt x="183" y="138"/>
                  </a:lnTo>
                  <a:lnTo>
                    <a:pt x="183" y="138"/>
                  </a:lnTo>
                  <a:lnTo>
                    <a:pt x="181" y="138"/>
                  </a:lnTo>
                  <a:lnTo>
                    <a:pt x="179" y="136"/>
                  </a:lnTo>
                  <a:lnTo>
                    <a:pt x="177" y="134"/>
                  </a:lnTo>
                  <a:lnTo>
                    <a:pt x="177" y="132"/>
                  </a:lnTo>
                  <a:lnTo>
                    <a:pt x="177" y="132"/>
                  </a:lnTo>
                  <a:lnTo>
                    <a:pt x="177" y="130"/>
                  </a:lnTo>
                  <a:lnTo>
                    <a:pt x="179" y="126"/>
                  </a:lnTo>
                  <a:lnTo>
                    <a:pt x="179" y="124"/>
                  </a:lnTo>
                  <a:lnTo>
                    <a:pt x="181" y="122"/>
                  </a:lnTo>
                  <a:lnTo>
                    <a:pt x="181" y="121"/>
                  </a:lnTo>
                  <a:lnTo>
                    <a:pt x="183" y="117"/>
                  </a:lnTo>
                  <a:lnTo>
                    <a:pt x="183" y="115"/>
                  </a:lnTo>
                  <a:lnTo>
                    <a:pt x="183" y="111"/>
                  </a:lnTo>
                  <a:lnTo>
                    <a:pt x="183" y="111"/>
                  </a:lnTo>
                  <a:lnTo>
                    <a:pt x="183" y="107"/>
                  </a:lnTo>
                  <a:lnTo>
                    <a:pt x="179" y="107"/>
                  </a:lnTo>
                  <a:lnTo>
                    <a:pt x="175" y="105"/>
                  </a:lnTo>
                  <a:lnTo>
                    <a:pt x="172" y="105"/>
                  </a:lnTo>
                  <a:lnTo>
                    <a:pt x="172" y="105"/>
                  </a:lnTo>
                  <a:lnTo>
                    <a:pt x="172" y="103"/>
                  </a:lnTo>
                  <a:lnTo>
                    <a:pt x="170" y="101"/>
                  </a:lnTo>
                  <a:lnTo>
                    <a:pt x="170" y="98"/>
                  </a:lnTo>
                  <a:lnTo>
                    <a:pt x="170" y="94"/>
                  </a:lnTo>
                  <a:lnTo>
                    <a:pt x="168" y="88"/>
                  </a:lnTo>
                  <a:lnTo>
                    <a:pt x="168" y="86"/>
                  </a:lnTo>
                  <a:lnTo>
                    <a:pt x="168" y="82"/>
                  </a:lnTo>
                  <a:lnTo>
                    <a:pt x="168" y="80"/>
                  </a:lnTo>
                  <a:lnTo>
                    <a:pt x="168" y="80"/>
                  </a:lnTo>
                  <a:lnTo>
                    <a:pt x="170" y="71"/>
                  </a:lnTo>
                  <a:lnTo>
                    <a:pt x="170" y="63"/>
                  </a:lnTo>
                  <a:lnTo>
                    <a:pt x="174" y="58"/>
                  </a:lnTo>
                  <a:lnTo>
                    <a:pt x="177" y="52"/>
                  </a:lnTo>
                  <a:lnTo>
                    <a:pt x="179" y="46"/>
                  </a:lnTo>
                  <a:lnTo>
                    <a:pt x="183" y="38"/>
                  </a:lnTo>
                  <a:lnTo>
                    <a:pt x="183" y="31"/>
                  </a:lnTo>
                  <a:lnTo>
                    <a:pt x="185" y="23"/>
                  </a:lnTo>
                  <a:lnTo>
                    <a:pt x="185" y="23"/>
                  </a:lnTo>
                  <a:lnTo>
                    <a:pt x="185" y="19"/>
                  </a:lnTo>
                  <a:lnTo>
                    <a:pt x="185" y="18"/>
                  </a:lnTo>
                  <a:lnTo>
                    <a:pt x="183" y="14"/>
                  </a:lnTo>
                  <a:lnTo>
                    <a:pt x="183" y="12"/>
                  </a:lnTo>
                  <a:lnTo>
                    <a:pt x="181" y="12"/>
                  </a:lnTo>
                  <a:lnTo>
                    <a:pt x="181" y="10"/>
                  </a:lnTo>
                  <a:lnTo>
                    <a:pt x="179" y="8"/>
                  </a:lnTo>
                  <a:lnTo>
                    <a:pt x="179" y="6"/>
                  </a:lnTo>
                  <a:lnTo>
                    <a:pt x="74" y="8"/>
                  </a:lnTo>
                  <a:lnTo>
                    <a:pt x="74" y="8"/>
                  </a:lnTo>
                  <a:lnTo>
                    <a:pt x="71" y="12"/>
                  </a:lnTo>
                  <a:lnTo>
                    <a:pt x="69" y="14"/>
                  </a:lnTo>
                  <a:lnTo>
                    <a:pt x="67" y="16"/>
                  </a:lnTo>
                  <a:lnTo>
                    <a:pt x="67" y="19"/>
                  </a:lnTo>
                  <a:lnTo>
                    <a:pt x="65" y="21"/>
                  </a:lnTo>
                  <a:lnTo>
                    <a:pt x="65" y="21"/>
                  </a:lnTo>
                  <a:lnTo>
                    <a:pt x="69" y="27"/>
                  </a:lnTo>
                  <a:lnTo>
                    <a:pt x="72" y="33"/>
                  </a:lnTo>
                  <a:lnTo>
                    <a:pt x="76" y="38"/>
                  </a:lnTo>
                  <a:lnTo>
                    <a:pt x="80" y="42"/>
                  </a:lnTo>
                  <a:lnTo>
                    <a:pt x="84" y="48"/>
                  </a:lnTo>
                  <a:lnTo>
                    <a:pt x="88" y="54"/>
                  </a:lnTo>
                  <a:lnTo>
                    <a:pt x="90" y="61"/>
                  </a:lnTo>
                  <a:lnTo>
                    <a:pt x="90" y="69"/>
                  </a:lnTo>
                  <a:lnTo>
                    <a:pt x="90" y="69"/>
                  </a:lnTo>
                  <a:lnTo>
                    <a:pt x="92" y="73"/>
                  </a:lnTo>
                  <a:lnTo>
                    <a:pt x="92" y="77"/>
                  </a:lnTo>
                  <a:lnTo>
                    <a:pt x="93" y="80"/>
                  </a:lnTo>
                  <a:lnTo>
                    <a:pt x="95" y="82"/>
                  </a:lnTo>
                  <a:lnTo>
                    <a:pt x="97" y="84"/>
                  </a:lnTo>
                  <a:lnTo>
                    <a:pt x="99" y="86"/>
                  </a:lnTo>
                  <a:lnTo>
                    <a:pt x="101" y="90"/>
                  </a:lnTo>
                  <a:lnTo>
                    <a:pt x="101" y="92"/>
                  </a:lnTo>
                  <a:lnTo>
                    <a:pt x="101" y="92"/>
                  </a:lnTo>
                  <a:lnTo>
                    <a:pt x="101" y="98"/>
                  </a:lnTo>
                  <a:lnTo>
                    <a:pt x="99" y="105"/>
                  </a:lnTo>
                  <a:lnTo>
                    <a:pt x="99" y="109"/>
                  </a:lnTo>
                  <a:lnTo>
                    <a:pt x="97" y="113"/>
                  </a:lnTo>
                  <a:lnTo>
                    <a:pt x="93" y="117"/>
                  </a:lnTo>
                  <a:lnTo>
                    <a:pt x="92" y="119"/>
                  </a:lnTo>
                  <a:lnTo>
                    <a:pt x="88" y="121"/>
                  </a:lnTo>
                  <a:lnTo>
                    <a:pt x="82" y="121"/>
                  </a:lnTo>
                  <a:lnTo>
                    <a:pt x="82" y="121"/>
                  </a:lnTo>
                  <a:lnTo>
                    <a:pt x="78" y="121"/>
                  </a:lnTo>
                  <a:lnTo>
                    <a:pt x="74" y="121"/>
                  </a:lnTo>
                  <a:lnTo>
                    <a:pt x="71" y="121"/>
                  </a:lnTo>
                  <a:lnTo>
                    <a:pt x="69" y="121"/>
                  </a:lnTo>
                  <a:lnTo>
                    <a:pt x="65" y="121"/>
                  </a:lnTo>
                  <a:lnTo>
                    <a:pt x="63" y="121"/>
                  </a:lnTo>
                  <a:lnTo>
                    <a:pt x="63" y="121"/>
                  </a:lnTo>
                  <a:lnTo>
                    <a:pt x="61" y="121"/>
                  </a:lnTo>
                  <a:lnTo>
                    <a:pt x="65" y="121"/>
                  </a:lnTo>
                  <a:lnTo>
                    <a:pt x="65" y="121"/>
                  </a:lnTo>
                  <a:lnTo>
                    <a:pt x="71" y="124"/>
                  </a:lnTo>
                  <a:lnTo>
                    <a:pt x="72" y="132"/>
                  </a:lnTo>
                  <a:lnTo>
                    <a:pt x="72" y="140"/>
                  </a:lnTo>
                  <a:lnTo>
                    <a:pt x="72" y="149"/>
                  </a:lnTo>
                  <a:lnTo>
                    <a:pt x="74" y="157"/>
                  </a:lnTo>
                  <a:lnTo>
                    <a:pt x="78" y="164"/>
                  </a:lnTo>
                  <a:lnTo>
                    <a:pt x="84" y="168"/>
                  </a:lnTo>
                  <a:lnTo>
                    <a:pt x="95" y="170"/>
                  </a:lnTo>
                  <a:lnTo>
                    <a:pt x="95" y="170"/>
                  </a:lnTo>
                  <a:lnTo>
                    <a:pt x="95" y="170"/>
                  </a:lnTo>
                  <a:lnTo>
                    <a:pt x="95" y="172"/>
                  </a:lnTo>
                  <a:lnTo>
                    <a:pt x="95" y="174"/>
                  </a:lnTo>
                  <a:lnTo>
                    <a:pt x="95" y="176"/>
                  </a:lnTo>
                  <a:lnTo>
                    <a:pt x="92" y="170"/>
                  </a:lnTo>
                  <a:lnTo>
                    <a:pt x="92" y="170"/>
                  </a:lnTo>
                  <a:lnTo>
                    <a:pt x="93" y="174"/>
                  </a:lnTo>
                  <a:lnTo>
                    <a:pt x="93" y="176"/>
                  </a:lnTo>
                  <a:lnTo>
                    <a:pt x="95" y="178"/>
                  </a:lnTo>
                  <a:lnTo>
                    <a:pt x="95" y="180"/>
                  </a:lnTo>
                  <a:lnTo>
                    <a:pt x="95" y="180"/>
                  </a:lnTo>
                  <a:lnTo>
                    <a:pt x="95" y="187"/>
                  </a:lnTo>
                  <a:lnTo>
                    <a:pt x="90" y="195"/>
                  </a:lnTo>
                  <a:lnTo>
                    <a:pt x="84" y="201"/>
                  </a:lnTo>
                  <a:lnTo>
                    <a:pt x="76" y="208"/>
                  </a:lnTo>
                  <a:lnTo>
                    <a:pt x="69" y="214"/>
                  </a:lnTo>
                  <a:lnTo>
                    <a:pt x="61" y="222"/>
                  </a:lnTo>
                  <a:lnTo>
                    <a:pt x="55" y="229"/>
                  </a:lnTo>
                  <a:lnTo>
                    <a:pt x="51" y="235"/>
                  </a:lnTo>
                  <a:lnTo>
                    <a:pt x="51" y="235"/>
                  </a:lnTo>
                  <a:lnTo>
                    <a:pt x="50" y="243"/>
                  </a:lnTo>
                  <a:lnTo>
                    <a:pt x="46" y="250"/>
                  </a:lnTo>
                  <a:lnTo>
                    <a:pt x="42" y="258"/>
                  </a:lnTo>
                  <a:lnTo>
                    <a:pt x="36" y="267"/>
                  </a:lnTo>
                  <a:lnTo>
                    <a:pt x="30" y="275"/>
                  </a:lnTo>
                  <a:lnTo>
                    <a:pt x="25" y="281"/>
                  </a:lnTo>
                  <a:lnTo>
                    <a:pt x="17" y="285"/>
                  </a:lnTo>
                  <a:lnTo>
                    <a:pt x="9" y="286"/>
                  </a:lnTo>
                  <a:lnTo>
                    <a:pt x="9" y="286"/>
                  </a:lnTo>
                  <a:lnTo>
                    <a:pt x="6" y="286"/>
                  </a:lnTo>
                  <a:lnTo>
                    <a:pt x="4" y="286"/>
                  </a:lnTo>
                  <a:lnTo>
                    <a:pt x="2" y="286"/>
                  </a:lnTo>
                  <a:lnTo>
                    <a:pt x="0" y="286"/>
                  </a:lnTo>
                  <a:lnTo>
                    <a:pt x="0" y="286"/>
                  </a:lnTo>
                  <a:lnTo>
                    <a:pt x="2" y="292"/>
                  </a:lnTo>
                  <a:lnTo>
                    <a:pt x="4" y="298"/>
                  </a:lnTo>
                  <a:lnTo>
                    <a:pt x="6" y="304"/>
                  </a:lnTo>
                  <a:lnTo>
                    <a:pt x="6" y="311"/>
                  </a:lnTo>
                  <a:lnTo>
                    <a:pt x="8" y="317"/>
                  </a:lnTo>
                  <a:lnTo>
                    <a:pt x="9" y="323"/>
                  </a:lnTo>
                  <a:lnTo>
                    <a:pt x="11" y="328"/>
                  </a:lnTo>
                  <a:lnTo>
                    <a:pt x="11" y="332"/>
                  </a:lnTo>
                  <a:lnTo>
                    <a:pt x="11" y="332"/>
                  </a:lnTo>
                  <a:lnTo>
                    <a:pt x="15" y="344"/>
                  </a:lnTo>
                  <a:lnTo>
                    <a:pt x="15" y="353"/>
                  </a:lnTo>
                  <a:lnTo>
                    <a:pt x="15" y="361"/>
                  </a:lnTo>
                  <a:lnTo>
                    <a:pt x="13" y="367"/>
                  </a:lnTo>
                  <a:lnTo>
                    <a:pt x="15" y="372"/>
                  </a:lnTo>
                  <a:lnTo>
                    <a:pt x="15" y="378"/>
                  </a:lnTo>
                  <a:lnTo>
                    <a:pt x="19" y="382"/>
                  </a:lnTo>
                  <a:lnTo>
                    <a:pt x="27" y="388"/>
                  </a:lnTo>
                  <a:lnTo>
                    <a:pt x="27" y="388"/>
                  </a:lnTo>
                  <a:lnTo>
                    <a:pt x="25" y="393"/>
                  </a:lnTo>
                  <a:lnTo>
                    <a:pt x="23" y="399"/>
                  </a:lnTo>
                  <a:lnTo>
                    <a:pt x="21" y="403"/>
                  </a:lnTo>
                  <a:lnTo>
                    <a:pt x="17" y="407"/>
                  </a:lnTo>
                  <a:lnTo>
                    <a:pt x="15" y="410"/>
                  </a:lnTo>
                  <a:lnTo>
                    <a:pt x="13" y="414"/>
                  </a:lnTo>
                  <a:lnTo>
                    <a:pt x="11" y="418"/>
                  </a:lnTo>
                  <a:lnTo>
                    <a:pt x="11" y="424"/>
                  </a:lnTo>
                  <a:lnTo>
                    <a:pt x="11" y="424"/>
                  </a:lnTo>
                  <a:lnTo>
                    <a:pt x="11" y="430"/>
                  </a:lnTo>
                  <a:lnTo>
                    <a:pt x="15" y="435"/>
                  </a:lnTo>
                  <a:lnTo>
                    <a:pt x="21" y="439"/>
                  </a:lnTo>
                  <a:lnTo>
                    <a:pt x="27" y="443"/>
                  </a:lnTo>
                  <a:lnTo>
                    <a:pt x="32" y="447"/>
                  </a:lnTo>
                  <a:lnTo>
                    <a:pt x="40" y="449"/>
                  </a:lnTo>
                  <a:lnTo>
                    <a:pt x="44" y="452"/>
                  </a:lnTo>
                  <a:lnTo>
                    <a:pt x="48" y="454"/>
                  </a:lnTo>
                  <a:lnTo>
                    <a:pt x="48" y="454"/>
                  </a:lnTo>
                  <a:lnTo>
                    <a:pt x="55" y="462"/>
                  </a:lnTo>
                  <a:lnTo>
                    <a:pt x="59" y="470"/>
                  </a:lnTo>
                  <a:lnTo>
                    <a:pt x="63" y="477"/>
                  </a:lnTo>
                  <a:lnTo>
                    <a:pt x="67" y="485"/>
                  </a:lnTo>
                  <a:lnTo>
                    <a:pt x="69" y="493"/>
                  </a:lnTo>
                  <a:lnTo>
                    <a:pt x="71" y="500"/>
                  </a:lnTo>
                  <a:lnTo>
                    <a:pt x="74" y="508"/>
                  </a:lnTo>
                  <a:lnTo>
                    <a:pt x="76" y="517"/>
                  </a:lnTo>
                  <a:lnTo>
                    <a:pt x="76" y="517"/>
                  </a:lnTo>
                  <a:lnTo>
                    <a:pt x="82" y="525"/>
                  </a:lnTo>
                  <a:lnTo>
                    <a:pt x="84" y="535"/>
                  </a:lnTo>
                  <a:lnTo>
                    <a:pt x="88" y="542"/>
                  </a:lnTo>
                  <a:lnTo>
                    <a:pt x="92" y="550"/>
                  </a:lnTo>
                  <a:lnTo>
                    <a:pt x="93" y="557"/>
                  </a:lnTo>
                  <a:lnTo>
                    <a:pt x="95" y="565"/>
                  </a:lnTo>
                  <a:lnTo>
                    <a:pt x="99" y="575"/>
                  </a:lnTo>
                  <a:lnTo>
                    <a:pt x="103" y="582"/>
                  </a:lnTo>
                  <a:lnTo>
                    <a:pt x="103" y="582"/>
                  </a:lnTo>
                  <a:lnTo>
                    <a:pt x="107" y="588"/>
                  </a:lnTo>
                  <a:lnTo>
                    <a:pt x="111" y="594"/>
                  </a:lnTo>
                  <a:lnTo>
                    <a:pt x="114" y="597"/>
                  </a:lnTo>
                  <a:lnTo>
                    <a:pt x="118" y="603"/>
                  </a:lnTo>
                  <a:lnTo>
                    <a:pt x="122" y="607"/>
                  </a:lnTo>
                  <a:lnTo>
                    <a:pt x="124" y="613"/>
                  </a:lnTo>
                  <a:lnTo>
                    <a:pt x="126" y="617"/>
                  </a:lnTo>
                  <a:lnTo>
                    <a:pt x="126" y="624"/>
                  </a:lnTo>
                  <a:lnTo>
                    <a:pt x="126" y="624"/>
                  </a:lnTo>
                  <a:lnTo>
                    <a:pt x="132" y="622"/>
                  </a:lnTo>
                  <a:lnTo>
                    <a:pt x="133" y="622"/>
                  </a:lnTo>
                  <a:lnTo>
                    <a:pt x="135" y="622"/>
                  </a:lnTo>
                  <a:lnTo>
                    <a:pt x="137" y="622"/>
                  </a:lnTo>
                  <a:lnTo>
                    <a:pt x="137" y="622"/>
                  </a:lnTo>
                  <a:lnTo>
                    <a:pt x="139" y="622"/>
                  </a:lnTo>
                  <a:lnTo>
                    <a:pt x="139" y="622"/>
                  </a:lnTo>
                  <a:lnTo>
                    <a:pt x="141" y="622"/>
                  </a:lnTo>
                  <a:lnTo>
                    <a:pt x="141" y="622"/>
                  </a:lnTo>
                  <a:lnTo>
                    <a:pt x="143" y="622"/>
                  </a:lnTo>
                  <a:lnTo>
                    <a:pt x="145" y="624"/>
                  </a:lnTo>
                  <a:lnTo>
                    <a:pt x="147" y="628"/>
                  </a:lnTo>
                  <a:lnTo>
                    <a:pt x="151" y="630"/>
                  </a:lnTo>
                  <a:lnTo>
                    <a:pt x="154" y="634"/>
                  </a:lnTo>
                  <a:lnTo>
                    <a:pt x="158" y="636"/>
                  </a:lnTo>
                  <a:lnTo>
                    <a:pt x="160" y="638"/>
                  </a:lnTo>
                  <a:lnTo>
                    <a:pt x="162" y="639"/>
                  </a:lnTo>
                  <a:lnTo>
                    <a:pt x="162" y="639"/>
                  </a:lnTo>
                  <a:lnTo>
                    <a:pt x="170" y="643"/>
                  </a:lnTo>
                  <a:lnTo>
                    <a:pt x="177" y="647"/>
                  </a:lnTo>
                  <a:lnTo>
                    <a:pt x="185" y="649"/>
                  </a:lnTo>
                  <a:lnTo>
                    <a:pt x="193" y="651"/>
                  </a:lnTo>
                  <a:lnTo>
                    <a:pt x="198" y="653"/>
                  </a:lnTo>
                  <a:lnTo>
                    <a:pt x="204" y="655"/>
                  </a:lnTo>
                  <a:lnTo>
                    <a:pt x="212" y="659"/>
                  </a:lnTo>
                  <a:lnTo>
                    <a:pt x="219" y="660"/>
                  </a:lnTo>
                  <a:lnTo>
                    <a:pt x="219" y="660"/>
                  </a:lnTo>
                  <a:lnTo>
                    <a:pt x="227" y="664"/>
                  </a:lnTo>
                  <a:lnTo>
                    <a:pt x="233" y="668"/>
                  </a:lnTo>
                  <a:lnTo>
                    <a:pt x="240" y="672"/>
                  </a:lnTo>
                  <a:lnTo>
                    <a:pt x="246" y="676"/>
                  </a:lnTo>
                  <a:lnTo>
                    <a:pt x="254" y="678"/>
                  </a:lnTo>
                  <a:lnTo>
                    <a:pt x="259" y="681"/>
                  </a:lnTo>
                  <a:lnTo>
                    <a:pt x="267" y="685"/>
                  </a:lnTo>
                  <a:lnTo>
                    <a:pt x="273" y="687"/>
                  </a:lnTo>
                  <a:lnTo>
                    <a:pt x="278" y="689"/>
                  </a:lnTo>
                  <a:lnTo>
                    <a:pt x="286" y="691"/>
                  </a:lnTo>
                  <a:lnTo>
                    <a:pt x="294" y="693"/>
                  </a:lnTo>
                  <a:lnTo>
                    <a:pt x="301" y="693"/>
                  </a:lnTo>
                  <a:lnTo>
                    <a:pt x="307" y="693"/>
                  </a:lnTo>
                  <a:lnTo>
                    <a:pt x="317" y="693"/>
                  </a:lnTo>
                  <a:lnTo>
                    <a:pt x="324" y="693"/>
                  </a:lnTo>
                  <a:lnTo>
                    <a:pt x="332" y="691"/>
                  </a:lnTo>
                  <a:lnTo>
                    <a:pt x="332" y="691"/>
                  </a:lnTo>
                  <a:lnTo>
                    <a:pt x="334" y="691"/>
                  </a:lnTo>
                  <a:lnTo>
                    <a:pt x="336" y="691"/>
                  </a:lnTo>
                  <a:lnTo>
                    <a:pt x="338" y="691"/>
                  </a:lnTo>
                  <a:lnTo>
                    <a:pt x="338" y="691"/>
                  </a:lnTo>
                  <a:lnTo>
                    <a:pt x="338" y="691"/>
                  </a:lnTo>
                  <a:lnTo>
                    <a:pt x="349" y="699"/>
                  </a:lnTo>
                  <a:lnTo>
                    <a:pt x="357" y="704"/>
                  </a:lnTo>
                  <a:lnTo>
                    <a:pt x="362" y="712"/>
                  </a:lnTo>
                  <a:lnTo>
                    <a:pt x="366" y="718"/>
                  </a:lnTo>
                  <a:lnTo>
                    <a:pt x="370" y="725"/>
                  </a:lnTo>
                  <a:lnTo>
                    <a:pt x="372" y="733"/>
                  </a:lnTo>
                  <a:lnTo>
                    <a:pt x="376" y="742"/>
                  </a:lnTo>
                  <a:lnTo>
                    <a:pt x="381" y="752"/>
                  </a:lnTo>
                  <a:lnTo>
                    <a:pt x="381" y="790"/>
                  </a:lnTo>
                  <a:lnTo>
                    <a:pt x="381" y="790"/>
                  </a:lnTo>
                  <a:lnTo>
                    <a:pt x="383" y="794"/>
                  </a:lnTo>
                  <a:lnTo>
                    <a:pt x="385" y="798"/>
                  </a:lnTo>
                  <a:lnTo>
                    <a:pt x="385" y="802"/>
                  </a:lnTo>
                  <a:lnTo>
                    <a:pt x="385" y="805"/>
                  </a:lnTo>
                  <a:lnTo>
                    <a:pt x="385" y="809"/>
                  </a:lnTo>
                  <a:lnTo>
                    <a:pt x="385" y="813"/>
                  </a:lnTo>
                  <a:lnTo>
                    <a:pt x="385" y="817"/>
                  </a:lnTo>
                  <a:lnTo>
                    <a:pt x="385" y="821"/>
                  </a:lnTo>
                  <a:lnTo>
                    <a:pt x="385" y="821"/>
                  </a:lnTo>
                  <a:lnTo>
                    <a:pt x="385" y="824"/>
                  </a:lnTo>
                  <a:lnTo>
                    <a:pt x="387" y="828"/>
                  </a:lnTo>
                  <a:lnTo>
                    <a:pt x="389" y="832"/>
                  </a:lnTo>
                  <a:lnTo>
                    <a:pt x="391" y="836"/>
                  </a:lnTo>
                  <a:lnTo>
                    <a:pt x="395" y="838"/>
                  </a:lnTo>
                  <a:lnTo>
                    <a:pt x="397" y="842"/>
                  </a:lnTo>
                  <a:lnTo>
                    <a:pt x="399" y="844"/>
                  </a:lnTo>
                  <a:lnTo>
                    <a:pt x="402" y="847"/>
                  </a:lnTo>
                  <a:lnTo>
                    <a:pt x="402" y="847"/>
                  </a:lnTo>
                  <a:lnTo>
                    <a:pt x="406" y="845"/>
                  </a:lnTo>
                  <a:lnTo>
                    <a:pt x="410" y="844"/>
                  </a:lnTo>
                  <a:lnTo>
                    <a:pt x="416" y="844"/>
                  </a:lnTo>
                  <a:lnTo>
                    <a:pt x="420" y="842"/>
                  </a:lnTo>
                  <a:lnTo>
                    <a:pt x="425" y="840"/>
                  </a:lnTo>
                  <a:lnTo>
                    <a:pt x="429" y="838"/>
                  </a:lnTo>
                  <a:lnTo>
                    <a:pt x="435" y="836"/>
                  </a:lnTo>
                  <a:lnTo>
                    <a:pt x="439" y="834"/>
                  </a:lnTo>
                  <a:lnTo>
                    <a:pt x="444" y="832"/>
                  </a:lnTo>
                  <a:lnTo>
                    <a:pt x="448" y="830"/>
                  </a:lnTo>
                  <a:lnTo>
                    <a:pt x="454" y="830"/>
                  </a:lnTo>
                  <a:lnTo>
                    <a:pt x="458" y="828"/>
                  </a:lnTo>
                  <a:lnTo>
                    <a:pt x="462" y="828"/>
                  </a:lnTo>
                  <a:lnTo>
                    <a:pt x="465" y="826"/>
                  </a:lnTo>
                  <a:lnTo>
                    <a:pt x="469" y="826"/>
                  </a:lnTo>
                  <a:lnTo>
                    <a:pt x="471" y="826"/>
                  </a:lnTo>
                  <a:lnTo>
                    <a:pt x="471" y="826"/>
                  </a:lnTo>
                  <a:lnTo>
                    <a:pt x="477" y="826"/>
                  </a:lnTo>
                  <a:lnTo>
                    <a:pt x="481" y="828"/>
                  </a:lnTo>
                  <a:lnTo>
                    <a:pt x="486" y="830"/>
                  </a:lnTo>
                  <a:lnTo>
                    <a:pt x="490" y="832"/>
                  </a:lnTo>
                  <a:lnTo>
                    <a:pt x="494" y="836"/>
                  </a:lnTo>
                  <a:lnTo>
                    <a:pt x="498" y="838"/>
                  </a:lnTo>
                  <a:lnTo>
                    <a:pt x="500" y="840"/>
                  </a:lnTo>
                  <a:lnTo>
                    <a:pt x="504" y="842"/>
                  </a:lnTo>
                  <a:lnTo>
                    <a:pt x="504" y="842"/>
                  </a:lnTo>
                  <a:lnTo>
                    <a:pt x="511" y="844"/>
                  </a:lnTo>
                  <a:lnTo>
                    <a:pt x="519" y="845"/>
                  </a:lnTo>
                  <a:lnTo>
                    <a:pt x="525" y="845"/>
                  </a:lnTo>
                  <a:lnTo>
                    <a:pt x="532" y="847"/>
                  </a:lnTo>
                  <a:lnTo>
                    <a:pt x="540" y="847"/>
                  </a:lnTo>
                  <a:lnTo>
                    <a:pt x="547" y="849"/>
                  </a:lnTo>
                  <a:lnTo>
                    <a:pt x="555" y="849"/>
                  </a:lnTo>
                  <a:lnTo>
                    <a:pt x="563" y="849"/>
                  </a:lnTo>
                  <a:lnTo>
                    <a:pt x="563" y="849"/>
                  </a:lnTo>
                  <a:lnTo>
                    <a:pt x="570" y="849"/>
                  </a:lnTo>
                  <a:lnTo>
                    <a:pt x="576" y="847"/>
                  </a:lnTo>
                  <a:lnTo>
                    <a:pt x="584" y="845"/>
                  </a:lnTo>
                  <a:lnTo>
                    <a:pt x="589" y="844"/>
                  </a:lnTo>
                  <a:lnTo>
                    <a:pt x="595" y="842"/>
                  </a:lnTo>
                  <a:lnTo>
                    <a:pt x="601" y="840"/>
                  </a:lnTo>
                  <a:lnTo>
                    <a:pt x="605" y="836"/>
                  </a:lnTo>
                  <a:lnTo>
                    <a:pt x="610" y="834"/>
                  </a:lnTo>
                  <a:lnTo>
                    <a:pt x="616" y="830"/>
                  </a:lnTo>
                  <a:lnTo>
                    <a:pt x="620" y="826"/>
                  </a:lnTo>
                  <a:lnTo>
                    <a:pt x="626" y="824"/>
                  </a:lnTo>
                  <a:lnTo>
                    <a:pt x="629" y="823"/>
                  </a:lnTo>
                  <a:lnTo>
                    <a:pt x="635" y="821"/>
                  </a:lnTo>
                  <a:lnTo>
                    <a:pt x="641" y="819"/>
                  </a:lnTo>
                  <a:lnTo>
                    <a:pt x="647" y="817"/>
                  </a:lnTo>
                  <a:lnTo>
                    <a:pt x="652" y="817"/>
                  </a:lnTo>
                  <a:lnTo>
                    <a:pt x="652" y="817"/>
                  </a:lnTo>
                  <a:lnTo>
                    <a:pt x="658" y="817"/>
                  </a:lnTo>
                  <a:lnTo>
                    <a:pt x="662" y="817"/>
                  </a:lnTo>
                  <a:lnTo>
                    <a:pt x="666" y="817"/>
                  </a:lnTo>
                  <a:lnTo>
                    <a:pt x="668" y="817"/>
                  </a:lnTo>
                  <a:lnTo>
                    <a:pt x="671" y="817"/>
                  </a:lnTo>
                  <a:lnTo>
                    <a:pt x="675" y="817"/>
                  </a:lnTo>
                  <a:lnTo>
                    <a:pt x="677" y="817"/>
                  </a:lnTo>
                  <a:lnTo>
                    <a:pt x="681" y="817"/>
                  </a:lnTo>
                  <a:lnTo>
                    <a:pt x="681" y="817"/>
                  </a:lnTo>
                  <a:lnTo>
                    <a:pt x="690" y="817"/>
                  </a:lnTo>
                  <a:lnTo>
                    <a:pt x="700" y="815"/>
                  </a:lnTo>
                  <a:lnTo>
                    <a:pt x="710" y="813"/>
                  </a:lnTo>
                  <a:lnTo>
                    <a:pt x="721" y="811"/>
                  </a:lnTo>
                  <a:lnTo>
                    <a:pt x="732" y="807"/>
                  </a:lnTo>
                  <a:lnTo>
                    <a:pt x="742" y="803"/>
                  </a:lnTo>
                  <a:lnTo>
                    <a:pt x="753" y="800"/>
                  </a:lnTo>
                  <a:lnTo>
                    <a:pt x="765" y="794"/>
                  </a:lnTo>
                  <a:lnTo>
                    <a:pt x="774" y="788"/>
                  </a:lnTo>
                  <a:lnTo>
                    <a:pt x="784" y="783"/>
                  </a:lnTo>
                  <a:lnTo>
                    <a:pt x="793" y="777"/>
                  </a:lnTo>
                  <a:lnTo>
                    <a:pt x="803" y="771"/>
                  </a:lnTo>
                  <a:lnTo>
                    <a:pt x="811" y="763"/>
                  </a:lnTo>
                  <a:lnTo>
                    <a:pt x="816" y="758"/>
                  </a:lnTo>
                  <a:lnTo>
                    <a:pt x="822" y="750"/>
                  </a:lnTo>
                  <a:lnTo>
                    <a:pt x="826" y="744"/>
                  </a:lnTo>
                  <a:lnTo>
                    <a:pt x="826" y="744"/>
                  </a:lnTo>
                  <a:lnTo>
                    <a:pt x="820" y="742"/>
                  </a:lnTo>
                  <a:lnTo>
                    <a:pt x="814" y="742"/>
                  </a:lnTo>
                  <a:lnTo>
                    <a:pt x="811" y="739"/>
                  </a:lnTo>
                  <a:lnTo>
                    <a:pt x="805" y="737"/>
                  </a:lnTo>
                  <a:lnTo>
                    <a:pt x="801" y="733"/>
                  </a:lnTo>
                  <a:lnTo>
                    <a:pt x="797" y="727"/>
                  </a:lnTo>
                  <a:lnTo>
                    <a:pt x="795" y="721"/>
                  </a:lnTo>
                  <a:lnTo>
                    <a:pt x="792" y="718"/>
                  </a:lnTo>
                  <a:lnTo>
                    <a:pt x="790" y="712"/>
                  </a:lnTo>
                  <a:lnTo>
                    <a:pt x="788" y="706"/>
                  </a:lnTo>
                  <a:lnTo>
                    <a:pt x="786" y="699"/>
                  </a:lnTo>
                  <a:lnTo>
                    <a:pt x="784" y="693"/>
                  </a:lnTo>
                  <a:lnTo>
                    <a:pt x="784" y="687"/>
                  </a:lnTo>
                  <a:lnTo>
                    <a:pt x="782" y="681"/>
                  </a:lnTo>
                  <a:lnTo>
                    <a:pt x="782" y="676"/>
                  </a:lnTo>
                  <a:lnTo>
                    <a:pt x="782" y="670"/>
                  </a:lnTo>
                  <a:lnTo>
                    <a:pt x="782" y="670"/>
                  </a:lnTo>
                  <a:lnTo>
                    <a:pt x="782" y="662"/>
                  </a:lnTo>
                  <a:lnTo>
                    <a:pt x="780" y="655"/>
                  </a:lnTo>
                  <a:lnTo>
                    <a:pt x="776" y="647"/>
                  </a:lnTo>
                  <a:lnTo>
                    <a:pt x="773" y="639"/>
                  </a:lnTo>
                  <a:lnTo>
                    <a:pt x="767" y="630"/>
                  </a:lnTo>
                  <a:lnTo>
                    <a:pt x="765" y="622"/>
                  </a:lnTo>
                  <a:lnTo>
                    <a:pt x="761" y="615"/>
                  </a:lnTo>
                  <a:lnTo>
                    <a:pt x="761" y="605"/>
                  </a:lnTo>
                  <a:lnTo>
                    <a:pt x="761" y="605"/>
                  </a:lnTo>
                  <a:lnTo>
                    <a:pt x="761" y="599"/>
                  </a:lnTo>
                  <a:lnTo>
                    <a:pt x="763" y="596"/>
                  </a:lnTo>
                  <a:lnTo>
                    <a:pt x="763" y="590"/>
                  </a:lnTo>
                  <a:lnTo>
                    <a:pt x="767" y="584"/>
                  </a:lnTo>
                  <a:lnTo>
                    <a:pt x="767" y="580"/>
                  </a:lnTo>
                  <a:lnTo>
                    <a:pt x="769" y="575"/>
                  </a:lnTo>
                  <a:lnTo>
                    <a:pt x="771" y="569"/>
                  </a:lnTo>
                  <a:lnTo>
                    <a:pt x="771" y="565"/>
                  </a:lnTo>
                  <a:lnTo>
                    <a:pt x="771" y="565"/>
                  </a:lnTo>
                  <a:lnTo>
                    <a:pt x="771" y="559"/>
                  </a:lnTo>
                  <a:lnTo>
                    <a:pt x="769" y="554"/>
                  </a:lnTo>
                  <a:lnTo>
                    <a:pt x="767" y="550"/>
                  </a:lnTo>
                  <a:lnTo>
                    <a:pt x="767" y="546"/>
                  </a:lnTo>
                  <a:lnTo>
                    <a:pt x="763" y="542"/>
                  </a:lnTo>
                  <a:lnTo>
                    <a:pt x="763" y="540"/>
                  </a:lnTo>
                  <a:lnTo>
                    <a:pt x="761" y="535"/>
                  </a:lnTo>
                  <a:lnTo>
                    <a:pt x="761" y="531"/>
                  </a:lnTo>
                  <a:lnTo>
                    <a:pt x="761" y="531"/>
                  </a:lnTo>
                  <a:lnTo>
                    <a:pt x="761" y="523"/>
                  </a:lnTo>
                  <a:lnTo>
                    <a:pt x="765" y="517"/>
                  </a:lnTo>
                  <a:lnTo>
                    <a:pt x="767" y="514"/>
                  </a:lnTo>
                  <a:lnTo>
                    <a:pt x="773" y="510"/>
                  </a:lnTo>
                  <a:lnTo>
                    <a:pt x="776" y="506"/>
                  </a:lnTo>
                  <a:lnTo>
                    <a:pt x="780" y="502"/>
                  </a:lnTo>
                  <a:lnTo>
                    <a:pt x="782" y="498"/>
                  </a:lnTo>
                  <a:lnTo>
                    <a:pt x="782" y="493"/>
                  </a:lnTo>
                  <a:lnTo>
                    <a:pt x="782" y="493"/>
                  </a:lnTo>
                  <a:lnTo>
                    <a:pt x="782" y="489"/>
                  </a:lnTo>
                  <a:lnTo>
                    <a:pt x="782" y="485"/>
                  </a:lnTo>
                  <a:lnTo>
                    <a:pt x="782" y="485"/>
                  </a:lnTo>
                  <a:lnTo>
                    <a:pt x="782" y="483"/>
                  </a:lnTo>
                  <a:lnTo>
                    <a:pt x="780" y="481"/>
                  </a:lnTo>
                  <a:lnTo>
                    <a:pt x="780" y="481"/>
                  </a:lnTo>
                  <a:lnTo>
                    <a:pt x="782" y="479"/>
                  </a:lnTo>
                  <a:lnTo>
                    <a:pt x="782" y="479"/>
                  </a:lnTo>
                  <a:lnTo>
                    <a:pt x="782" y="479"/>
                  </a:lnTo>
                  <a:lnTo>
                    <a:pt x="780" y="473"/>
                  </a:lnTo>
                  <a:lnTo>
                    <a:pt x="776" y="470"/>
                  </a:lnTo>
                  <a:lnTo>
                    <a:pt x="773" y="466"/>
                  </a:lnTo>
                  <a:lnTo>
                    <a:pt x="769" y="462"/>
                  </a:lnTo>
                  <a:lnTo>
                    <a:pt x="763" y="460"/>
                  </a:lnTo>
                  <a:lnTo>
                    <a:pt x="759" y="456"/>
                  </a:lnTo>
                  <a:lnTo>
                    <a:pt x="753" y="452"/>
                  </a:lnTo>
                  <a:lnTo>
                    <a:pt x="750" y="451"/>
                  </a:lnTo>
                  <a:lnTo>
                    <a:pt x="746" y="447"/>
                  </a:lnTo>
                  <a:lnTo>
                    <a:pt x="740" y="443"/>
                  </a:lnTo>
                  <a:lnTo>
                    <a:pt x="736" y="439"/>
                  </a:lnTo>
                  <a:lnTo>
                    <a:pt x="734" y="435"/>
                  </a:lnTo>
                  <a:lnTo>
                    <a:pt x="731" y="430"/>
                  </a:lnTo>
                  <a:lnTo>
                    <a:pt x="729" y="424"/>
                  </a:lnTo>
                  <a:lnTo>
                    <a:pt x="727" y="416"/>
                  </a:lnTo>
                  <a:lnTo>
                    <a:pt x="727" y="410"/>
                  </a:lnTo>
                  <a:lnTo>
                    <a:pt x="727" y="410"/>
                  </a:lnTo>
                  <a:lnTo>
                    <a:pt x="727" y="401"/>
                  </a:lnTo>
                  <a:lnTo>
                    <a:pt x="729" y="393"/>
                  </a:lnTo>
                  <a:lnTo>
                    <a:pt x="731" y="386"/>
                  </a:lnTo>
                  <a:lnTo>
                    <a:pt x="732" y="380"/>
                  </a:lnTo>
                  <a:lnTo>
                    <a:pt x="734" y="372"/>
                  </a:lnTo>
                  <a:lnTo>
                    <a:pt x="736" y="367"/>
                  </a:lnTo>
                  <a:lnTo>
                    <a:pt x="740" y="361"/>
                  </a:lnTo>
                  <a:lnTo>
                    <a:pt x="742" y="353"/>
                  </a:lnTo>
                  <a:lnTo>
                    <a:pt x="746" y="348"/>
                  </a:lnTo>
                  <a:lnTo>
                    <a:pt x="748" y="342"/>
                  </a:lnTo>
                  <a:lnTo>
                    <a:pt x="752" y="334"/>
                  </a:lnTo>
                  <a:lnTo>
                    <a:pt x="753" y="328"/>
                  </a:lnTo>
                  <a:lnTo>
                    <a:pt x="755" y="321"/>
                  </a:lnTo>
                  <a:lnTo>
                    <a:pt x="757" y="313"/>
                  </a:lnTo>
                  <a:lnTo>
                    <a:pt x="757" y="307"/>
                  </a:lnTo>
                  <a:lnTo>
                    <a:pt x="757" y="29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4" name="Freeform 18"/>
            <p:cNvSpPr>
              <a:spLocks/>
            </p:cNvSpPr>
            <p:nvPr/>
          </p:nvSpPr>
          <p:spPr bwMode="gray">
            <a:xfrm>
              <a:off x="3445" y="2888"/>
              <a:ext cx="342" cy="602"/>
            </a:xfrm>
            <a:custGeom>
              <a:avLst/>
              <a:gdLst/>
              <a:ahLst/>
              <a:cxnLst>
                <a:cxn ang="0">
                  <a:pos x="23" y="758"/>
                </a:cxn>
                <a:cxn ang="0">
                  <a:pos x="84" y="693"/>
                </a:cxn>
                <a:cxn ang="0">
                  <a:pos x="118" y="605"/>
                </a:cxn>
                <a:cxn ang="0">
                  <a:pos x="115" y="563"/>
                </a:cxn>
                <a:cxn ang="0">
                  <a:pos x="107" y="514"/>
                </a:cxn>
                <a:cxn ang="0">
                  <a:pos x="103" y="470"/>
                </a:cxn>
                <a:cxn ang="0">
                  <a:pos x="122" y="422"/>
                </a:cxn>
                <a:cxn ang="0">
                  <a:pos x="139" y="388"/>
                </a:cxn>
                <a:cxn ang="0">
                  <a:pos x="156" y="355"/>
                </a:cxn>
                <a:cxn ang="0">
                  <a:pos x="200" y="330"/>
                </a:cxn>
                <a:cxn ang="0">
                  <a:pos x="242" y="317"/>
                </a:cxn>
                <a:cxn ang="0">
                  <a:pos x="280" y="306"/>
                </a:cxn>
                <a:cxn ang="0">
                  <a:pos x="313" y="285"/>
                </a:cxn>
                <a:cxn ang="0">
                  <a:pos x="340" y="260"/>
                </a:cxn>
                <a:cxn ang="0">
                  <a:pos x="370" y="241"/>
                </a:cxn>
                <a:cxn ang="0">
                  <a:pos x="408" y="212"/>
                </a:cxn>
                <a:cxn ang="0">
                  <a:pos x="420" y="187"/>
                </a:cxn>
                <a:cxn ang="0">
                  <a:pos x="431" y="164"/>
                </a:cxn>
                <a:cxn ang="0">
                  <a:pos x="446" y="143"/>
                </a:cxn>
                <a:cxn ang="0">
                  <a:pos x="490" y="115"/>
                </a:cxn>
                <a:cxn ang="0">
                  <a:pos x="507" y="77"/>
                </a:cxn>
                <a:cxn ang="0">
                  <a:pos x="506" y="42"/>
                </a:cxn>
                <a:cxn ang="0">
                  <a:pos x="538" y="8"/>
                </a:cxn>
                <a:cxn ang="0">
                  <a:pos x="555" y="21"/>
                </a:cxn>
                <a:cxn ang="0">
                  <a:pos x="570" y="69"/>
                </a:cxn>
                <a:cxn ang="0">
                  <a:pos x="586" y="122"/>
                </a:cxn>
                <a:cxn ang="0">
                  <a:pos x="597" y="178"/>
                </a:cxn>
                <a:cxn ang="0">
                  <a:pos x="603" y="233"/>
                </a:cxn>
                <a:cxn ang="0">
                  <a:pos x="605" y="281"/>
                </a:cxn>
                <a:cxn ang="0">
                  <a:pos x="590" y="317"/>
                </a:cxn>
                <a:cxn ang="0">
                  <a:pos x="570" y="306"/>
                </a:cxn>
                <a:cxn ang="0">
                  <a:pos x="559" y="290"/>
                </a:cxn>
                <a:cxn ang="0">
                  <a:pos x="549" y="317"/>
                </a:cxn>
                <a:cxn ang="0">
                  <a:pos x="553" y="349"/>
                </a:cxn>
                <a:cxn ang="0">
                  <a:pos x="551" y="380"/>
                </a:cxn>
                <a:cxn ang="0">
                  <a:pos x="527" y="414"/>
                </a:cxn>
                <a:cxn ang="0">
                  <a:pos x="513" y="447"/>
                </a:cxn>
                <a:cxn ang="0">
                  <a:pos x="506" y="485"/>
                </a:cxn>
                <a:cxn ang="0">
                  <a:pos x="496" y="527"/>
                </a:cxn>
                <a:cxn ang="0">
                  <a:pos x="467" y="594"/>
                </a:cxn>
                <a:cxn ang="0">
                  <a:pos x="424" y="674"/>
                </a:cxn>
                <a:cxn ang="0">
                  <a:pos x="393" y="741"/>
                </a:cxn>
                <a:cxn ang="0">
                  <a:pos x="368" y="798"/>
                </a:cxn>
                <a:cxn ang="0">
                  <a:pos x="343" y="847"/>
                </a:cxn>
                <a:cxn ang="0">
                  <a:pos x="322" y="895"/>
                </a:cxn>
                <a:cxn ang="0">
                  <a:pos x="298" y="969"/>
                </a:cxn>
                <a:cxn ang="0">
                  <a:pos x="261" y="1034"/>
                </a:cxn>
                <a:cxn ang="0">
                  <a:pos x="223" y="1063"/>
                </a:cxn>
                <a:cxn ang="0">
                  <a:pos x="187" y="1067"/>
                </a:cxn>
                <a:cxn ang="0">
                  <a:pos x="166" y="1076"/>
                </a:cxn>
                <a:cxn ang="0">
                  <a:pos x="141" y="1088"/>
                </a:cxn>
                <a:cxn ang="0">
                  <a:pos x="116" y="1093"/>
                </a:cxn>
                <a:cxn ang="0">
                  <a:pos x="59" y="1069"/>
                </a:cxn>
                <a:cxn ang="0">
                  <a:pos x="17" y="1013"/>
                </a:cxn>
                <a:cxn ang="0">
                  <a:pos x="8" y="966"/>
                </a:cxn>
                <a:cxn ang="0">
                  <a:pos x="27" y="931"/>
                </a:cxn>
                <a:cxn ang="0">
                  <a:pos x="23" y="903"/>
                </a:cxn>
                <a:cxn ang="0">
                  <a:pos x="10" y="874"/>
                </a:cxn>
                <a:cxn ang="0">
                  <a:pos x="0" y="840"/>
                </a:cxn>
              </a:cxnLst>
              <a:rect l="0" t="0" r="r" b="b"/>
              <a:pathLst>
                <a:path w="605" h="1093">
                  <a:moveTo>
                    <a:pt x="0" y="813"/>
                  </a:moveTo>
                  <a:lnTo>
                    <a:pt x="0" y="813"/>
                  </a:lnTo>
                  <a:lnTo>
                    <a:pt x="4" y="796"/>
                  </a:lnTo>
                  <a:lnTo>
                    <a:pt x="8" y="783"/>
                  </a:lnTo>
                  <a:lnTo>
                    <a:pt x="13" y="769"/>
                  </a:lnTo>
                  <a:lnTo>
                    <a:pt x="23" y="758"/>
                  </a:lnTo>
                  <a:lnTo>
                    <a:pt x="31" y="746"/>
                  </a:lnTo>
                  <a:lnTo>
                    <a:pt x="42" y="735"/>
                  </a:lnTo>
                  <a:lnTo>
                    <a:pt x="52" y="725"/>
                  </a:lnTo>
                  <a:lnTo>
                    <a:pt x="63" y="714"/>
                  </a:lnTo>
                  <a:lnTo>
                    <a:pt x="73" y="704"/>
                  </a:lnTo>
                  <a:lnTo>
                    <a:pt x="84" y="693"/>
                  </a:lnTo>
                  <a:lnTo>
                    <a:pt x="94" y="681"/>
                  </a:lnTo>
                  <a:lnTo>
                    <a:pt x="101" y="668"/>
                  </a:lnTo>
                  <a:lnTo>
                    <a:pt x="109" y="655"/>
                  </a:lnTo>
                  <a:lnTo>
                    <a:pt x="115" y="639"/>
                  </a:lnTo>
                  <a:lnTo>
                    <a:pt x="118" y="624"/>
                  </a:lnTo>
                  <a:lnTo>
                    <a:pt x="118" y="605"/>
                  </a:lnTo>
                  <a:lnTo>
                    <a:pt x="118" y="605"/>
                  </a:lnTo>
                  <a:lnTo>
                    <a:pt x="118" y="597"/>
                  </a:lnTo>
                  <a:lnTo>
                    <a:pt x="118" y="588"/>
                  </a:lnTo>
                  <a:lnTo>
                    <a:pt x="118" y="580"/>
                  </a:lnTo>
                  <a:lnTo>
                    <a:pt x="116" y="571"/>
                  </a:lnTo>
                  <a:lnTo>
                    <a:pt x="115" y="563"/>
                  </a:lnTo>
                  <a:lnTo>
                    <a:pt x="115" y="555"/>
                  </a:lnTo>
                  <a:lnTo>
                    <a:pt x="113" y="546"/>
                  </a:lnTo>
                  <a:lnTo>
                    <a:pt x="111" y="538"/>
                  </a:lnTo>
                  <a:lnTo>
                    <a:pt x="111" y="531"/>
                  </a:lnTo>
                  <a:lnTo>
                    <a:pt x="109" y="521"/>
                  </a:lnTo>
                  <a:lnTo>
                    <a:pt x="107" y="514"/>
                  </a:lnTo>
                  <a:lnTo>
                    <a:pt x="107" y="504"/>
                  </a:lnTo>
                  <a:lnTo>
                    <a:pt x="105" y="496"/>
                  </a:lnTo>
                  <a:lnTo>
                    <a:pt x="105" y="487"/>
                  </a:lnTo>
                  <a:lnTo>
                    <a:pt x="103" y="479"/>
                  </a:lnTo>
                  <a:lnTo>
                    <a:pt x="103" y="470"/>
                  </a:lnTo>
                  <a:lnTo>
                    <a:pt x="103" y="470"/>
                  </a:lnTo>
                  <a:lnTo>
                    <a:pt x="105" y="458"/>
                  </a:lnTo>
                  <a:lnTo>
                    <a:pt x="107" y="451"/>
                  </a:lnTo>
                  <a:lnTo>
                    <a:pt x="111" y="443"/>
                  </a:lnTo>
                  <a:lnTo>
                    <a:pt x="115" y="435"/>
                  </a:lnTo>
                  <a:lnTo>
                    <a:pt x="118" y="428"/>
                  </a:lnTo>
                  <a:lnTo>
                    <a:pt x="122" y="422"/>
                  </a:lnTo>
                  <a:lnTo>
                    <a:pt x="128" y="416"/>
                  </a:lnTo>
                  <a:lnTo>
                    <a:pt x="132" y="411"/>
                  </a:lnTo>
                  <a:lnTo>
                    <a:pt x="132" y="411"/>
                  </a:lnTo>
                  <a:lnTo>
                    <a:pt x="134" y="403"/>
                  </a:lnTo>
                  <a:lnTo>
                    <a:pt x="137" y="395"/>
                  </a:lnTo>
                  <a:lnTo>
                    <a:pt x="139" y="388"/>
                  </a:lnTo>
                  <a:lnTo>
                    <a:pt x="141" y="380"/>
                  </a:lnTo>
                  <a:lnTo>
                    <a:pt x="145" y="372"/>
                  </a:lnTo>
                  <a:lnTo>
                    <a:pt x="147" y="367"/>
                  </a:lnTo>
                  <a:lnTo>
                    <a:pt x="151" y="359"/>
                  </a:lnTo>
                  <a:lnTo>
                    <a:pt x="156" y="355"/>
                  </a:lnTo>
                  <a:lnTo>
                    <a:pt x="156" y="355"/>
                  </a:lnTo>
                  <a:lnTo>
                    <a:pt x="164" y="349"/>
                  </a:lnTo>
                  <a:lnTo>
                    <a:pt x="172" y="344"/>
                  </a:lnTo>
                  <a:lnTo>
                    <a:pt x="179" y="340"/>
                  </a:lnTo>
                  <a:lnTo>
                    <a:pt x="185" y="336"/>
                  </a:lnTo>
                  <a:lnTo>
                    <a:pt x="193" y="334"/>
                  </a:lnTo>
                  <a:lnTo>
                    <a:pt x="200" y="330"/>
                  </a:lnTo>
                  <a:lnTo>
                    <a:pt x="206" y="328"/>
                  </a:lnTo>
                  <a:lnTo>
                    <a:pt x="214" y="327"/>
                  </a:lnTo>
                  <a:lnTo>
                    <a:pt x="221" y="325"/>
                  </a:lnTo>
                  <a:lnTo>
                    <a:pt x="227" y="321"/>
                  </a:lnTo>
                  <a:lnTo>
                    <a:pt x="235" y="319"/>
                  </a:lnTo>
                  <a:lnTo>
                    <a:pt x="242" y="317"/>
                  </a:lnTo>
                  <a:lnTo>
                    <a:pt x="250" y="315"/>
                  </a:lnTo>
                  <a:lnTo>
                    <a:pt x="258" y="313"/>
                  </a:lnTo>
                  <a:lnTo>
                    <a:pt x="265" y="311"/>
                  </a:lnTo>
                  <a:lnTo>
                    <a:pt x="273" y="307"/>
                  </a:lnTo>
                  <a:lnTo>
                    <a:pt x="273" y="307"/>
                  </a:lnTo>
                  <a:lnTo>
                    <a:pt x="280" y="306"/>
                  </a:lnTo>
                  <a:lnTo>
                    <a:pt x="286" y="302"/>
                  </a:lnTo>
                  <a:lnTo>
                    <a:pt x="292" y="298"/>
                  </a:lnTo>
                  <a:lnTo>
                    <a:pt x="298" y="294"/>
                  </a:lnTo>
                  <a:lnTo>
                    <a:pt x="303" y="290"/>
                  </a:lnTo>
                  <a:lnTo>
                    <a:pt x="307" y="288"/>
                  </a:lnTo>
                  <a:lnTo>
                    <a:pt x="313" y="285"/>
                  </a:lnTo>
                  <a:lnTo>
                    <a:pt x="317" y="281"/>
                  </a:lnTo>
                  <a:lnTo>
                    <a:pt x="321" y="277"/>
                  </a:lnTo>
                  <a:lnTo>
                    <a:pt x="324" y="273"/>
                  </a:lnTo>
                  <a:lnTo>
                    <a:pt x="330" y="267"/>
                  </a:lnTo>
                  <a:lnTo>
                    <a:pt x="334" y="266"/>
                  </a:lnTo>
                  <a:lnTo>
                    <a:pt x="340" y="260"/>
                  </a:lnTo>
                  <a:lnTo>
                    <a:pt x="343" y="256"/>
                  </a:lnTo>
                  <a:lnTo>
                    <a:pt x="349" y="252"/>
                  </a:lnTo>
                  <a:lnTo>
                    <a:pt x="355" y="248"/>
                  </a:lnTo>
                  <a:lnTo>
                    <a:pt x="355" y="248"/>
                  </a:lnTo>
                  <a:lnTo>
                    <a:pt x="363" y="245"/>
                  </a:lnTo>
                  <a:lnTo>
                    <a:pt x="370" y="241"/>
                  </a:lnTo>
                  <a:lnTo>
                    <a:pt x="378" y="235"/>
                  </a:lnTo>
                  <a:lnTo>
                    <a:pt x="385" y="231"/>
                  </a:lnTo>
                  <a:lnTo>
                    <a:pt x="393" y="227"/>
                  </a:lnTo>
                  <a:lnTo>
                    <a:pt x="399" y="224"/>
                  </a:lnTo>
                  <a:lnTo>
                    <a:pt x="404" y="218"/>
                  </a:lnTo>
                  <a:lnTo>
                    <a:pt x="408" y="212"/>
                  </a:lnTo>
                  <a:lnTo>
                    <a:pt x="408" y="212"/>
                  </a:lnTo>
                  <a:lnTo>
                    <a:pt x="412" y="206"/>
                  </a:lnTo>
                  <a:lnTo>
                    <a:pt x="414" y="201"/>
                  </a:lnTo>
                  <a:lnTo>
                    <a:pt x="416" y="197"/>
                  </a:lnTo>
                  <a:lnTo>
                    <a:pt x="418" y="191"/>
                  </a:lnTo>
                  <a:lnTo>
                    <a:pt x="420" y="187"/>
                  </a:lnTo>
                  <a:lnTo>
                    <a:pt x="422" y="182"/>
                  </a:lnTo>
                  <a:lnTo>
                    <a:pt x="424" y="178"/>
                  </a:lnTo>
                  <a:lnTo>
                    <a:pt x="424" y="174"/>
                  </a:lnTo>
                  <a:lnTo>
                    <a:pt x="425" y="172"/>
                  </a:lnTo>
                  <a:lnTo>
                    <a:pt x="427" y="168"/>
                  </a:lnTo>
                  <a:lnTo>
                    <a:pt x="431" y="164"/>
                  </a:lnTo>
                  <a:lnTo>
                    <a:pt x="433" y="161"/>
                  </a:lnTo>
                  <a:lnTo>
                    <a:pt x="435" y="157"/>
                  </a:lnTo>
                  <a:lnTo>
                    <a:pt x="439" y="153"/>
                  </a:lnTo>
                  <a:lnTo>
                    <a:pt x="443" y="149"/>
                  </a:lnTo>
                  <a:lnTo>
                    <a:pt x="446" y="143"/>
                  </a:lnTo>
                  <a:lnTo>
                    <a:pt x="446" y="143"/>
                  </a:lnTo>
                  <a:lnTo>
                    <a:pt x="454" y="138"/>
                  </a:lnTo>
                  <a:lnTo>
                    <a:pt x="462" y="132"/>
                  </a:lnTo>
                  <a:lnTo>
                    <a:pt x="469" y="128"/>
                  </a:lnTo>
                  <a:lnTo>
                    <a:pt x="477" y="124"/>
                  </a:lnTo>
                  <a:lnTo>
                    <a:pt x="485" y="119"/>
                  </a:lnTo>
                  <a:lnTo>
                    <a:pt x="490" y="115"/>
                  </a:lnTo>
                  <a:lnTo>
                    <a:pt x="498" y="109"/>
                  </a:lnTo>
                  <a:lnTo>
                    <a:pt x="504" y="101"/>
                  </a:lnTo>
                  <a:lnTo>
                    <a:pt x="504" y="101"/>
                  </a:lnTo>
                  <a:lnTo>
                    <a:pt x="506" y="94"/>
                  </a:lnTo>
                  <a:lnTo>
                    <a:pt x="507" y="86"/>
                  </a:lnTo>
                  <a:lnTo>
                    <a:pt x="507" y="77"/>
                  </a:lnTo>
                  <a:lnTo>
                    <a:pt x="507" y="69"/>
                  </a:lnTo>
                  <a:lnTo>
                    <a:pt x="507" y="61"/>
                  </a:lnTo>
                  <a:lnTo>
                    <a:pt x="506" y="54"/>
                  </a:lnTo>
                  <a:lnTo>
                    <a:pt x="506" y="46"/>
                  </a:lnTo>
                  <a:lnTo>
                    <a:pt x="506" y="42"/>
                  </a:lnTo>
                  <a:lnTo>
                    <a:pt x="506" y="42"/>
                  </a:lnTo>
                  <a:lnTo>
                    <a:pt x="507" y="38"/>
                  </a:lnTo>
                  <a:lnTo>
                    <a:pt x="511" y="33"/>
                  </a:lnTo>
                  <a:lnTo>
                    <a:pt x="517" y="27"/>
                  </a:lnTo>
                  <a:lnTo>
                    <a:pt x="525" y="19"/>
                  </a:lnTo>
                  <a:lnTo>
                    <a:pt x="532" y="14"/>
                  </a:lnTo>
                  <a:lnTo>
                    <a:pt x="538" y="8"/>
                  </a:lnTo>
                  <a:lnTo>
                    <a:pt x="544" y="2"/>
                  </a:lnTo>
                  <a:lnTo>
                    <a:pt x="546" y="0"/>
                  </a:lnTo>
                  <a:lnTo>
                    <a:pt x="546" y="0"/>
                  </a:lnTo>
                  <a:lnTo>
                    <a:pt x="549" y="8"/>
                  </a:lnTo>
                  <a:lnTo>
                    <a:pt x="551" y="14"/>
                  </a:lnTo>
                  <a:lnTo>
                    <a:pt x="555" y="21"/>
                  </a:lnTo>
                  <a:lnTo>
                    <a:pt x="557" y="29"/>
                  </a:lnTo>
                  <a:lnTo>
                    <a:pt x="561" y="37"/>
                  </a:lnTo>
                  <a:lnTo>
                    <a:pt x="563" y="44"/>
                  </a:lnTo>
                  <a:lnTo>
                    <a:pt x="567" y="54"/>
                  </a:lnTo>
                  <a:lnTo>
                    <a:pt x="569" y="61"/>
                  </a:lnTo>
                  <a:lnTo>
                    <a:pt x="570" y="69"/>
                  </a:lnTo>
                  <a:lnTo>
                    <a:pt x="574" y="79"/>
                  </a:lnTo>
                  <a:lnTo>
                    <a:pt x="576" y="86"/>
                  </a:lnTo>
                  <a:lnTo>
                    <a:pt x="578" y="96"/>
                  </a:lnTo>
                  <a:lnTo>
                    <a:pt x="582" y="105"/>
                  </a:lnTo>
                  <a:lnTo>
                    <a:pt x="584" y="113"/>
                  </a:lnTo>
                  <a:lnTo>
                    <a:pt x="586" y="122"/>
                  </a:lnTo>
                  <a:lnTo>
                    <a:pt x="588" y="132"/>
                  </a:lnTo>
                  <a:lnTo>
                    <a:pt x="590" y="140"/>
                  </a:lnTo>
                  <a:lnTo>
                    <a:pt x="591" y="149"/>
                  </a:lnTo>
                  <a:lnTo>
                    <a:pt x="593" y="159"/>
                  </a:lnTo>
                  <a:lnTo>
                    <a:pt x="595" y="168"/>
                  </a:lnTo>
                  <a:lnTo>
                    <a:pt x="597" y="178"/>
                  </a:lnTo>
                  <a:lnTo>
                    <a:pt x="599" y="187"/>
                  </a:lnTo>
                  <a:lnTo>
                    <a:pt x="599" y="197"/>
                  </a:lnTo>
                  <a:lnTo>
                    <a:pt x="601" y="206"/>
                  </a:lnTo>
                  <a:lnTo>
                    <a:pt x="601" y="216"/>
                  </a:lnTo>
                  <a:lnTo>
                    <a:pt x="603" y="225"/>
                  </a:lnTo>
                  <a:lnTo>
                    <a:pt x="603" y="233"/>
                  </a:lnTo>
                  <a:lnTo>
                    <a:pt x="605" y="243"/>
                  </a:lnTo>
                  <a:lnTo>
                    <a:pt x="605" y="252"/>
                  </a:lnTo>
                  <a:lnTo>
                    <a:pt x="605" y="262"/>
                  </a:lnTo>
                  <a:lnTo>
                    <a:pt x="605" y="271"/>
                  </a:lnTo>
                  <a:lnTo>
                    <a:pt x="605" y="281"/>
                  </a:lnTo>
                  <a:lnTo>
                    <a:pt x="605" y="281"/>
                  </a:lnTo>
                  <a:lnTo>
                    <a:pt x="605" y="288"/>
                  </a:lnTo>
                  <a:lnTo>
                    <a:pt x="603" y="294"/>
                  </a:lnTo>
                  <a:lnTo>
                    <a:pt x="601" y="302"/>
                  </a:lnTo>
                  <a:lnTo>
                    <a:pt x="597" y="307"/>
                  </a:lnTo>
                  <a:lnTo>
                    <a:pt x="593" y="313"/>
                  </a:lnTo>
                  <a:lnTo>
                    <a:pt x="590" y="317"/>
                  </a:lnTo>
                  <a:lnTo>
                    <a:pt x="584" y="321"/>
                  </a:lnTo>
                  <a:lnTo>
                    <a:pt x="576" y="321"/>
                  </a:lnTo>
                  <a:lnTo>
                    <a:pt x="576" y="321"/>
                  </a:lnTo>
                  <a:lnTo>
                    <a:pt x="574" y="315"/>
                  </a:lnTo>
                  <a:lnTo>
                    <a:pt x="574" y="309"/>
                  </a:lnTo>
                  <a:lnTo>
                    <a:pt x="570" y="306"/>
                  </a:lnTo>
                  <a:lnTo>
                    <a:pt x="569" y="300"/>
                  </a:lnTo>
                  <a:lnTo>
                    <a:pt x="567" y="298"/>
                  </a:lnTo>
                  <a:lnTo>
                    <a:pt x="565" y="294"/>
                  </a:lnTo>
                  <a:lnTo>
                    <a:pt x="561" y="292"/>
                  </a:lnTo>
                  <a:lnTo>
                    <a:pt x="559" y="290"/>
                  </a:lnTo>
                  <a:lnTo>
                    <a:pt x="559" y="290"/>
                  </a:lnTo>
                  <a:lnTo>
                    <a:pt x="555" y="294"/>
                  </a:lnTo>
                  <a:lnTo>
                    <a:pt x="553" y="298"/>
                  </a:lnTo>
                  <a:lnTo>
                    <a:pt x="551" y="302"/>
                  </a:lnTo>
                  <a:lnTo>
                    <a:pt x="551" y="307"/>
                  </a:lnTo>
                  <a:lnTo>
                    <a:pt x="549" y="311"/>
                  </a:lnTo>
                  <a:lnTo>
                    <a:pt x="549" y="317"/>
                  </a:lnTo>
                  <a:lnTo>
                    <a:pt x="549" y="323"/>
                  </a:lnTo>
                  <a:lnTo>
                    <a:pt x="551" y="327"/>
                  </a:lnTo>
                  <a:lnTo>
                    <a:pt x="551" y="332"/>
                  </a:lnTo>
                  <a:lnTo>
                    <a:pt x="551" y="338"/>
                  </a:lnTo>
                  <a:lnTo>
                    <a:pt x="551" y="344"/>
                  </a:lnTo>
                  <a:lnTo>
                    <a:pt x="553" y="349"/>
                  </a:lnTo>
                  <a:lnTo>
                    <a:pt x="553" y="355"/>
                  </a:lnTo>
                  <a:lnTo>
                    <a:pt x="553" y="361"/>
                  </a:lnTo>
                  <a:lnTo>
                    <a:pt x="553" y="367"/>
                  </a:lnTo>
                  <a:lnTo>
                    <a:pt x="553" y="372"/>
                  </a:lnTo>
                  <a:lnTo>
                    <a:pt x="553" y="372"/>
                  </a:lnTo>
                  <a:lnTo>
                    <a:pt x="551" y="380"/>
                  </a:lnTo>
                  <a:lnTo>
                    <a:pt x="548" y="386"/>
                  </a:lnTo>
                  <a:lnTo>
                    <a:pt x="544" y="391"/>
                  </a:lnTo>
                  <a:lnTo>
                    <a:pt x="540" y="397"/>
                  </a:lnTo>
                  <a:lnTo>
                    <a:pt x="534" y="403"/>
                  </a:lnTo>
                  <a:lnTo>
                    <a:pt x="530" y="409"/>
                  </a:lnTo>
                  <a:lnTo>
                    <a:pt x="527" y="414"/>
                  </a:lnTo>
                  <a:lnTo>
                    <a:pt x="523" y="420"/>
                  </a:lnTo>
                  <a:lnTo>
                    <a:pt x="523" y="420"/>
                  </a:lnTo>
                  <a:lnTo>
                    <a:pt x="519" y="428"/>
                  </a:lnTo>
                  <a:lnTo>
                    <a:pt x="517" y="433"/>
                  </a:lnTo>
                  <a:lnTo>
                    <a:pt x="515" y="439"/>
                  </a:lnTo>
                  <a:lnTo>
                    <a:pt x="513" y="447"/>
                  </a:lnTo>
                  <a:lnTo>
                    <a:pt x="511" y="452"/>
                  </a:lnTo>
                  <a:lnTo>
                    <a:pt x="509" y="460"/>
                  </a:lnTo>
                  <a:lnTo>
                    <a:pt x="507" y="466"/>
                  </a:lnTo>
                  <a:lnTo>
                    <a:pt x="507" y="472"/>
                  </a:lnTo>
                  <a:lnTo>
                    <a:pt x="506" y="479"/>
                  </a:lnTo>
                  <a:lnTo>
                    <a:pt x="506" y="485"/>
                  </a:lnTo>
                  <a:lnTo>
                    <a:pt x="504" y="493"/>
                  </a:lnTo>
                  <a:lnTo>
                    <a:pt x="504" y="498"/>
                  </a:lnTo>
                  <a:lnTo>
                    <a:pt x="502" y="504"/>
                  </a:lnTo>
                  <a:lnTo>
                    <a:pt x="500" y="512"/>
                  </a:lnTo>
                  <a:lnTo>
                    <a:pt x="500" y="519"/>
                  </a:lnTo>
                  <a:lnTo>
                    <a:pt x="496" y="527"/>
                  </a:lnTo>
                  <a:lnTo>
                    <a:pt x="496" y="527"/>
                  </a:lnTo>
                  <a:lnTo>
                    <a:pt x="492" y="540"/>
                  </a:lnTo>
                  <a:lnTo>
                    <a:pt x="486" y="554"/>
                  </a:lnTo>
                  <a:lnTo>
                    <a:pt x="481" y="567"/>
                  </a:lnTo>
                  <a:lnTo>
                    <a:pt x="475" y="580"/>
                  </a:lnTo>
                  <a:lnTo>
                    <a:pt x="467" y="594"/>
                  </a:lnTo>
                  <a:lnTo>
                    <a:pt x="462" y="607"/>
                  </a:lnTo>
                  <a:lnTo>
                    <a:pt x="454" y="620"/>
                  </a:lnTo>
                  <a:lnTo>
                    <a:pt x="446" y="634"/>
                  </a:lnTo>
                  <a:lnTo>
                    <a:pt x="439" y="647"/>
                  </a:lnTo>
                  <a:lnTo>
                    <a:pt x="431" y="660"/>
                  </a:lnTo>
                  <a:lnTo>
                    <a:pt x="424" y="674"/>
                  </a:lnTo>
                  <a:lnTo>
                    <a:pt x="416" y="685"/>
                  </a:lnTo>
                  <a:lnTo>
                    <a:pt x="410" y="699"/>
                  </a:lnTo>
                  <a:lnTo>
                    <a:pt x="404" y="714"/>
                  </a:lnTo>
                  <a:lnTo>
                    <a:pt x="399" y="727"/>
                  </a:lnTo>
                  <a:lnTo>
                    <a:pt x="393" y="741"/>
                  </a:lnTo>
                  <a:lnTo>
                    <a:pt x="393" y="741"/>
                  </a:lnTo>
                  <a:lnTo>
                    <a:pt x="389" y="752"/>
                  </a:lnTo>
                  <a:lnTo>
                    <a:pt x="385" y="762"/>
                  </a:lnTo>
                  <a:lnTo>
                    <a:pt x="382" y="773"/>
                  </a:lnTo>
                  <a:lnTo>
                    <a:pt x="378" y="781"/>
                  </a:lnTo>
                  <a:lnTo>
                    <a:pt x="374" y="790"/>
                  </a:lnTo>
                  <a:lnTo>
                    <a:pt x="368" y="798"/>
                  </a:lnTo>
                  <a:lnTo>
                    <a:pt x="364" y="807"/>
                  </a:lnTo>
                  <a:lnTo>
                    <a:pt x="361" y="815"/>
                  </a:lnTo>
                  <a:lnTo>
                    <a:pt x="357" y="823"/>
                  </a:lnTo>
                  <a:lnTo>
                    <a:pt x="353" y="830"/>
                  </a:lnTo>
                  <a:lnTo>
                    <a:pt x="349" y="838"/>
                  </a:lnTo>
                  <a:lnTo>
                    <a:pt x="343" y="847"/>
                  </a:lnTo>
                  <a:lnTo>
                    <a:pt x="340" y="855"/>
                  </a:lnTo>
                  <a:lnTo>
                    <a:pt x="336" y="865"/>
                  </a:lnTo>
                  <a:lnTo>
                    <a:pt x="332" y="872"/>
                  </a:lnTo>
                  <a:lnTo>
                    <a:pt x="328" y="884"/>
                  </a:lnTo>
                  <a:lnTo>
                    <a:pt x="328" y="884"/>
                  </a:lnTo>
                  <a:lnTo>
                    <a:pt x="322" y="895"/>
                  </a:lnTo>
                  <a:lnTo>
                    <a:pt x="319" y="908"/>
                  </a:lnTo>
                  <a:lnTo>
                    <a:pt x="315" y="922"/>
                  </a:lnTo>
                  <a:lnTo>
                    <a:pt x="309" y="933"/>
                  </a:lnTo>
                  <a:lnTo>
                    <a:pt x="305" y="947"/>
                  </a:lnTo>
                  <a:lnTo>
                    <a:pt x="301" y="958"/>
                  </a:lnTo>
                  <a:lnTo>
                    <a:pt x="298" y="969"/>
                  </a:lnTo>
                  <a:lnTo>
                    <a:pt x="292" y="981"/>
                  </a:lnTo>
                  <a:lnTo>
                    <a:pt x="288" y="992"/>
                  </a:lnTo>
                  <a:lnTo>
                    <a:pt x="282" y="1004"/>
                  </a:lnTo>
                  <a:lnTo>
                    <a:pt x="275" y="1013"/>
                  </a:lnTo>
                  <a:lnTo>
                    <a:pt x="269" y="1025"/>
                  </a:lnTo>
                  <a:lnTo>
                    <a:pt x="261" y="1034"/>
                  </a:lnTo>
                  <a:lnTo>
                    <a:pt x="254" y="1044"/>
                  </a:lnTo>
                  <a:lnTo>
                    <a:pt x="244" y="1052"/>
                  </a:lnTo>
                  <a:lnTo>
                    <a:pt x="233" y="1059"/>
                  </a:lnTo>
                  <a:lnTo>
                    <a:pt x="233" y="1059"/>
                  </a:lnTo>
                  <a:lnTo>
                    <a:pt x="229" y="1063"/>
                  </a:lnTo>
                  <a:lnTo>
                    <a:pt x="223" y="1063"/>
                  </a:lnTo>
                  <a:lnTo>
                    <a:pt x="216" y="1065"/>
                  </a:lnTo>
                  <a:lnTo>
                    <a:pt x="208" y="1065"/>
                  </a:lnTo>
                  <a:lnTo>
                    <a:pt x="202" y="1065"/>
                  </a:lnTo>
                  <a:lnTo>
                    <a:pt x="195" y="1065"/>
                  </a:lnTo>
                  <a:lnTo>
                    <a:pt x="191" y="1065"/>
                  </a:lnTo>
                  <a:lnTo>
                    <a:pt x="187" y="1067"/>
                  </a:lnTo>
                  <a:lnTo>
                    <a:pt x="187" y="1067"/>
                  </a:lnTo>
                  <a:lnTo>
                    <a:pt x="181" y="1069"/>
                  </a:lnTo>
                  <a:lnTo>
                    <a:pt x="177" y="1069"/>
                  </a:lnTo>
                  <a:lnTo>
                    <a:pt x="174" y="1071"/>
                  </a:lnTo>
                  <a:lnTo>
                    <a:pt x="170" y="1072"/>
                  </a:lnTo>
                  <a:lnTo>
                    <a:pt x="166" y="1076"/>
                  </a:lnTo>
                  <a:lnTo>
                    <a:pt x="162" y="1078"/>
                  </a:lnTo>
                  <a:lnTo>
                    <a:pt x="158" y="1080"/>
                  </a:lnTo>
                  <a:lnTo>
                    <a:pt x="155" y="1082"/>
                  </a:lnTo>
                  <a:lnTo>
                    <a:pt x="151" y="1084"/>
                  </a:lnTo>
                  <a:lnTo>
                    <a:pt x="145" y="1086"/>
                  </a:lnTo>
                  <a:lnTo>
                    <a:pt x="141" y="1088"/>
                  </a:lnTo>
                  <a:lnTo>
                    <a:pt x="137" y="1090"/>
                  </a:lnTo>
                  <a:lnTo>
                    <a:pt x="132" y="1092"/>
                  </a:lnTo>
                  <a:lnTo>
                    <a:pt x="126" y="1092"/>
                  </a:lnTo>
                  <a:lnTo>
                    <a:pt x="122" y="1093"/>
                  </a:lnTo>
                  <a:lnTo>
                    <a:pt x="116" y="1093"/>
                  </a:lnTo>
                  <a:lnTo>
                    <a:pt x="116" y="1093"/>
                  </a:lnTo>
                  <a:lnTo>
                    <a:pt x="107" y="1092"/>
                  </a:lnTo>
                  <a:lnTo>
                    <a:pt x="97" y="1090"/>
                  </a:lnTo>
                  <a:lnTo>
                    <a:pt x="88" y="1086"/>
                  </a:lnTo>
                  <a:lnTo>
                    <a:pt x="78" y="1082"/>
                  </a:lnTo>
                  <a:lnTo>
                    <a:pt x="69" y="1074"/>
                  </a:lnTo>
                  <a:lnTo>
                    <a:pt x="59" y="1069"/>
                  </a:lnTo>
                  <a:lnTo>
                    <a:pt x="52" y="1061"/>
                  </a:lnTo>
                  <a:lnTo>
                    <a:pt x="42" y="1052"/>
                  </a:lnTo>
                  <a:lnTo>
                    <a:pt x="36" y="1042"/>
                  </a:lnTo>
                  <a:lnTo>
                    <a:pt x="29" y="1032"/>
                  </a:lnTo>
                  <a:lnTo>
                    <a:pt x="23" y="1023"/>
                  </a:lnTo>
                  <a:lnTo>
                    <a:pt x="17" y="1013"/>
                  </a:lnTo>
                  <a:lnTo>
                    <a:pt x="13" y="1002"/>
                  </a:lnTo>
                  <a:lnTo>
                    <a:pt x="10" y="992"/>
                  </a:lnTo>
                  <a:lnTo>
                    <a:pt x="8" y="981"/>
                  </a:lnTo>
                  <a:lnTo>
                    <a:pt x="8" y="971"/>
                  </a:lnTo>
                  <a:lnTo>
                    <a:pt x="8" y="971"/>
                  </a:lnTo>
                  <a:lnTo>
                    <a:pt x="8" y="966"/>
                  </a:lnTo>
                  <a:lnTo>
                    <a:pt x="10" y="958"/>
                  </a:lnTo>
                  <a:lnTo>
                    <a:pt x="13" y="952"/>
                  </a:lnTo>
                  <a:lnTo>
                    <a:pt x="17" y="948"/>
                  </a:lnTo>
                  <a:lnTo>
                    <a:pt x="21" y="943"/>
                  </a:lnTo>
                  <a:lnTo>
                    <a:pt x="23" y="937"/>
                  </a:lnTo>
                  <a:lnTo>
                    <a:pt x="27" y="931"/>
                  </a:lnTo>
                  <a:lnTo>
                    <a:pt x="27" y="924"/>
                  </a:lnTo>
                  <a:lnTo>
                    <a:pt x="27" y="924"/>
                  </a:lnTo>
                  <a:lnTo>
                    <a:pt x="27" y="918"/>
                  </a:lnTo>
                  <a:lnTo>
                    <a:pt x="25" y="912"/>
                  </a:lnTo>
                  <a:lnTo>
                    <a:pt x="25" y="908"/>
                  </a:lnTo>
                  <a:lnTo>
                    <a:pt x="23" y="903"/>
                  </a:lnTo>
                  <a:lnTo>
                    <a:pt x="21" y="899"/>
                  </a:lnTo>
                  <a:lnTo>
                    <a:pt x="19" y="893"/>
                  </a:lnTo>
                  <a:lnTo>
                    <a:pt x="15" y="887"/>
                  </a:lnTo>
                  <a:lnTo>
                    <a:pt x="13" y="884"/>
                  </a:lnTo>
                  <a:lnTo>
                    <a:pt x="12" y="878"/>
                  </a:lnTo>
                  <a:lnTo>
                    <a:pt x="10" y="874"/>
                  </a:lnTo>
                  <a:lnTo>
                    <a:pt x="8" y="868"/>
                  </a:lnTo>
                  <a:lnTo>
                    <a:pt x="6" y="863"/>
                  </a:lnTo>
                  <a:lnTo>
                    <a:pt x="4" y="857"/>
                  </a:lnTo>
                  <a:lnTo>
                    <a:pt x="2" y="851"/>
                  </a:lnTo>
                  <a:lnTo>
                    <a:pt x="2" y="845"/>
                  </a:lnTo>
                  <a:lnTo>
                    <a:pt x="0" y="840"/>
                  </a:lnTo>
                  <a:lnTo>
                    <a:pt x="0" y="813"/>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5" name="Freeform 19"/>
            <p:cNvSpPr>
              <a:spLocks/>
            </p:cNvSpPr>
            <p:nvPr/>
          </p:nvSpPr>
          <p:spPr bwMode="gray">
            <a:xfrm>
              <a:off x="2693" y="3045"/>
              <a:ext cx="333" cy="294"/>
            </a:xfrm>
            <a:custGeom>
              <a:avLst/>
              <a:gdLst/>
              <a:ahLst/>
              <a:cxnLst>
                <a:cxn ang="0">
                  <a:pos x="21" y="179"/>
                </a:cxn>
                <a:cxn ang="0">
                  <a:pos x="54" y="186"/>
                </a:cxn>
                <a:cxn ang="0">
                  <a:pos x="84" y="196"/>
                </a:cxn>
                <a:cxn ang="0">
                  <a:pos x="111" y="196"/>
                </a:cxn>
                <a:cxn ang="0">
                  <a:pos x="143" y="179"/>
                </a:cxn>
                <a:cxn ang="0">
                  <a:pos x="166" y="146"/>
                </a:cxn>
                <a:cxn ang="0">
                  <a:pos x="185" y="118"/>
                </a:cxn>
                <a:cxn ang="0">
                  <a:pos x="201" y="103"/>
                </a:cxn>
                <a:cxn ang="0">
                  <a:pos x="224" y="93"/>
                </a:cxn>
                <a:cxn ang="0">
                  <a:pos x="250" y="83"/>
                </a:cxn>
                <a:cxn ang="0">
                  <a:pos x="269" y="74"/>
                </a:cxn>
                <a:cxn ang="0">
                  <a:pos x="273" y="49"/>
                </a:cxn>
                <a:cxn ang="0">
                  <a:pos x="287" y="30"/>
                </a:cxn>
                <a:cxn ang="0">
                  <a:pos x="315" y="9"/>
                </a:cxn>
                <a:cxn ang="0">
                  <a:pos x="350" y="0"/>
                </a:cxn>
                <a:cxn ang="0">
                  <a:pos x="374" y="0"/>
                </a:cxn>
                <a:cxn ang="0">
                  <a:pos x="390" y="1"/>
                </a:cxn>
                <a:cxn ang="0">
                  <a:pos x="462" y="38"/>
                </a:cxn>
                <a:cxn ang="0">
                  <a:pos x="500" y="68"/>
                </a:cxn>
                <a:cxn ang="0">
                  <a:pos x="554" y="89"/>
                </a:cxn>
                <a:cxn ang="0">
                  <a:pos x="586" y="131"/>
                </a:cxn>
                <a:cxn ang="0">
                  <a:pos x="584" y="173"/>
                </a:cxn>
                <a:cxn ang="0">
                  <a:pos x="573" y="217"/>
                </a:cxn>
                <a:cxn ang="0">
                  <a:pos x="561" y="257"/>
                </a:cxn>
                <a:cxn ang="0">
                  <a:pos x="559" y="289"/>
                </a:cxn>
                <a:cxn ang="0">
                  <a:pos x="571" y="322"/>
                </a:cxn>
                <a:cxn ang="0">
                  <a:pos x="571" y="345"/>
                </a:cxn>
                <a:cxn ang="0">
                  <a:pos x="556" y="368"/>
                </a:cxn>
                <a:cxn ang="0">
                  <a:pos x="536" y="391"/>
                </a:cxn>
                <a:cxn ang="0">
                  <a:pos x="525" y="408"/>
                </a:cxn>
                <a:cxn ang="0">
                  <a:pos x="521" y="436"/>
                </a:cxn>
                <a:cxn ang="0">
                  <a:pos x="514" y="454"/>
                </a:cxn>
                <a:cxn ang="0">
                  <a:pos x="487" y="482"/>
                </a:cxn>
                <a:cxn ang="0">
                  <a:pos x="449" y="517"/>
                </a:cxn>
                <a:cxn ang="0">
                  <a:pos x="428" y="534"/>
                </a:cxn>
                <a:cxn ang="0">
                  <a:pos x="412" y="534"/>
                </a:cxn>
                <a:cxn ang="0">
                  <a:pos x="397" y="534"/>
                </a:cxn>
                <a:cxn ang="0">
                  <a:pos x="369" y="534"/>
                </a:cxn>
                <a:cxn ang="0">
                  <a:pos x="342" y="524"/>
                </a:cxn>
                <a:cxn ang="0">
                  <a:pos x="304" y="518"/>
                </a:cxn>
                <a:cxn ang="0">
                  <a:pos x="283" y="509"/>
                </a:cxn>
                <a:cxn ang="0">
                  <a:pos x="266" y="494"/>
                </a:cxn>
                <a:cxn ang="0">
                  <a:pos x="247" y="478"/>
                </a:cxn>
                <a:cxn ang="0">
                  <a:pos x="224" y="471"/>
                </a:cxn>
                <a:cxn ang="0">
                  <a:pos x="187" y="454"/>
                </a:cxn>
                <a:cxn ang="0">
                  <a:pos x="178" y="434"/>
                </a:cxn>
                <a:cxn ang="0">
                  <a:pos x="176" y="406"/>
                </a:cxn>
                <a:cxn ang="0">
                  <a:pos x="174" y="383"/>
                </a:cxn>
                <a:cxn ang="0">
                  <a:pos x="159" y="372"/>
                </a:cxn>
                <a:cxn ang="0">
                  <a:pos x="143" y="352"/>
                </a:cxn>
                <a:cxn ang="0">
                  <a:pos x="128" y="337"/>
                </a:cxn>
                <a:cxn ang="0">
                  <a:pos x="86" y="320"/>
                </a:cxn>
                <a:cxn ang="0">
                  <a:pos x="63" y="305"/>
                </a:cxn>
                <a:cxn ang="0">
                  <a:pos x="54" y="282"/>
                </a:cxn>
                <a:cxn ang="0">
                  <a:pos x="44" y="255"/>
                </a:cxn>
                <a:cxn ang="0">
                  <a:pos x="21" y="227"/>
                </a:cxn>
                <a:cxn ang="0">
                  <a:pos x="4" y="198"/>
                </a:cxn>
              </a:cxnLst>
              <a:rect l="0" t="0" r="r" b="b"/>
              <a:pathLst>
                <a:path w="588" h="534">
                  <a:moveTo>
                    <a:pt x="0" y="177"/>
                  </a:moveTo>
                  <a:lnTo>
                    <a:pt x="0" y="177"/>
                  </a:lnTo>
                  <a:lnTo>
                    <a:pt x="6" y="177"/>
                  </a:lnTo>
                  <a:lnTo>
                    <a:pt x="14" y="177"/>
                  </a:lnTo>
                  <a:lnTo>
                    <a:pt x="21" y="179"/>
                  </a:lnTo>
                  <a:lnTo>
                    <a:pt x="27" y="181"/>
                  </a:lnTo>
                  <a:lnTo>
                    <a:pt x="35" y="181"/>
                  </a:lnTo>
                  <a:lnTo>
                    <a:pt x="40" y="183"/>
                  </a:lnTo>
                  <a:lnTo>
                    <a:pt x="46" y="185"/>
                  </a:lnTo>
                  <a:lnTo>
                    <a:pt x="54" y="186"/>
                  </a:lnTo>
                  <a:lnTo>
                    <a:pt x="60" y="188"/>
                  </a:lnTo>
                  <a:lnTo>
                    <a:pt x="65" y="190"/>
                  </a:lnTo>
                  <a:lnTo>
                    <a:pt x="71" y="192"/>
                  </a:lnTo>
                  <a:lnTo>
                    <a:pt x="79" y="194"/>
                  </a:lnTo>
                  <a:lnTo>
                    <a:pt x="84" y="196"/>
                  </a:lnTo>
                  <a:lnTo>
                    <a:pt x="90" y="196"/>
                  </a:lnTo>
                  <a:lnTo>
                    <a:pt x="96" y="198"/>
                  </a:lnTo>
                  <a:lnTo>
                    <a:pt x="103" y="198"/>
                  </a:lnTo>
                  <a:lnTo>
                    <a:pt x="103" y="198"/>
                  </a:lnTo>
                  <a:lnTo>
                    <a:pt x="111" y="196"/>
                  </a:lnTo>
                  <a:lnTo>
                    <a:pt x="119" y="196"/>
                  </a:lnTo>
                  <a:lnTo>
                    <a:pt x="124" y="192"/>
                  </a:lnTo>
                  <a:lnTo>
                    <a:pt x="130" y="188"/>
                  </a:lnTo>
                  <a:lnTo>
                    <a:pt x="136" y="183"/>
                  </a:lnTo>
                  <a:lnTo>
                    <a:pt x="143" y="179"/>
                  </a:lnTo>
                  <a:lnTo>
                    <a:pt x="147" y="173"/>
                  </a:lnTo>
                  <a:lnTo>
                    <a:pt x="153" y="165"/>
                  </a:lnTo>
                  <a:lnTo>
                    <a:pt x="159" y="160"/>
                  </a:lnTo>
                  <a:lnTo>
                    <a:pt x="163" y="152"/>
                  </a:lnTo>
                  <a:lnTo>
                    <a:pt x="166" y="146"/>
                  </a:lnTo>
                  <a:lnTo>
                    <a:pt x="170" y="139"/>
                  </a:lnTo>
                  <a:lnTo>
                    <a:pt x="174" y="133"/>
                  </a:lnTo>
                  <a:lnTo>
                    <a:pt x="178" y="127"/>
                  </a:lnTo>
                  <a:lnTo>
                    <a:pt x="182" y="122"/>
                  </a:lnTo>
                  <a:lnTo>
                    <a:pt x="185" y="118"/>
                  </a:lnTo>
                  <a:lnTo>
                    <a:pt x="185" y="118"/>
                  </a:lnTo>
                  <a:lnTo>
                    <a:pt x="189" y="114"/>
                  </a:lnTo>
                  <a:lnTo>
                    <a:pt x="193" y="110"/>
                  </a:lnTo>
                  <a:lnTo>
                    <a:pt x="197" y="106"/>
                  </a:lnTo>
                  <a:lnTo>
                    <a:pt x="201" y="103"/>
                  </a:lnTo>
                  <a:lnTo>
                    <a:pt x="205" y="101"/>
                  </a:lnTo>
                  <a:lnTo>
                    <a:pt x="210" y="99"/>
                  </a:lnTo>
                  <a:lnTo>
                    <a:pt x="214" y="97"/>
                  </a:lnTo>
                  <a:lnTo>
                    <a:pt x="220" y="93"/>
                  </a:lnTo>
                  <a:lnTo>
                    <a:pt x="224" y="93"/>
                  </a:lnTo>
                  <a:lnTo>
                    <a:pt x="229" y="91"/>
                  </a:lnTo>
                  <a:lnTo>
                    <a:pt x="235" y="89"/>
                  </a:lnTo>
                  <a:lnTo>
                    <a:pt x="241" y="87"/>
                  </a:lnTo>
                  <a:lnTo>
                    <a:pt x="245" y="85"/>
                  </a:lnTo>
                  <a:lnTo>
                    <a:pt x="250" y="83"/>
                  </a:lnTo>
                  <a:lnTo>
                    <a:pt x="256" y="82"/>
                  </a:lnTo>
                  <a:lnTo>
                    <a:pt x="262" y="80"/>
                  </a:lnTo>
                  <a:lnTo>
                    <a:pt x="262" y="80"/>
                  </a:lnTo>
                  <a:lnTo>
                    <a:pt x="267" y="78"/>
                  </a:lnTo>
                  <a:lnTo>
                    <a:pt x="269" y="74"/>
                  </a:lnTo>
                  <a:lnTo>
                    <a:pt x="271" y="68"/>
                  </a:lnTo>
                  <a:lnTo>
                    <a:pt x="271" y="64"/>
                  </a:lnTo>
                  <a:lnTo>
                    <a:pt x="271" y="59"/>
                  </a:lnTo>
                  <a:lnTo>
                    <a:pt x="271" y="55"/>
                  </a:lnTo>
                  <a:lnTo>
                    <a:pt x="273" y="49"/>
                  </a:lnTo>
                  <a:lnTo>
                    <a:pt x="273" y="47"/>
                  </a:lnTo>
                  <a:lnTo>
                    <a:pt x="273" y="47"/>
                  </a:lnTo>
                  <a:lnTo>
                    <a:pt x="279" y="40"/>
                  </a:lnTo>
                  <a:lnTo>
                    <a:pt x="283" y="34"/>
                  </a:lnTo>
                  <a:lnTo>
                    <a:pt x="287" y="30"/>
                  </a:lnTo>
                  <a:lnTo>
                    <a:pt x="292" y="24"/>
                  </a:lnTo>
                  <a:lnTo>
                    <a:pt x="298" y="20"/>
                  </a:lnTo>
                  <a:lnTo>
                    <a:pt x="304" y="17"/>
                  </a:lnTo>
                  <a:lnTo>
                    <a:pt x="309" y="13"/>
                  </a:lnTo>
                  <a:lnTo>
                    <a:pt x="315" y="9"/>
                  </a:lnTo>
                  <a:lnTo>
                    <a:pt x="321" y="7"/>
                  </a:lnTo>
                  <a:lnTo>
                    <a:pt x="329" y="5"/>
                  </a:lnTo>
                  <a:lnTo>
                    <a:pt x="336" y="3"/>
                  </a:lnTo>
                  <a:lnTo>
                    <a:pt x="342" y="1"/>
                  </a:lnTo>
                  <a:lnTo>
                    <a:pt x="350" y="0"/>
                  </a:lnTo>
                  <a:lnTo>
                    <a:pt x="357" y="0"/>
                  </a:lnTo>
                  <a:lnTo>
                    <a:pt x="365" y="0"/>
                  </a:lnTo>
                  <a:lnTo>
                    <a:pt x="372" y="0"/>
                  </a:lnTo>
                  <a:lnTo>
                    <a:pt x="372" y="0"/>
                  </a:lnTo>
                  <a:lnTo>
                    <a:pt x="374" y="0"/>
                  </a:lnTo>
                  <a:lnTo>
                    <a:pt x="378" y="0"/>
                  </a:lnTo>
                  <a:lnTo>
                    <a:pt x="382" y="0"/>
                  </a:lnTo>
                  <a:lnTo>
                    <a:pt x="384" y="0"/>
                  </a:lnTo>
                  <a:lnTo>
                    <a:pt x="388" y="1"/>
                  </a:lnTo>
                  <a:lnTo>
                    <a:pt x="390" y="1"/>
                  </a:lnTo>
                  <a:lnTo>
                    <a:pt x="393" y="0"/>
                  </a:lnTo>
                  <a:lnTo>
                    <a:pt x="395" y="0"/>
                  </a:lnTo>
                  <a:lnTo>
                    <a:pt x="395" y="38"/>
                  </a:lnTo>
                  <a:lnTo>
                    <a:pt x="462" y="38"/>
                  </a:lnTo>
                  <a:lnTo>
                    <a:pt x="462" y="38"/>
                  </a:lnTo>
                  <a:lnTo>
                    <a:pt x="468" y="47"/>
                  </a:lnTo>
                  <a:lnTo>
                    <a:pt x="474" y="53"/>
                  </a:lnTo>
                  <a:lnTo>
                    <a:pt x="481" y="59"/>
                  </a:lnTo>
                  <a:lnTo>
                    <a:pt x="491" y="64"/>
                  </a:lnTo>
                  <a:lnTo>
                    <a:pt x="500" y="68"/>
                  </a:lnTo>
                  <a:lnTo>
                    <a:pt x="512" y="72"/>
                  </a:lnTo>
                  <a:lnTo>
                    <a:pt x="521" y="76"/>
                  </a:lnTo>
                  <a:lnTo>
                    <a:pt x="533" y="80"/>
                  </a:lnTo>
                  <a:lnTo>
                    <a:pt x="544" y="83"/>
                  </a:lnTo>
                  <a:lnTo>
                    <a:pt x="554" y="89"/>
                  </a:lnTo>
                  <a:lnTo>
                    <a:pt x="563" y="95"/>
                  </a:lnTo>
                  <a:lnTo>
                    <a:pt x="571" y="103"/>
                  </a:lnTo>
                  <a:lnTo>
                    <a:pt x="578" y="110"/>
                  </a:lnTo>
                  <a:lnTo>
                    <a:pt x="582" y="120"/>
                  </a:lnTo>
                  <a:lnTo>
                    <a:pt x="586" y="131"/>
                  </a:lnTo>
                  <a:lnTo>
                    <a:pt x="588" y="144"/>
                  </a:lnTo>
                  <a:lnTo>
                    <a:pt x="588" y="144"/>
                  </a:lnTo>
                  <a:lnTo>
                    <a:pt x="586" y="154"/>
                  </a:lnTo>
                  <a:lnTo>
                    <a:pt x="586" y="164"/>
                  </a:lnTo>
                  <a:lnTo>
                    <a:pt x="584" y="173"/>
                  </a:lnTo>
                  <a:lnTo>
                    <a:pt x="582" y="183"/>
                  </a:lnTo>
                  <a:lnTo>
                    <a:pt x="580" y="190"/>
                  </a:lnTo>
                  <a:lnTo>
                    <a:pt x="578" y="200"/>
                  </a:lnTo>
                  <a:lnTo>
                    <a:pt x="575" y="207"/>
                  </a:lnTo>
                  <a:lnTo>
                    <a:pt x="573" y="217"/>
                  </a:lnTo>
                  <a:lnTo>
                    <a:pt x="569" y="225"/>
                  </a:lnTo>
                  <a:lnTo>
                    <a:pt x="567" y="232"/>
                  </a:lnTo>
                  <a:lnTo>
                    <a:pt x="565" y="242"/>
                  </a:lnTo>
                  <a:lnTo>
                    <a:pt x="563" y="249"/>
                  </a:lnTo>
                  <a:lnTo>
                    <a:pt x="561" y="257"/>
                  </a:lnTo>
                  <a:lnTo>
                    <a:pt x="559" y="265"/>
                  </a:lnTo>
                  <a:lnTo>
                    <a:pt x="557" y="272"/>
                  </a:lnTo>
                  <a:lnTo>
                    <a:pt x="557" y="280"/>
                  </a:lnTo>
                  <a:lnTo>
                    <a:pt x="557" y="280"/>
                  </a:lnTo>
                  <a:lnTo>
                    <a:pt x="559" y="289"/>
                  </a:lnTo>
                  <a:lnTo>
                    <a:pt x="559" y="297"/>
                  </a:lnTo>
                  <a:lnTo>
                    <a:pt x="563" y="305"/>
                  </a:lnTo>
                  <a:lnTo>
                    <a:pt x="565" y="310"/>
                  </a:lnTo>
                  <a:lnTo>
                    <a:pt x="569" y="316"/>
                  </a:lnTo>
                  <a:lnTo>
                    <a:pt x="571" y="322"/>
                  </a:lnTo>
                  <a:lnTo>
                    <a:pt x="573" y="330"/>
                  </a:lnTo>
                  <a:lnTo>
                    <a:pt x="573" y="335"/>
                  </a:lnTo>
                  <a:lnTo>
                    <a:pt x="573" y="335"/>
                  </a:lnTo>
                  <a:lnTo>
                    <a:pt x="573" y="339"/>
                  </a:lnTo>
                  <a:lnTo>
                    <a:pt x="571" y="345"/>
                  </a:lnTo>
                  <a:lnTo>
                    <a:pt x="569" y="349"/>
                  </a:lnTo>
                  <a:lnTo>
                    <a:pt x="567" y="354"/>
                  </a:lnTo>
                  <a:lnTo>
                    <a:pt x="563" y="358"/>
                  </a:lnTo>
                  <a:lnTo>
                    <a:pt x="559" y="364"/>
                  </a:lnTo>
                  <a:lnTo>
                    <a:pt x="556" y="368"/>
                  </a:lnTo>
                  <a:lnTo>
                    <a:pt x="552" y="372"/>
                  </a:lnTo>
                  <a:lnTo>
                    <a:pt x="548" y="377"/>
                  </a:lnTo>
                  <a:lnTo>
                    <a:pt x="544" y="381"/>
                  </a:lnTo>
                  <a:lnTo>
                    <a:pt x="540" y="387"/>
                  </a:lnTo>
                  <a:lnTo>
                    <a:pt x="536" y="391"/>
                  </a:lnTo>
                  <a:lnTo>
                    <a:pt x="533" y="394"/>
                  </a:lnTo>
                  <a:lnTo>
                    <a:pt x="531" y="398"/>
                  </a:lnTo>
                  <a:lnTo>
                    <a:pt x="527" y="404"/>
                  </a:lnTo>
                  <a:lnTo>
                    <a:pt x="525" y="408"/>
                  </a:lnTo>
                  <a:lnTo>
                    <a:pt x="525" y="408"/>
                  </a:lnTo>
                  <a:lnTo>
                    <a:pt x="525" y="413"/>
                  </a:lnTo>
                  <a:lnTo>
                    <a:pt x="523" y="419"/>
                  </a:lnTo>
                  <a:lnTo>
                    <a:pt x="523" y="425"/>
                  </a:lnTo>
                  <a:lnTo>
                    <a:pt x="523" y="431"/>
                  </a:lnTo>
                  <a:lnTo>
                    <a:pt x="521" y="436"/>
                  </a:lnTo>
                  <a:lnTo>
                    <a:pt x="521" y="442"/>
                  </a:lnTo>
                  <a:lnTo>
                    <a:pt x="519" y="446"/>
                  </a:lnTo>
                  <a:lnTo>
                    <a:pt x="515" y="452"/>
                  </a:lnTo>
                  <a:lnTo>
                    <a:pt x="515" y="452"/>
                  </a:lnTo>
                  <a:lnTo>
                    <a:pt x="514" y="454"/>
                  </a:lnTo>
                  <a:lnTo>
                    <a:pt x="510" y="457"/>
                  </a:lnTo>
                  <a:lnTo>
                    <a:pt x="506" y="463"/>
                  </a:lnTo>
                  <a:lnTo>
                    <a:pt x="500" y="469"/>
                  </a:lnTo>
                  <a:lnTo>
                    <a:pt x="494" y="475"/>
                  </a:lnTo>
                  <a:lnTo>
                    <a:pt x="487" y="482"/>
                  </a:lnTo>
                  <a:lnTo>
                    <a:pt x="479" y="490"/>
                  </a:lnTo>
                  <a:lnTo>
                    <a:pt x="472" y="497"/>
                  </a:lnTo>
                  <a:lnTo>
                    <a:pt x="464" y="503"/>
                  </a:lnTo>
                  <a:lnTo>
                    <a:pt x="456" y="511"/>
                  </a:lnTo>
                  <a:lnTo>
                    <a:pt x="449" y="517"/>
                  </a:lnTo>
                  <a:lnTo>
                    <a:pt x="443" y="522"/>
                  </a:lnTo>
                  <a:lnTo>
                    <a:pt x="437" y="528"/>
                  </a:lnTo>
                  <a:lnTo>
                    <a:pt x="433" y="532"/>
                  </a:lnTo>
                  <a:lnTo>
                    <a:pt x="430" y="534"/>
                  </a:lnTo>
                  <a:lnTo>
                    <a:pt x="428" y="534"/>
                  </a:lnTo>
                  <a:lnTo>
                    <a:pt x="428" y="534"/>
                  </a:lnTo>
                  <a:lnTo>
                    <a:pt x="424" y="534"/>
                  </a:lnTo>
                  <a:lnTo>
                    <a:pt x="420" y="534"/>
                  </a:lnTo>
                  <a:lnTo>
                    <a:pt x="416" y="534"/>
                  </a:lnTo>
                  <a:lnTo>
                    <a:pt x="412" y="534"/>
                  </a:lnTo>
                  <a:lnTo>
                    <a:pt x="411" y="534"/>
                  </a:lnTo>
                  <a:lnTo>
                    <a:pt x="407" y="534"/>
                  </a:lnTo>
                  <a:lnTo>
                    <a:pt x="403" y="534"/>
                  </a:lnTo>
                  <a:lnTo>
                    <a:pt x="401" y="534"/>
                  </a:lnTo>
                  <a:lnTo>
                    <a:pt x="397" y="534"/>
                  </a:lnTo>
                  <a:lnTo>
                    <a:pt x="391" y="534"/>
                  </a:lnTo>
                  <a:lnTo>
                    <a:pt x="388" y="534"/>
                  </a:lnTo>
                  <a:lnTo>
                    <a:pt x="382" y="534"/>
                  </a:lnTo>
                  <a:lnTo>
                    <a:pt x="376" y="534"/>
                  </a:lnTo>
                  <a:lnTo>
                    <a:pt x="369" y="534"/>
                  </a:lnTo>
                  <a:lnTo>
                    <a:pt x="361" y="534"/>
                  </a:lnTo>
                  <a:lnTo>
                    <a:pt x="351" y="534"/>
                  </a:lnTo>
                  <a:lnTo>
                    <a:pt x="351" y="534"/>
                  </a:lnTo>
                  <a:lnTo>
                    <a:pt x="346" y="528"/>
                  </a:lnTo>
                  <a:lnTo>
                    <a:pt x="342" y="524"/>
                  </a:lnTo>
                  <a:lnTo>
                    <a:pt x="334" y="522"/>
                  </a:lnTo>
                  <a:lnTo>
                    <a:pt x="327" y="520"/>
                  </a:lnTo>
                  <a:lnTo>
                    <a:pt x="319" y="520"/>
                  </a:lnTo>
                  <a:lnTo>
                    <a:pt x="311" y="520"/>
                  </a:lnTo>
                  <a:lnTo>
                    <a:pt x="304" y="518"/>
                  </a:lnTo>
                  <a:lnTo>
                    <a:pt x="298" y="517"/>
                  </a:lnTo>
                  <a:lnTo>
                    <a:pt x="298" y="517"/>
                  </a:lnTo>
                  <a:lnTo>
                    <a:pt x="292" y="515"/>
                  </a:lnTo>
                  <a:lnTo>
                    <a:pt x="288" y="513"/>
                  </a:lnTo>
                  <a:lnTo>
                    <a:pt x="283" y="509"/>
                  </a:lnTo>
                  <a:lnTo>
                    <a:pt x="279" y="507"/>
                  </a:lnTo>
                  <a:lnTo>
                    <a:pt x="275" y="503"/>
                  </a:lnTo>
                  <a:lnTo>
                    <a:pt x="273" y="501"/>
                  </a:lnTo>
                  <a:lnTo>
                    <a:pt x="269" y="497"/>
                  </a:lnTo>
                  <a:lnTo>
                    <a:pt x="266" y="494"/>
                  </a:lnTo>
                  <a:lnTo>
                    <a:pt x="262" y="492"/>
                  </a:lnTo>
                  <a:lnTo>
                    <a:pt x="258" y="488"/>
                  </a:lnTo>
                  <a:lnTo>
                    <a:pt x="254" y="484"/>
                  </a:lnTo>
                  <a:lnTo>
                    <a:pt x="250" y="482"/>
                  </a:lnTo>
                  <a:lnTo>
                    <a:pt x="247" y="478"/>
                  </a:lnTo>
                  <a:lnTo>
                    <a:pt x="243" y="476"/>
                  </a:lnTo>
                  <a:lnTo>
                    <a:pt x="237" y="475"/>
                  </a:lnTo>
                  <a:lnTo>
                    <a:pt x="231" y="473"/>
                  </a:lnTo>
                  <a:lnTo>
                    <a:pt x="231" y="473"/>
                  </a:lnTo>
                  <a:lnTo>
                    <a:pt x="224" y="471"/>
                  </a:lnTo>
                  <a:lnTo>
                    <a:pt x="216" y="467"/>
                  </a:lnTo>
                  <a:lnTo>
                    <a:pt x="208" y="465"/>
                  </a:lnTo>
                  <a:lnTo>
                    <a:pt x="201" y="461"/>
                  </a:lnTo>
                  <a:lnTo>
                    <a:pt x="193" y="457"/>
                  </a:lnTo>
                  <a:lnTo>
                    <a:pt x="187" y="454"/>
                  </a:lnTo>
                  <a:lnTo>
                    <a:pt x="184" y="450"/>
                  </a:lnTo>
                  <a:lnTo>
                    <a:pt x="180" y="446"/>
                  </a:lnTo>
                  <a:lnTo>
                    <a:pt x="180" y="446"/>
                  </a:lnTo>
                  <a:lnTo>
                    <a:pt x="178" y="440"/>
                  </a:lnTo>
                  <a:lnTo>
                    <a:pt x="178" y="434"/>
                  </a:lnTo>
                  <a:lnTo>
                    <a:pt x="176" y="429"/>
                  </a:lnTo>
                  <a:lnTo>
                    <a:pt x="176" y="423"/>
                  </a:lnTo>
                  <a:lnTo>
                    <a:pt x="176" y="417"/>
                  </a:lnTo>
                  <a:lnTo>
                    <a:pt x="176" y="412"/>
                  </a:lnTo>
                  <a:lnTo>
                    <a:pt x="176" y="406"/>
                  </a:lnTo>
                  <a:lnTo>
                    <a:pt x="176" y="402"/>
                  </a:lnTo>
                  <a:lnTo>
                    <a:pt x="176" y="396"/>
                  </a:lnTo>
                  <a:lnTo>
                    <a:pt x="176" y="392"/>
                  </a:lnTo>
                  <a:lnTo>
                    <a:pt x="174" y="387"/>
                  </a:lnTo>
                  <a:lnTo>
                    <a:pt x="174" y="383"/>
                  </a:lnTo>
                  <a:lnTo>
                    <a:pt x="172" y="379"/>
                  </a:lnTo>
                  <a:lnTo>
                    <a:pt x="168" y="377"/>
                  </a:lnTo>
                  <a:lnTo>
                    <a:pt x="164" y="373"/>
                  </a:lnTo>
                  <a:lnTo>
                    <a:pt x="159" y="372"/>
                  </a:lnTo>
                  <a:lnTo>
                    <a:pt x="159" y="372"/>
                  </a:lnTo>
                  <a:lnTo>
                    <a:pt x="155" y="370"/>
                  </a:lnTo>
                  <a:lnTo>
                    <a:pt x="151" y="366"/>
                  </a:lnTo>
                  <a:lnTo>
                    <a:pt x="149" y="362"/>
                  </a:lnTo>
                  <a:lnTo>
                    <a:pt x="147" y="358"/>
                  </a:lnTo>
                  <a:lnTo>
                    <a:pt x="143" y="352"/>
                  </a:lnTo>
                  <a:lnTo>
                    <a:pt x="142" y="349"/>
                  </a:lnTo>
                  <a:lnTo>
                    <a:pt x="140" y="345"/>
                  </a:lnTo>
                  <a:lnTo>
                    <a:pt x="136" y="343"/>
                  </a:lnTo>
                  <a:lnTo>
                    <a:pt x="136" y="343"/>
                  </a:lnTo>
                  <a:lnTo>
                    <a:pt x="128" y="337"/>
                  </a:lnTo>
                  <a:lnTo>
                    <a:pt x="121" y="333"/>
                  </a:lnTo>
                  <a:lnTo>
                    <a:pt x="111" y="330"/>
                  </a:lnTo>
                  <a:lnTo>
                    <a:pt x="102" y="326"/>
                  </a:lnTo>
                  <a:lnTo>
                    <a:pt x="94" y="322"/>
                  </a:lnTo>
                  <a:lnTo>
                    <a:pt x="86" y="320"/>
                  </a:lnTo>
                  <a:lnTo>
                    <a:pt x="79" y="316"/>
                  </a:lnTo>
                  <a:lnTo>
                    <a:pt x="71" y="312"/>
                  </a:lnTo>
                  <a:lnTo>
                    <a:pt x="71" y="312"/>
                  </a:lnTo>
                  <a:lnTo>
                    <a:pt x="67" y="309"/>
                  </a:lnTo>
                  <a:lnTo>
                    <a:pt x="63" y="305"/>
                  </a:lnTo>
                  <a:lnTo>
                    <a:pt x="60" y="301"/>
                  </a:lnTo>
                  <a:lnTo>
                    <a:pt x="58" y="297"/>
                  </a:lnTo>
                  <a:lnTo>
                    <a:pt x="58" y="293"/>
                  </a:lnTo>
                  <a:lnTo>
                    <a:pt x="56" y="288"/>
                  </a:lnTo>
                  <a:lnTo>
                    <a:pt x="54" y="282"/>
                  </a:lnTo>
                  <a:lnTo>
                    <a:pt x="54" y="276"/>
                  </a:lnTo>
                  <a:lnTo>
                    <a:pt x="54" y="276"/>
                  </a:lnTo>
                  <a:lnTo>
                    <a:pt x="50" y="270"/>
                  </a:lnTo>
                  <a:lnTo>
                    <a:pt x="48" y="263"/>
                  </a:lnTo>
                  <a:lnTo>
                    <a:pt x="44" y="255"/>
                  </a:lnTo>
                  <a:lnTo>
                    <a:pt x="40" y="249"/>
                  </a:lnTo>
                  <a:lnTo>
                    <a:pt x="35" y="244"/>
                  </a:lnTo>
                  <a:lnTo>
                    <a:pt x="31" y="238"/>
                  </a:lnTo>
                  <a:lnTo>
                    <a:pt x="27" y="234"/>
                  </a:lnTo>
                  <a:lnTo>
                    <a:pt x="21" y="227"/>
                  </a:lnTo>
                  <a:lnTo>
                    <a:pt x="18" y="223"/>
                  </a:lnTo>
                  <a:lnTo>
                    <a:pt x="14" y="217"/>
                  </a:lnTo>
                  <a:lnTo>
                    <a:pt x="10" y="211"/>
                  </a:lnTo>
                  <a:lnTo>
                    <a:pt x="6" y="206"/>
                  </a:lnTo>
                  <a:lnTo>
                    <a:pt x="4" y="198"/>
                  </a:lnTo>
                  <a:lnTo>
                    <a:pt x="2" y="192"/>
                  </a:lnTo>
                  <a:lnTo>
                    <a:pt x="0" y="185"/>
                  </a:lnTo>
                  <a:lnTo>
                    <a:pt x="0" y="177"/>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6" name="Freeform 20"/>
            <p:cNvSpPr>
              <a:spLocks/>
            </p:cNvSpPr>
            <p:nvPr/>
          </p:nvSpPr>
          <p:spPr bwMode="gray">
            <a:xfrm>
              <a:off x="3024" y="2777"/>
              <a:ext cx="131" cy="319"/>
            </a:xfrm>
            <a:custGeom>
              <a:avLst/>
              <a:gdLst/>
              <a:ahLst/>
              <a:cxnLst>
                <a:cxn ang="0">
                  <a:pos x="218" y="401"/>
                </a:cxn>
                <a:cxn ang="0">
                  <a:pos x="233" y="437"/>
                </a:cxn>
                <a:cxn ang="0">
                  <a:pos x="223" y="447"/>
                </a:cxn>
                <a:cxn ang="0">
                  <a:pos x="227" y="492"/>
                </a:cxn>
                <a:cxn ang="0">
                  <a:pos x="225" y="511"/>
                </a:cxn>
                <a:cxn ang="0">
                  <a:pos x="212" y="517"/>
                </a:cxn>
                <a:cxn ang="0">
                  <a:pos x="195" y="525"/>
                </a:cxn>
                <a:cxn ang="0">
                  <a:pos x="174" y="546"/>
                </a:cxn>
                <a:cxn ang="0">
                  <a:pos x="178" y="555"/>
                </a:cxn>
                <a:cxn ang="0">
                  <a:pos x="174" y="567"/>
                </a:cxn>
                <a:cxn ang="0">
                  <a:pos x="174" y="580"/>
                </a:cxn>
                <a:cxn ang="0">
                  <a:pos x="137" y="544"/>
                </a:cxn>
                <a:cxn ang="0">
                  <a:pos x="126" y="506"/>
                </a:cxn>
                <a:cxn ang="0">
                  <a:pos x="137" y="479"/>
                </a:cxn>
                <a:cxn ang="0">
                  <a:pos x="149" y="452"/>
                </a:cxn>
                <a:cxn ang="0">
                  <a:pos x="143" y="414"/>
                </a:cxn>
                <a:cxn ang="0">
                  <a:pos x="111" y="380"/>
                </a:cxn>
                <a:cxn ang="0">
                  <a:pos x="86" y="395"/>
                </a:cxn>
                <a:cxn ang="0">
                  <a:pos x="63" y="385"/>
                </a:cxn>
                <a:cxn ang="0">
                  <a:pos x="44" y="355"/>
                </a:cxn>
                <a:cxn ang="0">
                  <a:pos x="6" y="342"/>
                </a:cxn>
                <a:cxn ang="0">
                  <a:pos x="6" y="315"/>
                </a:cxn>
                <a:cxn ang="0">
                  <a:pos x="21" y="302"/>
                </a:cxn>
                <a:cxn ang="0">
                  <a:pos x="34" y="277"/>
                </a:cxn>
                <a:cxn ang="0">
                  <a:pos x="40" y="254"/>
                </a:cxn>
                <a:cxn ang="0">
                  <a:pos x="48" y="231"/>
                </a:cxn>
                <a:cxn ang="0">
                  <a:pos x="61" y="214"/>
                </a:cxn>
                <a:cxn ang="0">
                  <a:pos x="59" y="187"/>
                </a:cxn>
                <a:cxn ang="0">
                  <a:pos x="52" y="160"/>
                </a:cxn>
                <a:cxn ang="0">
                  <a:pos x="57" y="137"/>
                </a:cxn>
                <a:cxn ang="0">
                  <a:pos x="65" y="111"/>
                </a:cxn>
                <a:cxn ang="0">
                  <a:pos x="78" y="80"/>
                </a:cxn>
                <a:cxn ang="0">
                  <a:pos x="71" y="52"/>
                </a:cxn>
                <a:cxn ang="0">
                  <a:pos x="59" y="23"/>
                </a:cxn>
                <a:cxn ang="0">
                  <a:pos x="52" y="0"/>
                </a:cxn>
                <a:cxn ang="0">
                  <a:pos x="94" y="6"/>
                </a:cxn>
                <a:cxn ang="0">
                  <a:pos x="111" y="25"/>
                </a:cxn>
                <a:cxn ang="0">
                  <a:pos x="120" y="52"/>
                </a:cxn>
                <a:cxn ang="0">
                  <a:pos x="124" y="61"/>
                </a:cxn>
                <a:cxn ang="0">
                  <a:pos x="134" y="73"/>
                </a:cxn>
                <a:cxn ang="0">
                  <a:pos x="134" y="170"/>
                </a:cxn>
                <a:cxn ang="0">
                  <a:pos x="124" y="202"/>
                </a:cxn>
                <a:cxn ang="0">
                  <a:pos x="113" y="225"/>
                </a:cxn>
                <a:cxn ang="0">
                  <a:pos x="118" y="242"/>
                </a:cxn>
                <a:cxn ang="0">
                  <a:pos x="128" y="271"/>
                </a:cxn>
                <a:cxn ang="0">
                  <a:pos x="134" y="319"/>
                </a:cxn>
                <a:cxn ang="0">
                  <a:pos x="143" y="332"/>
                </a:cxn>
                <a:cxn ang="0">
                  <a:pos x="149" y="345"/>
                </a:cxn>
                <a:cxn ang="0">
                  <a:pos x="143" y="359"/>
                </a:cxn>
                <a:cxn ang="0">
                  <a:pos x="149" y="376"/>
                </a:cxn>
                <a:cxn ang="0">
                  <a:pos x="162" y="380"/>
                </a:cxn>
                <a:cxn ang="0">
                  <a:pos x="166" y="368"/>
                </a:cxn>
                <a:cxn ang="0">
                  <a:pos x="179" y="374"/>
                </a:cxn>
                <a:cxn ang="0">
                  <a:pos x="189" y="378"/>
                </a:cxn>
                <a:cxn ang="0">
                  <a:pos x="191" y="366"/>
                </a:cxn>
              </a:cxnLst>
              <a:rect l="0" t="0" r="r" b="b"/>
              <a:pathLst>
                <a:path w="233" h="580">
                  <a:moveTo>
                    <a:pt x="189" y="378"/>
                  </a:moveTo>
                  <a:lnTo>
                    <a:pt x="189" y="378"/>
                  </a:lnTo>
                  <a:lnTo>
                    <a:pt x="197" y="382"/>
                  </a:lnTo>
                  <a:lnTo>
                    <a:pt x="202" y="385"/>
                  </a:lnTo>
                  <a:lnTo>
                    <a:pt x="210" y="393"/>
                  </a:lnTo>
                  <a:lnTo>
                    <a:pt x="218" y="401"/>
                  </a:lnTo>
                  <a:lnTo>
                    <a:pt x="223" y="410"/>
                  </a:lnTo>
                  <a:lnTo>
                    <a:pt x="227" y="418"/>
                  </a:lnTo>
                  <a:lnTo>
                    <a:pt x="231" y="427"/>
                  </a:lnTo>
                  <a:lnTo>
                    <a:pt x="233" y="435"/>
                  </a:lnTo>
                  <a:lnTo>
                    <a:pt x="233" y="435"/>
                  </a:lnTo>
                  <a:lnTo>
                    <a:pt x="233" y="437"/>
                  </a:lnTo>
                  <a:lnTo>
                    <a:pt x="231" y="439"/>
                  </a:lnTo>
                  <a:lnTo>
                    <a:pt x="229" y="439"/>
                  </a:lnTo>
                  <a:lnTo>
                    <a:pt x="227" y="441"/>
                  </a:lnTo>
                  <a:lnTo>
                    <a:pt x="225" y="443"/>
                  </a:lnTo>
                  <a:lnTo>
                    <a:pt x="225" y="445"/>
                  </a:lnTo>
                  <a:lnTo>
                    <a:pt x="223" y="447"/>
                  </a:lnTo>
                  <a:lnTo>
                    <a:pt x="223" y="448"/>
                  </a:lnTo>
                  <a:lnTo>
                    <a:pt x="227" y="483"/>
                  </a:lnTo>
                  <a:lnTo>
                    <a:pt x="227" y="483"/>
                  </a:lnTo>
                  <a:lnTo>
                    <a:pt x="227" y="487"/>
                  </a:lnTo>
                  <a:lnTo>
                    <a:pt x="227" y="490"/>
                  </a:lnTo>
                  <a:lnTo>
                    <a:pt x="227" y="492"/>
                  </a:lnTo>
                  <a:lnTo>
                    <a:pt x="227" y="496"/>
                  </a:lnTo>
                  <a:lnTo>
                    <a:pt x="227" y="500"/>
                  </a:lnTo>
                  <a:lnTo>
                    <a:pt x="227" y="504"/>
                  </a:lnTo>
                  <a:lnTo>
                    <a:pt x="227" y="508"/>
                  </a:lnTo>
                  <a:lnTo>
                    <a:pt x="225" y="511"/>
                  </a:lnTo>
                  <a:lnTo>
                    <a:pt x="225" y="511"/>
                  </a:lnTo>
                  <a:lnTo>
                    <a:pt x="223" y="513"/>
                  </a:lnTo>
                  <a:lnTo>
                    <a:pt x="221" y="515"/>
                  </a:lnTo>
                  <a:lnTo>
                    <a:pt x="220" y="517"/>
                  </a:lnTo>
                  <a:lnTo>
                    <a:pt x="218" y="517"/>
                  </a:lnTo>
                  <a:lnTo>
                    <a:pt x="214" y="517"/>
                  </a:lnTo>
                  <a:lnTo>
                    <a:pt x="212" y="517"/>
                  </a:lnTo>
                  <a:lnTo>
                    <a:pt x="208" y="517"/>
                  </a:lnTo>
                  <a:lnTo>
                    <a:pt x="204" y="517"/>
                  </a:lnTo>
                  <a:lnTo>
                    <a:pt x="204" y="517"/>
                  </a:lnTo>
                  <a:lnTo>
                    <a:pt x="202" y="517"/>
                  </a:lnTo>
                  <a:lnTo>
                    <a:pt x="199" y="521"/>
                  </a:lnTo>
                  <a:lnTo>
                    <a:pt x="195" y="525"/>
                  </a:lnTo>
                  <a:lnTo>
                    <a:pt x="189" y="529"/>
                  </a:lnTo>
                  <a:lnTo>
                    <a:pt x="183" y="532"/>
                  </a:lnTo>
                  <a:lnTo>
                    <a:pt x="178" y="538"/>
                  </a:lnTo>
                  <a:lnTo>
                    <a:pt x="174" y="542"/>
                  </a:lnTo>
                  <a:lnTo>
                    <a:pt x="174" y="546"/>
                  </a:lnTo>
                  <a:lnTo>
                    <a:pt x="174" y="546"/>
                  </a:lnTo>
                  <a:lnTo>
                    <a:pt x="174" y="548"/>
                  </a:lnTo>
                  <a:lnTo>
                    <a:pt x="174" y="550"/>
                  </a:lnTo>
                  <a:lnTo>
                    <a:pt x="176" y="551"/>
                  </a:lnTo>
                  <a:lnTo>
                    <a:pt x="178" y="553"/>
                  </a:lnTo>
                  <a:lnTo>
                    <a:pt x="178" y="553"/>
                  </a:lnTo>
                  <a:lnTo>
                    <a:pt x="178" y="555"/>
                  </a:lnTo>
                  <a:lnTo>
                    <a:pt x="176" y="557"/>
                  </a:lnTo>
                  <a:lnTo>
                    <a:pt x="176" y="559"/>
                  </a:lnTo>
                  <a:lnTo>
                    <a:pt x="174" y="561"/>
                  </a:lnTo>
                  <a:lnTo>
                    <a:pt x="174" y="563"/>
                  </a:lnTo>
                  <a:lnTo>
                    <a:pt x="174" y="565"/>
                  </a:lnTo>
                  <a:lnTo>
                    <a:pt x="174" y="567"/>
                  </a:lnTo>
                  <a:lnTo>
                    <a:pt x="174" y="569"/>
                  </a:lnTo>
                  <a:lnTo>
                    <a:pt x="174" y="569"/>
                  </a:lnTo>
                  <a:lnTo>
                    <a:pt x="174" y="572"/>
                  </a:lnTo>
                  <a:lnTo>
                    <a:pt x="174" y="574"/>
                  </a:lnTo>
                  <a:lnTo>
                    <a:pt x="174" y="578"/>
                  </a:lnTo>
                  <a:lnTo>
                    <a:pt x="174" y="580"/>
                  </a:lnTo>
                  <a:lnTo>
                    <a:pt x="174" y="580"/>
                  </a:lnTo>
                  <a:lnTo>
                    <a:pt x="168" y="576"/>
                  </a:lnTo>
                  <a:lnTo>
                    <a:pt x="160" y="572"/>
                  </a:lnTo>
                  <a:lnTo>
                    <a:pt x="153" y="563"/>
                  </a:lnTo>
                  <a:lnTo>
                    <a:pt x="145" y="553"/>
                  </a:lnTo>
                  <a:lnTo>
                    <a:pt x="137" y="544"/>
                  </a:lnTo>
                  <a:lnTo>
                    <a:pt x="132" y="532"/>
                  </a:lnTo>
                  <a:lnTo>
                    <a:pt x="128" y="523"/>
                  </a:lnTo>
                  <a:lnTo>
                    <a:pt x="126" y="515"/>
                  </a:lnTo>
                  <a:lnTo>
                    <a:pt x="126" y="515"/>
                  </a:lnTo>
                  <a:lnTo>
                    <a:pt x="126" y="511"/>
                  </a:lnTo>
                  <a:lnTo>
                    <a:pt x="126" y="506"/>
                  </a:lnTo>
                  <a:lnTo>
                    <a:pt x="128" y="502"/>
                  </a:lnTo>
                  <a:lnTo>
                    <a:pt x="130" y="498"/>
                  </a:lnTo>
                  <a:lnTo>
                    <a:pt x="132" y="492"/>
                  </a:lnTo>
                  <a:lnTo>
                    <a:pt x="134" y="489"/>
                  </a:lnTo>
                  <a:lnTo>
                    <a:pt x="136" y="485"/>
                  </a:lnTo>
                  <a:lnTo>
                    <a:pt x="137" y="479"/>
                  </a:lnTo>
                  <a:lnTo>
                    <a:pt x="139" y="475"/>
                  </a:lnTo>
                  <a:lnTo>
                    <a:pt x="143" y="471"/>
                  </a:lnTo>
                  <a:lnTo>
                    <a:pt x="145" y="468"/>
                  </a:lnTo>
                  <a:lnTo>
                    <a:pt x="147" y="462"/>
                  </a:lnTo>
                  <a:lnTo>
                    <a:pt x="147" y="458"/>
                  </a:lnTo>
                  <a:lnTo>
                    <a:pt x="149" y="452"/>
                  </a:lnTo>
                  <a:lnTo>
                    <a:pt x="149" y="448"/>
                  </a:lnTo>
                  <a:lnTo>
                    <a:pt x="149" y="443"/>
                  </a:lnTo>
                  <a:lnTo>
                    <a:pt x="149" y="443"/>
                  </a:lnTo>
                  <a:lnTo>
                    <a:pt x="149" y="433"/>
                  </a:lnTo>
                  <a:lnTo>
                    <a:pt x="147" y="424"/>
                  </a:lnTo>
                  <a:lnTo>
                    <a:pt x="143" y="414"/>
                  </a:lnTo>
                  <a:lnTo>
                    <a:pt x="139" y="403"/>
                  </a:lnTo>
                  <a:lnTo>
                    <a:pt x="134" y="395"/>
                  </a:lnTo>
                  <a:lnTo>
                    <a:pt x="126" y="387"/>
                  </a:lnTo>
                  <a:lnTo>
                    <a:pt x="118" y="382"/>
                  </a:lnTo>
                  <a:lnTo>
                    <a:pt x="111" y="380"/>
                  </a:lnTo>
                  <a:lnTo>
                    <a:pt x="111" y="380"/>
                  </a:lnTo>
                  <a:lnTo>
                    <a:pt x="105" y="382"/>
                  </a:lnTo>
                  <a:lnTo>
                    <a:pt x="101" y="384"/>
                  </a:lnTo>
                  <a:lnTo>
                    <a:pt x="97" y="385"/>
                  </a:lnTo>
                  <a:lnTo>
                    <a:pt x="94" y="389"/>
                  </a:lnTo>
                  <a:lnTo>
                    <a:pt x="90" y="391"/>
                  </a:lnTo>
                  <a:lnTo>
                    <a:pt x="86" y="395"/>
                  </a:lnTo>
                  <a:lnTo>
                    <a:pt x="82" y="397"/>
                  </a:lnTo>
                  <a:lnTo>
                    <a:pt x="78" y="397"/>
                  </a:lnTo>
                  <a:lnTo>
                    <a:pt x="78" y="397"/>
                  </a:lnTo>
                  <a:lnTo>
                    <a:pt x="73" y="395"/>
                  </a:lnTo>
                  <a:lnTo>
                    <a:pt x="69" y="391"/>
                  </a:lnTo>
                  <a:lnTo>
                    <a:pt x="63" y="385"/>
                  </a:lnTo>
                  <a:lnTo>
                    <a:pt x="59" y="378"/>
                  </a:lnTo>
                  <a:lnTo>
                    <a:pt x="54" y="370"/>
                  </a:lnTo>
                  <a:lnTo>
                    <a:pt x="50" y="365"/>
                  </a:lnTo>
                  <a:lnTo>
                    <a:pt x="46" y="359"/>
                  </a:lnTo>
                  <a:lnTo>
                    <a:pt x="44" y="355"/>
                  </a:lnTo>
                  <a:lnTo>
                    <a:pt x="44" y="355"/>
                  </a:lnTo>
                  <a:lnTo>
                    <a:pt x="38" y="351"/>
                  </a:lnTo>
                  <a:lnTo>
                    <a:pt x="31" y="349"/>
                  </a:lnTo>
                  <a:lnTo>
                    <a:pt x="25" y="347"/>
                  </a:lnTo>
                  <a:lnTo>
                    <a:pt x="17" y="345"/>
                  </a:lnTo>
                  <a:lnTo>
                    <a:pt x="10" y="344"/>
                  </a:lnTo>
                  <a:lnTo>
                    <a:pt x="6" y="342"/>
                  </a:lnTo>
                  <a:lnTo>
                    <a:pt x="2" y="336"/>
                  </a:lnTo>
                  <a:lnTo>
                    <a:pt x="0" y="326"/>
                  </a:lnTo>
                  <a:lnTo>
                    <a:pt x="0" y="326"/>
                  </a:lnTo>
                  <a:lnTo>
                    <a:pt x="2" y="323"/>
                  </a:lnTo>
                  <a:lnTo>
                    <a:pt x="4" y="319"/>
                  </a:lnTo>
                  <a:lnTo>
                    <a:pt x="6" y="315"/>
                  </a:lnTo>
                  <a:lnTo>
                    <a:pt x="10" y="313"/>
                  </a:lnTo>
                  <a:lnTo>
                    <a:pt x="12" y="309"/>
                  </a:lnTo>
                  <a:lnTo>
                    <a:pt x="15" y="307"/>
                  </a:lnTo>
                  <a:lnTo>
                    <a:pt x="19" y="305"/>
                  </a:lnTo>
                  <a:lnTo>
                    <a:pt x="21" y="302"/>
                  </a:lnTo>
                  <a:lnTo>
                    <a:pt x="21" y="302"/>
                  </a:lnTo>
                  <a:lnTo>
                    <a:pt x="23" y="296"/>
                  </a:lnTo>
                  <a:lnTo>
                    <a:pt x="27" y="290"/>
                  </a:lnTo>
                  <a:lnTo>
                    <a:pt x="29" y="286"/>
                  </a:lnTo>
                  <a:lnTo>
                    <a:pt x="31" y="284"/>
                  </a:lnTo>
                  <a:lnTo>
                    <a:pt x="33" y="281"/>
                  </a:lnTo>
                  <a:lnTo>
                    <a:pt x="34" y="277"/>
                  </a:lnTo>
                  <a:lnTo>
                    <a:pt x="36" y="273"/>
                  </a:lnTo>
                  <a:lnTo>
                    <a:pt x="38" y="269"/>
                  </a:lnTo>
                  <a:lnTo>
                    <a:pt x="38" y="269"/>
                  </a:lnTo>
                  <a:lnTo>
                    <a:pt x="40" y="263"/>
                  </a:lnTo>
                  <a:lnTo>
                    <a:pt x="40" y="258"/>
                  </a:lnTo>
                  <a:lnTo>
                    <a:pt x="40" y="254"/>
                  </a:lnTo>
                  <a:lnTo>
                    <a:pt x="40" y="248"/>
                  </a:lnTo>
                  <a:lnTo>
                    <a:pt x="42" y="244"/>
                  </a:lnTo>
                  <a:lnTo>
                    <a:pt x="42" y="239"/>
                  </a:lnTo>
                  <a:lnTo>
                    <a:pt x="44" y="235"/>
                  </a:lnTo>
                  <a:lnTo>
                    <a:pt x="48" y="231"/>
                  </a:lnTo>
                  <a:lnTo>
                    <a:pt x="48" y="231"/>
                  </a:lnTo>
                  <a:lnTo>
                    <a:pt x="50" y="227"/>
                  </a:lnTo>
                  <a:lnTo>
                    <a:pt x="54" y="225"/>
                  </a:lnTo>
                  <a:lnTo>
                    <a:pt x="55" y="223"/>
                  </a:lnTo>
                  <a:lnTo>
                    <a:pt x="57" y="220"/>
                  </a:lnTo>
                  <a:lnTo>
                    <a:pt x="59" y="218"/>
                  </a:lnTo>
                  <a:lnTo>
                    <a:pt x="61" y="214"/>
                  </a:lnTo>
                  <a:lnTo>
                    <a:pt x="61" y="210"/>
                  </a:lnTo>
                  <a:lnTo>
                    <a:pt x="63" y="206"/>
                  </a:lnTo>
                  <a:lnTo>
                    <a:pt x="63" y="206"/>
                  </a:lnTo>
                  <a:lnTo>
                    <a:pt x="61" y="199"/>
                  </a:lnTo>
                  <a:lnTo>
                    <a:pt x="61" y="193"/>
                  </a:lnTo>
                  <a:lnTo>
                    <a:pt x="59" y="187"/>
                  </a:lnTo>
                  <a:lnTo>
                    <a:pt x="57" y="183"/>
                  </a:lnTo>
                  <a:lnTo>
                    <a:pt x="55" y="178"/>
                  </a:lnTo>
                  <a:lnTo>
                    <a:pt x="54" y="172"/>
                  </a:lnTo>
                  <a:lnTo>
                    <a:pt x="52" y="168"/>
                  </a:lnTo>
                  <a:lnTo>
                    <a:pt x="52" y="160"/>
                  </a:lnTo>
                  <a:lnTo>
                    <a:pt x="52" y="160"/>
                  </a:lnTo>
                  <a:lnTo>
                    <a:pt x="52" y="157"/>
                  </a:lnTo>
                  <a:lnTo>
                    <a:pt x="52" y="153"/>
                  </a:lnTo>
                  <a:lnTo>
                    <a:pt x="54" y="149"/>
                  </a:lnTo>
                  <a:lnTo>
                    <a:pt x="55" y="145"/>
                  </a:lnTo>
                  <a:lnTo>
                    <a:pt x="55" y="141"/>
                  </a:lnTo>
                  <a:lnTo>
                    <a:pt x="57" y="137"/>
                  </a:lnTo>
                  <a:lnTo>
                    <a:pt x="57" y="134"/>
                  </a:lnTo>
                  <a:lnTo>
                    <a:pt x="57" y="130"/>
                  </a:lnTo>
                  <a:lnTo>
                    <a:pt x="57" y="130"/>
                  </a:lnTo>
                  <a:lnTo>
                    <a:pt x="59" y="124"/>
                  </a:lnTo>
                  <a:lnTo>
                    <a:pt x="61" y="116"/>
                  </a:lnTo>
                  <a:lnTo>
                    <a:pt x="65" y="111"/>
                  </a:lnTo>
                  <a:lnTo>
                    <a:pt x="69" y="105"/>
                  </a:lnTo>
                  <a:lnTo>
                    <a:pt x="73" y="99"/>
                  </a:lnTo>
                  <a:lnTo>
                    <a:pt x="75" y="94"/>
                  </a:lnTo>
                  <a:lnTo>
                    <a:pt x="78" y="88"/>
                  </a:lnTo>
                  <a:lnTo>
                    <a:pt x="78" y="80"/>
                  </a:lnTo>
                  <a:lnTo>
                    <a:pt x="78" y="80"/>
                  </a:lnTo>
                  <a:lnTo>
                    <a:pt x="78" y="76"/>
                  </a:lnTo>
                  <a:lnTo>
                    <a:pt x="78" y="71"/>
                  </a:lnTo>
                  <a:lnTo>
                    <a:pt x="76" y="67"/>
                  </a:lnTo>
                  <a:lnTo>
                    <a:pt x="75" y="61"/>
                  </a:lnTo>
                  <a:lnTo>
                    <a:pt x="73" y="57"/>
                  </a:lnTo>
                  <a:lnTo>
                    <a:pt x="71" y="52"/>
                  </a:lnTo>
                  <a:lnTo>
                    <a:pt x="69" y="46"/>
                  </a:lnTo>
                  <a:lnTo>
                    <a:pt x="67" y="42"/>
                  </a:lnTo>
                  <a:lnTo>
                    <a:pt x="65" y="36"/>
                  </a:lnTo>
                  <a:lnTo>
                    <a:pt x="63" y="33"/>
                  </a:lnTo>
                  <a:lnTo>
                    <a:pt x="61" y="27"/>
                  </a:lnTo>
                  <a:lnTo>
                    <a:pt x="59" y="23"/>
                  </a:lnTo>
                  <a:lnTo>
                    <a:pt x="57" y="17"/>
                  </a:lnTo>
                  <a:lnTo>
                    <a:pt x="55" y="12"/>
                  </a:lnTo>
                  <a:lnTo>
                    <a:pt x="55" y="8"/>
                  </a:lnTo>
                  <a:lnTo>
                    <a:pt x="55" y="2"/>
                  </a:lnTo>
                  <a:lnTo>
                    <a:pt x="52" y="0"/>
                  </a:lnTo>
                  <a:lnTo>
                    <a:pt x="52" y="0"/>
                  </a:lnTo>
                  <a:lnTo>
                    <a:pt x="57" y="2"/>
                  </a:lnTo>
                  <a:lnTo>
                    <a:pt x="65" y="4"/>
                  </a:lnTo>
                  <a:lnTo>
                    <a:pt x="71" y="6"/>
                  </a:lnTo>
                  <a:lnTo>
                    <a:pt x="78" y="6"/>
                  </a:lnTo>
                  <a:lnTo>
                    <a:pt x="86" y="6"/>
                  </a:lnTo>
                  <a:lnTo>
                    <a:pt x="94" y="6"/>
                  </a:lnTo>
                  <a:lnTo>
                    <a:pt x="101" y="6"/>
                  </a:lnTo>
                  <a:lnTo>
                    <a:pt x="109" y="4"/>
                  </a:lnTo>
                  <a:lnTo>
                    <a:pt x="109" y="4"/>
                  </a:lnTo>
                  <a:lnTo>
                    <a:pt x="109" y="12"/>
                  </a:lnTo>
                  <a:lnTo>
                    <a:pt x="111" y="19"/>
                  </a:lnTo>
                  <a:lnTo>
                    <a:pt x="111" y="25"/>
                  </a:lnTo>
                  <a:lnTo>
                    <a:pt x="113" y="31"/>
                  </a:lnTo>
                  <a:lnTo>
                    <a:pt x="113" y="34"/>
                  </a:lnTo>
                  <a:lnTo>
                    <a:pt x="115" y="40"/>
                  </a:lnTo>
                  <a:lnTo>
                    <a:pt x="118" y="46"/>
                  </a:lnTo>
                  <a:lnTo>
                    <a:pt x="120" y="52"/>
                  </a:lnTo>
                  <a:lnTo>
                    <a:pt x="120" y="52"/>
                  </a:lnTo>
                  <a:lnTo>
                    <a:pt x="120" y="54"/>
                  </a:lnTo>
                  <a:lnTo>
                    <a:pt x="120" y="57"/>
                  </a:lnTo>
                  <a:lnTo>
                    <a:pt x="120" y="59"/>
                  </a:lnTo>
                  <a:lnTo>
                    <a:pt x="122" y="61"/>
                  </a:lnTo>
                  <a:lnTo>
                    <a:pt x="122" y="61"/>
                  </a:lnTo>
                  <a:lnTo>
                    <a:pt x="124" y="61"/>
                  </a:lnTo>
                  <a:lnTo>
                    <a:pt x="126" y="63"/>
                  </a:lnTo>
                  <a:lnTo>
                    <a:pt x="128" y="65"/>
                  </a:lnTo>
                  <a:lnTo>
                    <a:pt x="128" y="67"/>
                  </a:lnTo>
                  <a:lnTo>
                    <a:pt x="130" y="69"/>
                  </a:lnTo>
                  <a:lnTo>
                    <a:pt x="132" y="71"/>
                  </a:lnTo>
                  <a:lnTo>
                    <a:pt x="134" y="73"/>
                  </a:lnTo>
                  <a:lnTo>
                    <a:pt x="137" y="75"/>
                  </a:lnTo>
                  <a:lnTo>
                    <a:pt x="137" y="160"/>
                  </a:lnTo>
                  <a:lnTo>
                    <a:pt x="137" y="160"/>
                  </a:lnTo>
                  <a:lnTo>
                    <a:pt x="136" y="162"/>
                  </a:lnTo>
                  <a:lnTo>
                    <a:pt x="136" y="166"/>
                  </a:lnTo>
                  <a:lnTo>
                    <a:pt x="134" y="170"/>
                  </a:lnTo>
                  <a:lnTo>
                    <a:pt x="134" y="174"/>
                  </a:lnTo>
                  <a:lnTo>
                    <a:pt x="132" y="179"/>
                  </a:lnTo>
                  <a:lnTo>
                    <a:pt x="130" y="185"/>
                  </a:lnTo>
                  <a:lnTo>
                    <a:pt x="128" y="191"/>
                  </a:lnTo>
                  <a:lnTo>
                    <a:pt x="126" y="197"/>
                  </a:lnTo>
                  <a:lnTo>
                    <a:pt x="124" y="202"/>
                  </a:lnTo>
                  <a:lnTo>
                    <a:pt x="122" y="208"/>
                  </a:lnTo>
                  <a:lnTo>
                    <a:pt x="120" y="212"/>
                  </a:lnTo>
                  <a:lnTo>
                    <a:pt x="118" y="218"/>
                  </a:lnTo>
                  <a:lnTo>
                    <a:pt x="116" y="221"/>
                  </a:lnTo>
                  <a:lnTo>
                    <a:pt x="115" y="223"/>
                  </a:lnTo>
                  <a:lnTo>
                    <a:pt x="113" y="225"/>
                  </a:lnTo>
                  <a:lnTo>
                    <a:pt x="111" y="225"/>
                  </a:lnTo>
                  <a:lnTo>
                    <a:pt x="111" y="225"/>
                  </a:lnTo>
                  <a:lnTo>
                    <a:pt x="111" y="231"/>
                  </a:lnTo>
                  <a:lnTo>
                    <a:pt x="113" y="235"/>
                  </a:lnTo>
                  <a:lnTo>
                    <a:pt x="116" y="239"/>
                  </a:lnTo>
                  <a:lnTo>
                    <a:pt x="118" y="242"/>
                  </a:lnTo>
                  <a:lnTo>
                    <a:pt x="122" y="246"/>
                  </a:lnTo>
                  <a:lnTo>
                    <a:pt x="124" y="252"/>
                  </a:lnTo>
                  <a:lnTo>
                    <a:pt x="126" y="256"/>
                  </a:lnTo>
                  <a:lnTo>
                    <a:pt x="128" y="263"/>
                  </a:lnTo>
                  <a:lnTo>
                    <a:pt x="128" y="263"/>
                  </a:lnTo>
                  <a:lnTo>
                    <a:pt x="128" y="271"/>
                  </a:lnTo>
                  <a:lnTo>
                    <a:pt x="128" y="279"/>
                  </a:lnTo>
                  <a:lnTo>
                    <a:pt x="128" y="286"/>
                  </a:lnTo>
                  <a:lnTo>
                    <a:pt x="128" y="296"/>
                  </a:lnTo>
                  <a:lnTo>
                    <a:pt x="130" y="303"/>
                  </a:lnTo>
                  <a:lnTo>
                    <a:pt x="132" y="311"/>
                  </a:lnTo>
                  <a:lnTo>
                    <a:pt x="134" y="319"/>
                  </a:lnTo>
                  <a:lnTo>
                    <a:pt x="137" y="326"/>
                  </a:lnTo>
                  <a:lnTo>
                    <a:pt x="137" y="326"/>
                  </a:lnTo>
                  <a:lnTo>
                    <a:pt x="139" y="328"/>
                  </a:lnTo>
                  <a:lnTo>
                    <a:pt x="141" y="330"/>
                  </a:lnTo>
                  <a:lnTo>
                    <a:pt x="143" y="332"/>
                  </a:lnTo>
                  <a:lnTo>
                    <a:pt x="143" y="332"/>
                  </a:lnTo>
                  <a:lnTo>
                    <a:pt x="145" y="334"/>
                  </a:lnTo>
                  <a:lnTo>
                    <a:pt x="147" y="336"/>
                  </a:lnTo>
                  <a:lnTo>
                    <a:pt x="149" y="340"/>
                  </a:lnTo>
                  <a:lnTo>
                    <a:pt x="149" y="344"/>
                  </a:lnTo>
                  <a:lnTo>
                    <a:pt x="149" y="344"/>
                  </a:lnTo>
                  <a:lnTo>
                    <a:pt x="149" y="345"/>
                  </a:lnTo>
                  <a:lnTo>
                    <a:pt x="147" y="347"/>
                  </a:lnTo>
                  <a:lnTo>
                    <a:pt x="147" y="349"/>
                  </a:lnTo>
                  <a:lnTo>
                    <a:pt x="147" y="351"/>
                  </a:lnTo>
                  <a:lnTo>
                    <a:pt x="145" y="355"/>
                  </a:lnTo>
                  <a:lnTo>
                    <a:pt x="145" y="357"/>
                  </a:lnTo>
                  <a:lnTo>
                    <a:pt x="143" y="359"/>
                  </a:lnTo>
                  <a:lnTo>
                    <a:pt x="143" y="363"/>
                  </a:lnTo>
                  <a:lnTo>
                    <a:pt x="143" y="363"/>
                  </a:lnTo>
                  <a:lnTo>
                    <a:pt x="143" y="365"/>
                  </a:lnTo>
                  <a:lnTo>
                    <a:pt x="145" y="368"/>
                  </a:lnTo>
                  <a:lnTo>
                    <a:pt x="147" y="372"/>
                  </a:lnTo>
                  <a:lnTo>
                    <a:pt x="149" y="376"/>
                  </a:lnTo>
                  <a:lnTo>
                    <a:pt x="151" y="378"/>
                  </a:lnTo>
                  <a:lnTo>
                    <a:pt x="155" y="380"/>
                  </a:lnTo>
                  <a:lnTo>
                    <a:pt x="158" y="382"/>
                  </a:lnTo>
                  <a:lnTo>
                    <a:pt x="162" y="382"/>
                  </a:lnTo>
                  <a:lnTo>
                    <a:pt x="162" y="382"/>
                  </a:lnTo>
                  <a:lnTo>
                    <a:pt x="162" y="380"/>
                  </a:lnTo>
                  <a:lnTo>
                    <a:pt x="162" y="378"/>
                  </a:lnTo>
                  <a:lnTo>
                    <a:pt x="162" y="376"/>
                  </a:lnTo>
                  <a:lnTo>
                    <a:pt x="162" y="374"/>
                  </a:lnTo>
                  <a:lnTo>
                    <a:pt x="164" y="372"/>
                  </a:lnTo>
                  <a:lnTo>
                    <a:pt x="164" y="370"/>
                  </a:lnTo>
                  <a:lnTo>
                    <a:pt x="166" y="368"/>
                  </a:lnTo>
                  <a:lnTo>
                    <a:pt x="168" y="366"/>
                  </a:lnTo>
                  <a:lnTo>
                    <a:pt x="168" y="366"/>
                  </a:lnTo>
                  <a:lnTo>
                    <a:pt x="170" y="368"/>
                  </a:lnTo>
                  <a:lnTo>
                    <a:pt x="174" y="370"/>
                  </a:lnTo>
                  <a:lnTo>
                    <a:pt x="176" y="372"/>
                  </a:lnTo>
                  <a:lnTo>
                    <a:pt x="179" y="374"/>
                  </a:lnTo>
                  <a:lnTo>
                    <a:pt x="181" y="376"/>
                  </a:lnTo>
                  <a:lnTo>
                    <a:pt x="185" y="378"/>
                  </a:lnTo>
                  <a:lnTo>
                    <a:pt x="187" y="380"/>
                  </a:lnTo>
                  <a:lnTo>
                    <a:pt x="191" y="380"/>
                  </a:lnTo>
                  <a:lnTo>
                    <a:pt x="191" y="380"/>
                  </a:lnTo>
                  <a:lnTo>
                    <a:pt x="189" y="378"/>
                  </a:lnTo>
                  <a:lnTo>
                    <a:pt x="187" y="376"/>
                  </a:lnTo>
                  <a:lnTo>
                    <a:pt x="187" y="374"/>
                  </a:lnTo>
                  <a:lnTo>
                    <a:pt x="189" y="372"/>
                  </a:lnTo>
                  <a:lnTo>
                    <a:pt x="189" y="370"/>
                  </a:lnTo>
                  <a:lnTo>
                    <a:pt x="189" y="368"/>
                  </a:lnTo>
                  <a:lnTo>
                    <a:pt x="191" y="366"/>
                  </a:lnTo>
                  <a:lnTo>
                    <a:pt x="191" y="363"/>
                  </a:lnTo>
                  <a:lnTo>
                    <a:pt x="191" y="363"/>
                  </a:lnTo>
                  <a:lnTo>
                    <a:pt x="189" y="37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7" name="Freeform 21"/>
            <p:cNvSpPr>
              <a:spLocks/>
            </p:cNvSpPr>
            <p:nvPr/>
          </p:nvSpPr>
          <p:spPr bwMode="gray">
            <a:xfrm>
              <a:off x="2908" y="2809"/>
              <a:ext cx="475" cy="729"/>
            </a:xfrm>
            <a:custGeom>
              <a:avLst/>
              <a:gdLst/>
              <a:ahLst/>
              <a:cxnLst>
                <a:cxn ang="0">
                  <a:pos x="437" y="380"/>
                </a:cxn>
                <a:cxn ang="0">
                  <a:pos x="431" y="435"/>
                </a:cxn>
                <a:cxn ang="0">
                  <a:pos x="416" y="460"/>
                </a:cxn>
                <a:cxn ang="0">
                  <a:pos x="378" y="489"/>
                </a:cxn>
                <a:cxn ang="0">
                  <a:pos x="378" y="510"/>
                </a:cxn>
                <a:cxn ang="0">
                  <a:pos x="341" y="487"/>
                </a:cxn>
                <a:cxn ang="0">
                  <a:pos x="341" y="422"/>
                </a:cxn>
                <a:cxn ang="0">
                  <a:pos x="347" y="357"/>
                </a:cxn>
                <a:cxn ang="0">
                  <a:pos x="290" y="338"/>
                </a:cxn>
                <a:cxn ang="0">
                  <a:pos x="248" y="298"/>
                </a:cxn>
                <a:cxn ang="0">
                  <a:pos x="153" y="330"/>
                </a:cxn>
                <a:cxn ang="0">
                  <a:pos x="86" y="349"/>
                </a:cxn>
                <a:cxn ang="0">
                  <a:pos x="32" y="369"/>
                </a:cxn>
                <a:cxn ang="0">
                  <a:pos x="4" y="405"/>
                </a:cxn>
                <a:cxn ang="0">
                  <a:pos x="8" y="430"/>
                </a:cxn>
                <a:cxn ang="0">
                  <a:pos x="101" y="491"/>
                </a:cxn>
                <a:cxn ang="0">
                  <a:pos x="206" y="563"/>
                </a:cxn>
                <a:cxn ang="0">
                  <a:pos x="187" y="664"/>
                </a:cxn>
                <a:cxn ang="0">
                  <a:pos x="189" y="748"/>
                </a:cxn>
                <a:cxn ang="0">
                  <a:pos x="172" y="804"/>
                </a:cxn>
                <a:cxn ang="0">
                  <a:pos x="143" y="857"/>
                </a:cxn>
                <a:cxn ang="0">
                  <a:pos x="107" y="914"/>
                </a:cxn>
                <a:cxn ang="0">
                  <a:pos x="50" y="966"/>
                </a:cxn>
                <a:cxn ang="0">
                  <a:pos x="65" y="1052"/>
                </a:cxn>
                <a:cxn ang="0">
                  <a:pos x="88" y="1114"/>
                </a:cxn>
                <a:cxn ang="0">
                  <a:pos x="88" y="1164"/>
                </a:cxn>
                <a:cxn ang="0">
                  <a:pos x="76" y="1246"/>
                </a:cxn>
                <a:cxn ang="0">
                  <a:pos x="84" y="1275"/>
                </a:cxn>
                <a:cxn ang="0">
                  <a:pos x="118" y="1326"/>
                </a:cxn>
                <a:cxn ang="0">
                  <a:pos x="151" y="1273"/>
                </a:cxn>
                <a:cxn ang="0">
                  <a:pos x="158" y="1227"/>
                </a:cxn>
                <a:cxn ang="0">
                  <a:pos x="216" y="1189"/>
                </a:cxn>
                <a:cxn ang="0">
                  <a:pos x="284" y="1168"/>
                </a:cxn>
                <a:cxn ang="0">
                  <a:pos x="351" y="1126"/>
                </a:cxn>
                <a:cxn ang="0">
                  <a:pos x="361" y="1073"/>
                </a:cxn>
                <a:cxn ang="0">
                  <a:pos x="370" y="1013"/>
                </a:cxn>
                <a:cxn ang="0">
                  <a:pos x="376" y="977"/>
                </a:cxn>
                <a:cxn ang="0">
                  <a:pos x="357" y="903"/>
                </a:cxn>
                <a:cxn ang="0">
                  <a:pos x="334" y="830"/>
                </a:cxn>
                <a:cxn ang="0">
                  <a:pos x="345" y="773"/>
                </a:cxn>
                <a:cxn ang="0">
                  <a:pos x="422" y="718"/>
                </a:cxn>
                <a:cxn ang="0">
                  <a:pos x="502" y="657"/>
                </a:cxn>
                <a:cxn ang="0">
                  <a:pos x="582" y="586"/>
                </a:cxn>
                <a:cxn ang="0">
                  <a:pos x="692" y="538"/>
                </a:cxn>
                <a:cxn ang="0">
                  <a:pos x="757" y="485"/>
                </a:cxn>
                <a:cxn ang="0">
                  <a:pos x="811" y="426"/>
                </a:cxn>
                <a:cxn ang="0">
                  <a:pos x="837" y="357"/>
                </a:cxn>
                <a:cxn ang="0">
                  <a:pos x="824" y="308"/>
                </a:cxn>
                <a:cxn ang="0">
                  <a:pos x="824" y="260"/>
                </a:cxn>
                <a:cxn ang="0">
                  <a:pos x="826" y="210"/>
                </a:cxn>
                <a:cxn ang="0">
                  <a:pos x="816" y="147"/>
                </a:cxn>
                <a:cxn ang="0">
                  <a:pos x="822" y="92"/>
                </a:cxn>
                <a:cxn ang="0">
                  <a:pos x="818" y="19"/>
                </a:cxn>
                <a:cxn ang="0">
                  <a:pos x="765" y="39"/>
                </a:cxn>
                <a:cxn ang="0">
                  <a:pos x="658" y="73"/>
                </a:cxn>
                <a:cxn ang="0">
                  <a:pos x="610" y="79"/>
                </a:cxn>
                <a:cxn ang="0">
                  <a:pos x="544" y="105"/>
                </a:cxn>
                <a:cxn ang="0">
                  <a:pos x="479" y="94"/>
                </a:cxn>
                <a:cxn ang="0">
                  <a:pos x="435" y="86"/>
                </a:cxn>
                <a:cxn ang="0">
                  <a:pos x="383" y="103"/>
                </a:cxn>
                <a:cxn ang="0">
                  <a:pos x="382" y="136"/>
                </a:cxn>
                <a:cxn ang="0">
                  <a:pos x="368" y="193"/>
                </a:cxn>
                <a:cxn ang="0">
                  <a:pos x="395" y="306"/>
                </a:cxn>
              </a:cxnLst>
              <a:rect l="0" t="0" r="r" b="b"/>
              <a:pathLst>
                <a:path w="837" h="1326">
                  <a:moveTo>
                    <a:pt x="393" y="321"/>
                  </a:moveTo>
                  <a:lnTo>
                    <a:pt x="393" y="321"/>
                  </a:lnTo>
                  <a:lnTo>
                    <a:pt x="401" y="325"/>
                  </a:lnTo>
                  <a:lnTo>
                    <a:pt x="406" y="328"/>
                  </a:lnTo>
                  <a:lnTo>
                    <a:pt x="414" y="336"/>
                  </a:lnTo>
                  <a:lnTo>
                    <a:pt x="422" y="344"/>
                  </a:lnTo>
                  <a:lnTo>
                    <a:pt x="427" y="353"/>
                  </a:lnTo>
                  <a:lnTo>
                    <a:pt x="431" y="361"/>
                  </a:lnTo>
                  <a:lnTo>
                    <a:pt x="435" y="370"/>
                  </a:lnTo>
                  <a:lnTo>
                    <a:pt x="437" y="378"/>
                  </a:lnTo>
                  <a:lnTo>
                    <a:pt x="437" y="378"/>
                  </a:lnTo>
                  <a:lnTo>
                    <a:pt x="437" y="380"/>
                  </a:lnTo>
                  <a:lnTo>
                    <a:pt x="435" y="382"/>
                  </a:lnTo>
                  <a:lnTo>
                    <a:pt x="433" y="382"/>
                  </a:lnTo>
                  <a:lnTo>
                    <a:pt x="431" y="384"/>
                  </a:lnTo>
                  <a:lnTo>
                    <a:pt x="429" y="386"/>
                  </a:lnTo>
                  <a:lnTo>
                    <a:pt x="429" y="388"/>
                  </a:lnTo>
                  <a:lnTo>
                    <a:pt x="427" y="390"/>
                  </a:lnTo>
                  <a:lnTo>
                    <a:pt x="427" y="391"/>
                  </a:lnTo>
                  <a:lnTo>
                    <a:pt x="431" y="426"/>
                  </a:lnTo>
                  <a:lnTo>
                    <a:pt x="431" y="426"/>
                  </a:lnTo>
                  <a:lnTo>
                    <a:pt x="431" y="430"/>
                  </a:lnTo>
                  <a:lnTo>
                    <a:pt x="431" y="433"/>
                  </a:lnTo>
                  <a:lnTo>
                    <a:pt x="431" y="435"/>
                  </a:lnTo>
                  <a:lnTo>
                    <a:pt x="431" y="439"/>
                  </a:lnTo>
                  <a:lnTo>
                    <a:pt x="431" y="443"/>
                  </a:lnTo>
                  <a:lnTo>
                    <a:pt x="431" y="447"/>
                  </a:lnTo>
                  <a:lnTo>
                    <a:pt x="431" y="451"/>
                  </a:lnTo>
                  <a:lnTo>
                    <a:pt x="429" y="454"/>
                  </a:lnTo>
                  <a:lnTo>
                    <a:pt x="429" y="454"/>
                  </a:lnTo>
                  <a:lnTo>
                    <a:pt x="427" y="456"/>
                  </a:lnTo>
                  <a:lnTo>
                    <a:pt x="425" y="458"/>
                  </a:lnTo>
                  <a:lnTo>
                    <a:pt x="424" y="460"/>
                  </a:lnTo>
                  <a:lnTo>
                    <a:pt x="422" y="460"/>
                  </a:lnTo>
                  <a:lnTo>
                    <a:pt x="418" y="460"/>
                  </a:lnTo>
                  <a:lnTo>
                    <a:pt x="416" y="460"/>
                  </a:lnTo>
                  <a:lnTo>
                    <a:pt x="412" y="460"/>
                  </a:lnTo>
                  <a:lnTo>
                    <a:pt x="408" y="460"/>
                  </a:lnTo>
                  <a:lnTo>
                    <a:pt x="408" y="460"/>
                  </a:lnTo>
                  <a:lnTo>
                    <a:pt x="406" y="460"/>
                  </a:lnTo>
                  <a:lnTo>
                    <a:pt x="403" y="464"/>
                  </a:lnTo>
                  <a:lnTo>
                    <a:pt x="399" y="468"/>
                  </a:lnTo>
                  <a:lnTo>
                    <a:pt x="393" y="472"/>
                  </a:lnTo>
                  <a:lnTo>
                    <a:pt x="387" y="475"/>
                  </a:lnTo>
                  <a:lnTo>
                    <a:pt x="382" y="481"/>
                  </a:lnTo>
                  <a:lnTo>
                    <a:pt x="378" y="485"/>
                  </a:lnTo>
                  <a:lnTo>
                    <a:pt x="378" y="489"/>
                  </a:lnTo>
                  <a:lnTo>
                    <a:pt x="378" y="489"/>
                  </a:lnTo>
                  <a:lnTo>
                    <a:pt x="378" y="491"/>
                  </a:lnTo>
                  <a:lnTo>
                    <a:pt x="378" y="493"/>
                  </a:lnTo>
                  <a:lnTo>
                    <a:pt x="380" y="494"/>
                  </a:lnTo>
                  <a:lnTo>
                    <a:pt x="382" y="496"/>
                  </a:lnTo>
                  <a:lnTo>
                    <a:pt x="382" y="496"/>
                  </a:lnTo>
                  <a:lnTo>
                    <a:pt x="382" y="498"/>
                  </a:lnTo>
                  <a:lnTo>
                    <a:pt x="380" y="500"/>
                  </a:lnTo>
                  <a:lnTo>
                    <a:pt x="380" y="502"/>
                  </a:lnTo>
                  <a:lnTo>
                    <a:pt x="378" y="504"/>
                  </a:lnTo>
                  <a:lnTo>
                    <a:pt x="378" y="506"/>
                  </a:lnTo>
                  <a:lnTo>
                    <a:pt x="378" y="508"/>
                  </a:lnTo>
                  <a:lnTo>
                    <a:pt x="378" y="510"/>
                  </a:lnTo>
                  <a:lnTo>
                    <a:pt x="378" y="512"/>
                  </a:lnTo>
                  <a:lnTo>
                    <a:pt x="378" y="512"/>
                  </a:lnTo>
                  <a:lnTo>
                    <a:pt x="378" y="515"/>
                  </a:lnTo>
                  <a:lnTo>
                    <a:pt x="378" y="517"/>
                  </a:lnTo>
                  <a:lnTo>
                    <a:pt x="378" y="521"/>
                  </a:lnTo>
                  <a:lnTo>
                    <a:pt x="378" y="523"/>
                  </a:lnTo>
                  <a:lnTo>
                    <a:pt x="378" y="523"/>
                  </a:lnTo>
                  <a:lnTo>
                    <a:pt x="372" y="519"/>
                  </a:lnTo>
                  <a:lnTo>
                    <a:pt x="364" y="515"/>
                  </a:lnTo>
                  <a:lnTo>
                    <a:pt x="357" y="506"/>
                  </a:lnTo>
                  <a:lnTo>
                    <a:pt x="349" y="496"/>
                  </a:lnTo>
                  <a:lnTo>
                    <a:pt x="341" y="487"/>
                  </a:lnTo>
                  <a:lnTo>
                    <a:pt x="336" y="475"/>
                  </a:lnTo>
                  <a:lnTo>
                    <a:pt x="332" y="466"/>
                  </a:lnTo>
                  <a:lnTo>
                    <a:pt x="330" y="458"/>
                  </a:lnTo>
                  <a:lnTo>
                    <a:pt x="330" y="458"/>
                  </a:lnTo>
                  <a:lnTo>
                    <a:pt x="330" y="454"/>
                  </a:lnTo>
                  <a:lnTo>
                    <a:pt x="330" y="449"/>
                  </a:lnTo>
                  <a:lnTo>
                    <a:pt x="332" y="445"/>
                  </a:lnTo>
                  <a:lnTo>
                    <a:pt x="334" y="441"/>
                  </a:lnTo>
                  <a:lnTo>
                    <a:pt x="336" y="435"/>
                  </a:lnTo>
                  <a:lnTo>
                    <a:pt x="338" y="432"/>
                  </a:lnTo>
                  <a:lnTo>
                    <a:pt x="340" y="428"/>
                  </a:lnTo>
                  <a:lnTo>
                    <a:pt x="341" y="422"/>
                  </a:lnTo>
                  <a:lnTo>
                    <a:pt x="343" y="418"/>
                  </a:lnTo>
                  <a:lnTo>
                    <a:pt x="347" y="414"/>
                  </a:lnTo>
                  <a:lnTo>
                    <a:pt x="349" y="411"/>
                  </a:lnTo>
                  <a:lnTo>
                    <a:pt x="351" y="405"/>
                  </a:lnTo>
                  <a:lnTo>
                    <a:pt x="351" y="401"/>
                  </a:lnTo>
                  <a:lnTo>
                    <a:pt x="353" y="395"/>
                  </a:lnTo>
                  <a:lnTo>
                    <a:pt x="353" y="391"/>
                  </a:lnTo>
                  <a:lnTo>
                    <a:pt x="353" y="386"/>
                  </a:lnTo>
                  <a:lnTo>
                    <a:pt x="353" y="386"/>
                  </a:lnTo>
                  <a:lnTo>
                    <a:pt x="353" y="376"/>
                  </a:lnTo>
                  <a:lnTo>
                    <a:pt x="351" y="367"/>
                  </a:lnTo>
                  <a:lnTo>
                    <a:pt x="347" y="357"/>
                  </a:lnTo>
                  <a:lnTo>
                    <a:pt x="343" y="346"/>
                  </a:lnTo>
                  <a:lnTo>
                    <a:pt x="338" y="338"/>
                  </a:lnTo>
                  <a:lnTo>
                    <a:pt x="330" y="330"/>
                  </a:lnTo>
                  <a:lnTo>
                    <a:pt x="322" y="325"/>
                  </a:lnTo>
                  <a:lnTo>
                    <a:pt x="315" y="323"/>
                  </a:lnTo>
                  <a:lnTo>
                    <a:pt x="315" y="323"/>
                  </a:lnTo>
                  <a:lnTo>
                    <a:pt x="309" y="325"/>
                  </a:lnTo>
                  <a:lnTo>
                    <a:pt x="305" y="327"/>
                  </a:lnTo>
                  <a:lnTo>
                    <a:pt x="301" y="328"/>
                  </a:lnTo>
                  <a:lnTo>
                    <a:pt x="298" y="332"/>
                  </a:lnTo>
                  <a:lnTo>
                    <a:pt x="294" y="334"/>
                  </a:lnTo>
                  <a:lnTo>
                    <a:pt x="290" y="338"/>
                  </a:lnTo>
                  <a:lnTo>
                    <a:pt x="286" y="340"/>
                  </a:lnTo>
                  <a:lnTo>
                    <a:pt x="282" y="340"/>
                  </a:lnTo>
                  <a:lnTo>
                    <a:pt x="282" y="340"/>
                  </a:lnTo>
                  <a:lnTo>
                    <a:pt x="277" y="338"/>
                  </a:lnTo>
                  <a:lnTo>
                    <a:pt x="273" y="334"/>
                  </a:lnTo>
                  <a:lnTo>
                    <a:pt x="267" y="328"/>
                  </a:lnTo>
                  <a:lnTo>
                    <a:pt x="263" y="321"/>
                  </a:lnTo>
                  <a:lnTo>
                    <a:pt x="258" y="313"/>
                  </a:lnTo>
                  <a:lnTo>
                    <a:pt x="254" y="308"/>
                  </a:lnTo>
                  <a:lnTo>
                    <a:pt x="250" y="302"/>
                  </a:lnTo>
                  <a:lnTo>
                    <a:pt x="248" y="298"/>
                  </a:lnTo>
                  <a:lnTo>
                    <a:pt x="248" y="298"/>
                  </a:lnTo>
                  <a:lnTo>
                    <a:pt x="242" y="302"/>
                  </a:lnTo>
                  <a:lnTo>
                    <a:pt x="235" y="304"/>
                  </a:lnTo>
                  <a:lnTo>
                    <a:pt x="225" y="306"/>
                  </a:lnTo>
                  <a:lnTo>
                    <a:pt x="217" y="309"/>
                  </a:lnTo>
                  <a:lnTo>
                    <a:pt x="210" y="311"/>
                  </a:lnTo>
                  <a:lnTo>
                    <a:pt x="202" y="315"/>
                  </a:lnTo>
                  <a:lnTo>
                    <a:pt x="195" y="317"/>
                  </a:lnTo>
                  <a:lnTo>
                    <a:pt x="185" y="319"/>
                  </a:lnTo>
                  <a:lnTo>
                    <a:pt x="177" y="323"/>
                  </a:lnTo>
                  <a:lnTo>
                    <a:pt x="170" y="325"/>
                  </a:lnTo>
                  <a:lnTo>
                    <a:pt x="160" y="328"/>
                  </a:lnTo>
                  <a:lnTo>
                    <a:pt x="153" y="330"/>
                  </a:lnTo>
                  <a:lnTo>
                    <a:pt x="145" y="332"/>
                  </a:lnTo>
                  <a:lnTo>
                    <a:pt x="137" y="336"/>
                  </a:lnTo>
                  <a:lnTo>
                    <a:pt x="130" y="338"/>
                  </a:lnTo>
                  <a:lnTo>
                    <a:pt x="122" y="338"/>
                  </a:lnTo>
                  <a:lnTo>
                    <a:pt x="122" y="338"/>
                  </a:lnTo>
                  <a:lnTo>
                    <a:pt x="116" y="340"/>
                  </a:lnTo>
                  <a:lnTo>
                    <a:pt x="111" y="342"/>
                  </a:lnTo>
                  <a:lnTo>
                    <a:pt x="107" y="344"/>
                  </a:lnTo>
                  <a:lnTo>
                    <a:pt x="101" y="344"/>
                  </a:lnTo>
                  <a:lnTo>
                    <a:pt x="95" y="346"/>
                  </a:lnTo>
                  <a:lnTo>
                    <a:pt x="92" y="348"/>
                  </a:lnTo>
                  <a:lnTo>
                    <a:pt x="86" y="349"/>
                  </a:lnTo>
                  <a:lnTo>
                    <a:pt x="82" y="351"/>
                  </a:lnTo>
                  <a:lnTo>
                    <a:pt x="76" y="353"/>
                  </a:lnTo>
                  <a:lnTo>
                    <a:pt x="73" y="355"/>
                  </a:lnTo>
                  <a:lnTo>
                    <a:pt x="67" y="357"/>
                  </a:lnTo>
                  <a:lnTo>
                    <a:pt x="63" y="359"/>
                  </a:lnTo>
                  <a:lnTo>
                    <a:pt x="57" y="361"/>
                  </a:lnTo>
                  <a:lnTo>
                    <a:pt x="52" y="363"/>
                  </a:lnTo>
                  <a:lnTo>
                    <a:pt x="46" y="365"/>
                  </a:lnTo>
                  <a:lnTo>
                    <a:pt x="40" y="367"/>
                  </a:lnTo>
                  <a:lnTo>
                    <a:pt x="40" y="367"/>
                  </a:lnTo>
                  <a:lnTo>
                    <a:pt x="38" y="367"/>
                  </a:lnTo>
                  <a:lnTo>
                    <a:pt x="32" y="369"/>
                  </a:lnTo>
                  <a:lnTo>
                    <a:pt x="29" y="372"/>
                  </a:lnTo>
                  <a:lnTo>
                    <a:pt x="23" y="374"/>
                  </a:lnTo>
                  <a:lnTo>
                    <a:pt x="17" y="376"/>
                  </a:lnTo>
                  <a:lnTo>
                    <a:pt x="11" y="380"/>
                  </a:lnTo>
                  <a:lnTo>
                    <a:pt x="6" y="382"/>
                  </a:lnTo>
                  <a:lnTo>
                    <a:pt x="0" y="382"/>
                  </a:lnTo>
                  <a:lnTo>
                    <a:pt x="0" y="393"/>
                  </a:lnTo>
                  <a:lnTo>
                    <a:pt x="0" y="393"/>
                  </a:lnTo>
                  <a:lnTo>
                    <a:pt x="0" y="395"/>
                  </a:lnTo>
                  <a:lnTo>
                    <a:pt x="2" y="399"/>
                  </a:lnTo>
                  <a:lnTo>
                    <a:pt x="2" y="401"/>
                  </a:lnTo>
                  <a:lnTo>
                    <a:pt x="4" y="405"/>
                  </a:lnTo>
                  <a:lnTo>
                    <a:pt x="4" y="407"/>
                  </a:lnTo>
                  <a:lnTo>
                    <a:pt x="6" y="411"/>
                  </a:lnTo>
                  <a:lnTo>
                    <a:pt x="6" y="414"/>
                  </a:lnTo>
                  <a:lnTo>
                    <a:pt x="6" y="416"/>
                  </a:lnTo>
                  <a:lnTo>
                    <a:pt x="6" y="416"/>
                  </a:lnTo>
                  <a:lnTo>
                    <a:pt x="6" y="418"/>
                  </a:lnTo>
                  <a:lnTo>
                    <a:pt x="8" y="418"/>
                  </a:lnTo>
                  <a:lnTo>
                    <a:pt x="8" y="420"/>
                  </a:lnTo>
                  <a:lnTo>
                    <a:pt x="8" y="422"/>
                  </a:lnTo>
                  <a:lnTo>
                    <a:pt x="8" y="424"/>
                  </a:lnTo>
                  <a:lnTo>
                    <a:pt x="8" y="428"/>
                  </a:lnTo>
                  <a:lnTo>
                    <a:pt x="8" y="430"/>
                  </a:lnTo>
                  <a:lnTo>
                    <a:pt x="8" y="433"/>
                  </a:lnTo>
                  <a:lnTo>
                    <a:pt x="8" y="433"/>
                  </a:lnTo>
                  <a:lnTo>
                    <a:pt x="10" y="433"/>
                  </a:lnTo>
                  <a:lnTo>
                    <a:pt x="11" y="432"/>
                  </a:lnTo>
                  <a:lnTo>
                    <a:pt x="13" y="432"/>
                  </a:lnTo>
                  <a:lnTo>
                    <a:pt x="15" y="432"/>
                  </a:lnTo>
                  <a:lnTo>
                    <a:pt x="15" y="470"/>
                  </a:lnTo>
                  <a:lnTo>
                    <a:pt x="82" y="470"/>
                  </a:lnTo>
                  <a:lnTo>
                    <a:pt x="82" y="470"/>
                  </a:lnTo>
                  <a:lnTo>
                    <a:pt x="88" y="479"/>
                  </a:lnTo>
                  <a:lnTo>
                    <a:pt x="94" y="485"/>
                  </a:lnTo>
                  <a:lnTo>
                    <a:pt x="101" y="491"/>
                  </a:lnTo>
                  <a:lnTo>
                    <a:pt x="111" y="496"/>
                  </a:lnTo>
                  <a:lnTo>
                    <a:pt x="120" y="500"/>
                  </a:lnTo>
                  <a:lnTo>
                    <a:pt x="132" y="504"/>
                  </a:lnTo>
                  <a:lnTo>
                    <a:pt x="141" y="508"/>
                  </a:lnTo>
                  <a:lnTo>
                    <a:pt x="153" y="512"/>
                  </a:lnTo>
                  <a:lnTo>
                    <a:pt x="164" y="515"/>
                  </a:lnTo>
                  <a:lnTo>
                    <a:pt x="174" y="521"/>
                  </a:lnTo>
                  <a:lnTo>
                    <a:pt x="183" y="527"/>
                  </a:lnTo>
                  <a:lnTo>
                    <a:pt x="191" y="535"/>
                  </a:lnTo>
                  <a:lnTo>
                    <a:pt x="198" y="542"/>
                  </a:lnTo>
                  <a:lnTo>
                    <a:pt x="202" y="552"/>
                  </a:lnTo>
                  <a:lnTo>
                    <a:pt x="206" y="563"/>
                  </a:lnTo>
                  <a:lnTo>
                    <a:pt x="208" y="576"/>
                  </a:lnTo>
                  <a:lnTo>
                    <a:pt x="208" y="576"/>
                  </a:lnTo>
                  <a:lnTo>
                    <a:pt x="206" y="586"/>
                  </a:lnTo>
                  <a:lnTo>
                    <a:pt x="206" y="596"/>
                  </a:lnTo>
                  <a:lnTo>
                    <a:pt x="204" y="605"/>
                  </a:lnTo>
                  <a:lnTo>
                    <a:pt x="202" y="615"/>
                  </a:lnTo>
                  <a:lnTo>
                    <a:pt x="200" y="622"/>
                  </a:lnTo>
                  <a:lnTo>
                    <a:pt x="198" y="632"/>
                  </a:lnTo>
                  <a:lnTo>
                    <a:pt x="195" y="639"/>
                  </a:lnTo>
                  <a:lnTo>
                    <a:pt x="193" y="649"/>
                  </a:lnTo>
                  <a:lnTo>
                    <a:pt x="189" y="657"/>
                  </a:lnTo>
                  <a:lnTo>
                    <a:pt x="187" y="664"/>
                  </a:lnTo>
                  <a:lnTo>
                    <a:pt x="185" y="674"/>
                  </a:lnTo>
                  <a:lnTo>
                    <a:pt x="183" y="681"/>
                  </a:lnTo>
                  <a:lnTo>
                    <a:pt x="181" y="689"/>
                  </a:lnTo>
                  <a:lnTo>
                    <a:pt x="179" y="697"/>
                  </a:lnTo>
                  <a:lnTo>
                    <a:pt x="177" y="704"/>
                  </a:lnTo>
                  <a:lnTo>
                    <a:pt x="177" y="712"/>
                  </a:lnTo>
                  <a:lnTo>
                    <a:pt x="177" y="712"/>
                  </a:lnTo>
                  <a:lnTo>
                    <a:pt x="179" y="721"/>
                  </a:lnTo>
                  <a:lnTo>
                    <a:pt x="179" y="729"/>
                  </a:lnTo>
                  <a:lnTo>
                    <a:pt x="183" y="737"/>
                  </a:lnTo>
                  <a:lnTo>
                    <a:pt x="185" y="742"/>
                  </a:lnTo>
                  <a:lnTo>
                    <a:pt x="189" y="748"/>
                  </a:lnTo>
                  <a:lnTo>
                    <a:pt x="191" y="754"/>
                  </a:lnTo>
                  <a:lnTo>
                    <a:pt x="193" y="762"/>
                  </a:lnTo>
                  <a:lnTo>
                    <a:pt x="193" y="767"/>
                  </a:lnTo>
                  <a:lnTo>
                    <a:pt x="193" y="767"/>
                  </a:lnTo>
                  <a:lnTo>
                    <a:pt x="193" y="771"/>
                  </a:lnTo>
                  <a:lnTo>
                    <a:pt x="191" y="777"/>
                  </a:lnTo>
                  <a:lnTo>
                    <a:pt x="189" y="781"/>
                  </a:lnTo>
                  <a:lnTo>
                    <a:pt x="187" y="786"/>
                  </a:lnTo>
                  <a:lnTo>
                    <a:pt x="183" y="790"/>
                  </a:lnTo>
                  <a:lnTo>
                    <a:pt x="179" y="796"/>
                  </a:lnTo>
                  <a:lnTo>
                    <a:pt x="176" y="800"/>
                  </a:lnTo>
                  <a:lnTo>
                    <a:pt x="172" y="804"/>
                  </a:lnTo>
                  <a:lnTo>
                    <a:pt x="168" y="809"/>
                  </a:lnTo>
                  <a:lnTo>
                    <a:pt x="164" y="813"/>
                  </a:lnTo>
                  <a:lnTo>
                    <a:pt x="160" y="819"/>
                  </a:lnTo>
                  <a:lnTo>
                    <a:pt x="156" y="823"/>
                  </a:lnTo>
                  <a:lnTo>
                    <a:pt x="153" y="826"/>
                  </a:lnTo>
                  <a:lnTo>
                    <a:pt x="151" y="830"/>
                  </a:lnTo>
                  <a:lnTo>
                    <a:pt x="147" y="836"/>
                  </a:lnTo>
                  <a:lnTo>
                    <a:pt x="145" y="840"/>
                  </a:lnTo>
                  <a:lnTo>
                    <a:pt x="145" y="840"/>
                  </a:lnTo>
                  <a:lnTo>
                    <a:pt x="145" y="845"/>
                  </a:lnTo>
                  <a:lnTo>
                    <a:pt x="143" y="851"/>
                  </a:lnTo>
                  <a:lnTo>
                    <a:pt x="143" y="857"/>
                  </a:lnTo>
                  <a:lnTo>
                    <a:pt x="143" y="863"/>
                  </a:lnTo>
                  <a:lnTo>
                    <a:pt x="141" y="868"/>
                  </a:lnTo>
                  <a:lnTo>
                    <a:pt x="141" y="874"/>
                  </a:lnTo>
                  <a:lnTo>
                    <a:pt x="139" y="878"/>
                  </a:lnTo>
                  <a:lnTo>
                    <a:pt x="135" y="884"/>
                  </a:lnTo>
                  <a:lnTo>
                    <a:pt x="135" y="884"/>
                  </a:lnTo>
                  <a:lnTo>
                    <a:pt x="134" y="886"/>
                  </a:lnTo>
                  <a:lnTo>
                    <a:pt x="130" y="889"/>
                  </a:lnTo>
                  <a:lnTo>
                    <a:pt x="126" y="895"/>
                  </a:lnTo>
                  <a:lnTo>
                    <a:pt x="120" y="901"/>
                  </a:lnTo>
                  <a:lnTo>
                    <a:pt x="114" y="907"/>
                  </a:lnTo>
                  <a:lnTo>
                    <a:pt x="107" y="914"/>
                  </a:lnTo>
                  <a:lnTo>
                    <a:pt x="99" y="922"/>
                  </a:lnTo>
                  <a:lnTo>
                    <a:pt x="92" y="929"/>
                  </a:lnTo>
                  <a:lnTo>
                    <a:pt x="84" y="935"/>
                  </a:lnTo>
                  <a:lnTo>
                    <a:pt x="76" y="943"/>
                  </a:lnTo>
                  <a:lnTo>
                    <a:pt x="69" y="949"/>
                  </a:lnTo>
                  <a:lnTo>
                    <a:pt x="63" y="954"/>
                  </a:lnTo>
                  <a:lnTo>
                    <a:pt x="57" y="960"/>
                  </a:lnTo>
                  <a:lnTo>
                    <a:pt x="53" y="964"/>
                  </a:lnTo>
                  <a:lnTo>
                    <a:pt x="50" y="966"/>
                  </a:lnTo>
                  <a:lnTo>
                    <a:pt x="48" y="966"/>
                  </a:lnTo>
                  <a:lnTo>
                    <a:pt x="50" y="966"/>
                  </a:lnTo>
                  <a:lnTo>
                    <a:pt x="50" y="966"/>
                  </a:lnTo>
                  <a:lnTo>
                    <a:pt x="50" y="973"/>
                  </a:lnTo>
                  <a:lnTo>
                    <a:pt x="50" y="983"/>
                  </a:lnTo>
                  <a:lnTo>
                    <a:pt x="52" y="990"/>
                  </a:lnTo>
                  <a:lnTo>
                    <a:pt x="53" y="998"/>
                  </a:lnTo>
                  <a:lnTo>
                    <a:pt x="55" y="1008"/>
                  </a:lnTo>
                  <a:lnTo>
                    <a:pt x="57" y="1015"/>
                  </a:lnTo>
                  <a:lnTo>
                    <a:pt x="59" y="1023"/>
                  </a:lnTo>
                  <a:lnTo>
                    <a:pt x="61" y="1032"/>
                  </a:lnTo>
                  <a:lnTo>
                    <a:pt x="61" y="1044"/>
                  </a:lnTo>
                  <a:lnTo>
                    <a:pt x="61" y="1044"/>
                  </a:lnTo>
                  <a:lnTo>
                    <a:pt x="63" y="1048"/>
                  </a:lnTo>
                  <a:lnTo>
                    <a:pt x="65" y="1052"/>
                  </a:lnTo>
                  <a:lnTo>
                    <a:pt x="67" y="1057"/>
                  </a:lnTo>
                  <a:lnTo>
                    <a:pt x="71" y="1061"/>
                  </a:lnTo>
                  <a:lnTo>
                    <a:pt x="73" y="1065"/>
                  </a:lnTo>
                  <a:lnTo>
                    <a:pt x="74" y="1071"/>
                  </a:lnTo>
                  <a:lnTo>
                    <a:pt x="76" y="1074"/>
                  </a:lnTo>
                  <a:lnTo>
                    <a:pt x="78" y="1080"/>
                  </a:lnTo>
                  <a:lnTo>
                    <a:pt x="80" y="1086"/>
                  </a:lnTo>
                  <a:lnTo>
                    <a:pt x="82" y="1092"/>
                  </a:lnTo>
                  <a:lnTo>
                    <a:pt x="84" y="1097"/>
                  </a:lnTo>
                  <a:lnTo>
                    <a:pt x="86" y="1103"/>
                  </a:lnTo>
                  <a:lnTo>
                    <a:pt x="86" y="1109"/>
                  </a:lnTo>
                  <a:lnTo>
                    <a:pt x="88" y="1114"/>
                  </a:lnTo>
                  <a:lnTo>
                    <a:pt x="88" y="1120"/>
                  </a:lnTo>
                  <a:lnTo>
                    <a:pt x="88" y="1126"/>
                  </a:lnTo>
                  <a:lnTo>
                    <a:pt x="88" y="1126"/>
                  </a:lnTo>
                  <a:lnTo>
                    <a:pt x="88" y="1130"/>
                  </a:lnTo>
                  <a:lnTo>
                    <a:pt x="88" y="1134"/>
                  </a:lnTo>
                  <a:lnTo>
                    <a:pt x="88" y="1137"/>
                  </a:lnTo>
                  <a:lnTo>
                    <a:pt x="88" y="1141"/>
                  </a:lnTo>
                  <a:lnTo>
                    <a:pt x="88" y="1145"/>
                  </a:lnTo>
                  <a:lnTo>
                    <a:pt x="88" y="1151"/>
                  </a:lnTo>
                  <a:lnTo>
                    <a:pt x="88" y="1155"/>
                  </a:lnTo>
                  <a:lnTo>
                    <a:pt x="88" y="1158"/>
                  </a:lnTo>
                  <a:lnTo>
                    <a:pt x="88" y="1164"/>
                  </a:lnTo>
                  <a:lnTo>
                    <a:pt x="86" y="1168"/>
                  </a:lnTo>
                  <a:lnTo>
                    <a:pt x="86" y="1172"/>
                  </a:lnTo>
                  <a:lnTo>
                    <a:pt x="86" y="1177"/>
                  </a:lnTo>
                  <a:lnTo>
                    <a:pt x="84" y="1181"/>
                  </a:lnTo>
                  <a:lnTo>
                    <a:pt x="84" y="1185"/>
                  </a:lnTo>
                  <a:lnTo>
                    <a:pt x="82" y="1189"/>
                  </a:lnTo>
                  <a:lnTo>
                    <a:pt x="80" y="1193"/>
                  </a:lnTo>
                  <a:lnTo>
                    <a:pt x="80" y="1233"/>
                  </a:lnTo>
                  <a:lnTo>
                    <a:pt x="74" y="1240"/>
                  </a:lnTo>
                  <a:lnTo>
                    <a:pt x="74" y="1240"/>
                  </a:lnTo>
                  <a:lnTo>
                    <a:pt x="76" y="1244"/>
                  </a:lnTo>
                  <a:lnTo>
                    <a:pt x="76" y="1246"/>
                  </a:lnTo>
                  <a:lnTo>
                    <a:pt x="78" y="1250"/>
                  </a:lnTo>
                  <a:lnTo>
                    <a:pt x="80" y="1252"/>
                  </a:lnTo>
                  <a:lnTo>
                    <a:pt x="82" y="1256"/>
                  </a:lnTo>
                  <a:lnTo>
                    <a:pt x="82" y="1258"/>
                  </a:lnTo>
                  <a:lnTo>
                    <a:pt x="84" y="1261"/>
                  </a:lnTo>
                  <a:lnTo>
                    <a:pt x="84" y="1263"/>
                  </a:lnTo>
                  <a:lnTo>
                    <a:pt x="84" y="1263"/>
                  </a:lnTo>
                  <a:lnTo>
                    <a:pt x="84" y="1265"/>
                  </a:lnTo>
                  <a:lnTo>
                    <a:pt x="84" y="1267"/>
                  </a:lnTo>
                  <a:lnTo>
                    <a:pt x="84" y="1269"/>
                  </a:lnTo>
                  <a:lnTo>
                    <a:pt x="84" y="1273"/>
                  </a:lnTo>
                  <a:lnTo>
                    <a:pt x="84" y="1275"/>
                  </a:lnTo>
                  <a:lnTo>
                    <a:pt x="84" y="1279"/>
                  </a:lnTo>
                  <a:lnTo>
                    <a:pt x="84" y="1280"/>
                  </a:lnTo>
                  <a:lnTo>
                    <a:pt x="84" y="1284"/>
                  </a:lnTo>
                  <a:lnTo>
                    <a:pt x="84" y="1284"/>
                  </a:lnTo>
                  <a:lnTo>
                    <a:pt x="84" y="1294"/>
                  </a:lnTo>
                  <a:lnTo>
                    <a:pt x="86" y="1301"/>
                  </a:lnTo>
                  <a:lnTo>
                    <a:pt x="88" y="1309"/>
                  </a:lnTo>
                  <a:lnTo>
                    <a:pt x="90" y="1315"/>
                  </a:lnTo>
                  <a:lnTo>
                    <a:pt x="95" y="1321"/>
                  </a:lnTo>
                  <a:lnTo>
                    <a:pt x="101" y="1324"/>
                  </a:lnTo>
                  <a:lnTo>
                    <a:pt x="109" y="1326"/>
                  </a:lnTo>
                  <a:lnTo>
                    <a:pt x="118" y="1326"/>
                  </a:lnTo>
                  <a:lnTo>
                    <a:pt x="118" y="1326"/>
                  </a:lnTo>
                  <a:lnTo>
                    <a:pt x="130" y="1326"/>
                  </a:lnTo>
                  <a:lnTo>
                    <a:pt x="139" y="1322"/>
                  </a:lnTo>
                  <a:lnTo>
                    <a:pt x="145" y="1315"/>
                  </a:lnTo>
                  <a:lnTo>
                    <a:pt x="149" y="1307"/>
                  </a:lnTo>
                  <a:lnTo>
                    <a:pt x="151" y="1300"/>
                  </a:lnTo>
                  <a:lnTo>
                    <a:pt x="151" y="1290"/>
                  </a:lnTo>
                  <a:lnTo>
                    <a:pt x="155" y="1282"/>
                  </a:lnTo>
                  <a:lnTo>
                    <a:pt x="156" y="1273"/>
                  </a:lnTo>
                  <a:lnTo>
                    <a:pt x="156" y="1273"/>
                  </a:lnTo>
                  <a:lnTo>
                    <a:pt x="153" y="1273"/>
                  </a:lnTo>
                  <a:lnTo>
                    <a:pt x="151" y="1273"/>
                  </a:lnTo>
                  <a:lnTo>
                    <a:pt x="149" y="1271"/>
                  </a:lnTo>
                  <a:lnTo>
                    <a:pt x="145" y="1269"/>
                  </a:lnTo>
                  <a:lnTo>
                    <a:pt x="143" y="1267"/>
                  </a:lnTo>
                  <a:lnTo>
                    <a:pt x="141" y="1265"/>
                  </a:lnTo>
                  <a:lnTo>
                    <a:pt x="139" y="1261"/>
                  </a:lnTo>
                  <a:lnTo>
                    <a:pt x="139" y="1258"/>
                  </a:lnTo>
                  <a:lnTo>
                    <a:pt x="139" y="1258"/>
                  </a:lnTo>
                  <a:lnTo>
                    <a:pt x="141" y="1250"/>
                  </a:lnTo>
                  <a:lnTo>
                    <a:pt x="143" y="1242"/>
                  </a:lnTo>
                  <a:lnTo>
                    <a:pt x="147" y="1237"/>
                  </a:lnTo>
                  <a:lnTo>
                    <a:pt x="153" y="1233"/>
                  </a:lnTo>
                  <a:lnTo>
                    <a:pt x="158" y="1227"/>
                  </a:lnTo>
                  <a:lnTo>
                    <a:pt x="164" y="1223"/>
                  </a:lnTo>
                  <a:lnTo>
                    <a:pt x="170" y="1217"/>
                  </a:lnTo>
                  <a:lnTo>
                    <a:pt x="176" y="1214"/>
                  </a:lnTo>
                  <a:lnTo>
                    <a:pt x="176" y="1214"/>
                  </a:lnTo>
                  <a:lnTo>
                    <a:pt x="181" y="1210"/>
                  </a:lnTo>
                  <a:lnTo>
                    <a:pt x="185" y="1206"/>
                  </a:lnTo>
                  <a:lnTo>
                    <a:pt x="191" y="1202"/>
                  </a:lnTo>
                  <a:lnTo>
                    <a:pt x="195" y="1198"/>
                  </a:lnTo>
                  <a:lnTo>
                    <a:pt x="200" y="1197"/>
                  </a:lnTo>
                  <a:lnTo>
                    <a:pt x="204" y="1193"/>
                  </a:lnTo>
                  <a:lnTo>
                    <a:pt x="210" y="1191"/>
                  </a:lnTo>
                  <a:lnTo>
                    <a:pt x="216" y="1189"/>
                  </a:lnTo>
                  <a:lnTo>
                    <a:pt x="221" y="1187"/>
                  </a:lnTo>
                  <a:lnTo>
                    <a:pt x="227" y="1185"/>
                  </a:lnTo>
                  <a:lnTo>
                    <a:pt x="233" y="1183"/>
                  </a:lnTo>
                  <a:lnTo>
                    <a:pt x="238" y="1181"/>
                  </a:lnTo>
                  <a:lnTo>
                    <a:pt x="244" y="1179"/>
                  </a:lnTo>
                  <a:lnTo>
                    <a:pt x="250" y="1177"/>
                  </a:lnTo>
                  <a:lnTo>
                    <a:pt x="258" y="1176"/>
                  </a:lnTo>
                  <a:lnTo>
                    <a:pt x="263" y="1174"/>
                  </a:lnTo>
                  <a:lnTo>
                    <a:pt x="263" y="1174"/>
                  </a:lnTo>
                  <a:lnTo>
                    <a:pt x="271" y="1172"/>
                  </a:lnTo>
                  <a:lnTo>
                    <a:pt x="279" y="1170"/>
                  </a:lnTo>
                  <a:lnTo>
                    <a:pt x="284" y="1168"/>
                  </a:lnTo>
                  <a:lnTo>
                    <a:pt x="292" y="1164"/>
                  </a:lnTo>
                  <a:lnTo>
                    <a:pt x="298" y="1162"/>
                  </a:lnTo>
                  <a:lnTo>
                    <a:pt x="305" y="1160"/>
                  </a:lnTo>
                  <a:lnTo>
                    <a:pt x="311" y="1156"/>
                  </a:lnTo>
                  <a:lnTo>
                    <a:pt x="317" y="1153"/>
                  </a:lnTo>
                  <a:lnTo>
                    <a:pt x="322" y="1149"/>
                  </a:lnTo>
                  <a:lnTo>
                    <a:pt x="328" y="1147"/>
                  </a:lnTo>
                  <a:lnTo>
                    <a:pt x="334" y="1141"/>
                  </a:lnTo>
                  <a:lnTo>
                    <a:pt x="338" y="1139"/>
                  </a:lnTo>
                  <a:lnTo>
                    <a:pt x="343" y="1134"/>
                  </a:lnTo>
                  <a:lnTo>
                    <a:pt x="347" y="1130"/>
                  </a:lnTo>
                  <a:lnTo>
                    <a:pt x="351" y="1126"/>
                  </a:lnTo>
                  <a:lnTo>
                    <a:pt x="355" y="1122"/>
                  </a:lnTo>
                  <a:lnTo>
                    <a:pt x="355" y="1122"/>
                  </a:lnTo>
                  <a:lnTo>
                    <a:pt x="359" y="1116"/>
                  </a:lnTo>
                  <a:lnTo>
                    <a:pt x="361" y="1113"/>
                  </a:lnTo>
                  <a:lnTo>
                    <a:pt x="362" y="1111"/>
                  </a:lnTo>
                  <a:lnTo>
                    <a:pt x="364" y="1107"/>
                  </a:lnTo>
                  <a:lnTo>
                    <a:pt x="364" y="1101"/>
                  </a:lnTo>
                  <a:lnTo>
                    <a:pt x="364" y="1097"/>
                  </a:lnTo>
                  <a:lnTo>
                    <a:pt x="364" y="1092"/>
                  </a:lnTo>
                  <a:lnTo>
                    <a:pt x="362" y="1084"/>
                  </a:lnTo>
                  <a:lnTo>
                    <a:pt x="362" y="1084"/>
                  </a:lnTo>
                  <a:lnTo>
                    <a:pt x="361" y="1073"/>
                  </a:lnTo>
                  <a:lnTo>
                    <a:pt x="361" y="1061"/>
                  </a:lnTo>
                  <a:lnTo>
                    <a:pt x="362" y="1053"/>
                  </a:lnTo>
                  <a:lnTo>
                    <a:pt x="362" y="1048"/>
                  </a:lnTo>
                  <a:lnTo>
                    <a:pt x="366" y="1042"/>
                  </a:lnTo>
                  <a:lnTo>
                    <a:pt x="368" y="1034"/>
                  </a:lnTo>
                  <a:lnTo>
                    <a:pt x="370" y="1029"/>
                  </a:lnTo>
                  <a:lnTo>
                    <a:pt x="370" y="1021"/>
                  </a:lnTo>
                  <a:lnTo>
                    <a:pt x="370" y="1021"/>
                  </a:lnTo>
                  <a:lnTo>
                    <a:pt x="370" y="1019"/>
                  </a:lnTo>
                  <a:lnTo>
                    <a:pt x="370" y="1017"/>
                  </a:lnTo>
                  <a:lnTo>
                    <a:pt x="370" y="1017"/>
                  </a:lnTo>
                  <a:lnTo>
                    <a:pt x="370" y="1013"/>
                  </a:lnTo>
                  <a:lnTo>
                    <a:pt x="370" y="1011"/>
                  </a:lnTo>
                  <a:lnTo>
                    <a:pt x="370" y="1010"/>
                  </a:lnTo>
                  <a:lnTo>
                    <a:pt x="370" y="1008"/>
                  </a:lnTo>
                  <a:lnTo>
                    <a:pt x="370" y="1004"/>
                  </a:lnTo>
                  <a:lnTo>
                    <a:pt x="370" y="1004"/>
                  </a:lnTo>
                  <a:lnTo>
                    <a:pt x="370" y="1000"/>
                  </a:lnTo>
                  <a:lnTo>
                    <a:pt x="370" y="996"/>
                  </a:lnTo>
                  <a:lnTo>
                    <a:pt x="372" y="992"/>
                  </a:lnTo>
                  <a:lnTo>
                    <a:pt x="372" y="989"/>
                  </a:lnTo>
                  <a:lnTo>
                    <a:pt x="372" y="987"/>
                  </a:lnTo>
                  <a:lnTo>
                    <a:pt x="374" y="981"/>
                  </a:lnTo>
                  <a:lnTo>
                    <a:pt x="376" y="977"/>
                  </a:lnTo>
                  <a:lnTo>
                    <a:pt x="378" y="973"/>
                  </a:lnTo>
                  <a:lnTo>
                    <a:pt x="378" y="960"/>
                  </a:lnTo>
                  <a:lnTo>
                    <a:pt x="378" y="960"/>
                  </a:lnTo>
                  <a:lnTo>
                    <a:pt x="374" y="960"/>
                  </a:lnTo>
                  <a:lnTo>
                    <a:pt x="372" y="960"/>
                  </a:lnTo>
                  <a:lnTo>
                    <a:pt x="368" y="960"/>
                  </a:lnTo>
                  <a:lnTo>
                    <a:pt x="366" y="960"/>
                  </a:lnTo>
                  <a:lnTo>
                    <a:pt x="366" y="920"/>
                  </a:lnTo>
                  <a:lnTo>
                    <a:pt x="366" y="920"/>
                  </a:lnTo>
                  <a:lnTo>
                    <a:pt x="362" y="916"/>
                  </a:lnTo>
                  <a:lnTo>
                    <a:pt x="359" y="910"/>
                  </a:lnTo>
                  <a:lnTo>
                    <a:pt x="357" y="903"/>
                  </a:lnTo>
                  <a:lnTo>
                    <a:pt x="357" y="895"/>
                  </a:lnTo>
                  <a:lnTo>
                    <a:pt x="357" y="889"/>
                  </a:lnTo>
                  <a:lnTo>
                    <a:pt x="357" y="880"/>
                  </a:lnTo>
                  <a:lnTo>
                    <a:pt x="357" y="872"/>
                  </a:lnTo>
                  <a:lnTo>
                    <a:pt x="357" y="865"/>
                  </a:lnTo>
                  <a:lnTo>
                    <a:pt x="357" y="865"/>
                  </a:lnTo>
                  <a:lnTo>
                    <a:pt x="355" y="857"/>
                  </a:lnTo>
                  <a:lnTo>
                    <a:pt x="353" y="851"/>
                  </a:lnTo>
                  <a:lnTo>
                    <a:pt x="347" y="845"/>
                  </a:lnTo>
                  <a:lnTo>
                    <a:pt x="343" y="840"/>
                  </a:lnTo>
                  <a:lnTo>
                    <a:pt x="340" y="836"/>
                  </a:lnTo>
                  <a:lnTo>
                    <a:pt x="334" y="830"/>
                  </a:lnTo>
                  <a:lnTo>
                    <a:pt x="332" y="824"/>
                  </a:lnTo>
                  <a:lnTo>
                    <a:pt x="332" y="819"/>
                  </a:lnTo>
                  <a:lnTo>
                    <a:pt x="332" y="819"/>
                  </a:lnTo>
                  <a:lnTo>
                    <a:pt x="332" y="817"/>
                  </a:lnTo>
                  <a:lnTo>
                    <a:pt x="332" y="815"/>
                  </a:lnTo>
                  <a:lnTo>
                    <a:pt x="332" y="811"/>
                  </a:lnTo>
                  <a:lnTo>
                    <a:pt x="332" y="809"/>
                  </a:lnTo>
                  <a:lnTo>
                    <a:pt x="336" y="783"/>
                  </a:lnTo>
                  <a:lnTo>
                    <a:pt x="336" y="783"/>
                  </a:lnTo>
                  <a:lnTo>
                    <a:pt x="338" y="779"/>
                  </a:lnTo>
                  <a:lnTo>
                    <a:pt x="341" y="775"/>
                  </a:lnTo>
                  <a:lnTo>
                    <a:pt x="345" y="773"/>
                  </a:lnTo>
                  <a:lnTo>
                    <a:pt x="349" y="769"/>
                  </a:lnTo>
                  <a:lnTo>
                    <a:pt x="355" y="767"/>
                  </a:lnTo>
                  <a:lnTo>
                    <a:pt x="361" y="763"/>
                  </a:lnTo>
                  <a:lnTo>
                    <a:pt x="366" y="760"/>
                  </a:lnTo>
                  <a:lnTo>
                    <a:pt x="372" y="756"/>
                  </a:lnTo>
                  <a:lnTo>
                    <a:pt x="372" y="756"/>
                  </a:lnTo>
                  <a:lnTo>
                    <a:pt x="378" y="750"/>
                  </a:lnTo>
                  <a:lnTo>
                    <a:pt x="385" y="742"/>
                  </a:lnTo>
                  <a:lnTo>
                    <a:pt x="393" y="737"/>
                  </a:lnTo>
                  <a:lnTo>
                    <a:pt x="403" y="731"/>
                  </a:lnTo>
                  <a:lnTo>
                    <a:pt x="412" y="723"/>
                  </a:lnTo>
                  <a:lnTo>
                    <a:pt x="422" y="718"/>
                  </a:lnTo>
                  <a:lnTo>
                    <a:pt x="429" y="712"/>
                  </a:lnTo>
                  <a:lnTo>
                    <a:pt x="437" y="708"/>
                  </a:lnTo>
                  <a:lnTo>
                    <a:pt x="437" y="708"/>
                  </a:lnTo>
                  <a:lnTo>
                    <a:pt x="444" y="702"/>
                  </a:lnTo>
                  <a:lnTo>
                    <a:pt x="452" y="697"/>
                  </a:lnTo>
                  <a:lnTo>
                    <a:pt x="460" y="691"/>
                  </a:lnTo>
                  <a:lnTo>
                    <a:pt x="467" y="685"/>
                  </a:lnTo>
                  <a:lnTo>
                    <a:pt x="475" y="680"/>
                  </a:lnTo>
                  <a:lnTo>
                    <a:pt x="481" y="674"/>
                  </a:lnTo>
                  <a:lnTo>
                    <a:pt x="488" y="668"/>
                  </a:lnTo>
                  <a:lnTo>
                    <a:pt x="496" y="662"/>
                  </a:lnTo>
                  <a:lnTo>
                    <a:pt x="502" y="657"/>
                  </a:lnTo>
                  <a:lnTo>
                    <a:pt x="509" y="649"/>
                  </a:lnTo>
                  <a:lnTo>
                    <a:pt x="515" y="643"/>
                  </a:lnTo>
                  <a:lnTo>
                    <a:pt x="523" y="636"/>
                  </a:lnTo>
                  <a:lnTo>
                    <a:pt x="530" y="630"/>
                  </a:lnTo>
                  <a:lnTo>
                    <a:pt x="536" y="622"/>
                  </a:lnTo>
                  <a:lnTo>
                    <a:pt x="544" y="615"/>
                  </a:lnTo>
                  <a:lnTo>
                    <a:pt x="551" y="607"/>
                  </a:lnTo>
                  <a:lnTo>
                    <a:pt x="551" y="607"/>
                  </a:lnTo>
                  <a:lnTo>
                    <a:pt x="559" y="601"/>
                  </a:lnTo>
                  <a:lnTo>
                    <a:pt x="565" y="596"/>
                  </a:lnTo>
                  <a:lnTo>
                    <a:pt x="574" y="590"/>
                  </a:lnTo>
                  <a:lnTo>
                    <a:pt x="582" y="586"/>
                  </a:lnTo>
                  <a:lnTo>
                    <a:pt x="589" y="580"/>
                  </a:lnTo>
                  <a:lnTo>
                    <a:pt x="599" y="576"/>
                  </a:lnTo>
                  <a:lnTo>
                    <a:pt x="609" y="573"/>
                  </a:lnTo>
                  <a:lnTo>
                    <a:pt x="618" y="569"/>
                  </a:lnTo>
                  <a:lnTo>
                    <a:pt x="628" y="565"/>
                  </a:lnTo>
                  <a:lnTo>
                    <a:pt x="637" y="561"/>
                  </a:lnTo>
                  <a:lnTo>
                    <a:pt x="647" y="557"/>
                  </a:lnTo>
                  <a:lnTo>
                    <a:pt x="656" y="554"/>
                  </a:lnTo>
                  <a:lnTo>
                    <a:pt x="666" y="550"/>
                  </a:lnTo>
                  <a:lnTo>
                    <a:pt x="675" y="546"/>
                  </a:lnTo>
                  <a:lnTo>
                    <a:pt x="683" y="542"/>
                  </a:lnTo>
                  <a:lnTo>
                    <a:pt x="692" y="538"/>
                  </a:lnTo>
                  <a:lnTo>
                    <a:pt x="692" y="538"/>
                  </a:lnTo>
                  <a:lnTo>
                    <a:pt x="696" y="535"/>
                  </a:lnTo>
                  <a:lnTo>
                    <a:pt x="704" y="531"/>
                  </a:lnTo>
                  <a:lnTo>
                    <a:pt x="713" y="527"/>
                  </a:lnTo>
                  <a:lnTo>
                    <a:pt x="723" y="521"/>
                  </a:lnTo>
                  <a:lnTo>
                    <a:pt x="733" y="515"/>
                  </a:lnTo>
                  <a:lnTo>
                    <a:pt x="740" y="510"/>
                  </a:lnTo>
                  <a:lnTo>
                    <a:pt x="746" y="504"/>
                  </a:lnTo>
                  <a:lnTo>
                    <a:pt x="750" y="500"/>
                  </a:lnTo>
                  <a:lnTo>
                    <a:pt x="750" y="500"/>
                  </a:lnTo>
                  <a:lnTo>
                    <a:pt x="754" y="493"/>
                  </a:lnTo>
                  <a:lnTo>
                    <a:pt x="757" y="485"/>
                  </a:lnTo>
                  <a:lnTo>
                    <a:pt x="763" y="479"/>
                  </a:lnTo>
                  <a:lnTo>
                    <a:pt x="767" y="472"/>
                  </a:lnTo>
                  <a:lnTo>
                    <a:pt x="773" y="466"/>
                  </a:lnTo>
                  <a:lnTo>
                    <a:pt x="778" y="460"/>
                  </a:lnTo>
                  <a:lnTo>
                    <a:pt x="784" y="456"/>
                  </a:lnTo>
                  <a:lnTo>
                    <a:pt x="792" y="451"/>
                  </a:lnTo>
                  <a:lnTo>
                    <a:pt x="792" y="451"/>
                  </a:lnTo>
                  <a:lnTo>
                    <a:pt x="795" y="447"/>
                  </a:lnTo>
                  <a:lnTo>
                    <a:pt x="799" y="441"/>
                  </a:lnTo>
                  <a:lnTo>
                    <a:pt x="803" y="435"/>
                  </a:lnTo>
                  <a:lnTo>
                    <a:pt x="807" y="432"/>
                  </a:lnTo>
                  <a:lnTo>
                    <a:pt x="811" y="426"/>
                  </a:lnTo>
                  <a:lnTo>
                    <a:pt x="813" y="420"/>
                  </a:lnTo>
                  <a:lnTo>
                    <a:pt x="816" y="414"/>
                  </a:lnTo>
                  <a:lnTo>
                    <a:pt x="820" y="409"/>
                  </a:lnTo>
                  <a:lnTo>
                    <a:pt x="824" y="403"/>
                  </a:lnTo>
                  <a:lnTo>
                    <a:pt x="826" y="397"/>
                  </a:lnTo>
                  <a:lnTo>
                    <a:pt x="830" y="391"/>
                  </a:lnTo>
                  <a:lnTo>
                    <a:pt x="832" y="386"/>
                  </a:lnTo>
                  <a:lnTo>
                    <a:pt x="834" y="378"/>
                  </a:lnTo>
                  <a:lnTo>
                    <a:pt x="836" y="372"/>
                  </a:lnTo>
                  <a:lnTo>
                    <a:pt x="836" y="365"/>
                  </a:lnTo>
                  <a:lnTo>
                    <a:pt x="837" y="357"/>
                  </a:lnTo>
                  <a:lnTo>
                    <a:pt x="837" y="357"/>
                  </a:lnTo>
                  <a:lnTo>
                    <a:pt x="837" y="353"/>
                  </a:lnTo>
                  <a:lnTo>
                    <a:pt x="836" y="349"/>
                  </a:lnTo>
                  <a:lnTo>
                    <a:pt x="836" y="346"/>
                  </a:lnTo>
                  <a:lnTo>
                    <a:pt x="834" y="342"/>
                  </a:lnTo>
                  <a:lnTo>
                    <a:pt x="834" y="338"/>
                  </a:lnTo>
                  <a:lnTo>
                    <a:pt x="832" y="334"/>
                  </a:lnTo>
                  <a:lnTo>
                    <a:pt x="830" y="328"/>
                  </a:lnTo>
                  <a:lnTo>
                    <a:pt x="830" y="325"/>
                  </a:lnTo>
                  <a:lnTo>
                    <a:pt x="828" y="321"/>
                  </a:lnTo>
                  <a:lnTo>
                    <a:pt x="826" y="317"/>
                  </a:lnTo>
                  <a:lnTo>
                    <a:pt x="826" y="311"/>
                  </a:lnTo>
                  <a:lnTo>
                    <a:pt x="824" y="308"/>
                  </a:lnTo>
                  <a:lnTo>
                    <a:pt x="822" y="304"/>
                  </a:lnTo>
                  <a:lnTo>
                    <a:pt x="822" y="298"/>
                  </a:lnTo>
                  <a:lnTo>
                    <a:pt x="822" y="292"/>
                  </a:lnTo>
                  <a:lnTo>
                    <a:pt x="822" y="287"/>
                  </a:lnTo>
                  <a:lnTo>
                    <a:pt x="822" y="287"/>
                  </a:lnTo>
                  <a:lnTo>
                    <a:pt x="822" y="283"/>
                  </a:lnTo>
                  <a:lnTo>
                    <a:pt x="822" y="279"/>
                  </a:lnTo>
                  <a:lnTo>
                    <a:pt x="822" y="275"/>
                  </a:lnTo>
                  <a:lnTo>
                    <a:pt x="822" y="269"/>
                  </a:lnTo>
                  <a:lnTo>
                    <a:pt x="822" y="267"/>
                  </a:lnTo>
                  <a:lnTo>
                    <a:pt x="822" y="264"/>
                  </a:lnTo>
                  <a:lnTo>
                    <a:pt x="824" y="260"/>
                  </a:lnTo>
                  <a:lnTo>
                    <a:pt x="824" y="256"/>
                  </a:lnTo>
                  <a:lnTo>
                    <a:pt x="824" y="252"/>
                  </a:lnTo>
                  <a:lnTo>
                    <a:pt x="826" y="248"/>
                  </a:lnTo>
                  <a:lnTo>
                    <a:pt x="826" y="245"/>
                  </a:lnTo>
                  <a:lnTo>
                    <a:pt x="826" y="239"/>
                  </a:lnTo>
                  <a:lnTo>
                    <a:pt x="826" y="235"/>
                  </a:lnTo>
                  <a:lnTo>
                    <a:pt x="826" y="231"/>
                  </a:lnTo>
                  <a:lnTo>
                    <a:pt x="828" y="225"/>
                  </a:lnTo>
                  <a:lnTo>
                    <a:pt x="828" y="222"/>
                  </a:lnTo>
                  <a:lnTo>
                    <a:pt x="828" y="222"/>
                  </a:lnTo>
                  <a:lnTo>
                    <a:pt x="828" y="214"/>
                  </a:lnTo>
                  <a:lnTo>
                    <a:pt x="826" y="210"/>
                  </a:lnTo>
                  <a:lnTo>
                    <a:pt x="826" y="204"/>
                  </a:lnTo>
                  <a:lnTo>
                    <a:pt x="826" y="199"/>
                  </a:lnTo>
                  <a:lnTo>
                    <a:pt x="824" y="193"/>
                  </a:lnTo>
                  <a:lnTo>
                    <a:pt x="824" y="189"/>
                  </a:lnTo>
                  <a:lnTo>
                    <a:pt x="822" y="183"/>
                  </a:lnTo>
                  <a:lnTo>
                    <a:pt x="822" y="180"/>
                  </a:lnTo>
                  <a:lnTo>
                    <a:pt x="820" y="174"/>
                  </a:lnTo>
                  <a:lnTo>
                    <a:pt x="820" y="170"/>
                  </a:lnTo>
                  <a:lnTo>
                    <a:pt x="818" y="164"/>
                  </a:lnTo>
                  <a:lnTo>
                    <a:pt x="818" y="159"/>
                  </a:lnTo>
                  <a:lnTo>
                    <a:pt x="816" y="153"/>
                  </a:lnTo>
                  <a:lnTo>
                    <a:pt x="816" y="147"/>
                  </a:lnTo>
                  <a:lnTo>
                    <a:pt x="816" y="142"/>
                  </a:lnTo>
                  <a:lnTo>
                    <a:pt x="816" y="134"/>
                  </a:lnTo>
                  <a:lnTo>
                    <a:pt x="816" y="134"/>
                  </a:lnTo>
                  <a:lnTo>
                    <a:pt x="816" y="130"/>
                  </a:lnTo>
                  <a:lnTo>
                    <a:pt x="816" y="124"/>
                  </a:lnTo>
                  <a:lnTo>
                    <a:pt x="816" y="121"/>
                  </a:lnTo>
                  <a:lnTo>
                    <a:pt x="818" y="115"/>
                  </a:lnTo>
                  <a:lnTo>
                    <a:pt x="818" y="109"/>
                  </a:lnTo>
                  <a:lnTo>
                    <a:pt x="818" y="105"/>
                  </a:lnTo>
                  <a:lnTo>
                    <a:pt x="820" y="100"/>
                  </a:lnTo>
                  <a:lnTo>
                    <a:pt x="820" y="96"/>
                  </a:lnTo>
                  <a:lnTo>
                    <a:pt x="822" y="92"/>
                  </a:lnTo>
                  <a:lnTo>
                    <a:pt x="822" y="86"/>
                  </a:lnTo>
                  <a:lnTo>
                    <a:pt x="822" y="82"/>
                  </a:lnTo>
                  <a:lnTo>
                    <a:pt x="824" y="79"/>
                  </a:lnTo>
                  <a:lnTo>
                    <a:pt x="824" y="75"/>
                  </a:lnTo>
                  <a:lnTo>
                    <a:pt x="824" y="71"/>
                  </a:lnTo>
                  <a:lnTo>
                    <a:pt x="824" y="67"/>
                  </a:lnTo>
                  <a:lnTo>
                    <a:pt x="824" y="63"/>
                  </a:lnTo>
                  <a:lnTo>
                    <a:pt x="824" y="29"/>
                  </a:lnTo>
                  <a:lnTo>
                    <a:pt x="824" y="29"/>
                  </a:lnTo>
                  <a:lnTo>
                    <a:pt x="822" y="27"/>
                  </a:lnTo>
                  <a:lnTo>
                    <a:pt x="820" y="23"/>
                  </a:lnTo>
                  <a:lnTo>
                    <a:pt x="818" y="19"/>
                  </a:lnTo>
                  <a:lnTo>
                    <a:pt x="816" y="16"/>
                  </a:lnTo>
                  <a:lnTo>
                    <a:pt x="815" y="12"/>
                  </a:lnTo>
                  <a:lnTo>
                    <a:pt x="813" y="6"/>
                  </a:lnTo>
                  <a:lnTo>
                    <a:pt x="811" y="2"/>
                  </a:lnTo>
                  <a:lnTo>
                    <a:pt x="807" y="0"/>
                  </a:lnTo>
                  <a:lnTo>
                    <a:pt x="807" y="0"/>
                  </a:lnTo>
                  <a:lnTo>
                    <a:pt x="803" y="6"/>
                  </a:lnTo>
                  <a:lnTo>
                    <a:pt x="797" y="14"/>
                  </a:lnTo>
                  <a:lnTo>
                    <a:pt x="792" y="19"/>
                  </a:lnTo>
                  <a:lnTo>
                    <a:pt x="784" y="27"/>
                  </a:lnTo>
                  <a:lnTo>
                    <a:pt x="774" y="33"/>
                  </a:lnTo>
                  <a:lnTo>
                    <a:pt x="765" y="39"/>
                  </a:lnTo>
                  <a:lnTo>
                    <a:pt x="755" y="44"/>
                  </a:lnTo>
                  <a:lnTo>
                    <a:pt x="746" y="50"/>
                  </a:lnTo>
                  <a:lnTo>
                    <a:pt x="734" y="56"/>
                  </a:lnTo>
                  <a:lnTo>
                    <a:pt x="723" y="59"/>
                  </a:lnTo>
                  <a:lnTo>
                    <a:pt x="713" y="63"/>
                  </a:lnTo>
                  <a:lnTo>
                    <a:pt x="702" y="67"/>
                  </a:lnTo>
                  <a:lnTo>
                    <a:pt x="691" y="69"/>
                  </a:lnTo>
                  <a:lnTo>
                    <a:pt x="681" y="71"/>
                  </a:lnTo>
                  <a:lnTo>
                    <a:pt x="671" y="73"/>
                  </a:lnTo>
                  <a:lnTo>
                    <a:pt x="662" y="73"/>
                  </a:lnTo>
                  <a:lnTo>
                    <a:pt x="662" y="73"/>
                  </a:lnTo>
                  <a:lnTo>
                    <a:pt x="658" y="73"/>
                  </a:lnTo>
                  <a:lnTo>
                    <a:pt x="656" y="73"/>
                  </a:lnTo>
                  <a:lnTo>
                    <a:pt x="652" y="73"/>
                  </a:lnTo>
                  <a:lnTo>
                    <a:pt x="649" y="73"/>
                  </a:lnTo>
                  <a:lnTo>
                    <a:pt x="647" y="73"/>
                  </a:lnTo>
                  <a:lnTo>
                    <a:pt x="643" y="73"/>
                  </a:lnTo>
                  <a:lnTo>
                    <a:pt x="639" y="73"/>
                  </a:lnTo>
                  <a:lnTo>
                    <a:pt x="633" y="73"/>
                  </a:lnTo>
                  <a:lnTo>
                    <a:pt x="633" y="73"/>
                  </a:lnTo>
                  <a:lnTo>
                    <a:pt x="628" y="73"/>
                  </a:lnTo>
                  <a:lnTo>
                    <a:pt x="622" y="75"/>
                  </a:lnTo>
                  <a:lnTo>
                    <a:pt x="616" y="77"/>
                  </a:lnTo>
                  <a:lnTo>
                    <a:pt x="610" y="79"/>
                  </a:lnTo>
                  <a:lnTo>
                    <a:pt x="607" y="80"/>
                  </a:lnTo>
                  <a:lnTo>
                    <a:pt x="601" y="82"/>
                  </a:lnTo>
                  <a:lnTo>
                    <a:pt x="597" y="86"/>
                  </a:lnTo>
                  <a:lnTo>
                    <a:pt x="591" y="90"/>
                  </a:lnTo>
                  <a:lnTo>
                    <a:pt x="586" y="92"/>
                  </a:lnTo>
                  <a:lnTo>
                    <a:pt x="582" y="96"/>
                  </a:lnTo>
                  <a:lnTo>
                    <a:pt x="576" y="98"/>
                  </a:lnTo>
                  <a:lnTo>
                    <a:pt x="570" y="100"/>
                  </a:lnTo>
                  <a:lnTo>
                    <a:pt x="565" y="101"/>
                  </a:lnTo>
                  <a:lnTo>
                    <a:pt x="557" y="103"/>
                  </a:lnTo>
                  <a:lnTo>
                    <a:pt x="551" y="105"/>
                  </a:lnTo>
                  <a:lnTo>
                    <a:pt x="544" y="105"/>
                  </a:lnTo>
                  <a:lnTo>
                    <a:pt x="544" y="105"/>
                  </a:lnTo>
                  <a:lnTo>
                    <a:pt x="536" y="105"/>
                  </a:lnTo>
                  <a:lnTo>
                    <a:pt x="528" y="105"/>
                  </a:lnTo>
                  <a:lnTo>
                    <a:pt x="521" y="103"/>
                  </a:lnTo>
                  <a:lnTo>
                    <a:pt x="513" y="103"/>
                  </a:lnTo>
                  <a:lnTo>
                    <a:pt x="506" y="101"/>
                  </a:lnTo>
                  <a:lnTo>
                    <a:pt x="500" y="101"/>
                  </a:lnTo>
                  <a:lnTo>
                    <a:pt x="492" y="100"/>
                  </a:lnTo>
                  <a:lnTo>
                    <a:pt x="485" y="98"/>
                  </a:lnTo>
                  <a:lnTo>
                    <a:pt x="485" y="98"/>
                  </a:lnTo>
                  <a:lnTo>
                    <a:pt x="481" y="96"/>
                  </a:lnTo>
                  <a:lnTo>
                    <a:pt x="479" y="94"/>
                  </a:lnTo>
                  <a:lnTo>
                    <a:pt x="475" y="92"/>
                  </a:lnTo>
                  <a:lnTo>
                    <a:pt x="471" y="88"/>
                  </a:lnTo>
                  <a:lnTo>
                    <a:pt x="467" y="86"/>
                  </a:lnTo>
                  <a:lnTo>
                    <a:pt x="462" y="84"/>
                  </a:lnTo>
                  <a:lnTo>
                    <a:pt x="458" y="82"/>
                  </a:lnTo>
                  <a:lnTo>
                    <a:pt x="452" y="82"/>
                  </a:lnTo>
                  <a:lnTo>
                    <a:pt x="452" y="82"/>
                  </a:lnTo>
                  <a:lnTo>
                    <a:pt x="450" y="82"/>
                  </a:lnTo>
                  <a:lnTo>
                    <a:pt x="446" y="82"/>
                  </a:lnTo>
                  <a:lnTo>
                    <a:pt x="443" y="84"/>
                  </a:lnTo>
                  <a:lnTo>
                    <a:pt x="439" y="84"/>
                  </a:lnTo>
                  <a:lnTo>
                    <a:pt x="435" y="86"/>
                  </a:lnTo>
                  <a:lnTo>
                    <a:pt x="429" y="86"/>
                  </a:lnTo>
                  <a:lnTo>
                    <a:pt x="425" y="88"/>
                  </a:lnTo>
                  <a:lnTo>
                    <a:pt x="420" y="90"/>
                  </a:lnTo>
                  <a:lnTo>
                    <a:pt x="416" y="92"/>
                  </a:lnTo>
                  <a:lnTo>
                    <a:pt x="410" y="94"/>
                  </a:lnTo>
                  <a:lnTo>
                    <a:pt x="406" y="96"/>
                  </a:lnTo>
                  <a:lnTo>
                    <a:pt x="401" y="98"/>
                  </a:lnTo>
                  <a:lnTo>
                    <a:pt x="397" y="100"/>
                  </a:lnTo>
                  <a:lnTo>
                    <a:pt x="391" y="100"/>
                  </a:lnTo>
                  <a:lnTo>
                    <a:pt x="387" y="101"/>
                  </a:lnTo>
                  <a:lnTo>
                    <a:pt x="383" y="103"/>
                  </a:lnTo>
                  <a:lnTo>
                    <a:pt x="383" y="103"/>
                  </a:lnTo>
                  <a:lnTo>
                    <a:pt x="383" y="105"/>
                  </a:lnTo>
                  <a:lnTo>
                    <a:pt x="385" y="107"/>
                  </a:lnTo>
                  <a:lnTo>
                    <a:pt x="385" y="107"/>
                  </a:lnTo>
                  <a:lnTo>
                    <a:pt x="387" y="109"/>
                  </a:lnTo>
                  <a:lnTo>
                    <a:pt x="387" y="111"/>
                  </a:lnTo>
                  <a:lnTo>
                    <a:pt x="387" y="113"/>
                  </a:lnTo>
                  <a:lnTo>
                    <a:pt x="387" y="115"/>
                  </a:lnTo>
                  <a:lnTo>
                    <a:pt x="387" y="117"/>
                  </a:lnTo>
                  <a:lnTo>
                    <a:pt x="387" y="117"/>
                  </a:lnTo>
                  <a:lnTo>
                    <a:pt x="387" y="124"/>
                  </a:lnTo>
                  <a:lnTo>
                    <a:pt x="385" y="130"/>
                  </a:lnTo>
                  <a:lnTo>
                    <a:pt x="382" y="136"/>
                  </a:lnTo>
                  <a:lnTo>
                    <a:pt x="380" y="142"/>
                  </a:lnTo>
                  <a:lnTo>
                    <a:pt x="376" y="145"/>
                  </a:lnTo>
                  <a:lnTo>
                    <a:pt x="372" y="151"/>
                  </a:lnTo>
                  <a:lnTo>
                    <a:pt x="370" y="155"/>
                  </a:lnTo>
                  <a:lnTo>
                    <a:pt x="368" y="159"/>
                  </a:lnTo>
                  <a:lnTo>
                    <a:pt x="368" y="159"/>
                  </a:lnTo>
                  <a:lnTo>
                    <a:pt x="366" y="166"/>
                  </a:lnTo>
                  <a:lnTo>
                    <a:pt x="366" y="170"/>
                  </a:lnTo>
                  <a:lnTo>
                    <a:pt x="366" y="176"/>
                  </a:lnTo>
                  <a:lnTo>
                    <a:pt x="368" y="182"/>
                  </a:lnTo>
                  <a:lnTo>
                    <a:pt x="368" y="187"/>
                  </a:lnTo>
                  <a:lnTo>
                    <a:pt x="368" y="193"/>
                  </a:lnTo>
                  <a:lnTo>
                    <a:pt x="370" y="199"/>
                  </a:lnTo>
                  <a:lnTo>
                    <a:pt x="370" y="204"/>
                  </a:lnTo>
                  <a:lnTo>
                    <a:pt x="370" y="248"/>
                  </a:lnTo>
                  <a:lnTo>
                    <a:pt x="370" y="248"/>
                  </a:lnTo>
                  <a:lnTo>
                    <a:pt x="372" y="258"/>
                  </a:lnTo>
                  <a:lnTo>
                    <a:pt x="374" y="267"/>
                  </a:lnTo>
                  <a:lnTo>
                    <a:pt x="378" y="275"/>
                  </a:lnTo>
                  <a:lnTo>
                    <a:pt x="383" y="281"/>
                  </a:lnTo>
                  <a:lnTo>
                    <a:pt x="387" y="287"/>
                  </a:lnTo>
                  <a:lnTo>
                    <a:pt x="391" y="292"/>
                  </a:lnTo>
                  <a:lnTo>
                    <a:pt x="393" y="298"/>
                  </a:lnTo>
                  <a:lnTo>
                    <a:pt x="395" y="306"/>
                  </a:lnTo>
                  <a:lnTo>
                    <a:pt x="393" y="321"/>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8" name="Freeform 22"/>
            <p:cNvSpPr>
              <a:spLocks/>
            </p:cNvSpPr>
            <p:nvPr/>
          </p:nvSpPr>
          <p:spPr bwMode="gray">
            <a:xfrm>
              <a:off x="2898" y="3484"/>
              <a:ext cx="64" cy="71"/>
            </a:xfrm>
            <a:custGeom>
              <a:avLst/>
              <a:gdLst/>
              <a:ahLst/>
              <a:cxnLst>
                <a:cxn ang="0">
                  <a:pos x="97" y="4"/>
                </a:cxn>
                <a:cxn ang="0">
                  <a:pos x="91" y="11"/>
                </a:cxn>
                <a:cxn ang="0">
                  <a:pos x="93" y="17"/>
                </a:cxn>
                <a:cxn ang="0">
                  <a:pos x="97" y="23"/>
                </a:cxn>
                <a:cxn ang="0">
                  <a:pos x="99" y="29"/>
                </a:cxn>
                <a:cxn ang="0">
                  <a:pos x="101" y="34"/>
                </a:cxn>
                <a:cxn ang="0">
                  <a:pos x="101" y="36"/>
                </a:cxn>
                <a:cxn ang="0">
                  <a:pos x="101" y="40"/>
                </a:cxn>
                <a:cxn ang="0">
                  <a:pos x="101" y="46"/>
                </a:cxn>
                <a:cxn ang="0">
                  <a:pos x="101" y="51"/>
                </a:cxn>
                <a:cxn ang="0">
                  <a:pos x="101" y="55"/>
                </a:cxn>
                <a:cxn ang="0">
                  <a:pos x="101" y="67"/>
                </a:cxn>
                <a:cxn ang="0">
                  <a:pos x="103" y="76"/>
                </a:cxn>
                <a:cxn ang="0">
                  <a:pos x="107" y="84"/>
                </a:cxn>
                <a:cxn ang="0">
                  <a:pos x="112" y="92"/>
                </a:cxn>
                <a:cxn ang="0">
                  <a:pos x="109" y="97"/>
                </a:cxn>
                <a:cxn ang="0">
                  <a:pos x="101" y="109"/>
                </a:cxn>
                <a:cxn ang="0">
                  <a:pos x="91" y="122"/>
                </a:cxn>
                <a:cxn ang="0">
                  <a:pos x="78" y="128"/>
                </a:cxn>
                <a:cxn ang="0">
                  <a:pos x="69" y="130"/>
                </a:cxn>
                <a:cxn ang="0">
                  <a:pos x="55" y="130"/>
                </a:cxn>
                <a:cxn ang="0">
                  <a:pos x="44" y="128"/>
                </a:cxn>
                <a:cxn ang="0">
                  <a:pos x="32" y="122"/>
                </a:cxn>
                <a:cxn ang="0">
                  <a:pos x="23" y="118"/>
                </a:cxn>
                <a:cxn ang="0">
                  <a:pos x="13" y="111"/>
                </a:cxn>
                <a:cxn ang="0">
                  <a:pos x="7" y="103"/>
                </a:cxn>
                <a:cxn ang="0">
                  <a:pos x="2" y="93"/>
                </a:cxn>
                <a:cxn ang="0">
                  <a:pos x="0" y="82"/>
                </a:cxn>
                <a:cxn ang="0">
                  <a:pos x="2" y="78"/>
                </a:cxn>
                <a:cxn ang="0">
                  <a:pos x="4" y="65"/>
                </a:cxn>
                <a:cxn ang="0">
                  <a:pos x="9" y="51"/>
                </a:cxn>
                <a:cxn ang="0">
                  <a:pos x="17" y="38"/>
                </a:cxn>
                <a:cxn ang="0">
                  <a:pos x="25" y="25"/>
                </a:cxn>
                <a:cxn ang="0">
                  <a:pos x="34" y="13"/>
                </a:cxn>
                <a:cxn ang="0">
                  <a:pos x="44" y="6"/>
                </a:cxn>
                <a:cxn ang="0">
                  <a:pos x="53" y="0"/>
                </a:cxn>
                <a:cxn ang="0">
                  <a:pos x="59" y="0"/>
                </a:cxn>
                <a:cxn ang="0">
                  <a:pos x="69" y="2"/>
                </a:cxn>
                <a:cxn ang="0">
                  <a:pos x="74" y="8"/>
                </a:cxn>
                <a:cxn ang="0">
                  <a:pos x="84" y="13"/>
                </a:cxn>
                <a:cxn ang="0">
                  <a:pos x="91" y="15"/>
                </a:cxn>
                <a:cxn ang="0">
                  <a:pos x="97" y="4"/>
                </a:cxn>
              </a:cxnLst>
              <a:rect l="0" t="0" r="r" b="b"/>
              <a:pathLst>
                <a:path w="112" h="130">
                  <a:moveTo>
                    <a:pt x="97" y="4"/>
                  </a:moveTo>
                  <a:lnTo>
                    <a:pt x="97" y="4"/>
                  </a:lnTo>
                  <a:lnTo>
                    <a:pt x="91" y="11"/>
                  </a:lnTo>
                  <a:lnTo>
                    <a:pt x="91" y="11"/>
                  </a:lnTo>
                  <a:lnTo>
                    <a:pt x="93" y="15"/>
                  </a:lnTo>
                  <a:lnTo>
                    <a:pt x="93" y="17"/>
                  </a:lnTo>
                  <a:lnTo>
                    <a:pt x="95" y="21"/>
                  </a:lnTo>
                  <a:lnTo>
                    <a:pt x="97" y="23"/>
                  </a:lnTo>
                  <a:lnTo>
                    <a:pt x="99" y="27"/>
                  </a:lnTo>
                  <a:lnTo>
                    <a:pt x="99" y="29"/>
                  </a:lnTo>
                  <a:lnTo>
                    <a:pt x="101" y="32"/>
                  </a:lnTo>
                  <a:lnTo>
                    <a:pt x="101" y="34"/>
                  </a:lnTo>
                  <a:lnTo>
                    <a:pt x="101" y="34"/>
                  </a:lnTo>
                  <a:lnTo>
                    <a:pt x="101" y="36"/>
                  </a:lnTo>
                  <a:lnTo>
                    <a:pt x="101" y="38"/>
                  </a:lnTo>
                  <a:lnTo>
                    <a:pt x="101" y="40"/>
                  </a:lnTo>
                  <a:lnTo>
                    <a:pt x="101" y="44"/>
                  </a:lnTo>
                  <a:lnTo>
                    <a:pt x="101" y="46"/>
                  </a:lnTo>
                  <a:lnTo>
                    <a:pt x="101" y="50"/>
                  </a:lnTo>
                  <a:lnTo>
                    <a:pt x="101" y="51"/>
                  </a:lnTo>
                  <a:lnTo>
                    <a:pt x="101" y="55"/>
                  </a:lnTo>
                  <a:lnTo>
                    <a:pt x="101" y="55"/>
                  </a:lnTo>
                  <a:lnTo>
                    <a:pt x="101" y="61"/>
                  </a:lnTo>
                  <a:lnTo>
                    <a:pt x="101" y="67"/>
                  </a:lnTo>
                  <a:lnTo>
                    <a:pt x="103" y="72"/>
                  </a:lnTo>
                  <a:lnTo>
                    <a:pt x="103" y="76"/>
                  </a:lnTo>
                  <a:lnTo>
                    <a:pt x="105" y="80"/>
                  </a:lnTo>
                  <a:lnTo>
                    <a:pt x="107" y="84"/>
                  </a:lnTo>
                  <a:lnTo>
                    <a:pt x="109" y="88"/>
                  </a:lnTo>
                  <a:lnTo>
                    <a:pt x="112" y="92"/>
                  </a:lnTo>
                  <a:lnTo>
                    <a:pt x="112" y="92"/>
                  </a:lnTo>
                  <a:lnTo>
                    <a:pt x="109" y="97"/>
                  </a:lnTo>
                  <a:lnTo>
                    <a:pt x="105" y="103"/>
                  </a:lnTo>
                  <a:lnTo>
                    <a:pt x="101" y="109"/>
                  </a:lnTo>
                  <a:lnTo>
                    <a:pt x="97" y="116"/>
                  </a:lnTo>
                  <a:lnTo>
                    <a:pt x="91" y="122"/>
                  </a:lnTo>
                  <a:lnTo>
                    <a:pt x="86" y="126"/>
                  </a:lnTo>
                  <a:lnTo>
                    <a:pt x="78" y="128"/>
                  </a:lnTo>
                  <a:lnTo>
                    <a:pt x="69" y="130"/>
                  </a:lnTo>
                  <a:lnTo>
                    <a:pt x="69" y="130"/>
                  </a:lnTo>
                  <a:lnTo>
                    <a:pt x="63" y="130"/>
                  </a:lnTo>
                  <a:lnTo>
                    <a:pt x="55" y="130"/>
                  </a:lnTo>
                  <a:lnTo>
                    <a:pt x="49" y="128"/>
                  </a:lnTo>
                  <a:lnTo>
                    <a:pt x="44" y="128"/>
                  </a:lnTo>
                  <a:lnTo>
                    <a:pt x="38" y="124"/>
                  </a:lnTo>
                  <a:lnTo>
                    <a:pt x="32" y="122"/>
                  </a:lnTo>
                  <a:lnTo>
                    <a:pt x="27" y="120"/>
                  </a:lnTo>
                  <a:lnTo>
                    <a:pt x="23" y="118"/>
                  </a:lnTo>
                  <a:lnTo>
                    <a:pt x="17" y="114"/>
                  </a:lnTo>
                  <a:lnTo>
                    <a:pt x="13" y="111"/>
                  </a:lnTo>
                  <a:lnTo>
                    <a:pt x="9" y="107"/>
                  </a:lnTo>
                  <a:lnTo>
                    <a:pt x="7" y="103"/>
                  </a:lnTo>
                  <a:lnTo>
                    <a:pt x="4" y="99"/>
                  </a:lnTo>
                  <a:lnTo>
                    <a:pt x="2" y="93"/>
                  </a:lnTo>
                  <a:lnTo>
                    <a:pt x="2" y="88"/>
                  </a:lnTo>
                  <a:lnTo>
                    <a:pt x="0" y="82"/>
                  </a:lnTo>
                  <a:lnTo>
                    <a:pt x="0" y="82"/>
                  </a:lnTo>
                  <a:lnTo>
                    <a:pt x="2" y="78"/>
                  </a:lnTo>
                  <a:lnTo>
                    <a:pt x="2" y="71"/>
                  </a:lnTo>
                  <a:lnTo>
                    <a:pt x="4" y="65"/>
                  </a:lnTo>
                  <a:lnTo>
                    <a:pt x="6" y="59"/>
                  </a:lnTo>
                  <a:lnTo>
                    <a:pt x="9" y="51"/>
                  </a:lnTo>
                  <a:lnTo>
                    <a:pt x="13" y="44"/>
                  </a:lnTo>
                  <a:lnTo>
                    <a:pt x="17" y="38"/>
                  </a:lnTo>
                  <a:lnTo>
                    <a:pt x="21" y="30"/>
                  </a:lnTo>
                  <a:lnTo>
                    <a:pt x="25" y="25"/>
                  </a:lnTo>
                  <a:lnTo>
                    <a:pt x="28" y="19"/>
                  </a:lnTo>
                  <a:lnTo>
                    <a:pt x="34" y="13"/>
                  </a:lnTo>
                  <a:lnTo>
                    <a:pt x="40" y="9"/>
                  </a:lnTo>
                  <a:lnTo>
                    <a:pt x="44" y="6"/>
                  </a:lnTo>
                  <a:lnTo>
                    <a:pt x="49" y="2"/>
                  </a:lnTo>
                  <a:lnTo>
                    <a:pt x="53" y="0"/>
                  </a:lnTo>
                  <a:lnTo>
                    <a:pt x="59" y="0"/>
                  </a:lnTo>
                  <a:lnTo>
                    <a:pt x="59" y="0"/>
                  </a:lnTo>
                  <a:lnTo>
                    <a:pt x="63" y="0"/>
                  </a:lnTo>
                  <a:lnTo>
                    <a:pt x="69" y="2"/>
                  </a:lnTo>
                  <a:lnTo>
                    <a:pt x="72" y="6"/>
                  </a:lnTo>
                  <a:lnTo>
                    <a:pt x="74" y="8"/>
                  </a:lnTo>
                  <a:lnTo>
                    <a:pt x="80" y="9"/>
                  </a:lnTo>
                  <a:lnTo>
                    <a:pt x="84" y="13"/>
                  </a:lnTo>
                  <a:lnTo>
                    <a:pt x="88" y="15"/>
                  </a:lnTo>
                  <a:lnTo>
                    <a:pt x="91" y="15"/>
                  </a:lnTo>
                  <a:lnTo>
                    <a:pt x="93" y="15"/>
                  </a:lnTo>
                  <a:lnTo>
                    <a:pt x="97" y="4"/>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79" name="Freeform 23"/>
            <p:cNvSpPr>
              <a:spLocks/>
            </p:cNvSpPr>
            <p:nvPr/>
          </p:nvSpPr>
          <p:spPr bwMode="gray">
            <a:xfrm>
              <a:off x="2306" y="3328"/>
              <a:ext cx="684" cy="532"/>
            </a:xfrm>
            <a:custGeom>
              <a:avLst/>
              <a:gdLst/>
              <a:ahLst/>
              <a:cxnLst>
                <a:cxn ang="0">
                  <a:pos x="1106" y="284"/>
                </a:cxn>
                <a:cxn ang="0">
                  <a:pos x="1056" y="335"/>
                </a:cxn>
                <a:cxn ang="0">
                  <a:pos x="1056" y="391"/>
                </a:cxn>
                <a:cxn ang="0">
                  <a:pos x="1116" y="414"/>
                </a:cxn>
                <a:cxn ang="0">
                  <a:pos x="1161" y="377"/>
                </a:cxn>
                <a:cxn ang="0">
                  <a:pos x="1194" y="381"/>
                </a:cxn>
                <a:cxn ang="0">
                  <a:pos x="1192" y="412"/>
                </a:cxn>
                <a:cxn ang="0">
                  <a:pos x="1158" y="505"/>
                </a:cxn>
                <a:cxn ang="0">
                  <a:pos x="1108" y="541"/>
                </a:cxn>
                <a:cxn ang="0">
                  <a:pos x="1074" y="576"/>
                </a:cxn>
                <a:cxn ang="0">
                  <a:pos x="1041" y="622"/>
                </a:cxn>
                <a:cxn ang="0">
                  <a:pos x="988" y="685"/>
                </a:cxn>
                <a:cxn ang="0">
                  <a:pos x="925" y="746"/>
                </a:cxn>
                <a:cxn ang="0">
                  <a:pos x="858" y="803"/>
                </a:cxn>
                <a:cxn ang="0">
                  <a:pos x="784" y="858"/>
                </a:cxn>
                <a:cxn ang="0">
                  <a:pos x="692" y="894"/>
                </a:cxn>
                <a:cxn ang="0">
                  <a:pos x="644" y="896"/>
                </a:cxn>
                <a:cxn ang="0">
                  <a:pos x="583" y="923"/>
                </a:cxn>
                <a:cxn ang="0">
                  <a:pos x="471" y="913"/>
                </a:cxn>
                <a:cxn ang="0">
                  <a:pos x="427" y="915"/>
                </a:cxn>
                <a:cxn ang="0">
                  <a:pos x="368" y="938"/>
                </a:cxn>
                <a:cxn ang="0">
                  <a:pos x="324" y="940"/>
                </a:cxn>
                <a:cxn ang="0">
                  <a:pos x="280" y="950"/>
                </a:cxn>
                <a:cxn ang="0">
                  <a:pos x="230" y="969"/>
                </a:cxn>
                <a:cxn ang="0">
                  <a:pos x="181" y="940"/>
                </a:cxn>
                <a:cxn ang="0">
                  <a:pos x="147" y="919"/>
                </a:cxn>
                <a:cxn ang="0">
                  <a:pos x="122" y="927"/>
                </a:cxn>
                <a:cxn ang="0">
                  <a:pos x="129" y="887"/>
                </a:cxn>
                <a:cxn ang="0">
                  <a:pos x="95" y="822"/>
                </a:cxn>
                <a:cxn ang="0">
                  <a:pos x="120" y="755"/>
                </a:cxn>
                <a:cxn ang="0">
                  <a:pos x="80" y="686"/>
                </a:cxn>
                <a:cxn ang="0">
                  <a:pos x="34" y="604"/>
                </a:cxn>
                <a:cxn ang="0">
                  <a:pos x="9" y="528"/>
                </a:cxn>
                <a:cxn ang="0">
                  <a:pos x="15" y="471"/>
                </a:cxn>
                <a:cxn ang="0">
                  <a:pos x="68" y="490"/>
                </a:cxn>
                <a:cxn ang="0">
                  <a:pos x="124" y="517"/>
                </a:cxn>
                <a:cxn ang="0">
                  <a:pos x="188" y="519"/>
                </a:cxn>
                <a:cxn ang="0">
                  <a:pos x="238" y="488"/>
                </a:cxn>
                <a:cxn ang="0">
                  <a:pos x="282" y="231"/>
                </a:cxn>
                <a:cxn ang="0">
                  <a:pos x="314" y="292"/>
                </a:cxn>
                <a:cxn ang="0">
                  <a:pos x="301" y="347"/>
                </a:cxn>
                <a:cxn ang="0">
                  <a:pos x="351" y="364"/>
                </a:cxn>
                <a:cxn ang="0">
                  <a:pos x="438" y="320"/>
                </a:cxn>
                <a:cxn ang="0">
                  <a:pos x="486" y="250"/>
                </a:cxn>
                <a:cxn ang="0">
                  <a:pos x="551" y="278"/>
                </a:cxn>
                <a:cxn ang="0">
                  <a:pos x="621" y="278"/>
                </a:cxn>
                <a:cxn ang="0">
                  <a:pos x="675" y="271"/>
                </a:cxn>
                <a:cxn ang="0">
                  <a:pos x="704" y="210"/>
                </a:cxn>
                <a:cxn ang="0">
                  <a:pos x="744" y="194"/>
                </a:cxn>
                <a:cxn ang="0">
                  <a:pos x="782" y="147"/>
                </a:cxn>
                <a:cxn ang="0">
                  <a:pos x="824" y="107"/>
                </a:cxn>
                <a:cxn ang="0">
                  <a:pos x="885" y="42"/>
                </a:cxn>
                <a:cxn ang="0">
                  <a:pos x="927" y="38"/>
                </a:cxn>
                <a:cxn ang="0">
                  <a:pos x="1003" y="4"/>
                </a:cxn>
                <a:cxn ang="0">
                  <a:pos x="1072" y="21"/>
                </a:cxn>
                <a:cxn ang="0">
                  <a:pos x="1112" y="21"/>
                </a:cxn>
                <a:cxn ang="0">
                  <a:pos x="1125" y="99"/>
                </a:cxn>
                <a:cxn ang="0">
                  <a:pos x="1146" y="147"/>
                </a:cxn>
                <a:cxn ang="0">
                  <a:pos x="1152" y="196"/>
                </a:cxn>
                <a:cxn ang="0">
                  <a:pos x="1146" y="244"/>
                </a:cxn>
              </a:cxnLst>
              <a:rect l="0" t="0" r="r" b="b"/>
              <a:pathLst>
                <a:path w="1207" h="969">
                  <a:moveTo>
                    <a:pt x="1138" y="299"/>
                  </a:moveTo>
                  <a:lnTo>
                    <a:pt x="1138" y="299"/>
                  </a:lnTo>
                  <a:lnTo>
                    <a:pt x="1135" y="299"/>
                  </a:lnTo>
                  <a:lnTo>
                    <a:pt x="1131" y="297"/>
                  </a:lnTo>
                  <a:lnTo>
                    <a:pt x="1127" y="293"/>
                  </a:lnTo>
                  <a:lnTo>
                    <a:pt x="1121" y="292"/>
                  </a:lnTo>
                  <a:lnTo>
                    <a:pt x="1119" y="290"/>
                  </a:lnTo>
                  <a:lnTo>
                    <a:pt x="1116" y="286"/>
                  </a:lnTo>
                  <a:lnTo>
                    <a:pt x="1110" y="284"/>
                  </a:lnTo>
                  <a:lnTo>
                    <a:pt x="1106" y="284"/>
                  </a:lnTo>
                  <a:lnTo>
                    <a:pt x="1106" y="284"/>
                  </a:lnTo>
                  <a:lnTo>
                    <a:pt x="1100" y="284"/>
                  </a:lnTo>
                  <a:lnTo>
                    <a:pt x="1096" y="286"/>
                  </a:lnTo>
                  <a:lnTo>
                    <a:pt x="1091" y="290"/>
                  </a:lnTo>
                  <a:lnTo>
                    <a:pt x="1087" y="293"/>
                  </a:lnTo>
                  <a:lnTo>
                    <a:pt x="1081" y="297"/>
                  </a:lnTo>
                  <a:lnTo>
                    <a:pt x="1075" y="303"/>
                  </a:lnTo>
                  <a:lnTo>
                    <a:pt x="1072" y="309"/>
                  </a:lnTo>
                  <a:lnTo>
                    <a:pt x="1068" y="314"/>
                  </a:lnTo>
                  <a:lnTo>
                    <a:pt x="1064" y="322"/>
                  </a:lnTo>
                  <a:lnTo>
                    <a:pt x="1060" y="328"/>
                  </a:lnTo>
                  <a:lnTo>
                    <a:pt x="1056" y="335"/>
                  </a:lnTo>
                  <a:lnTo>
                    <a:pt x="1053" y="343"/>
                  </a:lnTo>
                  <a:lnTo>
                    <a:pt x="1051" y="349"/>
                  </a:lnTo>
                  <a:lnTo>
                    <a:pt x="1049" y="355"/>
                  </a:lnTo>
                  <a:lnTo>
                    <a:pt x="1049" y="362"/>
                  </a:lnTo>
                  <a:lnTo>
                    <a:pt x="1047" y="366"/>
                  </a:lnTo>
                  <a:lnTo>
                    <a:pt x="1047" y="366"/>
                  </a:lnTo>
                  <a:lnTo>
                    <a:pt x="1049" y="372"/>
                  </a:lnTo>
                  <a:lnTo>
                    <a:pt x="1049" y="377"/>
                  </a:lnTo>
                  <a:lnTo>
                    <a:pt x="1051" y="383"/>
                  </a:lnTo>
                  <a:lnTo>
                    <a:pt x="1054" y="387"/>
                  </a:lnTo>
                  <a:lnTo>
                    <a:pt x="1056" y="391"/>
                  </a:lnTo>
                  <a:lnTo>
                    <a:pt x="1060" y="395"/>
                  </a:lnTo>
                  <a:lnTo>
                    <a:pt x="1064" y="398"/>
                  </a:lnTo>
                  <a:lnTo>
                    <a:pt x="1070" y="402"/>
                  </a:lnTo>
                  <a:lnTo>
                    <a:pt x="1074" y="404"/>
                  </a:lnTo>
                  <a:lnTo>
                    <a:pt x="1079" y="406"/>
                  </a:lnTo>
                  <a:lnTo>
                    <a:pt x="1085" y="408"/>
                  </a:lnTo>
                  <a:lnTo>
                    <a:pt x="1091" y="412"/>
                  </a:lnTo>
                  <a:lnTo>
                    <a:pt x="1096" y="412"/>
                  </a:lnTo>
                  <a:lnTo>
                    <a:pt x="1102" y="414"/>
                  </a:lnTo>
                  <a:lnTo>
                    <a:pt x="1110" y="414"/>
                  </a:lnTo>
                  <a:lnTo>
                    <a:pt x="1116" y="414"/>
                  </a:lnTo>
                  <a:lnTo>
                    <a:pt x="1116" y="414"/>
                  </a:lnTo>
                  <a:lnTo>
                    <a:pt x="1125" y="412"/>
                  </a:lnTo>
                  <a:lnTo>
                    <a:pt x="1133" y="410"/>
                  </a:lnTo>
                  <a:lnTo>
                    <a:pt x="1138" y="406"/>
                  </a:lnTo>
                  <a:lnTo>
                    <a:pt x="1144" y="400"/>
                  </a:lnTo>
                  <a:lnTo>
                    <a:pt x="1148" y="393"/>
                  </a:lnTo>
                  <a:lnTo>
                    <a:pt x="1152" y="387"/>
                  </a:lnTo>
                  <a:lnTo>
                    <a:pt x="1156" y="381"/>
                  </a:lnTo>
                  <a:lnTo>
                    <a:pt x="1159" y="376"/>
                  </a:lnTo>
                  <a:lnTo>
                    <a:pt x="1159" y="376"/>
                  </a:lnTo>
                  <a:lnTo>
                    <a:pt x="1161" y="377"/>
                  </a:lnTo>
                  <a:lnTo>
                    <a:pt x="1163" y="377"/>
                  </a:lnTo>
                  <a:lnTo>
                    <a:pt x="1165" y="379"/>
                  </a:lnTo>
                  <a:lnTo>
                    <a:pt x="1169" y="381"/>
                  </a:lnTo>
                  <a:lnTo>
                    <a:pt x="1171" y="381"/>
                  </a:lnTo>
                  <a:lnTo>
                    <a:pt x="1175" y="381"/>
                  </a:lnTo>
                  <a:lnTo>
                    <a:pt x="1178" y="381"/>
                  </a:lnTo>
                  <a:lnTo>
                    <a:pt x="1182" y="381"/>
                  </a:lnTo>
                  <a:lnTo>
                    <a:pt x="1182" y="381"/>
                  </a:lnTo>
                  <a:lnTo>
                    <a:pt x="1188" y="381"/>
                  </a:lnTo>
                  <a:lnTo>
                    <a:pt x="1190" y="381"/>
                  </a:lnTo>
                  <a:lnTo>
                    <a:pt x="1194" y="381"/>
                  </a:lnTo>
                  <a:lnTo>
                    <a:pt x="1198" y="379"/>
                  </a:lnTo>
                  <a:lnTo>
                    <a:pt x="1199" y="377"/>
                  </a:lnTo>
                  <a:lnTo>
                    <a:pt x="1203" y="377"/>
                  </a:lnTo>
                  <a:lnTo>
                    <a:pt x="1205" y="376"/>
                  </a:lnTo>
                  <a:lnTo>
                    <a:pt x="1207" y="374"/>
                  </a:lnTo>
                  <a:lnTo>
                    <a:pt x="1207" y="374"/>
                  </a:lnTo>
                  <a:lnTo>
                    <a:pt x="1203" y="381"/>
                  </a:lnTo>
                  <a:lnTo>
                    <a:pt x="1199" y="389"/>
                  </a:lnTo>
                  <a:lnTo>
                    <a:pt x="1198" y="396"/>
                  </a:lnTo>
                  <a:lnTo>
                    <a:pt x="1196" y="404"/>
                  </a:lnTo>
                  <a:lnTo>
                    <a:pt x="1192" y="412"/>
                  </a:lnTo>
                  <a:lnTo>
                    <a:pt x="1190" y="421"/>
                  </a:lnTo>
                  <a:lnTo>
                    <a:pt x="1188" y="429"/>
                  </a:lnTo>
                  <a:lnTo>
                    <a:pt x="1186" y="438"/>
                  </a:lnTo>
                  <a:lnTo>
                    <a:pt x="1182" y="446"/>
                  </a:lnTo>
                  <a:lnTo>
                    <a:pt x="1180" y="456"/>
                  </a:lnTo>
                  <a:lnTo>
                    <a:pt x="1178" y="463"/>
                  </a:lnTo>
                  <a:lnTo>
                    <a:pt x="1175" y="473"/>
                  </a:lnTo>
                  <a:lnTo>
                    <a:pt x="1171" y="480"/>
                  </a:lnTo>
                  <a:lnTo>
                    <a:pt x="1167" y="488"/>
                  </a:lnTo>
                  <a:lnTo>
                    <a:pt x="1163" y="498"/>
                  </a:lnTo>
                  <a:lnTo>
                    <a:pt x="1158" y="505"/>
                  </a:lnTo>
                  <a:lnTo>
                    <a:pt x="1158" y="505"/>
                  </a:lnTo>
                  <a:lnTo>
                    <a:pt x="1154" y="509"/>
                  </a:lnTo>
                  <a:lnTo>
                    <a:pt x="1148" y="515"/>
                  </a:lnTo>
                  <a:lnTo>
                    <a:pt x="1142" y="519"/>
                  </a:lnTo>
                  <a:lnTo>
                    <a:pt x="1137" y="522"/>
                  </a:lnTo>
                  <a:lnTo>
                    <a:pt x="1131" y="526"/>
                  </a:lnTo>
                  <a:lnTo>
                    <a:pt x="1123" y="530"/>
                  </a:lnTo>
                  <a:lnTo>
                    <a:pt x="1117" y="534"/>
                  </a:lnTo>
                  <a:lnTo>
                    <a:pt x="1114" y="536"/>
                  </a:lnTo>
                  <a:lnTo>
                    <a:pt x="1114" y="536"/>
                  </a:lnTo>
                  <a:lnTo>
                    <a:pt x="1108" y="541"/>
                  </a:lnTo>
                  <a:lnTo>
                    <a:pt x="1104" y="545"/>
                  </a:lnTo>
                  <a:lnTo>
                    <a:pt x="1100" y="549"/>
                  </a:lnTo>
                  <a:lnTo>
                    <a:pt x="1098" y="553"/>
                  </a:lnTo>
                  <a:lnTo>
                    <a:pt x="1096" y="557"/>
                  </a:lnTo>
                  <a:lnTo>
                    <a:pt x="1093" y="561"/>
                  </a:lnTo>
                  <a:lnTo>
                    <a:pt x="1089" y="564"/>
                  </a:lnTo>
                  <a:lnTo>
                    <a:pt x="1083" y="568"/>
                  </a:lnTo>
                  <a:lnTo>
                    <a:pt x="1083" y="568"/>
                  </a:lnTo>
                  <a:lnTo>
                    <a:pt x="1081" y="568"/>
                  </a:lnTo>
                  <a:lnTo>
                    <a:pt x="1077" y="572"/>
                  </a:lnTo>
                  <a:lnTo>
                    <a:pt x="1074" y="576"/>
                  </a:lnTo>
                  <a:lnTo>
                    <a:pt x="1070" y="582"/>
                  </a:lnTo>
                  <a:lnTo>
                    <a:pt x="1066" y="585"/>
                  </a:lnTo>
                  <a:lnTo>
                    <a:pt x="1062" y="591"/>
                  </a:lnTo>
                  <a:lnTo>
                    <a:pt x="1060" y="595"/>
                  </a:lnTo>
                  <a:lnTo>
                    <a:pt x="1056" y="599"/>
                  </a:lnTo>
                  <a:lnTo>
                    <a:pt x="1056" y="599"/>
                  </a:lnTo>
                  <a:lnTo>
                    <a:pt x="1054" y="604"/>
                  </a:lnTo>
                  <a:lnTo>
                    <a:pt x="1051" y="610"/>
                  </a:lnTo>
                  <a:lnTo>
                    <a:pt x="1049" y="614"/>
                  </a:lnTo>
                  <a:lnTo>
                    <a:pt x="1045" y="618"/>
                  </a:lnTo>
                  <a:lnTo>
                    <a:pt x="1041" y="622"/>
                  </a:lnTo>
                  <a:lnTo>
                    <a:pt x="1037" y="624"/>
                  </a:lnTo>
                  <a:lnTo>
                    <a:pt x="1034" y="627"/>
                  </a:lnTo>
                  <a:lnTo>
                    <a:pt x="1030" y="631"/>
                  </a:lnTo>
                  <a:lnTo>
                    <a:pt x="1030" y="631"/>
                  </a:lnTo>
                  <a:lnTo>
                    <a:pt x="1022" y="639"/>
                  </a:lnTo>
                  <a:lnTo>
                    <a:pt x="1016" y="646"/>
                  </a:lnTo>
                  <a:lnTo>
                    <a:pt x="1011" y="654"/>
                  </a:lnTo>
                  <a:lnTo>
                    <a:pt x="1005" y="662"/>
                  </a:lnTo>
                  <a:lnTo>
                    <a:pt x="999" y="669"/>
                  </a:lnTo>
                  <a:lnTo>
                    <a:pt x="993" y="677"/>
                  </a:lnTo>
                  <a:lnTo>
                    <a:pt x="988" y="685"/>
                  </a:lnTo>
                  <a:lnTo>
                    <a:pt x="984" y="692"/>
                  </a:lnTo>
                  <a:lnTo>
                    <a:pt x="978" y="698"/>
                  </a:lnTo>
                  <a:lnTo>
                    <a:pt x="972" y="706"/>
                  </a:lnTo>
                  <a:lnTo>
                    <a:pt x="967" y="711"/>
                  </a:lnTo>
                  <a:lnTo>
                    <a:pt x="961" y="717"/>
                  </a:lnTo>
                  <a:lnTo>
                    <a:pt x="955" y="723"/>
                  </a:lnTo>
                  <a:lnTo>
                    <a:pt x="948" y="728"/>
                  </a:lnTo>
                  <a:lnTo>
                    <a:pt x="940" y="734"/>
                  </a:lnTo>
                  <a:lnTo>
                    <a:pt x="932" y="738"/>
                  </a:lnTo>
                  <a:lnTo>
                    <a:pt x="932" y="738"/>
                  </a:lnTo>
                  <a:lnTo>
                    <a:pt x="925" y="746"/>
                  </a:lnTo>
                  <a:lnTo>
                    <a:pt x="919" y="751"/>
                  </a:lnTo>
                  <a:lnTo>
                    <a:pt x="913" y="757"/>
                  </a:lnTo>
                  <a:lnTo>
                    <a:pt x="908" y="763"/>
                  </a:lnTo>
                  <a:lnTo>
                    <a:pt x="900" y="769"/>
                  </a:lnTo>
                  <a:lnTo>
                    <a:pt x="894" y="774"/>
                  </a:lnTo>
                  <a:lnTo>
                    <a:pt x="889" y="778"/>
                  </a:lnTo>
                  <a:lnTo>
                    <a:pt x="883" y="784"/>
                  </a:lnTo>
                  <a:lnTo>
                    <a:pt x="877" y="788"/>
                  </a:lnTo>
                  <a:lnTo>
                    <a:pt x="869" y="793"/>
                  </a:lnTo>
                  <a:lnTo>
                    <a:pt x="864" y="797"/>
                  </a:lnTo>
                  <a:lnTo>
                    <a:pt x="858" y="803"/>
                  </a:lnTo>
                  <a:lnTo>
                    <a:pt x="850" y="807"/>
                  </a:lnTo>
                  <a:lnTo>
                    <a:pt x="845" y="812"/>
                  </a:lnTo>
                  <a:lnTo>
                    <a:pt x="837" y="816"/>
                  </a:lnTo>
                  <a:lnTo>
                    <a:pt x="829" y="822"/>
                  </a:lnTo>
                  <a:lnTo>
                    <a:pt x="829" y="822"/>
                  </a:lnTo>
                  <a:lnTo>
                    <a:pt x="822" y="828"/>
                  </a:lnTo>
                  <a:lnTo>
                    <a:pt x="812" y="833"/>
                  </a:lnTo>
                  <a:lnTo>
                    <a:pt x="805" y="839"/>
                  </a:lnTo>
                  <a:lnTo>
                    <a:pt x="799" y="845"/>
                  </a:lnTo>
                  <a:lnTo>
                    <a:pt x="791" y="852"/>
                  </a:lnTo>
                  <a:lnTo>
                    <a:pt x="784" y="858"/>
                  </a:lnTo>
                  <a:lnTo>
                    <a:pt x="776" y="864"/>
                  </a:lnTo>
                  <a:lnTo>
                    <a:pt x="768" y="870"/>
                  </a:lnTo>
                  <a:lnTo>
                    <a:pt x="761" y="875"/>
                  </a:lnTo>
                  <a:lnTo>
                    <a:pt x="753" y="879"/>
                  </a:lnTo>
                  <a:lnTo>
                    <a:pt x="745" y="885"/>
                  </a:lnTo>
                  <a:lnTo>
                    <a:pt x="736" y="889"/>
                  </a:lnTo>
                  <a:lnTo>
                    <a:pt x="726" y="891"/>
                  </a:lnTo>
                  <a:lnTo>
                    <a:pt x="715" y="893"/>
                  </a:lnTo>
                  <a:lnTo>
                    <a:pt x="704" y="894"/>
                  </a:lnTo>
                  <a:lnTo>
                    <a:pt x="692" y="894"/>
                  </a:lnTo>
                  <a:lnTo>
                    <a:pt x="692" y="894"/>
                  </a:lnTo>
                  <a:lnTo>
                    <a:pt x="686" y="894"/>
                  </a:lnTo>
                  <a:lnTo>
                    <a:pt x="681" y="894"/>
                  </a:lnTo>
                  <a:lnTo>
                    <a:pt x="677" y="894"/>
                  </a:lnTo>
                  <a:lnTo>
                    <a:pt x="671" y="894"/>
                  </a:lnTo>
                  <a:lnTo>
                    <a:pt x="667" y="894"/>
                  </a:lnTo>
                  <a:lnTo>
                    <a:pt x="662" y="894"/>
                  </a:lnTo>
                  <a:lnTo>
                    <a:pt x="660" y="894"/>
                  </a:lnTo>
                  <a:lnTo>
                    <a:pt x="656" y="894"/>
                  </a:lnTo>
                  <a:lnTo>
                    <a:pt x="656" y="894"/>
                  </a:lnTo>
                  <a:lnTo>
                    <a:pt x="650" y="894"/>
                  </a:lnTo>
                  <a:lnTo>
                    <a:pt x="644" y="896"/>
                  </a:lnTo>
                  <a:lnTo>
                    <a:pt x="639" y="898"/>
                  </a:lnTo>
                  <a:lnTo>
                    <a:pt x="633" y="900"/>
                  </a:lnTo>
                  <a:lnTo>
                    <a:pt x="627" y="902"/>
                  </a:lnTo>
                  <a:lnTo>
                    <a:pt x="621" y="904"/>
                  </a:lnTo>
                  <a:lnTo>
                    <a:pt x="618" y="908"/>
                  </a:lnTo>
                  <a:lnTo>
                    <a:pt x="612" y="910"/>
                  </a:lnTo>
                  <a:lnTo>
                    <a:pt x="606" y="913"/>
                  </a:lnTo>
                  <a:lnTo>
                    <a:pt x="601" y="917"/>
                  </a:lnTo>
                  <a:lnTo>
                    <a:pt x="595" y="919"/>
                  </a:lnTo>
                  <a:lnTo>
                    <a:pt x="589" y="921"/>
                  </a:lnTo>
                  <a:lnTo>
                    <a:pt x="583" y="923"/>
                  </a:lnTo>
                  <a:lnTo>
                    <a:pt x="578" y="925"/>
                  </a:lnTo>
                  <a:lnTo>
                    <a:pt x="572" y="927"/>
                  </a:lnTo>
                  <a:lnTo>
                    <a:pt x="566" y="927"/>
                  </a:lnTo>
                  <a:lnTo>
                    <a:pt x="497" y="910"/>
                  </a:lnTo>
                  <a:lnTo>
                    <a:pt x="497" y="910"/>
                  </a:lnTo>
                  <a:lnTo>
                    <a:pt x="492" y="912"/>
                  </a:lnTo>
                  <a:lnTo>
                    <a:pt x="488" y="912"/>
                  </a:lnTo>
                  <a:lnTo>
                    <a:pt x="484" y="912"/>
                  </a:lnTo>
                  <a:lnTo>
                    <a:pt x="480" y="913"/>
                  </a:lnTo>
                  <a:lnTo>
                    <a:pt x="477" y="913"/>
                  </a:lnTo>
                  <a:lnTo>
                    <a:pt x="471" y="913"/>
                  </a:lnTo>
                  <a:lnTo>
                    <a:pt x="467" y="913"/>
                  </a:lnTo>
                  <a:lnTo>
                    <a:pt x="463" y="915"/>
                  </a:lnTo>
                  <a:lnTo>
                    <a:pt x="459" y="915"/>
                  </a:lnTo>
                  <a:lnTo>
                    <a:pt x="456" y="915"/>
                  </a:lnTo>
                  <a:lnTo>
                    <a:pt x="452" y="915"/>
                  </a:lnTo>
                  <a:lnTo>
                    <a:pt x="446" y="915"/>
                  </a:lnTo>
                  <a:lnTo>
                    <a:pt x="442" y="915"/>
                  </a:lnTo>
                  <a:lnTo>
                    <a:pt x="436" y="915"/>
                  </a:lnTo>
                  <a:lnTo>
                    <a:pt x="433" y="915"/>
                  </a:lnTo>
                  <a:lnTo>
                    <a:pt x="427" y="915"/>
                  </a:lnTo>
                  <a:lnTo>
                    <a:pt x="427" y="915"/>
                  </a:lnTo>
                  <a:lnTo>
                    <a:pt x="415" y="915"/>
                  </a:lnTo>
                  <a:lnTo>
                    <a:pt x="408" y="917"/>
                  </a:lnTo>
                  <a:lnTo>
                    <a:pt x="400" y="921"/>
                  </a:lnTo>
                  <a:lnTo>
                    <a:pt x="394" y="923"/>
                  </a:lnTo>
                  <a:lnTo>
                    <a:pt x="389" y="927"/>
                  </a:lnTo>
                  <a:lnTo>
                    <a:pt x="383" y="931"/>
                  </a:lnTo>
                  <a:lnTo>
                    <a:pt x="377" y="934"/>
                  </a:lnTo>
                  <a:lnTo>
                    <a:pt x="372" y="938"/>
                  </a:lnTo>
                  <a:lnTo>
                    <a:pt x="372" y="938"/>
                  </a:lnTo>
                  <a:lnTo>
                    <a:pt x="372" y="938"/>
                  </a:lnTo>
                  <a:lnTo>
                    <a:pt x="368" y="938"/>
                  </a:lnTo>
                  <a:lnTo>
                    <a:pt x="364" y="940"/>
                  </a:lnTo>
                  <a:lnTo>
                    <a:pt x="360" y="940"/>
                  </a:lnTo>
                  <a:lnTo>
                    <a:pt x="356" y="940"/>
                  </a:lnTo>
                  <a:lnTo>
                    <a:pt x="351" y="940"/>
                  </a:lnTo>
                  <a:lnTo>
                    <a:pt x="349" y="940"/>
                  </a:lnTo>
                  <a:lnTo>
                    <a:pt x="343" y="940"/>
                  </a:lnTo>
                  <a:lnTo>
                    <a:pt x="339" y="940"/>
                  </a:lnTo>
                  <a:lnTo>
                    <a:pt x="335" y="940"/>
                  </a:lnTo>
                  <a:lnTo>
                    <a:pt x="332" y="940"/>
                  </a:lnTo>
                  <a:lnTo>
                    <a:pt x="328" y="940"/>
                  </a:lnTo>
                  <a:lnTo>
                    <a:pt x="324" y="940"/>
                  </a:lnTo>
                  <a:lnTo>
                    <a:pt x="318" y="940"/>
                  </a:lnTo>
                  <a:lnTo>
                    <a:pt x="314" y="940"/>
                  </a:lnTo>
                  <a:lnTo>
                    <a:pt x="311" y="940"/>
                  </a:lnTo>
                  <a:lnTo>
                    <a:pt x="307" y="940"/>
                  </a:lnTo>
                  <a:lnTo>
                    <a:pt x="307" y="940"/>
                  </a:lnTo>
                  <a:lnTo>
                    <a:pt x="303" y="940"/>
                  </a:lnTo>
                  <a:lnTo>
                    <a:pt x="299" y="940"/>
                  </a:lnTo>
                  <a:lnTo>
                    <a:pt x="293" y="942"/>
                  </a:lnTo>
                  <a:lnTo>
                    <a:pt x="290" y="944"/>
                  </a:lnTo>
                  <a:lnTo>
                    <a:pt x="286" y="946"/>
                  </a:lnTo>
                  <a:lnTo>
                    <a:pt x="280" y="950"/>
                  </a:lnTo>
                  <a:lnTo>
                    <a:pt x="276" y="952"/>
                  </a:lnTo>
                  <a:lnTo>
                    <a:pt x="270" y="954"/>
                  </a:lnTo>
                  <a:lnTo>
                    <a:pt x="267" y="957"/>
                  </a:lnTo>
                  <a:lnTo>
                    <a:pt x="261" y="959"/>
                  </a:lnTo>
                  <a:lnTo>
                    <a:pt x="255" y="963"/>
                  </a:lnTo>
                  <a:lnTo>
                    <a:pt x="251" y="965"/>
                  </a:lnTo>
                  <a:lnTo>
                    <a:pt x="246" y="967"/>
                  </a:lnTo>
                  <a:lnTo>
                    <a:pt x="240" y="969"/>
                  </a:lnTo>
                  <a:lnTo>
                    <a:pt x="234" y="969"/>
                  </a:lnTo>
                  <a:lnTo>
                    <a:pt x="230" y="969"/>
                  </a:lnTo>
                  <a:lnTo>
                    <a:pt x="230" y="969"/>
                  </a:lnTo>
                  <a:lnTo>
                    <a:pt x="223" y="969"/>
                  </a:lnTo>
                  <a:lnTo>
                    <a:pt x="217" y="967"/>
                  </a:lnTo>
                  <a:lnTo>
                    <a:pt x="211" y="967"/>
                  </a:lnTo>
                  <a:lnTo>
                    <a:pt x="208" y="963"/>
                  </a:lnTo>
                  <a:lnTo>
                    <a:pt x="204" y="961"/>
                  </a:lnTo>
                  <a:lnTo>
                    <a:pt x="200" y="957"/>
                  </a:lnTo>
                  <a:lnTo>
                    <a:pt x="196" y="954"/>
                  </a:lnTo>
                  <a:lnTo>
                    <a:pt x="192" y="950"/>
                  </a:lnTo>
                  <a:lnTo>
                    <a:pt x="188" y="946"/>
                  </a:lnTo>
                  <a:lnTo>
                    <a:pt x="185" y="944"/>
                  </a:lnTo>
                  <a:lnTo>
                    <a:pt x="181" y="940"/>
                  </a:lnTo>
                  <a:lnTo>
                    <a:pt x="179" y="936"/>
                  </a:lnTo>
                  <a:lnTo>
                    <a:pt x="175" y="934"/>
                  </a:lnTo>
                  <a:lnTo>
                    <a:pt x="171" y="933"/>
                  </a:lnTo>
                  <a:lnTo>
                    <a:pt x="166" y="933"/>
                  </a:lnTo>
                  <a:lnTo>
                    <a:pt x="162" y="931"/>
                  </a:lnTo>
                  <a:lnTo>
                    <a:pt x="162" y="931"/>
                  </a:lnTo>
                  <a:lnTo>
                    <a:pt x="158" y="931"/>
                  </a:lnTo>
                  <a:lnTo>
                    <a:pt x="154" y="929"/>
                  </a:lnTo>
                  <a:lnTo>
                    <a:pt x="152" y="925"/>
                  </a:lnTo>
                  <a:lnTo>
                    <a:pt x="148" y="923"/>
                  </a:lnTo>
                  <a:lnTo>
                    <a:pt x="147" y="919"/>
                  </a:lnTo>
                  <a:lnTo>
                    <a:pt x="145" y="915"/>
                  </a:lnTo>
                  <a:lnTo>
                    <a:pt x="141" y="913"/>
                  </a:lnTo>
                  <a:lnTo>
                    <a:pt x="137" y="913"/>
                  </a:lnTo>
                  <a:lnTo>
                    <a:pt x="137" y="913"/>
                  </a:lnTo>
                  <a:lnTo>
                    <a:pt x="135" y="913"/>
                  </a:lnTo>
                  <a:lnTo>
                    <a:pt x="131" y="915"/>
                  </a:lnTo>
                  <a:lnTo>
                    <a:pt x="129" y="917"/>
                  </a:lnTo>
                  <a:lnTo>
                    <a:pt x="127" y="919"/>
                  </a:lnTo>
                  <a:lnTo>
                    <a:pt x="126" y="921"/>
                  </a:lnTo>
                  <a:lnTo>
                    <a:pt x="124" y="925"/>
                  </a:lnTo>
                  <a:lnTo>
                    <a:pt x="122" y="927"/>
                  </a:lnTo>
                  <a:lnTo>
                    <a:pt x="120" y="929"/>
                  </a:lnTo>
                  <a:lnTo>
                    <a:pt x="120" y="908"/>
                  </a:lnTo>
                  <a:lnTo>
                    <a:pt x="120" y="908"/>
                  </a:lnTo>
                  <a:lnTo>
                    <a:pt x="122" y="906"/>
                  </a:lnTo>
                  <a:lnTo>
                    <a:pt x="122" y="902"/>
                  </a:lnTo>
                  <a:lnTo>
                    <a:pt x="124" y="900"/>
                  </a:lnTo>
                  <a:lnTo>
                    <a:pt x="126" y="896"/>
                  </a:lnTo>
                  <a:lnTo>
                    <a:pt x="127" y="894"/>
                  </a:lnTo>
                  <a:lnTo>
                    <a:pt x="127" y="891"/>
                  </a:lnTo>
                  <a:lnTo>
                    <a:pt x="129" y="889"/>
                  </a:lnTo>
                  <a:lnTo>
                    <a:pt x="129" y="887"/>
                  </a:lnTo>
                  <a:lnTo>
                    <a:pt x="129" y="887"/>
                  </a:lnTo>
                  <a:lnTo>
                    <a:pt x="127" y="877"/>
                  </a:lnTo>
                  <a:lnTo>
                    <a:pt x="124" y="870"/>
                  </a:lnTo>
                  <a:lnTo>
                    <a:pt x="118" y="864"/>
                  </a:lnTo>
                  <a:lnTo>
                    <a:pt x="112" y="856"/>
                  </a:lnTo>
                  <a:lnTo>
                    <a:pt x="105" y="851"/>
                  </a:lnTo>
                  <a:lnTo>
                    <a:pt x="99" y="845"/>
                  </a:lnTo>
                  <a:lnTo>
                    <a:pt x="95" y="837"/>
                  </a:lnTo>
                  <a:lnTo>
                    <a:pt x="93" y="828"/>
                  </a:lnTo>
                  <a:lnTo>
                    <a:pt x="93" y="828"/>
                  </a:lnTo>
                  <a:lnTo>
                    <a:pt x="95" y="822"/>
                  </a:lnTo>
                  <a:lnTo>
                    <a:pt x="97" y="816"/>
                  </a:lnTo>
                  <a:lnTo>
                    <a:pt x="103" y="812"/>
                  </a:lnTo>
                  <a:lnTo>
                    <a:pt x="106" y="807"/>
                  </a:lnTo>
                  <a:lnTo>
                    <a:pt x="112" y="801"/>
                  </a:lnTo>
                  <a:lnTo>
                    <a:pt x="116" y="795"/>
                  </a:lnTo>
                  <a:lnTo>
                    <a:pt x="118" y="788"/>
                  </a:lnTo>
                  <a:lnTo>
                    <a:pt x="120" y="780"/>
                  </a:lnTo>
                  <a:lnTo>
                    <a:pt x="120" y="780"/>
                  </a:lnTo>
                  <a:lnTo>
                    <a:pt x="120" y="772"/>
                  </a:lnTo>
                  <a:lnTo>
                    <a:pt x="120" y="763"/>
                  </a:lnTo>
                  <a:lnTo>
                    <a:pt x="120" y="755"/>
                  </a:lnTo>
                  <a:lnTo>
                    <a:pt x="118" y="746"/>
                  </a:lnTo>
                  <a:lnTo>
                    <a:pt x="116" y="738"/>
                  </a:lnTo>
                  <a:lnTo>
                    <a:pt x="114" y="730"/>
                  </a:lnTo>
                  <a:lnTo>
                    <a:pt x="110" y="723"/>
                  </a:lnTo>
                  <a:lnTo>
                    <a:pt x="106" y="715"/>
                  </a:lnTo>
                  <a:lnTo>
                    <a:pt x="106" y="715"/>
                  </a:lnTo>
                  <a:lnTo>
                    <a:pt x="101" y="709"/>
                  </a:lnTo>
                  <a:lnTo>
                    <a:pt x="95" y="704"/>
                  </a:lnTo>
                  <a:lnTo>
                    <a:pt x="91" y="698"/>
                  </a:lnTo>
                  <a:lnTo>
                    <a:pt x="85" y="692"/>
                  </a:lnTo>
                  <a:lnTo>
                    <a:pt x="80" y="686"/>
                  </a:lnTo>
                  <a:lnTo>
                    <a:pt x="74" y="679"/>
                  </a:lnTo>
                  <a:lnTo>
                    <a:pt x="68" y="673"/>
                  </a:lnTo>
                  <a:lnTo>
                    <a:pt x="63" y="665"/>
                  </a:lnTo>
                  <a:lnTo>
                    <a:pt x="59" y="660"/>
                  </a:lnTo>
                  <a:lnTo>
                    <a:pt x="53" y="652"/>
                  </a:lnTo>
                  <a:lnTo>
                    <a:pt x="49" y="645"/>
                  </a:lnTo>
                  <a:lnTo>
                    <a:pt x="45" y="637"/>
                  </a:lnTo>
                  <a:lnTo>
                    <a:pt x="42" y="629"/>
                  </a:lnTo>
                  <a:lnTo>
                    <a:pt x="38" y="620"/>
                  </a:lnTo>
                  <a:lnTo>
                    <a:pt x="36" y="612"/>
                  </a:lnTo>
                  <a:lnTo>
                    <a:pt x="34" y="604"/>
                  </a:lnTo>
                  <a:lnTo>
                    <a:pt x="34" y="604"/>
                  </a:lnTo>
                  <a:lnTo>
                    <a:pt x="32" y="591"/>
                  </a:lnTo>
                  <a:lnTo>
                    <a:pt x="28" y="582"/>
                  </a:lnTo>
                  <a:lnTo>
                    <a:pt x="26" y="572"/>
                  </a:lnTo>
                  <a:lnTo>
                    <a:pt x="24" y="562"/>
                  </a:lnTo>
                  <a:lnTo>
                    <a:pt x="23" y="555"/>
                  </a:lnTo>
                  <a:lnTo>
                    <a:pt x="19" y="549"/>
                  </a:lnTo>
                  <a:lnTo>
                    <a:pt x="17" y="543"/>
                  </a:lnTo>
                  <a:lnTo>
                    <a:pt x="13" y="538"/>
                  </a:lnTo>
                  <a:lnTo>
                    <a:pt x="11" y="532"/>
                  </a:lnTo>
                  <a:lnTo>
                    <a:pt x="9" y="528"/>
                  </a:lnTo>
                  <a:lnTo>
                    <a:pt x="7" y="522"/>
                  </a:lnTo>
                  <a:lnTo>
                    <a:pt x="5" y="519"/>
                  </a:lnTo>
                  <a:lnTo>
                    <a:pt x="3" y="513"/>
                  </a:lnTo>
                  <a:lnTo>
                    <a:pt x="2" y="509"/>
                  </a:lnTo>
                  <a:lnTo>
                    <a:pt x="0" y="503"/>
                  </a:lnTo>
                  <a:lnTo>
                    <a:pt x="0" y="496"/>
                  </a:lnTo>
                  <a:lnTo>
                    <a:pt x="0" y="496"/>
                  </a:lnTo>
                  <a:lnTo>
                    <a:pt x="5" y="492"/>
                  </a:lnTo>
                  <a:lnTo>
                    <a:pt x="9" y="486"/>
                  </a:lnTo>
                  <a:lnTo>
                    <a:pt x="13" y="479"/>
                  </a:lnTo>
                  <a:lnTo>
                    <a:pt x="15" y="471"/>
                  </a:lnTo>
                  <a:lnTo>
                    <a:pt x="17" y="463"/>
                  </a:lnTo>
                  <a:lnTo>
                    <a:pt x="21" y="458"/>
                  </a:lnTo>
                  <a:lnTo>
                    <a:pt x="26" y="454"/>
                  </a:lnTo>
                  <a:lnTo>
                    <a:pt x="34" y="452"/>
                  </a:lnTo>
                  <a:lnTo>
                    <a:pt x="34" y="452"/>
                  </a:lnTo>
                  <a:lnTo>
                    <a:pt x="44" y="454"/>
                  </a:lnTo>
                  <a:lnTo>
                    <a:pt x="51" y="459"/>
                  </a:lnTo>
                  <a:lnTo>
                    <a:pt x="57" y="465"/>
                  </a:lnTo>
                  <a:lnTo>
                    <a:pt x="61" y="473"/>
                  </a:lnTo>
                  <a:lnTo>
                    <a:pt x="64" y="480"/>
                  </a:lnTo>
                  <a:lnTo>
                    <a:pt x="68" y="490"/>
                  </a:lnTo>
                  <a:lnTo>
                    <a:pt x="72" y="498"/>
                  </a:lnTo>
                  <a:lnTo>
                    <a:pt x="76" y="503"/>
                  </a:lnTo>
                  <a:lnTo>
                    <a:pt x="76" y="503"/>
                  </a:lnTo>
                  <a:lnTo>
                    <a:pt x="80" y="505"/>
                  </a:lnTo>
                  <a:lnTo>
                    <a:pt x="84" y="509"/>
                  </a:lnTo>
                  <a:lnTo>
                    <a:pt x="89" y="511"/>
                  </a:lnTo>
                  <a:lnTo>
                    <a:pt x="95" y="513"/>
                  </a:lnTo>
                  <a:lnTo>
                    <a:pt x="103" y="515"/>
                  </a:lnTo>
                  <a:lnTo>
                    <a:pt x="108" y="515"/>
                  </a:lnTo>
                  <a:lnTo>
                    <a:pt x="116" y="517"/>
                  </a:lnTo>
                  <a:lnTo>
                    <a:pt x="124" y="517"/>
                  </a:lnTo>
                  <a:lnTo>
                    <a:pt x="131" y="519"/>
                  </a:lnTo>
                  <a:lnTo>
                    <a:pt x="139" y="519"/>
                  </a:lnTo>
                  <a:lnTo>
                    <a:pt x="147" y="519"/>
                  </a:lnTo>
                  <a:lnTo>
                    <a:pt x="154" y="521"/>
                  </a:lnTo>
                  <a:lnTo>
                    <a:pt x="162" y="521"/>
                  </a:lnTo>
                  <a:lnTo>
                    <a:pt x="167" y="521"/>
                  </a:lnTo>
                  <a:lnTo>
                    <a:pt x="173" y="521"/>
                  </a:lnTo>
                  <a:lnTo>
                    <a:pt x="179" y="521"/>
                  </a:lnTo>
                  <a:lnTo>
                    <a:pt x="179" y="521"/>
                  </a:lnTo>
                  <a:lnTo>
                    <a:pt x="185" y="521"/>
                  </a:lnTo>
                  <a:lnTo>
                    <a:pt x="188" y="519"/>
                  </a:lnTo>
                  <a:lnTo>
                    <a:pt x="194" y="517"/>
                  </a:lnTo>
                  <a:lnTo>
                    <a:pt x="198" y="515"/>
                  </a:lnTo>
                  <a:lnTo>
                    <a:pt x="202" y="511"/>
                  </a:lnTo>
                  <a:lnTo>
                    <a:pt x="208" y="509"/>
                  </a:lnTo>
                  <a:lnTo>
                    <a:pt x="211" y="505"/>
                  </a:lnTo>
                  <a:lnTo>
                    <a:pt x="215" y="501"/>
                  </a:lnTo>
                  <a:lnTo>
                    <a:pt x="219" y="500"/>
                  </a:lnTo>
                  <a:lnTo>
                    <a:pt x="225" y="496"/>
                  </a:lnTo>
                  <a:lnTo>
                    <a:pt x="229" y="492"/>
                  </a:lnTo>
                  <a:lnTo>
                    <a:pt x="232" y="490"/>
                  </a:lnTo>
                  <a:lnTo>
                    <a:pt x="238" y="488"/>
                  </a:lnTo>
                  <a:lnTo>
                    <a:pt x="244" y="486"/>
                  </a:lnTo>
                  <a:lnTo>
                    <a:pt x="250" y="484"/>
                  </a:lnTo>
                  <a:lnTo>
                    <a:pt x="255" y="484"/>
                  </a:lnTo>
                  <a:lnTo>
                    <a:pt x="255" y="482"/>
                  </a:lnTo>
                  <a:lnTo>
                    <a:pt x="253" y="213"/>
                  </a:lnTo>
                  <a:lnTo>
                    <a:pt x="265" y="217"/>
                  </a:lnTo>
                  <a:lnTo>
                    <a:pt x="265" y="217"/>
                  </a:lnTo>
                  <a:lnTo>
                    <a:pt x="269" y="219"/>
                  </a:lnTo>
                  <a:lnTo>
                    <a:pt x="274" y="223"/>
                  </a:lnTo>
                  <a:lnTo>
                    <a:pt x="278" y="227"/>
                  </a:lnTo>
                  <a:lnTo>
                    <a:pt x="282" y="231"/>
                  </a:lnTo>
                  <a:lnTo>
                    <a:pt x="286" y="234"/>
                  </a:lnTo>
                  <a:lnTo>
                    <a:pt x="290" y="238"/>
                  </a:lnTo>
                  <a:lnTo>
                    <a:pt x="295" y="242"/>
                  </a:lnTo>
                  <a:lnTo>
                    <a:pt x="299" y="248"/>
                  </a:lnTo>
                  <a:lnTo>
                    <a:pt x="301" y="252"/>
                  </a:lnTo>
                  <a:lnTo>
                    <a:pt x="305" y="257"/>
                  </a:lnTo>
                  <a:lnTo>
                    <a:pt x="307" y="263"/>
                  </a:lnTo>
                  <a:lnTo>
                    <a:pt x="311" y="269"/>
                  </a:lnTo>
                  <a:lnTo>
                    <a:pt x="312" y="276"/>
                  </a:lnTo>
                  <a:lnTo>
                    <a:pt x="312" y="284"/>
                  </a:lnTo>
                  <a:lnTo>
                    <a:pt x="314" y="292"/>
                  </a:lnTo>
                  <a:lnTo>
                    <a:pt x="314" y="299"/>
                  </a:lnTo>
                  <a:lnTo>
                    <a:pt x="314" y="299"/>
                  </a:lnTo>
                  <a:lnTo>
                    <a:pt x="314" y="307"/>
                  </a:lnTo>
                  <a:lnTo>
                    <a:pt x="312" y="314"/>
                  </a:lnTo>
                  <a:lnTo>
                    <a:pt x="311" y="320"/>
                  </a:lnTo>
                  <a:lnTo>
                    <a:pt x="307" y="324"/>
                  </a:lnTo>
                  <a:lnTo>
                    <a:pt x="305" y="328"/>
                  </a:lnTo>
                  <a:lnTo>
                    <a:pt x="303" y="334"/>
                  </a:lnTo>
                  <a:lnTo>
                    <a:pt x="301" y="339"/>
                  </a:lnTo>
                  <a:lnTo>
                    <a:pt x="301" y="347"/>
                  </a:lnTo>
                  <a:lnTo>
                    <a:pt x="301" y="347"/>
                  </a:lnTo>
                  <a:lnTo>
                    <a:pt x="301" y="351"/>
                  </a:lnTo>
                  <a:lnTo>
                    <a:pt x="303" y="355"/>
                  </a:lnTo>
                  <a:lnTo>
                    <a:pt x="307" y="356"/>
                  </a:lnTo>
                  <a:lnTo>
                    <a:pt x="312" y="358"/>
                  </a:lnTo>
                  <a:lnTo>
                    <a:pt x="316" y="358"/>
                  </a:lnTo>
                  <a:lnTo>
                    <a:pt x="322" y="358"/>
                  </a:lnTo>
                  <a:lnTo>
                    <a:pt x="328" y="358"/>
                  </a:lnTo>
                  <a:lnTo>
                    <a:pt x="332" y="360"/>
                  </a:lnTo>
                  <a:lnTo>
                    <a:pt x="332" y="360"/>
                  </a:lnTo>
                  <a:lnTo>
                    <a:pt x="341" y="362"/>
                  </a:lnTo>
                  <a:lnTo>
                    <a:pt x="351" y="364"/>
                  </a:lnTo>
                  <a:lnTo>
                    <a:pt x="360" y="364"/>
                  </a:lnTo>
                  <a:lnTo>
                    <a:pt x="370" y="362"/>
                  </a:lnTo>
                  <a:lnTo>
                    <a:pt x="377" y="360"/>
                  </a:lnTo>
                  <a:lnTo>
                    <a:pt x="387" y="356"/>
                  </a:lnTo>
                  <a:lnTo>
                    <a:pt x="394" y="353"/>
                  </a:lnTo>
                  <a:lnTo>
                    <a:pt x="404" y="349"/>
                  </a:lnTo>
                  <a:lnTo>
                    <a:pt x="412" y="343"/>
                  </a:lnTo>
                  <a:lnTo>
                    <a:pt x="419" y="337"/>
                  </a:lnTo>
                  <a:lnTo>
                    <a:pt x="425" y="332"/>
                  </a:lnTo>
                  <a:lnTo>
                    <a:pt x="433" y="326"/>
                  </a:lnTo>
                  <a:lnTo>
                    <a:pt x="438" y="320"/>
                  </a:lnTo>
                  <a:lnTo>
                    <a:pt x="444" y="314"/>
                  </a:lnTo>
                  <a:lnTo>
                    <a:pt x="450" y="309"/>
                  </a:lnTo>
                  <a:lnTo>
                    <a:pt x="454" y="305"/>
                  </a:lnTo>
                  <a:lnTo>
                    <a:pt x="454" y="305"/>
                  </a:lnTo>
                  <a:lnTo>
                    <a:pt x="459" y="297"/>
                  </a:lnTo>
                  <a:lnTo>
                    <a:pt x="463" y="288"/>
                  </a:lnTo>
                  <a:lnTo>
                    <a:pt x="465" y="280"/>
                  </a:lnTo>
                  <a:lnTo>
                    <a:pt x="469" y="271"/>
                  </a:lnTo>
                  <a:lnTo>
                    <a:pt x="473" y="261"/>
                  </a:lnTo>
                  <a:lnTo>
                    <a:pt x="477" y="255"/>
                  </a:lnTo>
                  <a:lnTo>
                    <a:pt x="486" y="250"/>
                  </a:lnTo>
                  <a:lnTo>
                    <a:pt x="497" y="248"/>
                  </a:lnTo>
                  <a:lnTo>
                    <a:pt x="497" y="248"/>
                  </a:lnTo>
                  <a:lnTo>
                    <a:pt x="507" y="250"/>
                  </a:lnTo>
                  <a:lnTo>
                    <a:pt x="515" y="252"/>
                  </a:lnTo>
                  <a:lnTo>
                    <a:pt x="520" y="255"/>
                  </a:lnTo>
                  <a:lnTo>
                    <a:pt x="528" y="261"/>
                  </a:lnTo>
                  <a:lnTo>
                    <a:pt x="534" y="265"/>
                  </a:lnTo>
                  <a:lnTo>
                    <a:pt x="539" y="271"/>
                  </a:lnTo>
                  <a:lnTo>
                    <a:pt x="545" y="274"/>
                  </a:lnTo>
                  <a:lnTo>
                    <a:pt x="551" y="278"/>
                  </a:lnTo>
                  <a:lnTo>
                    <a:pt x="551" y="278"/>
                  </a:lnTo>
                  <a:lnTo>
                    <a:pt x="560" y="278"/>
                  </a:lnTo>
                  <a:lnTo>
                    <a:pt x="570" y="278"/>
                  </a:lnTo>
                  <a:lnTo>
                    <a:pt x="578" y="278"/>
                  </a:lnTo>
                  <a:lnTo>
                    <a:pt x="585" y="278"/>
                  </a:lnTo>
                  <a:lnTo>
                    <a:pt x="593" y="278"/>
                  </a:lnTo>
                  <a:lnTo>
                    <a:pt x="599" y="278"/>
                  </a:lnTo>
                  <a:lnTo>
                    <a:pt x="604" y="278"/>
                  </a:lnTo>
                  <a:lnTo>
                    <a:pt x="608" y="278"/>
                  </a:lnTo>
                  <a:lnTo>
                    <a:pt x="614" y="278"/>
                  </a:lnTo>
                  <a:lnTo>
                    <a:pt x="618" y="278"/>
                  </a:lnTo>
                  <a:lnTo>
                    <a:pt x="621" y="278"/>
                  </a:lnTo>
                  <a:lnTo>
                    <a:pt x="627" y="278"/>
                  </a:lnTo>
                  <a:lnTo>
                    <a:pt x="631" y="278"/>
                  </a:lnTo>
                  <a:lnTo>
                    <a:pt x="635" y="278"/>
                  </a:lnTo>
                  <a:lnTo>
                    <a:pt x="641" y="278"/>
                  </a:lnTo>
                  <a:lnTo>
                    <a:pt x="644" y="278"/>
                  </a:lnTo>
                  <a:lnTo>
                    <a:pt x="644" y="278"/>
                  </a:lnTo>
                  <a:lnTo>
                    <a:pt x="652" y="278"/>
                  </a:lnTo>
                  <a:lnTo>
                    <a:pt x="660" y="276"/>
                  </a:lnTo>
                  <a:lnTo>
                    <a:pt x="665" y="274"/>
                  </a:lnTo>
                  <a:lnTo>
                    <a:pt x="671" y="272"/>
                  </a:lnTo>
                  <a:lnTo>
                    <a:pt x="675" y="271"/>
                  </a:lnTo>
                  <a:lnTo>
                    <a:pt x="679" y="267"/>
                  </a:lnTo>
                  <a:lnTo>
                    <a:pt x="683" y="263"/>
                  </a:lnTo>
                  <a:lnTo>
                    <a:pt x="684" y="259"/>
                  </a:lnTo>
                  <a:lnTo>
                    <a:pt x="688" y="253"/>
                  </a:lnTo>
                  <a:lnTo>
                    <a:pt x="690" y="248"/>
                  </a:lnTo>
                  <a:lnTo>
                    <a:pt x="694" y="244"/>
                  </a:lnTo>
                  <a:lnTo>
                    <a:pt x="696" y="236"/>
                  </a:lnTo>
                  <a:lnTo>
                    <a:pt x="698" y="231"/>
                  </a:lnTo>
                  <a:lnTo>
                    <a:pt x="700" y="225"/>
                  </a:lnTo>
                  <a:lnTo>
                    <a:pt x="702" y="217"/>
                  </a:lnTo>
                  <a:lnTo>
                    <a:pt x="704" y="210"/>
                  </a:lnTo>
                  <a:lnTo>
                    <a:pt x="704" y="210"/>
                  </a:lnTo>
                  <a:lnTo>
                    <a:pt x="707" y="206"/>
                  </a:lnTo>
                  <a:lnTo>
                    <a:pt x="709" y="204"/>
                  </a:lnTo>
                  <a:lnTo>
                    <a:pt x="715" y="202"/>
                  </a:lnTo>
                  <a:lnTo>
                    <a:pt x="719" y="202"/>
                  </a:lnTo>
                  <a:lnTo>
                    <a:pt x="724" y="202"/>
                  </a:lnTo>
                  <a:lnTo>
                    <a:pt x="730" y="200"/>
                  </a:lnTo>
                  <a:lnTo>
                    <a:pt x="734" y="200"/>
                  </a:lnTo>
                  <a:lnTo>
                    <a:pt x="738" y="198"/>
                  </a:lnTo>
                  <a:lnTo>
                    <a:pt x="738" y="198"/>
                  </a:lnTo>
                  <a:lnTo>
                    <a:pt x="744" y="194"/>
                  </a:lnTo>
                  <a:lnTo>
                    <a:pt x="749" y="190"/>
                  </a:lnTo>
                  <a:lnTo>
                    <a:pt x="753" y="187"/>
                  </a:lnTo>
                  <a:lnTo>
                    <a:pt x="757" y="183"/>
                  </a:lnTo>
                  <a:lnTo>
                    <a:pt x="761" y="179"/>
                  </a:lnTo>
                  <a:lnTo>
                    <a:pt x="765" y="175"/>
                  </a:lnTo>
                  <a:lnTo>
                    <a:pt x="768" y="169"/>
                  </a:lnTo>
                  <a:lnTo>
                    <a:pt x="770" y="166"/>
                  </a:lnTo>
                  <a:lnTo>
                    <a:pt x="774" y="160"/>
                  </a:lnTo>
                  <a:lnTo>
                    <a:pt x="776" y="156"/>
                  </a:lnTo>
                  <a:lnTo>
                    <a:pt x="778" y="150"/>
                  </a:lnTo>
                  <a:lnTo>
                    <a:pt x="782" y="147"/>
                  </a:lnTo>
                  <a:lnTo>
                    <a:pt x="784" y="141"/>
                  </a:lnTo>
                  <a:lnTo>
                    <a:pt x="786" y="137"/>
                  </a:lnTo>
                  <a:lnTo>
                    <a:pt x="789" y="131"/>
                  </a:lnTo>
                  <a:lnTo>
                    <a:pt x="793" y="128"/>
                  </a:lnTo>
                  <a:lnTo>
                    <a:pt x="793" y="128"/>
                  </a:lnTo>
                  <a:lnTo>
                    <a:pt x="797" y="122"/>
                  </a:lnTo>
                  <a:lnTo>
                    <a:pt x="803" y="118"/>
                  </a:lnTo>
                  <a:lnTo>
                    <a:pt x="808" y="116"/>
                  </a:lnTo>
                  <a:lnTo>
                    <a:pt x="814" y="112"/>
                  </a:lnTo>
                  <a:lnTo>
                    <a:pt x="818" y="108"/>
                  </a:lnTo>
                  <a:lnTo>
                    <a:pt x="824" y="107"/>
                  </a:lnTo>
                  <a:lnTo>
                    <a:pt x="827" y="103"/>
                  </a:lnTo>
                  <a:lnTo>
                    <a:pt x="831" y="101"/>
                  </a:lnTo>
                  <a:lnTo>
                    <a:pt x="831" y="101"/>
                  </a:lnTo>
                  <a:lnTo>
                    <a:pt x="839" y="93"/>
                  </a:lnTo>
                  <a:lnTo>
                    <a:pt x="845" y="86"/>
                  </a:lnTo>
                  <a:lnTo>
                    <a:pt x="850" y="78"/>
                  </a:lnTo>
                  <a:lnTo>
                    <a:pt x="856" y="68"/>
                  </a:lnTo>
                  <a:lnTo>
                    <a:pt x="862" y="63"/>
                  </a:lnTo>
                  <a:lnTo>
                    <a:pt x="868" y="55"/>
                  </a:lnTo>
                  <a:lnTo>
                    <a:pt x="875" y="47"/>
                  </a:lnTo>
                  <a:lnTo>
                    <a:pt x="885" y="42"/>
                  </a:lnTo>
                  <a:lnTo>
                    <a:pt x="885" y="42"/>
                  </a:lnTo>
                  <a:lnTo>
                    <a:pt x="889" y="40"/>
                  </a:lnTo>
                  <a:lnTo>
                    <a:pt x="892" y="40"/>
                  </a:lnTo>
                  <a:lnTo>
                    <a:pt x="896" y="40"/>
                  </a:lnTo>
                  <a:lnTo>
                    <a:pt x="902" y="40"/>
                  </a:lnTo>
                  <a:lnTo>
                    <a:pt x="908" y="40"/>
                  </a:lnTo>
                  <a:lnTo>
                    <a:pt x="911" y="40"/>
                  </a:lnTo>
                  <a:lnTo>
                    <a:pt x="917" y="40"/>
                  </a:lnTo>
                  <a:lnTo>
                    <a:pt x="921" y="40"/>
                  </a:lnTo>
                  <a:lnTo>
                    <a:pt x="921" y="40"/>
                  </a:lnTo>
                  <a:lnTo>
                    <a:pt x="927" y="38"/>
                  </a:lnTo>
                  <a:lnTo>
                    <a:pt x="932" y="34"/>
                  </a:lnTo>
                  <a:lnTo>
                    <a:pt x="942" y="28"/>
                  </a:lnTo>
                  <a:lnTo>
                    <a:pt x="951" y="23"/>
                  </a:lnTo>
                  <a:lnTo>
                    <a:pt x="959" y="17"/>
                  </a:lnTo>
                  <a:lnTo>
                    <a:pt x="969" y="11"/>
                  </a:lnTo>
                  <a:lnTo>
                    <a:pt x="976" y="5"/>
                  </a:lnTo>
                  <a:lnTo>
                    <a:pt x="982" y="0"/>
                  </a:lnTo>
                  <a:lnTo>
                    <a:pt x="982" y="0"/>
                  </a:lnTo>
                  <a:lnTo>
                    <a:pt x="988" y="2"/>
                  </a:lnTo>
                  <a:lnTo>
                    <a:pt x="995" y="4"/>
                  </a:lnTo>
                  <a:lnTo>
                    <a:pt x="1003" y="4"/>
                  </a:lnTo>
                  <a:lnTo>
                    <a:pt x="1011" y="5"/>
                  </a:lnTo>
                  <a:lnTo>
                    <a:pt x="1018" y="7"/>
                  </a:lnTo>
                  <a:lnTo>
                    <a:pt x="1026" y="11"/>
                  </a:lnTo>
                  <a:lnTo>
                    <a:pt x="1030" y="15"/>
                  </a:lnTo>
                  <a:lnTo>
                    <a:pt x="1035" y="21"/>
                  </a:lnTo>
                  <a:lnTo>
                    <a:pt x="1035" y="21"/>
                  </a:lnTo>
                  <a:lnTo>
                    <a:pt x="1045" y="21"/>
                  </a:lnTo>
                  <a:lnTo>
                    <a:pt x="1053" y="21"/>
                  </a:lnTo>
                  <a:lnTo>
                    <a:pt x="1060" y="21"/>
                  </a:lnTo>
                  <a:lnTo>
                    <a:pt x="1066" y="21"/>
                  </a:lnTo>
                  <a:lnTo>
                    <a:pt x="1072" y="21"/>
                  </a:lnTo>
                  <a:lnTo>
                    <a:pt x="1075" y="21"/>
                  </a:lnTo>
                  <a:lnTo>
                    <a:pt x="1081" y="21"/>
                  </a:lnTo>
                  <a:lnTo>
                    <a:pt x="1085" y="21"/>
                  </a:lnTo>
                  <a:lnTo>
                    <a:pt x="1087" y="21"/>
                  </a:lnTo>
                  <a:lnTo>
                    <a:pt x="1091" y="21"/>
                  </a:lnTo>
                  <a:lnTo>
                    <a:pt x="1095" y="21"/>
                  </a:lnTo>
                  <a:lnTo>
                    <a:pt x="1096" y="21"/>
                  </a:lnTo>
                  <a:lnTo>
                    <a:pt x="1100" y="21"/>
                  </a:lnTo>
                  <a:lnTo>
                    <a:pt x="1104" y="21"/>
                  </a:lnTo>
                  <a:lnTo>
                    <a:pt x="1108" y="21"/>
                  </a:lnTo>
                  <a:lnTo>
                    <a:pt x="1112" y="21"/>
                  </a:lnTo>
                  <a:lnTo>
                    <a:pt x="1114" y="21"/>
                  </a:lnTo>
                  <a:lnTo>
                    <a:pt x="1114" y="21"/>
                  </a:lnTo>
                  <a:lnTo>
                    <a:pt x="1114" y="28"/>
                  </a:lnTo>
                  <a:lnTo>
                    <a:pt x="1114" y="38"/>
                  </a:lnTo>
                  <a:lnTo>
                    <a:pt x="1116" y="45"/>
                  </a:lnTo>
                  <a:lnTo>
                    <a:pt x="1117" y="53"/>
                  </a:lnTo>
                  <a:lnTo>
                    <a:pt x="1119" y="63"/>
                  </a:lnTo>
                  <a:lnTo>
                    <a:pt x="1121" y="70"/>
                  </a:lnTo>
                  <a:lnTo>
                    <a:pt x="1123" y="78"/>
                  </a:lnTo>
                  <a:lnTo>
                    <a:pt x="1125" y="87"/>
                  </a:lnTo>
                  <a:lnTo>
                    <a:pt x="1125" y="99"/>
                  </a:lnTo>
                  <a:lnTo>
                    <a:pt x="1125" y="99"/>
                  </a:lnTo>
                  <a:lnTo>
                    <a:pt x="1127" y="103"/>
                  </a:lnTo>
                  <a:lnTo>
                    <a:pt x="1129" y="107"/>
                  </a:lnTo>
                  <a:lnTo>
                    <a:pt x="1131" y="112"/>
                  </a:lnTo>
                  <a:lnTo>
                    <a:pt x="1135" y="116"/>
                  </a:lnTo>
                  <a:lnTo>
                    <a:pt x="1137" y="120"/>
                  </a:lnTo>
                  <a:lnTo>
                    <a:pt x="1138" y="126"/>
                  </a:lnTo>
                  <a:lnTo>
                    <a:pt x="1140" y="129"/>
                  </a:lnTo>
                  <a:lnTo>
                    <a:pt x="1142" y="135"/>
                  </a:lnTo>
                  <a:lnTo>
                    <a:pt x="1144" y="141"/>
                  </a:lnTo>
                  <a:lnTo>
                    <a:pt x="1146" y="147"/>
                  </a:lnTo>
                  <a:lnTo>
                    <a:pt x="1148" y="152"/>
                  </a:lnTo>
                  <a:lnTo>
                    <a:pt x="1150" y="158"/>
                  </a:lnTo>
                  <a:lnTo>
                    <a:pt x="1150" y="164"/>
                  </a:lnTo>
                  <a:lnTo>
                    <a:pt x="1152" y="169"/>
                  </a:lnTo>
                  <a:lnTo>
                    <a:pt x="1152" y="175"/>
                  </a:lnTo>
                  <a:lnTo>
                    <a:pt x="1152" y="181"/>
                  </a:lnTo>
                  <a:lnTo>
                    <a:pt x="1152" y="181"/>
                  </a:lnTo>
                  <a:lnTo>
                    <a:pt x="1152" y="185"/>
                  </a:lnTo>
                  <a:lnTo>
                    <a:pt x="1152" y="189"/>
                  </a:lnTo>
                  <a:lnTo>
                    <a:pt x="1152" y="192"/>
                  </a:lnTo>
                  <a:lnTo>
                    <a:pt x="1152" y="196"/>
                  </a:lnTo>
                  <a:lnTo>
                    <a:pt x="1152" y="200"/>
                  </a:lnTo>
                  <a:lnTo>
                    <a:pt x="1152" y="206"/>
                  </a:lnTo>
                  <a:lnTo>
                    <a:pt x="1152" y="210"/>
                  </a:lnTo>
                  <a:lnTo>
                    <a:pt x="1152" y="213"/>
                  </a:lnTo>
                  <a:lnTo>
                    <a:pt x="1152" y="219"/>
                  </a:lnTo>
                  <a:lnTo>
                    <a:pt x="1150" y="223"/>
                  </a:lnTo>
                  <a:lnTo>
                    <a:pt x="1150" y="227"/>
                  </a:lnTo>
                  <a:lnTo>
                    <a:pt x="1150" y="232"/>
                  </a:lnTo>
                  <a:lnTo>
                    <a:pt x="1148" y="236"/>
                  </a:lnTo>
                  <a:lnTo>
                    <a:pt x="1148" y="240"/>
                  </a:lnTo>
                  <a:lnTo>
                    <a:pt x="1146" y="244"/>
                  </a:lnTo>
                  <a:lnTo>
                    <a:pt x="1144" y="248"/>
                  </a:lnTo>
                  <a:lnTo>
                    <a:pt x="1144" y="288"/>
                  </a:lnTo>
                  <a:lnTo>
                    <a:pt x="1138" y="29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0" name="Freeform 24"/>
            <p:cNvSpPr>
              <a:spLocks/>
            </p:cNvSpPr>
            <p:nvPr/>
          </p:nvSpPr>
          <p:spPr bwMode="gray">
            <a:xfrm>
              <a:off x="2736" y="3604"/>
              <a:ext cx="109" cy="88"/>
            </a:xfrm>
            <a:custGeom>
              <a:avLst/>
              <a:gdLst/>
              <a:ahLst/>
              <a:cxnLst>
                <a:cxn ang="0">
                  <a:pos x="66" y="20"/>
                </a:cxn>
                <a:cxn ang="0">
                  <a:pos x="74" y="14"/>
                </a:cxn>
                <a:cxn ang="0">
                  <a:pos x="87" y="8"/>
                </a:cxn>
                <a:cxn ang="0">
                  <a:pos x="103" y="4"/>
                </a:cxn>
                <a:cxn ang="0">
                  <a:pos x="112" y="0"/>
                </a:cxn>
                <a:cxn ang="0">
                  <a:pos x="114" y="2"/>
                </a:cxn>
                <a:cxn ang="0">
                  <a:pos x="124" y="4"/>
                </a:cxn>
                <a:cxn ang="0">
                  <a:pos x="135" y="6"/>
                </a:cxn>
                <a:cxn ang="0">
                  <a:pos x="149" y="12"/>
                </a:cxn>
                <a:cxn ang="0">
                  <a:pos x="162" y="18"/>
                </a:cxn>
                <a:cxn ang="0">
                  <a:pos x="175" y="23"/>
                </a:cxn>
                <a:cxn ang="0">
                  <a:pos x="185" y="31"/>
                </a:cxn>
                <a:cxn ang="0">
                  <a:pos x="190" y="37"/>
                </a:cxn>
                <a:cxn ang="0">
                  <a:pos x="190" y="40"/>
                </a:cxn>
                <a:cxn ang="0">
                  <a:pos x="189" y="46"/>
                </a:cxn>
                <a:cxn ang="0">
                  <a:pos x="185" y="56"/>
                </a:cxn>
                <a:cxn ang="0">
                  <a:pos x="175" y="69"/>
                </a:cxn>
                <a:cxn ang="0">
                  <a:pos x="166" y="82"/>
                </a:cxn>
                <a:cxn ang="0">
                  <a:pos x="156" y="94"/>
                </a:cxn>
                <a:cxn ang="0">
                  <a:pos x="149" y="105"/>
                </a:cxn>
                <a:cxn ang="0">
                  <a:pos x="141" y="113"/>
                </a:cxn>
                <a:cxn ang="0">
                  <a:pos x="137" y="117"/>
                </a:cxn>
                <a:cxn ang="0">
                  <a:pos x="135" y="119"/>
                </a:cxn>
                <a:cxn ang="0">
                  <a:pos x="126" y="121"/>
                </a:cxn>
                <a:cxn ang="0">
                  <a:pos x="116" y="119"/>
                </a:cxn>
                <a:cxn ang="0">
                  <a:pos x="107" y="119"/>
                </a:cxn>
                <a:cxn ang="0">
                  <a:pos x="103" y="119"/>
                </a:cxn>
                <a:cxn ang="0">
                  <a:pos x="91" y="128"/>
                </a:cxn>
                <a:cxn ang="0">
                  <a:pos x="84" y="144"/>
                </a:cxn>
                <a:cxn ang="0">
                  <a:pos x="76" y="155"/>
                </a:cxn>
                <a:cxn ang="0">
                  <a:pos x="61" y="161"/>
                </a:cxn>
                <a:cxn ang="0">
                  <a:pos x="55" y="161"/>
                </a:cxn>
                <a:cxn ang="0">
                  <a:pos x="46" y="155"/>
                </a:cxn>
                <a:cxn ang="0">
                  <a:pos x="36" y="147"/>
                </a:cxn>
                <a:cxn ang="0">
                  <a:pos x="26" y="136"/>
                </a:cxn>
                <a:cxn ang="0">
                  <a:pos x="19" y="123"/>
                </a:cxn>
                <a:cxn ang="0">
                  <a:pos x="13" y="107"/>
                </a:cxn>
                <a:cxn ang="0">
                  <a:pos x="7" y="96"/>
                </a:cxn>
                <a:cxn ang="0">
                  <a:pos x="2" y="84"/>
                </a:cxn>
                <a:cxn ang="0">
                  <a:pos x="17" y="75"/>
                </a:cxn>
              </a:cxnLst>
              <a:rect l="0" t="0" r="r" b="b"/>
              <a:pathLst>
                <a:path w="190" h="161">
                  <a:moveTo>
                    <a:pt x="66" y="20"/>
                  </a:moveTo>
                  <a:lnTo>
                    <a:pt x="66" y="20"/>
                  </a:lnTo>
                  <a:lnTo>
                    <a:pt x="68" y="18"/>
                  </a:lnTo>
                  <a:lnTo>
                    <a:pt x="74" y="14"/>
                  </a:lnTo>
                  <a:lnTo>
                    <a:pt x="80" y="12"/>
                  </a:lnTo>
                  <a:lnTo>
                    <a:pt x="87" y="8"/>
                  </a:lnTo>
                  <a:lnTo>
                    <a:pt x="95" y="6"/>
                  </a:lnTo>
                  <a:lnTo>
                    <a:pt x="103" y="4"/>
                  </a:lnTo>
                  <a:lnTo>
                    <a:pt x="108" y="2"/>
                  </a:lnTo>
                  <a:lnTo>
                    <a:pt x="112" y="0"/>
                  </a:lnTo>
                  <a:lnTo>
                    <a:pt x="112" y="0"/>
                  </a:lnTo>
                  <a:lnTo>
                    <a:pt x="114" y="2"/>
                  </a:lnTo>
                  <a:lnTo>
                    <a:pt x="118" y="2"/>
                  </a:lnTo>
                  <a:lnTo>
                    <a:pt x="124" y="4"/>
                  </a:lnTo>
                  <a:lnTo>
                    <a:pt x="129" y="4"/>
                  </a:lnTo>
                  <a:lnTo>
                    <a:pt x="135" y="6"/>
                  </a:lnTo>
                  <a:lnTo>
                    <a:pt x="141" y="10"/>
                  </a:lnTo>
                  <a:lnTo>
                    <a:pt x="149" y="12"/>
                  </a:lnTo>
                  <a:lnTo>
                    <a:pt x="156" y="14"/>
                  </a:lnTo>
                  <a:lnTo>
                    <a:pt x="162" y="18"/>
                  </a:lnTo>
                  <a:lnTo>
                    <a:pt x="170" y="20"/>
                  </a:lnTo>
                  <a:lnTo>
                    <a:pt x="175" y="23"/>
                  </a:lnTo>
                  <a:lnTo>
                    <a:pt x="181" y="27"/>
                  </a:lnTo>
                  <a:lnTo>
                    <a:pt x="185" y="31"/>
                  </a:lnTo>
                  <a:lnTo>
                    <a:pt x="189" y="33"/>
                  </a:lnTo>
                  <a:lnTo>
                    <a:pt x="190" y="37"/>
                  </a:lnTo>
                  <a:lnTo>
                    <a:pt x="190" y="40"/>
                  </a:lnTo>
                  <a:lnTo>
                    <a:pt x="190" y="40"/>
                  </a:lnTo>
                  <a:lnTo>
                    <a:pt x="190" y="42"/>
                  </a:lnTo>
                  <a:lnTo>
                    <a:pt x="189" y="46"/>
                  </a:lnTo>
                  <a:lnTo>
                    <a:pt x="187" y="50"/>
                  </a:lnTo>
                  <a:lnTo>
                    <a:pt x="185" y="56"/>
                  </a:lnTo>
                  <a:lnTo>
                    <a:pt x="179" y="61"/>
                  </a:lnTo>
                  <a:lnTo>
                    <a:pt x="175" y="69"/>
                  </a:lnTo>
                  <a:lnTo>
                    <a:pt x="171" y="75"/>
                  </a:lnTo>
                  <a:lnTo>
                    <a:pt x="166" y="82"/>
                  </a:lnTo>
                  <a:lnTo>
                    <a:pt x="162" y="88"/>
                  </a:lnTo>
                  <a:lnTo>
                    <a:pt x="156" y="94"/>
                  </a:lnTo>
                  <a:lnTo>
                    <a:pt x="152" y="100"/>
                  </a:lnTo>
                  <a:lnTo>
                    <a:pt x="149" y="105"/>
                  </a:lnTo>
                  <a:lnTo>
                    <a:pt x="145" y="109"/>
                  </a:lnTo>
                  <a:lnTo>
                    <a:pt x="141" y="113"/>
                  </a:lnTo>
                  <a:lnTo>
                    <a:pt x="139" y="117"/>
                  </a:lnTo>
                  <a:lnTo>
                    <a:pt x="137" y="117"/>
                  </a:lnTo>
                  <a:lnTo>
                    <a:pt x="137" y="117"/>
                  </a:lnTo>
                  <a:lnTo>
                    <a:pt x="135" y="119"/>
                  </a:lnTo>
                  <a:lnTo>
                    <a:pt x="129" y="121"/>
                  </a:lnTo>
                  <a:lnTo>
                    <a:pt x="126" y="121"/>
                  </a:lnTo>
                  <a:lnTo>
                    <a:pt x="120" y="121"/>
                  </a:lnTo>
                  <a:lnTo>
                    <a:pt x="116" y="119"/>
                  </a:lnTo>
                  <a:lnTo>
                    <a:pt x="110" y="119"/>
                  </a:lnTo>
                  <a:lnTo>
                    <a:pt x="107" y="119"/>
                  </a:lnTo>
                  <a:lnTo>
                    <a:pt x="103" y="119"/>
                  </a:lnTo>
                  <a:lnTo>
                    <a:pt x="103" y="119"/>
                  </a:lnTo>
                  <a:lnTo>
                    <a:pt x="97" y="123"/>
                  </a:lnTo>
                  <a:lnTo>
                    <a:pt x="91" y="128"/>
                  </a:lnTo>
                  <a:lnTo>
                    <a:pt x="87" y="136"/>
                  </a:lnTo>
                  <a:lnTo>
                    <a:pt x="84" y="144"/>
                  </a:lnTo>
                  <a:lnTo>
                    <a:pt x="80" y="149"/>
                  </a:lnTo>
                  <a:lnTo>
                    <a:pt x="76" y="155"/>
                  </a:lnTo>
                  <a:lnTo>
                    <a:pt x="70" y="159"/>
                  </a:lnTo>
                  <a:lnTo>
                    <a:pt x="61" y="161"/>
                  </a:lnTo>
                  <a:lnTo>
                    <a:pt x="61" y="161"/>
                  </a:lnTo>
                  <a:lnTo>
                    <a:pt x="55" y="161"/>
                  </a:lnTo>
                  <a:lnTo>
                    <a:pt x="51" y="159"/>
                  </a:lnTo>
                  <a:lnTo>
                    <a:pt x="46" y="155"/>
                  </a:lnTo>
                  <a:lnTo>
                    <a:pt x="40" y="151"/>
                  </a:lnTo>
                  <a:lnTo>
                    <a:pt x="36" y="147"/>
                  </a:lnTo>
                  <a:lnTo>
                    <a:pt x="32" y="142"/>
                  </a:lnTo>
                  <a:lnTo>
                    <a:pt x="26" y="136"/>
                  </a:lnTo>
                  <a:lnTo>
                    <a:pt x="23" y="128"/>
                  </a:lnTo>
                  <a:lnTo>
                    <a:pt x="19" y="123"/>
                  </a:lnTo>
                  <a:lnTo>
                    <a:pt x="17" y="115"/>
                  </a:lnTo>
                  <a:lnTo>
                    <a:pt x="13" y="107"/>
                  </a:lnTo>
                  <a:lnTo>
                    <a:pt x="9" y="102"/>
                  </a:lnTo>
                  <a:lnTo>
                    <a:pt x="7" y="96"/>
                  </a:lnTo>
                  <a:lnTo>
                    <a:pt x="5" y="90"/>
                  </a:lnTo>
                  <a:lnTo>
                    <a:pt x="2" y="84"/>
                  </a:lnTo>
                  <a:lnTo>
                    <a:pt x="0" y="81"/>
                  </a:lnTo>
                  <a:lnTo>
                    <a:pt x="17" y="75"/>
                  </a:lnTo>
                  <a:lnTo>
                    <a:pt x="66" y="2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1" name="Freeform 25"/>
            <p:cNvSpPr>
              <a:spLocks/>
            </p:cNvSpPr>
            <p:nvPr/>
          </p:nvSpPr>
          <p:spPr bwMode="gray">
            <a:xfrm>
              <a:off x="2092" y="3109"/>
              <a:ext cx="598" cy="505"/>
            </a:xfrm>
            <a:custGeom>
              <a:avLst/>
              <a:gdLst/>
              <a:ahLst/>
              <a:cxnLst>
                <a:cxn ang="0">
                  <a:pos x="80" y="189"/>
                </a:cxn>
                <a:cxn ang="0">
                  <a:pos x="132" y="276"/>
                </a:cxn>
                <a:cxn ang="0">
                  <a:pos x="187" y="362"/>
                </a:cxn>
                <a:cxn ang="0">
                  <a:pos x="215" y="410"/>
                </a:cxn>
                <a:cxn ang="0">
                  <a:pos x="235" y="427"/>
                </a:cxn>
                <a:cxn ang="0">
                  <a:pos x="248" y="456"/>
                </a:cxn>
                <a:cxn ang="0">
                  <a:pos x="214" y="486"/>
                </a:cxn>
                <a:cxn ang="0">
                  <a:pos x="214" y="486"/>
                </a:cxn>
                <a:cxn ang="0">
                  <a:pos x="223" y="555"/>
                </a:cxn>
                <a:cxn ang="0">
                  <a:pos x="235" y="584"/>
                </a:cxn>
                <a:cxn ang="0">
                  <a:pos x="244" y="612"/>
                </a:cxn>
                <a:cxn ang="0">
                  <a:pos x="248" y="631"/>
                </a:cxn>
                <a:cxn ang="0">
                  <a:pos x="248" y="650"/>
                </a:cxn>
                <a:cxn ang="0">
                  <a:pos x="248" y="671"/>
                </a:cxn>
                <a:cxn ang="0">
                  <a:pos x="263" y="700"/>
                </a:cxn>
                <a:cxn ang="0">
                  <a:pos x="277" y="774"/>
                </a:cxn>
                <a:cxn ang="0">
                  <a:pos x="303" y="820"/>
                </a:cxn>
                <a:cxn ang="0">
                  <a:pos x="339" y="860"/>
                </a:cxn>
                <a:cxn ang="0">
                  <a:pos x="378" y="893"/>
                </a:cxn>
                <a:cxn ang="0">
                  <a:pos x="393" y="868"/>
                </a:cxn>
                <a:cxn ang="0">
                  <a:pos x="412" y="849"/>
                </a:cxn>
                <a:cxn ang="0">
                  <a:pos x="442" y="877"/>
                </a:cxn>
                <a:cxn ang="0">
                  <a:pos x="458" y="902"/>
                </a:cxn>
                <a:cxn ang="0">
                  <a:pos x="486" y="912"/>
                </a:cxn>
                <a:cxn ang="0">
                  <a:pos x="525" y="916"/>
                </a:cxn>
                <a:cxn ang="0">
                  <a:pos x="557" y="918"/>
                </a:cxn>
                <a:cxn ang="0">
                  <a:pos x="576" y="912"/>
                </a:cxn>
                <a:cxn ang="0">
                  <a:pos x="597" y="897"/>
                </a:cxn>
                <a:cxn ang="0">
                  <a:pos x="622" y="883"/>
                </a:cxn>
                <a:cxn ang="0">
                  <a:pos x="631" y="391"/>
                </a:cxn>
                <a:cxn ang="0">
                  <a:pos x="893" y="70"/>
                </a:cxn>
                <a:cxn ang="0">
                  <a:pos x="916" y="88"/>
                </a:cxn>
                <a:cxn ang="0">
                  <a:pos x="933" y="99"/>
                </a:cxn>
                <a:cxn ang="0">
                  <a:pos x="954" y="82"/>
                </a:cxn>
                <a:cxn ang="0">
                  <a:pos x="975" y="67"/>
                </a:cxn>
                <a:cxn ang="0">
                  <a:pos x="1009" y="61"/>
                </a:cxn>
                <a:cxn ang="0">
                  <a:pos x="1034" y="61"/>
                </a:cxn>
                <a:cxn ang="0">
                  <a:pos x="1057" y="61"/>
                </a:cxn>
                <a:cxn ang="0">
                  <a:pos x="1028" y="40"/>
                </a:cxn>
                <a:cxn ang="0">
                  <a:pos x="994" y="34"/>
                </a:cxn>
                <a:cxn ang="0">
                  <a:pos x="950" y="38"/>
                </a:cxn>
                <a:cxn ang="0">
                  <a:pos x="906" y="44"/>
                </a:cxn>
                <a:cxn ang="0">
                  <a:pos x="864" y="51"/>
                </a:cxn>
                <a:cxn ang="0">
                  <a:pos x="822" y="61"/>
                </a:cxn>
                <a:cxn ang="0">
                  <a:pos x="776" y="67"/>
                </a:cxn>
                <a:cxn ang="0">
                  <a:pos x="729" y="70"/>
                </a:cxn>
                <a:cxn ang="0">
                  <a:pos x="685" y="70"/>
                </a:cxn>
                <a:cxn ang="0">
                  <a:pos x="624" y="67"/>
                </a:cxn>
                <a:cxn ang="0">
                  <a:pos x="568" y="57"/>
                </a:cxn>
                <a:cxn ang="0">
                  <a:pos x="536" y="48"/>
                </a:cxn>
                <a:cxn ang="0">
                  <a:pos x="519" y="32"/>
                </a:cxn>
                <a:cxn ang="0">
                  <a:pos x="168" y="23"/>
                </a:cxn>
                <a:cxn ang="0">
                  <a:pos x="135" y="2"/>
                </a:cxn>
                <a:cxn ang="0">
                  <a:pos x="97" y="2"/>
                </a:cxn>
                <a:cxn ang="0">
                  <a:pos x="63" y="11"/>
                </a:cxn>
                <a:cxn ang="0">
                  <a:pos x="34" y="9"/>
                </a:cxn>
                <a:cxn ang="0">
                  <a:pos x="0" y="11"/>
                </a:cxn>
                <a:cxn ang="0">
                  <a:pos x="11" y="65"/>
                </a:cxn>
                <a:cxn ang="0">
                  <a:pos x="29" y="93"/>
                </a:cxn>
                <a:cxn ang="0">
                  <a:pos x="44" y="124"/>
                </a:cxn>
              </a:cxnLst>
              <a:rect l="0" t="0" r="r" b="b"/>
              <a:pathLst>
                <a:path w="1057" h="918">
                  <a:moveTo>
                    <a:pt x="59" y="141"/>
                  </a:moveTo>
                  <a:lnTo>
                    <a:pt x="59" y="141"/>
                  </a:lnTo>
                  <a:lnTo>
                    <a:pt x="65" y="156"/>
                  </a:lnTo>
                  <a:lnTo>
                    <a:pt x="72" y="173"/>
                  </a:lnTo>
                  <a:lnTo>
                    <a:pt x="80" y="189"/>
                  </a:lnTo>
                  <a:lnTo>
                    <a:pt x="90" y="206"/>
                  </a:lnTo>
                  <a:lnTo>
                    <a:pt x="99" y="223"/>
                  </a:lnTo>
                  <a:lnTo>
                    <a:pt x="111" y="242"/>
                  </a:lnTo>
                  <a:lnTo>
                    <a:pt x="120" y="259"/>
                  </a:lnTo>
                  <a:lnTo>
                    <a:pt x="132" y="276"/>
                  </a:lnTo>
                  <a:lnTo>
                    <a:pt x="143" y="296"/>
                  </a:lnTo>
                  <a:lnTo>
                    <a:pt x="154" y="313"/>
                  </a:lnTo>
                  <a:lnTo>
                    <a:pt x="166" y="330"/>
                  </a:lnTo>
                  <a:lnTo>
                    <a:pt x="177" y="347"/>
                  </a:lnTo>
                  <a:lnTo>
                    <a:pt x="187" y="362"/>
                  </a:lnTo>
                  <a:lnTo>
                    <a:pt x="196" y="380"/>
                  </a:lnTo>
                  <a:lnTo>
                    <a:pt x="206" y="395"/>
                  </a:lnTo>
                  <a:lnTo>
                    <a:pt x="214" y="410"/>
                  </a:lnTo>
                  <a:lnTo>
                    <a:pt x="214" y="410"/>
                  </a:lnTo>
                  <a:lnTo>
                    <a:pt x="215" y="410"/>
                  </a:lnTo>
                  <a:lnTo>
                    <a:pt x="217" y="412"/>
                  </a:lnTo>
                  <a:lnTo>
                    <a:pt x="221" y="414"/>
                  </a:lnTo>
                  <a:lnTo>
                    <a:pt x="225" y="418"/>
                  </a:lnTo>
                  <a:lnTo>
                    <a:pt x="231" y="421"/>
                  </a:lnTo>
                  <a:lnTo>
                    <a:pt x="235" y="427"/>
                  </a:lnTo>
                  <a:lnTo>
                    <a:pt x="238" y="431"/>
                  </a:lnTo>
                  <a:lnTo>
                    <a:pt x="244" y="439"/>
                  </a:lnTo>
                  <a:lnTo>
                    <a:pt x="246" y="444"/>
                  </a:lnTo>
                  <a:lnTo>
                    <a:pt x="248" y="450"/>
                  </a:lnTo>
                  <a:lnTo>
                    <a:pt x="248" y="456"/>
                  </a:lnTo>
                  <a:lnTo>
                    <a:pt x="248" y="463"/>
                  </a:lnTo>
                  <a:lnTo>
                    <a:pt x="242" y="469"/>
                  </a:lnTo>
                  <a:lnTo>
                    <a:pt x="236" y="475"/>
                  </a:lnTo>
                  <a:lnTo>
                    <a:pt x="227" y="481"/>
                  </a:lnTo>
                  <a:lnTo>
                    <a:pt x="214" y="486"/>
                  </a:lnTo>
                  <a:lnTo>
                    <a:pt x="214" y="486"/>
                  </a:lnTo>
                  <a:lnTo>
                    <a:pt x="214" y="486"/>
                  </a:lnTo>
                  <a:lnTo>
                    <a:pt x="214" y="486"/>
                  </a:lnTo>
                  <a:lnTo>
                    <a:pt x="214" y="486"/>
                  </a:lnTo>
                  <a:lnTo>
                    <a:pt x="214" y="486"/>
                  </a:lnTo>
                  <a:lnTo>
                    <a:pt x="217" y="486"/>
                  </a:lnTo>
                  <a:lnTo>
                    <a:pt x="217" y="545"/>
                  </a:lnTo>
                  <a:lnTo>
                    <a:pt x="217" y="545"/>
                  </a:lnTo>
                  <a:lnTo>
                    <a:pt x="219" y="549"/>
                  </a:lnTo>
                  <a:lnTo>
                    <a:pt x="223" y="555"/>
                  </a:lnTo>
                  <a:lnTo>
                    <a:pt x="225" y="561"/>
                  </a:lnTo>
                  <a:lnTo>
                    <a:pt x="227" y="566"/>
                  </a:lnTo>
                  <a:lnTo>
                    <a:pt x="231" y="572"/>
                  </a:lnTo>
                  <a:lnTo>
                    <a:pt x="233" y="578"/>
                  </a:lnTo>
                  <a:lnTo>
                    <a:pt x="235" y="584"/>
                  </a:lnTo>
                  <a:lnTo>
                    <a:pt x="236" y="589"/>
                  </a:lnTo>
                  <a:lnTo>
                    <a:pt x="238" y="595"/>
                  </a:lnTo>
                  <a:lnTo>
                    <a:pt x="242" y="601"/>
                  </a:lnTo>
                  <a:lnTo>
                    <a:pt x="242" y="607"/>
                  </a:lnTo>
                  <a:lnTo>
                    <a:pt x="244" y="612"/>
                  </a:lnTo>
                  <a:lnTo>
                    <a:pt x="246" y="616"/>
                  </a:lnTo>
                  <a:lnTo>
                    <a:pt x="246" y="622"/>
                  </a:lnTo>
                  <a:lnTo>
                    <a:pt x="248" y="628"/>
                  </a:lnTo>
                  <a:lnTo>
                    <a:pt x="248" y="631"/>
                  </a:lnTo>
                  <a:lnTo>
                    <a:pt x="248" y="631"/>
                  </a:lnTo>
                  <a:lnTo>
                    <a:pt x="248" y="635"/>
                  </a:lnTo>
                  <a:lnTo>
                    <a:pt x="248" y="639"/>
                  </a:lnTo>
                  <a:lnTo>
                    <a:pt x="248" y="641"/>
                  </a:lnTo>
                  <a:lnTo>
                    <a:pt x="248" y="645"/>
                  </a:lnTo>
                  <a:lnTo>
                    <a:pt x="248" y="650"/>
                  </a:lnTo>
                  <a:lnTo>
                    <a:pt x="248" y="654"/>
                  </a:lnTo>
                  <a:lnTo>
                    <a:pt x="248" y="660"/>
                  </a:lnTo>
                  <a:lnTo>
                    <a:pt x="248" y="666"/>
                  </a:lnTo>
                  <a:lnTo>
                    <a:pt x="248" y="666"/>
                  </a:lnTo>
                  <a:lnTo>
                    <a:pt x="248" y="671"/>
                  </a:lnTo>
                  <a:lnTo>
                    <a:pt x="250" y="677"/>
                  </a:lnTo>
                  <a:lnTo>
                    <a:pt x="252" y="685"/>
                  </a:lnTo>
                  <a:lnTo>
                    <a:pt x="256" y="690"/>
                  </a:lnTo>
                  <a:lnTo>
                    <a:pt x="259" y="696"/>
                  </a:lnTo>
                  <a:lnTo>
                    <a:pt x="263" y="700"/>
                  </a:lnTo>
                  <a:lnTo>
                    <a:pt x="267" y="706"/>
                  </a:lnTo>
                  <a:lnTo>
                    <a:pt x="271" y="708"/>
                  </a:lnTo>
                  <a:lnTo>
                    <a:pt x="271" y="763"/>
                  </a:lnTo>
                  <a:lnTo>
                    <a:pt x="271" y="763"/>
                  </a:lnTo>
                  <a:lnTo>
                    <a:pt x="277" y="774"/>
                  </a:lnTo>
                  <a:lnTo>
                    <a:pt x="280" y="784"/>
                  </a:lnTo>
                  <a:lnTo>
                    <a:pt x="286" y="793"/>
                  </a:lnTo>
                  <a:lnTo>
                    <a:pt x="292" y="803"/>
                  </a:lnTo>
                  <a:lnTo>
                    <a:pt x="298" y="811"/>
                  </a:lnTo>
                  <a:lnTo>
                    <a:pt x="303" y="820"/>
                  </a:lnTo>
                  <a:lnTo>
                    <a:pt x="311" y="828"/>
                  </a:lnTo>
                  <a:lnTo>
                    <a:pt x="317" y="837"/>
                  </a:lnTo>
                  <a:lnTo>
                    <a:pt x="324" y="845"/>
                  </a:lnTo>
                  <a:lnTo>
                    <a:pt x="332" y="853"/>
                  </a:lnTo>
                  <a:lnTo>
                    <a:pt x="339" y="860"/>
                  </a:lnTo>
                  <a:lnTo>
                    <a:pt x="347" y="868"/>
                  </a:lnTo>
                  <a:lnTo>
                    <a:pt x="353" y="874"/>
                  </a:lnTo>
                  <a:lnTo>
                    <a:pt x="362" y="881"/>
                  </a:lnTo>
                  <a:lnTo>
                    <a:pt x="370" y="887"/>
                  </a:lnTo>
                  <a:lnTo>
                    <a:pt x="378" y="893"/>
                  </a:lnTo>
                  <a:lnTo>
                    <a:pt x="378" y="893"/>
                  </a:lnTo>
                  <a:lnTo>
                    <a:pt x="383" y="889"/>
                  </a:lnTo>
                  <a:lnTo>
                    <a:pt x="387" y="883"/>
                  </a:lnTo>
                  <a:lnTo>
                    <a:pt x="391" y="876"/>
                  </a:lnTo>
                  <a:lnTo>
                    <a:pt x="393" y="868"/>
                  </a:lnTo>
                  <a:lnTo>
                    <a:pt x="395" y="860"/>
                  </a:lnTo>
                  <a:lnTo>
                    <a:pt x="399" y="855"/>
                  </a:lnTo>
                  <a:lnTo>
                    <a:pt x="404" y="851"/>
                  </a:lnTo>
                  <a:lnTo>
                    <a:pt x="412" y="849"/>
                  </a:lnTo>
                  <a:lnTo>
                    <a:pt x="412" y="849"/>
                  </a:lnTo>
                  <a:lnTo>
                    <a:pt x="422" y="851"/>
                  </a:lnTo>
                  <a:lnTo>
                    <a:pt x="429" y="856"/>
                  </a:lnTo>
                  <a:lnTo>
                    <a:pt x="435" y="862"/>
                  </a:lnTo>
                  <a:lnTo>
                    <a:pt x="439" y="870"/>
                  </a:lnTo>
                  <a:lnTo>
                    <a:pt x="442" y="877"/>
                  </a:lnTo>
                  <a:lnTo>
                    <a:pt x="446" y="887"/>
                  </a:lnTo>
                  <a:lnTo>
                    <a:pt x="450" y="895"/>
                  </a:lnTo>
                  <a:lnTo>
                    <a:pt x="454" y="900"/>
                  </a:lnTo>
                  <a:lnTo>
                    <a:pt x="454" y="900"/>
                  </a:lnTo>
                  <a:lnTo>
                    <a:pt x="458" y="902"/>
                  </a:lnTo>
                  <a:lnTo>
                    <a:pt x="462" y="906"/>
                  </a:lnTo>
                  <a:lnTo>
                    <a:pt x="467" y="908"/>
                  </a:lnTo>
                  <a:lnTo>
                    <a:pt x="473" y="910"/>
                  </a:lnTo>
                  <a:lnTo>
                    <a:pt x="481" y="912"/>
                  </a:lnTo>
                  <a:lnTo>
                    <a:pt x="486" y="912"/>
                  </a:lnTo>
                  <a:lnTo>
                    <a:pt x="494" y="914"/>
                  </a:lnTo>
                  <a:lnTo>
                    <a:pt x="502" y="914"/>
                  </a:lnTo>
                  <a:lnTo>
                    <a:pt x="509" y="916"/>
                  </a:lnTo>
                  <a:lnTo>
                    <a:pt x="517" y="916"/>
                  </a:lnTo>
                  <a:lnTo>
                    <a:pt x="525" y="916"/>
                  </a:lnTo>
                  <a:lnTo>
                    <a:pt x="532" y="918"/>
                  </a:lnTo>
                  <a:lnTo>
                    <a:pt x="540" y="918"/>
                  </a:lnTo>
                  <a:lnTo>
                    <a:pt x="545" y="918"/>
                  </a:lnTo>
                  <a:lnTo>
                    <a:pt x="551" y="918"/>
                  </a:lnTo>
                  <a:lnTo>
                    <a:pt x="557" y="918"/>
                  </a:lnTo>
                  <a:lnTo>
                    <a:pt x="557" y="918"/>
                  </a:lnTo>
                  <a:lnTo>
                    <a:pt x="563" y="918"/>
                  </a:lnTo>
                  <a:lnTo>
                    <a:pt x="566" y="916"/>
                  </a:lnTo>
                  <a:lnTo>
                    <a:pt x="572" y="914"/>
                  </a:lnTo>
                  <a:lnTo>
                    <a:pt x="576" y="912"/>
                  </a:lnTo>
                  <a:lnTo>
                    <a:pt x="580" y="908"/>
                  </a:lnTo>
                  <a:lnTo>
                    <a:pt x="586" y="906"/>
                  </a:lnTo>
                  <a:lnTo>
                    <a:pt x="589" y="902"/>
                  </a:lnTo>
                  <a:lnTo>
                    <a:pt x="593" y="898"/>
                  </a:lnTo>
                  <a:lnTo>
                    <a:pt x="597" y="897"/>
                  </a:lnTo>
                  <a:lnTo>
                    <a:pt x="603" y="893"/>
                  </a:lnTo>
                  <a:lnTo>
                    <a:pt x="607" y="889"/>
                  </a:lnTo>
                  <a:lnTo>
                    <a:pt x="610" y="887"/>
                  </a:lnTo>
                  <a:lnTo>
                    <a:pt x="616" y="885"/>
                  </a:lnTo>
                  <a:lnTo>
                    <a:pt x="622" y="883"/>
                  </a:lnTo>
                  <a:lnTo>
                    <a:pt x="628" y="881"/>
                  </a:lnTo>
                  <a:lnTo>
                    <a:pt x="633" y="881"/>
                  </a:lnTo>
                  <a:lnTo>
                    <a:pt x="633" y="879"/>
                  </a:lnTo>
                  <a:lnTo>
                    <a:pt x="631" y="610"/>
                  </a:lnTo>
                  <a:lnTo>
                    <a:pt x="631" y="391"/>
                  </a:lnTo>
                  <a:lnTo>
                    <a:pt x="713" y="391"/>
                  </a:lnTo>
                  <a:lnTo>
                    <a:pt x="713" y="93"/>
                  </a:lnTo>
                  <a:lnTo>
                    <a:pt x="725" y="93"/>
                  </a:lnTo>
                  <a:lnTo>
                    <a:pt x="893" y="70"/>
                  </a:lnTo>
                  <a:lnTo>
                    <a:pt x="893" y="70"/>
                  </a:lnTo>
                  <a:lnTo>
                    <a:pt x="896" y="72"/>
                  </a:lnTo>
                  <a:lnTo>
                    <a:pt x="902" y="76"/>
                  </a:lnTo>
                  <a:lnTo>
                    <a:pt x="906" y="80"/>
                  </a:lnTo>
                  <a:lnTo>
                    <a:pt x="910" y="84"/>
                  </a:lnTo>
                  <a:lnTo>
                    <a:pt x="916" y="88"/>
                  </a:lnTo>
                  <a:lnTo>
                    <a:pt x="919" y="93"/>
                  </a:lnTo>
                  <a:lnTo>
                    <a:pt x="925" y="97"/>
                  </a:lnTo>
                  <a:lnTo>
                    <a:pt x="929" y="101"/>
                  </a:lnTo>
                  <a:lnTo>
                    <a:pt x="929" y="101"/>
                  </a:lnTo>
                  <a:lnTo>
                    <a:pt x="933" y="99"/>
                  </a:lnTo>
                  <a:lnTo>
                    <a:pt x="938" y="95"/>
                  </a:lnTo>
                  <a:lnTo>
                    <a:pt x="942" y="91"/>
                  </a:lnTo>
                  <a:lnTo>
                    <a:pt x="946" y="88"/>
                  </a:lnTo>
                  <a:lnTo>
                    <a:pt x="950" y="86"/>
                  </a:lnTo>
                  <a:lnTo>
                    <a:pt x="954" y="82"/>
                  </a:lnTo>
                  <a:lnTo>
                    <a:pt x="958" y="78"/>
                  </a:lnTo>
                  <a:lnTo>
                    <a:pt x="961" y="74"/>
                  </a:lnTo>
                  <a:lnTo>
                    <a:pt x="965" y="72"/>
                  </a:lnTo>
                  <a:lnTo>
                    <a:pt x="971" y="69"/>
                  </a:lnTo>
                  <a:lnTo>
                    <a:pt x="975" y="67"/>
                  </a:lnTo>
                  <a:lnTo>
                    <a:pt x="980" y="65"/>
                  </a:lnTo>
                  <a:lnTo>
                    <a:pt x="988" y="63"/>
                  </a:lnTo>
                  <a:lnTo>
                    <a:pt x="994" y="61"/>
                  </a:lnTo>
                  <a:lnTo>
                    <a:pt x="1001" y="61"/>
                  </a:lnTo>
                  <a:lnTo>
                    <a:pt x="1009" y="61"/>
                  </a:lnTo>
                  <a:lnTo>
                    <a:pt x="1009" y="61"/>
                  </a:lnTo>
                  <a:lnTo>
                    <a:pt x="1015" y="61"/>
                  </a:lnTo>
                  <a:lnTo>
                    <a:pt x="1022" y="61"/>
                  </a:lnTo>
                  <a:lnTo>
                    <a:pt x="1028" y="61"/>
                  </a:lnTo>
                  <a:lnTo>
                    <a:pt x="1034" y="61"/>
                  </a:lnTo>
                  <a:lnTo>
                    <a:pt x="1040" y="61"/>
                  </a:lnTo>
                  <a:lnTo>
                    <a:pt x="1045" y="61"/>
                  </a:lnTo>
                  <a:lnTo>
                    <a:pt x="1051" y="61"/>
                  </a:lnTo>
                  <a:lnTo>
                    <a:pt x="1057" y="61"/>
                  </a:lnTo>
                  <a:lnTo>
                    <a:pt x="1057" y="61"/>
                  </a:lnTo>
                  <a:lnTo>
                    <a:pt x="1051" y="57"/>
                  </a:lnTo>
                  <a:lnTo>
                    <a:pt x="1045" y="53"/>
                  </a:lnTo>
                  <a:lnTo>
                    <a:pt x="1040" y="49"/>
                  </a:lnTo>
                  <a:lnTo>
                    <a:pt x="1034" y="46"/>
                  </a:lnTo>
                  <a:lnTo>
                    <a:pt x="1028" y="40"/>
                  </a:lnTo>
                  <a:lnTo>
                    <a:pt x="1022" y="38"/>
                  </a:lnTo>
                  <a:lnTo>
                    <a:pt x="1013" y="36"/>
                  </a:lnTo>
                  <a:lnTo>
                    <a:pt x="1003" y="34"/>
                  </a:lnTo>
                  <a:lnTo>
                    <a:pt x="1003" y="34"/>
                  </a:lnTo>
                  <a:lnTo>
                    <a:pt x="994" y="34"/>
                  </a:lnTo>
                  <a:lnTo>
                    <a:pt x="984" y="34"/>
                  </a:lnTo>
                  <a:lnTo>
                    <a:pt x="975" y="36"/>
                  </a:lnTo>
                  <a:lnTo>
                    <a:pt x="967" y="36"/>
                  </a:lnTo>
                  <a:lnTo>
                    <a:pt x="958" y="36"/>
                  </a:lnTo>
                  <a:lnTo>
                    <a:pt x="950" y="38"/>
                  </a:lnTo>
                  <a:lnTo>
                    <a:pt x="940" y="40"/>
                  </a:lnTo>
                  <a:lnTo>
                    <a:pt x="931" y="40"/>
                  </a:lnTo>
                  <a:lnTo>
                    <a:pt x="923" y="42"/>
                  </a:lnTo>
                  <a:lnTo>
                    <a:pt x="916" y="42"/>
                  </a:lnTo>
                  <a:lnTo>
                    <a:pt x="906" y="44"/>
                  </a:lnTo>
                  <a:lnTo>
                    <a:pt x="898" y="46"/>
                  </a:lnTo>
                  <a:lnTo>
                    <a:pt x="889" y="48"/>
                  </a:lnTo>
                  <a:lnTo>
                    <a:pt x="881" y="49"/>
                  </a:lnTo>
                  <a:lnTo>
                    <a:pt x="872" y="51"/>
                  </a:lnTo>
                  <a:lnTo>
                    <a:pt x="864" y="51"/>
                  </a:lnTo>
                  <a:lnTo>
                    <a:pt x="856" y="53"/>
                  </a:lnTo>
                  <a:lnTo>
                    <a:pt x="847" y="55"/>
                  </a:lnTo>
                  <a:lnTo>
                    <a:pt x="839" y="57"/>
                  </a:lnTo>
                  <a:lnTo>
                    <a:pt x="830" y="59"/>
                  </a:lnTo>
                  <a:lnTo>
                    <a:pt x="822" y="61"/>
                  </a:lnTo>
                  <a:lnTo>
                    <a:pt x="813" y="61"/>
                  </a:lnTo>
                  <a:lnTo>
                    <a:pt x="805" y="63"/>
                  </a:lnTo>
                  <a:lnTo>
                    <a:pt x="795" y="65"/>
                  </a:lnTo>
                  <a:lnTo>
                    <a:pt x="786" y="65"/>
                  </a:lnTo>
                  <a:lnTo>
                    <a:pt x="776" y="67"/>
                  </a:lnTo>
                  <a:lnTo>
                    <a:pt x="769" y="67"/>
                  </a:lnTo>
                  <a:lnTo>
                    <a:pt x="759" y="69"/>
                  </a:lnTo>
                  <a:lnTo>
                    <a:pt x="750" y="69"/>
                  </a:lnTo>
                  <a:lnTo>
                    <a:pt x="740" y="70"/>
                  </a:lnTo>
                  <a:lnTo>
                    <a:pt x="729" y="70"/>
                  </a:lnTo>
                  <a:lnTo>
                    <a:pt x="719" y="70"/>
                  </a:lnTo>
                  <a:lnTo>
                    <a:pt x="719" y="70"/>
                  </a:lnTo>
                  <a:lnTo>
                    <a:pt x="708" y="70"/>
                  </a:lnTo>
                  <a:lnTo>
                    <a:pt x="696" y="70"/>
                  </a:lnTo>
                  <a:lnTo>
                    <a:pt x="685" y="70"/>
                  </a:lnTo>
                  <a:lnTo>
                    <a:pt x="673" y="69"/>
                  </a:lnTo>
                  <a:lnTo>
                    <a:pt x="660" y="69"/>
                  </a:lnTo>
                  <a:lnTo>
                    <a:pt x="648" y="69"/>
                  </a:lnTo>
                  <a:lnTo>
                    <a:pt x="635" y="67"/>
                  </a:lnTo>
                  <a:lnTo>
                    <a:pt x="624" y="67"/>
                  </a:lnTo>
                  <a:lnTo>
                    <a:pt x="612" y="65"/>
                  </a:lnTo>
                  <a:lnTo>
                    <a:pt x="601" y="63"/>
                  </a:lnTo>
                  <a:lnTo>
                    <a:pt x="589" y="61"/>
                  </a:lnTo>
                  <a:lnTo>
                    <a:pt x="578" y="59"/>
                  </a:lnTo>
                  <a:lnTo>
                    <a:pt x="568" y="57"/>
                  </a:lnTo>
                  <a:lnTo>
                    <a:pt x="557" y="55"/>
                  </a:lnTo>
                  <a:lnTo>
                    <a:pt x="547" y="51"/>
                  </a:lnTo>
                  <a:lnTo>
                    <a:pt x="540" y="49"/>
                  </a:lnTo>
                  <a:lnTo>
                    <a:pt x="540" y="49"/>
                  </a:lnTo>
                  <a:lnTo>
                    <a:pt x="536" y="48"/>
                  </a:lnTo>
                  <a:lnTo>
                    <a:pt x="532" y="44"/>
                  </a:lnTo>
                  <a:lnTo>
                    <a:pt x="528" y="42"/>
                  </a:lnTo>
                  <a:lnTo>
                    <a:pt x="525" y="38"/>
                  </a:lnTo>
                  <a:lnTo>
                    <a:pt x="521" y="34"/>
                  </a:lnTo>
                  <a:lnTo>
                    <a:pt x="519" y="32"/>
                  </a:lnTo>
                  <a:lnTo>
                    <a:pt x="515" y="30"/>
                  </a:lnTo>
                  <a:lnTo>
                    <a:pt x="513" y="28"/>
                  </a:lnTo>
                  <a:lnTo>
                    <a:pt x="174" y="28"/>
                  </a:lnTo>
                  <a:lnTo>
                    <a:pt x="174" y="28"/>
                  </a:lnTo>
                  <a:lnTo>
                    <a:pt x="168" y="23"/>
                  </a:lnTo>
                  <a:lnTo>
                    <a:pt x="162" y="17"/>
                  </a:lnTo>
                  <a:lnTo>
                    <a:pt x="156" y="11"/>
                  </a:lnTo>
                  <a:lnTo>
                    <a:pt x="151" y="8"/>
                  </a:lnTo>
                  <a:lnTo>
                    <a:pt x="143" y="4"/>
                  </a:lnTo>
                  <a:lnTo>
                    <a:pt x="135" y="2"/>
                  </a:lnTo>
                  <a:lnTo>
                    <a:pt x="126" y="0"/>
                  </a:lnTo>
                  <a:lnTo>
                    <a:pt x="114" y="0"/>
                  </a:lnTo>
                  <a:lnTo>
                    <a:pt x="114" y="0"/>
                  </a:lnTo>
                  <a:lnTo>
                    <a:pt x="105" y="0"/>
                  </a:lnTo>
                  <a:lnTo>
                    <a:pt x="97" y="2"/>
                  </a:lnTo>
                  <a:lnTo>
                    <a:pt x="90" y="2"/>
                  </a:lnTo>
                  <a:lnTo>
                    <a:pt x="82" y="6"/>
                  </a:lnTo>
                  <a:lnTo>
                    <a:pt x="76" y="8"/>
                  </a:lnTo>
                  <a:lnTo>
                    <a:pt x="69" y="9"/>
                  </a:lnTo>
                  <a:lnTo>
                    <a:pt x="63" y="11"/>
                  </a:lnTo>
                  <a:lnTo>
                    <a:pt x="55" y="11"/>
                  </a:lnTo>
                  <a:lnTo>
                    <a:pt x="55" y="11"/>
                  </a:lnTo>
                  <a:lnTo>
                    <a:pt x="48" y="11"/>
                  </a:lnTo>
                  <a:lnTo>
                    <a:pt x="42" y="11"/>
                  </a:lnTo>
                  <a:lnTo>
                    <a:pt x="34" y="9"/>
                  </a:lnTo>
                  <a:lnTo>
                    <a:pt x="29" y="9"/>
                  </a:lnTo>
                  <a:lnTo>
                    <a:pt x="23" y="9"/>
                  </a:lnTo>
                  <a:lnTo>
                    <a:pt x="15" y="9"/>
                  </a:lnTo>
                  <a:lnTo>
                    <a:pt x="9" y="9"/>
                  </a:lnTo>
                  <a:lnTo>
                    <a:pt x="0" y="11"/>
                  </a:lnTo>
                  <a:lnTo>
                    <a:pt x="0" y="46"/>
                  </a:lnTo>
                  <a:lnTo>
                    <a:pt x="0" y="46"/>
                  </a:lnTo>
                  <a:lnTo>
                    <a:pt x="4" y="51"/>
                  </a:lnTo>
                  <a:lnTo>
                    <a:pt x="8" y="57"/>
                  </a:lnTo>
                  <a:lnTo>
                    <a:pt x="11" y="65"/>
                  </a:lnTo>
                  <a:lnTo>
                    <a:pt x="15" y="70"/>
                  </a:lnTo>
                  <a:lnTo>
                    <a:pt x="19" y="76"/>
                  </a:lnTo>
                  <a:lnTo>
                    <a:pt x="21" y="82"/>
                  </a:lnTo>
                  <a:lnTo>
                    <a:pt x="25" y="88"/>
                  </a:lnTo>
                  <a:lnTo>
                    <a:pt x="29" y="93"/>
                  </a:lnTo>
                  <a:lnTo>
                    <a:pt x="32" y="101"/>
                  </a:lnTo>
                  <a:lnTo>
                    <a:pt x="34" y="107"/>
                  </a:lnTo>
                  <a:lnTo>
                    <a:pt x="38" y="112"/>
                  </a:lnTo>
                  <a:lnTo>
                    <a:pt x="42" y="118"/>
                  </a:lnTo>
                  <a:lnTo>
                    <a:pt x="44" y="124"/>
                  </a:lnTo>
                  <a:lnTo>
                    <a:pt x="48" y="130"/>
                  </a:lnTo>
                  <a:lnTo>
                    <a:pt x="51" y="135"/>
                  </a:lnTo>
                  <a:lnTo>
                    <a:pt x="55" y="141"/>
                  </a:lnTo>
                  <a:lnTo>
                    <a:pt x="59" y="141"/>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2" name="Freeform 26"/>
            <p:cNvSpPr>
              <a:spLocks/>
            </p:cNvSpPr>
            <p:nvPr/>
          </p:nvSpPr>
          <p:spPr bwMode="gray">
            <a:xfrm>
              <a:off x="2449" y="3143"/>
              <a:ext cx="413" cy="385"/>
            </a:xfrm>
            <a:custGeom>
              <a:avLst/>
              <a:gdLst/>
              <a:ahLst/>
              <a:cxnLst>
                <a:cxn ang="0">
                  <a:pos x="435" y="21"/>
                </a:cxn>
                <a:cxn ang="0">
                  <a:pos x="452" y="50"/>
                </a:cxn>
                <a:cxn ang="0">
                  <a:pos x="475" y="78"/>
                </a:cxn>
                <a:cxn ang="0">
                  <a:pos x="485" y="105"/>
                </a:cxn>
                <a:cxn ang="0">
                  <a:pos x="494" y="128"/>
                </a:cxn>
                <a:cxn ang="0">
                  <a:pos x="517" y="143"/>
                </a:cxn>
                <a:cxn ang="0">
                  <a:pos x="559" y="160"/>
                </a:cxn>
                <a:cxn ang="0">
                  <a:pos x="574" y="175"/>
                </a:cxn>
                <a:cxn ang="0">
                  <a:pos x="590" y="195"/>
                </a:cxn>
                <a:cxn ang="0">
                  <a:pos x="605" y="206"/>
                </a:cxn>
                <a:cxn ang="0">
                  <a:pos x="607" y="229"/>
                </a:cxn>
                <a:cxn ang="0">
                  <a:pos x="609" y="257"/>
                </a:cxn>
                <a:cxn ang="0">
                  <a:pos x="618" y="277"/>
                </a:cxn>
                <a:cxn ang="0">
                  <a:pos x="655" y="294"/>
                </a:cxn>
                <a:cxn ang="0">
                  <a:pos x="678" y="301"/>
                </a:cxn>
                <a:cxn ang="0">
                  <a:pos x="697" y="315"/>
                </a:cxn>
                <a:cxn ang="0">
                  <a:pos x="714" y="328"/>
                </a:cxn>
                <a:cxn ang="0">
                  <a:pos x="723" y="341"/>
                </a:cxn>
                <a:cxn ang="0">
                  <a:pos x="679" y="370"/>
                </a:cxn>
                <a:cxn ang="0">
                  <a:pos x="658" y="376"/>
                </a:cxn>
                <a:cxn ang="0">
                  <a:pos x="636" y="376"/>
                </a:cxn>
                <a:cxn ang="0">
                  <a:pos x="609" y="399"/>
                </a:cxn>
                <a:cxn ang="0">
                  <a:pos x="578" y="437"/>
                </a:cxn>
                <a:cxn ang="0">
                  <a:pos x="561" y="448"/>
                </a:cxn>
                <a:cxn ang="0">
                  <a:pos x="540" y="464"/>
                </a:cxn>
                <a:cxn ang="0">
                  <a:pos x="525" y="486"/>
                </a:cxn>
                <a:cxn ang="0">
                  <a:pos x="512" y="511"/>
                </a:cxn>
                <a:cxn ang="0">
                  <a:pos x="491" y="530"/>
                </a:cxn>
                <a:cxn ang="0">
                  <a:pos x="471" y="538"/>
                </a:cxn>
                <a:cxn ang="0">
                  <a:pos x="451" y="546"/>
                </a:cxn>
                <a:cxn ang="0">
                  <a:pos x="443" y="572"/>
                </a:cxn>
                <a:cxn ang="0">
                  <a:pos x="430" y="599"/>
                </a:cxn>
                <a:cxn ang="0">
                  <a:pos x="407" y="612"/>
                </a:cxn>
                <a:cxn ang="0">
                  <a:pos x="382" y="614"/>
                </a:cxn>
                <a:cxn ang="0">
                  <a:pos x="361" y="614"/>
                </a:cxn>
                <a:cxn ang="0">
                  <a:pos x="332" y="614"/>
                </a:cxn>
                <a:cxn ang="0">
                  <a:pos x="298" y="614"/>
                </a:cxn>
                <a:cxn ang="0">
                  <a:pos x="267" y="591"/>
                </a:cxn>
                <a:cxn ang="0">
                  <a:pos x="233" y="586"/>
                </a:cxn>
                <a:cxn ang="0">
                  <a:pos x="210" y="624"/>
                </a:cxn>
                <a:cxn ang="0">
                  <a:pos x="191" y="650"/>
                </a:cxn>
                <a:cxn ang="0">
                  <a:pos x="159" y="679"/>
                </a:cxn>
                <a:cxn ang="0">
                  <a:pos x="117" y="698"/>
                </a:cxn>
                <a:cxn ang="0">
                  <a:pos x="79" y="696"/>
                </a:cxn>
                <a:cxn ang="0">
                  <a:pos x="54" y="692"/>
                </a:cxn>
                <a:cxn ang="0">
                  <a:pos x="48" y="675"/>
                </a:cxn>
                <a:cxn ang="0">
                  <a:pos x="59" y="650"/>
                </a:cxn>
                <a:cxn ang="0">
                  <a:pos x="59" y="620"/>
                </a:cxn>
                <a:cxn ang="0">
                  <a:pos x="48" y="588"/>
                </a:cxn>
                <a:cxn ang="0">
                  <a:pos x="29" y="567"/>
                </a:cxn>
                <a:cxn ang="0">
                  <a:pos x="0" y="549"/>
                </a:cxn>
                <a:cxn ang="0">
                  <a:pos x="262" y="9"/>
                </a:cxn>
                <a:cxn ang="0">
                  <a:pos x="279" y="23"/>
                </a:cxn>
                <a:cxn ang="0">
                  <a:pos x="298" y="40"/>
                </a:cxn>
                <a:cxn ang="0">
                  <a:pos x="319" y="25"/>
                </a:cxn>
                <a:cxn ang="0">
                  <a:pos x="340" y="8"/>
                </a:cxn>
                <a:cxn ang="0">
                  <a:pos x="370" y="0"/>
                </a:cxn>
                <a:cxn ang="0">
                  <a:pos x="397" y="0"/>
                </a:cxn>
                <a:cxn ang="0">
                  <a:pos x="431" y="0"/>
                </a:cxn>
              </a:cxnLst>
              <a:rect l="0" t="0" r="r" b="b"/>
              <a:pathLst>
                <a:path w="729" h="700">
                  <a:moveTo>
                    <a:pt x="431" y="0"/>
                  </a:moveTo>
                  <a:lnTo>
                    <a:pt x="431" y="0"/>
                  </a:lnTo>
                  <a:lnTo>
                    <a:pt x="431" y="8"/>
                  </a:lnTo>
                  <a:lnTo>
                    <a:pt x="433" y="15"/>
                  </a:lnTo>
                  <a:lnTo>
                    <a:pt x="435" y="21"/>
                  </a:lnTo>
                  <a:lnTo>
                    <a:pt x="437" y="29"/>
                  </a:lnTo>
                  <a:lnTo>
                    <a:pt x="441" y="34"/>
                  </a:lnTo>
                  <a:lnTo>
                    <a:pt x="445" y="40"/>
                  </a:lnTo>
                  <a:lnTo>
                    <a:pt x="449" y="46"/>
                  </a:lnTo>
                  <a:lnTo>
                    <a:pt x="452" y="50"/>
                  </a:lnTo>
                  <a:lnTo>
                    <a:pt x="458" y="57"/>
                  </a:lnTo>
                  <a:lnTo>
                    <a:pt x="462" y="61"/>
                  </a:lnTo>
                  <a:lnTo>
                    <a:pt x="466" y="67"/>
                  </a:lnTo>
                  <a:lnTo>
                    <a:pt x="471" y="72"/>
                  </a:lnTo>
                  <a:lnTo>
                    <a:pt x="475" y="78"/>
                  </a:lnTo>
                  <a:lnTo>
                    <a:pt x="479" y="86"/>
                  </a:lnTo>
                  <a:lnTo>
                    <a:pt x="481" y="93"/>
                  </a:lnTo>
                  <a:lnTo>
                    <a:pt x="485" y="99"/>
                  </a:lnTo>
                  <a:lnTo>
                    <a:pt x="485" y="99"/>
                  </a:lnTo>
                  <a:lnTo>
                    <a:pt x="485" y="105"/>
                  </a:lnTo>
                  <a:lnTo>
                    <a:pt x="487" y="111"/>
                  </a:lnTo>
                  <a:lnTo>
                    <a:pt x="489" y="116"/>
                  </a:lnTo>
                  <a:lnTo>
                    <a:pt x="489" y="120"/>
                  </a:lnTo>
                  <a:lnTo>
                    <a:pt x="491" y="124"/>
                  </a:lnTo>
                  <a:lnTo>
                    <a:pt x="494" y="128"/>
                  </a:lnTo>
                  <a:lnTo>
                    <a:pt x="498" y="132"/>
                  </a:lnTo>
                  <a:lnTo>
                    <a:pt x="502" y="135"/>
                  </a:lnTo>
                  <a:lnTo>
                    <a:pt x="502" y="135"/>
                  </a:lnTo>
                  <a:lnTo>
                    <a:pt x="510" y="139"/>
                  </a:lnTo>
                  <a:lnTo>
                    <a:pt x="517" y="143"/>
                  </a:lnTo>
                  <a:lnTo>
                    <a:pt x="525" y="145"/>
                  </a:lnTo>
                  <a:lnTo>
                    <a:pt x="533" y="149"/>
                  </a:lnTo>
                  <a:lnTo>
                    <a:pt x="542" y="153"/>
                  </a:lnTo>
                  <a:lnTo>
                    <a:pt x="552" y="156"/>
                  </a:lnTo>
                  <a:lnTo>
                    <a:pt x="559" y="160"/>
                  </a:lnTo>
                  <a:lnTo>
                    <a:pt x="567" y="166"/>
                  </a:lnTo>
                  <a:lnTo>
                    <a:pt x="567" y="166"/>
                  </a:lnTo>
                  <a:lnTo>
                    <a:pt x="571" y="168"/>
                  </a:lnTo>
                  <a:lnTo>
                    <a:pt x="573" y="172"/>
                  </a:lnTo>
                  <a:lnTo>
                    <a:pt x="574" y="175"/>
                  </a:lnTo>
                  <a:lnTo>
                    <a:pt x="578" y="181"/>
                  </a:lnTo>
                  <a:lnTo>
                    <a:pt x="580" y="185"/>
                  </a:lnTo>
                  <a:lnTo>
                    <a:pt x="582" y="189"/>
                  </a:lnTo>
                  <a:lnTo>
                    <a:pt x="586" y="193"/>
                  </a:lnTo>
                  <a:lnTo>
                    <a:pt x="590" y="195"/>
                  </a:lnTo>
                  <a:lnTo>
                    <a:pt x="590" y="195"/>
                  </a:lnTo>
                  <a:lnTo>
                    <a:pt x="595" y="196"/>
                  </a:lnTo>
                  <a:lnTo>
                    <a:pt x="599" y="200"/>
                  </a:lnTo>
                  <a:lnTo>
                    <a:pt x="603" y="202"/>
                  </a:lnTo>
                  <a:lnTo>
                    <a:pt x="605" y="206"/>
                  </a:lnTo>
                  <a:lnTo>
                    <a:pt x="605" y="210"/>
                  </a:lnTo>
                  <a:lnTo>
                    <a:pt x="607" y="215"/>
                  </a:lnTo>
                  <a:lnTo>
                    <a:pt x="607" y="219"/>
                  </a:lnTo>
                  <a:lnTo>
                    <a:pt x="607" y="225"/>
                  </a:lnTo>
                  <a:lnTo>
                    <a:pt x="607" y="229"/>
                  </a:lnTo>
                  <a:lnTo>
                    <a:pt x="607" y="235"/>
                  </a:lnTo>
                  <a:lnTo>
                    <a:pt x="607" y="240"/>
                  </a:lnTo>
                  <a:lnTo>
                    <a:pt x="607" y="246"/>
                  </a:lnTo>
                  <a:lnTo>
                    <a:pt x="607" y="252"/>
                  </a:lnTo>
                  <a:lnTo>
                    <a:pt x="609" y="257"/>
                  </a:lnTo>
                  <a:lnTo>
                    <a:pt x="609" y="263"/>
                  </a:lnTo>
                  <a:lnTo>
                    <a:pt x="611" y="269"/>
                  </a:lnTo>
                  <a:lnTo>
                    <a:pt x="611" y="269"/>
                  </a:lnTo>
                  <a:lnTo>
                    <a:pt x="615" y="273"/>
                  </a:lnTo>
                  <a:lnTo>
                    <a:pt x="618" y="277"/>
                  </a:lnTo>
                  <a:lnTo>
                    <a:pt x="624" y="280"/>
                  </a:lnTo>
                  <a:lnTo>
                    <a:pt x="632" y="284"/>
                  </a:lnTo>
                  <a:lnTo>
                    <a:pt x="639" y="288"/>
                  </a:lnTo>
                  <a:lnTo>
                    <a:pt x="647" y="290"/>
                  </a:lnTo>
                  <a:lnTo>
                    <a:pt x="655" y="294"/>
                  </a:lnTo>
                  <a:lnTo>
                    <a:pt x="662" y="296"/>
                  </a:lnTo>
                  <a:lnTo>
                    <a:pt x="662" y="296"/>
                  </a:lnTo>
                  <a:lnTo>
                    <a:pt x="668" y="298"/>
                  </a:lnTo>
                  <a:lnTo>
                    <a:pt x="674" y="299"/>
                  </a:lnTo>
                  <a:lnTo>
                    <a:pt x="678" y="301"/>
                  </a:lnTo>
                  <a:lnTo>
                    <a:pt x="681" y="305"/>
                  </a:lnTo>
                  <a:lnTo>
                    <a:pt x="685" y="307"/>
                  </a:lnTo>
                  <a:lnTo>
                    <a:pt x="689" y="309"/>
                  </a:lnTo>
                  <a:lnTo>
                    <a:pt x="693" y="313"/>
                  </a:lnTo>
                  <a:lnTo>
                    <a:pt x="697" y="315"/>
                  </a:lnTo>
                  <a:lnTo>
                    <a:pt x="700" y="319"/>
                  </a:lnTo>
                  <a:lnTo>
                    <a:pt x="704" y="320"/>
                  </a:lnTo>
                  <a:lnTo>
                    <a:pt x="706" y="324"/>
                  </a:lnTo>
                  <a:lnTo>
                    <a:pt x="710" y="326"/>
                  </a:lnTo>
                  <a:lnTo>
                    <a:pt x="714" y="328"/>
                  </a:lnTo>
                  <a:lnTo>
                    <a:pt x="719" y="332"/>
                  </a:lnTo>
                  <a:lnTo>
                    <a:pt x="723" y="334"/>
                  </a:lnTo>
                  <a:lnTo>
                    <a:pt x="729" y="336"/>
                  </a:lnTo>
                  <a:lnTo>
                    <a:pt x="729" y="336"/>
                  </a:lnTo>
                  <a:lnTo>
                    <a:pt x="723" y="341"/>
                  </a:lnTo>
                  <a:lnTo>
                    <a:pt x="716" y="347"/>
                  </a:lnTo>
                  <a:lnTo>
                    <a:pt x="706" y="353"/>
                  </a:lnTo>
                  <a:lnTo>
                    <a:pt x="698" y="359"/>
                  </a:lnTo>
                  <a:lnTo>
                    <a:pt x="689" y="364"/>
                  </a:lnTo>
                  <a:lnTo>
                    <a:pt x="679" y="370"/>
                  </a:lnTo>
                  <a:lnTo>
                    <a:pt x="674" y="374"/>
                  </a:lnTo>
                  <a:lnTo>
                    <a:pt x="668" y="376"/>
                  </a:lnTo>
                  <a:lnTo>
                    <a:pt x="668" y="376"/>
                  </a:lnTo>
                  <a:lnTo>
                    <a:pt x="664" y="376"/>
                  </a:lnTo>
                  <a:lnTo>
                    <a:pt x="658" y="376"/>
                  </a:lnTo>
                  <a:lnTo>
                    <a:pt x="655" y="376"/>
                  </a:lnTo>
                  <a:lnTo>
                    <a:pt x="649" y="376"/>
                  </a:lnTo>
                  <a:lnTo>
                    <a:pt x="643" y="376"/>
                  </a:lnTo>
                  <a:lnTo>
                    <a:pt x="639" y="376"/>
                  </a:lnTo>
                  <a:lnTo>
                    <a:pt x="636" y="376"/>
                  </a:lnTo>
                  <a:lnTo>
                    <a:pt x="632" y="378"/>
                  </a:lnTo>
                  <a:lnTo>
                    <a:pt x="632" y="378"/>
                  </a:lnTo>
                  <a:lnTo>
                    <a:pt x="622" y="383"/>
                  </a:lnTo>
                  <a:lnTo>
                    <a:pt x="615" y="391"/>
                  </a:lnTo>
                  <a:lnTo>
                    <a:pt x="609" y="399"/>
                  </a:lnTo>
                  <a:lnTo>
                    <a:pt x="603" y="404"/>
                  </a:lnTo>
                  <a:lnTo>
                    <a:pt x="597" y="414"/>
                  </a:lnTo>
                  <a:lnTo>
                    <a:pt x="592" y="422"/>
                  </a:lnTo>
                  <a:lnTo>
                    <a:pt x="586" y="429"/>
                  </a:lnTo>
                  <a:lnTo>
                    <a:pt x="578" y="437"/>
                  </a:lnTo>
                  <a:lnTo>
                    <a:pt x="578" y="437"/>
                  </a:lnTo>
                  <a:lnTo>
                    <a:pt x="574" y="439"/>
                  </a:lnTo>
                  <a:lnTo>
                    <a:pt x="571" y="443"/>
                  </a:lnTo>
                  <a:lnTo>
                    <a:pt x="565" y="444"/>
                  </a:lnTo>
                  <a:lnTo>
                    <a:pt x="561" y="448"/>
                  </a:lnTo>
                  <a:lnTo>
                    <a:pt x="555" y="452"/>
                  </a:lnTo>
                  <a:lnTo>
                    <a:pt x="550" y="454"/>
                  </a:lnTo>
                  <a:lnTo>
                    <a:pt x="544" y="458"/>
                  </a:lnTo>
                  <a:lnTo>
                    <a:pt x="540" y="464"/>
                  </a:lnTo>
                  <a:lnTo>
                    <a:pt x="540" y="464"/>
                  </a:lnTo>
                  <a:lnTo>
                    <a:pt x="536" y="467"/>
                  </a:lnTo>
                  <a:lnTo>
                    <a:pt x="533" y="473"/>
                  </a:lnTo>
                  <a:lnTo>
                    <a:pt x="531" y="477"/>
                  </a:lnTo>
                  <a:lnTo>
                    <a:pt x="529" y="483"/>
                  </a:lnTo>
                  <a:lnTo>
                    <a:pt x="525" y="486"/>
                  </a:lnTo>
                  <a:lnTo>
                    <a:pt x="523" y="492"/>
                  </a:lnTo>
                  <a:lnTo>
                    <a:pt x="521" y="496"/>
                  </a:lnTo>
                  <a:lnTo>
                    <a:pt x="517" y="502"/>
                  </a:lnTo>
                  <a:lnTo>
                    <a:pt x="515" y="505"/>
                  </a:lnTo>
                  <a:lnTo>
                    <a:pt x="512" y="511"/>
                  </a:lnTo>
                  <a:lnTo>
                    <a:pt x="508" y="515"/>
                  </a:lnTo>
                  <a:lnTo>
                    <a:pt x="504" y="519"/>
                  </a:lnTo>
                  <a:lnTo>
                    <a:pt x="500" y="523"/>
                  </a:lnTo>
                  <a:lnTo>
                    <a:pt x="496" y="526"/>
                  </a:lnTo>
                  <a:lnTo>
                    <a:pt x="491" y="530"/>
                  </a:lnTo>
                  <a:lnTo>
                    <a:pt x="485" y="534"/>
                  </a:lnTo>
                  <a:lnTo>
                    <a:pt x="485" y="534"/>
                  </a:lnTo>
                  <a:lnTo>
                    <a:pt x="481" y="536"/>
                  </a:lnTo>
                  <a:lnTo>
                    <a:pt x="477" y="536"/>
                  </a:lnTo>
                  <a:lnTo>
                    <a:pt x="471" y="538"/>
                  </a:lnTo>
                  <a:lnTo>
                    <a:pt x="466" y="538"/>
                  </a:lnTo>
                  <a:lnTo>
                    <a:pt x="462" y="538"/>
                  </a:lnTo>
                  <a:lnTo>
                    <a:pt x="456" y="540"/>
                  </a:lnTo>
                  <a:lnTo>
                    <a:pt x="454" y="542"/>
                  </a:lnTo>
                  <a:lnTo>
                    <a:pt x="451" y="546"/>
                  </a:lnTo>
                  <a:lnTo>
                    <a:pt x="451" y="546"/>
                  </a:lnTo>
                  <a:lnTo>
                    <a:pt x="449" y="553"/>
                  </a:lnTo>
                  <a:lnTo>
                    <a:pt x="447" y="561"/>
                  </a:lnTo>
                  <a:lnTo>
                    <a:pt x="445" y="567"/>
                  </a:lnTo>
                  <a:lnTo>
                    <a:pt x="443" y="572"/>
                  </a:lnTo>
                  <a:lnTo>
                    <a:pt x="441" y="580"/>
                  </a:lnTo>
                  <a:lnTo>
                    <a:pt x="437" y="584"/>
                  </a:lnTo>
                  <a:lnTo>
                    <a:pt x="435" y="589"/>
                  </a:lnTo>
                  <a:lnTo>
                    <a:pt x="431" y="595"/>
                  </a:lnTo>
                  <a:lnTo>
                    <a:pt x="430" y="599"/>
                  </a:lnTo>
                  <a:lnTo>
                    <a:pt x="426" y="603"/>
                  </a:lnTo>
                  <a:lnTo>
                    <a:pt x="422" y="607"/>
                  </a:lnTo>
                  <a:lnTo>
                    <a:pt x="418" y="608"/>
                  </a:lnTo>
                  <a:lnTo>
                    <a:pt x="412" y="610"/>
                  </a:lnTo>
                  <a:lnTo>
                    <a:pt x="407" y="612"/>
                  </a:lnTo>
                  <a:lnTo>
                    <a:pt x="399" y="614"/>
                  </a:lnTo>
                  <a:lnTo>
                    <a:pt x="391" y="614"/>
                  </a:lnTo>
                  <a:lnTo>
                    <a:pt x="391" y="614"/>
                  </a:lnTo>
                  <a:lnTo>
                    <a:pt x="388" y="614"/>
                  </a:lnTo>
                  <a:lnTo>
                    <a:pt x="382" y="614"/>
                  </a:lnTo>
                  <a:lnTo>
                    <a:pt x="378" y="614"/>
                  </a:lnTo>
                  <a:lnTo>
                    <a:pt x="374" y="614"/>
                  </a:lnTo>
                  <a:lnTo>
                    <a:pt x="368" y="614"/>
                  </a:lnTo>
                  <a:lnTo>
                    <a:pt x="365" y="614"/>
                  </a:lnTo>
                  <a:lnTo>
                    <a:pt x="361" y="614"/>
                  </a:lnTo>
                  <a:lnTo>
                    <a:pt x="355" y="614"/>
                  </a:lnTo>
                  <a:lnTo>
                    <a:pt x="351" y="614"/>
                  </a:lnTo>
                  <a:lnTo>
                    <a:pt x="346" y="614"/>
                  </a:lnTo>
                  <a:lnTo>
                    <a:pt x="340" y="614"/>
                  </a:lnTo>
                  <a:lnTo>
                    <a:pt x="332" y="614"/>
                  </a:lnTo>
                  <a:lnTo>
                    <a:pt x="325" y="614"/>
                  </a:lnTo>
                  <a:lnTo>
                    <a:pt x="317" y="614"/>
                  </a:lnTo>
                  <a:lnTo>
                    <a:pt x="307" y="614"/>
                  </a:lnTo>
                  <a:lnTo>
                    <a:pt x="298" y="614"/>
                  </a:lnTo>
                  <a:lnTo>
                    <a:pt x="298" y="614"/>
                  </a:lnTo>
                  <a:lnTo>
                    <a:pt x="292" y="610"/>
                  </a:lnTo>
                  <a:lnTo>
                    <a:pt x="286" y="607"/>
                  </a:lnTo>
                  <a:lnTo>
                    <a:pt x="281" y="601"/>
                  </a:lnTo>
                  <a:lnTo>
                    <a:pt x="275" y="597"/>
                  </a:lnTo>
                  <a:lnTo>
                    <a:pt x="267" y="591"/>
                  </a:lnTo>
                  <a:lnTo>
                    <a:pt x="262" y="588"/>
                  </a:lnTo>
                  <a:lnTo>
                    <a:pt x="254" y="586"/>
                  </a:lnTo>
                  <a:lnTo>
                    <a:pt x="244" y="584"/>
                  </a:lnTo>
                  <a:lnTo>
                    <a:pt x="244" y="584"/>
                  </a:lnTo>
                  <a:lnTo>
                    <a:pt x="233" y="586"/>
                  </a:lnTo>
                  <a:lnTo>
                    <a:pt x="224" y="591"/>
                  </a:lnTo>
                  <a:lnTo>
                    <a:pt x="220" y="597"/>
                  </a:lnTo>
                  <a:lnTo>
                    <a:pt x="216" y="607"/>
                  </a:lnTo>
                  <a:lnTo>
                    <a:pt x="212" y="616"/>
                  </a:lnTo>
                  <a:lnTo>
                    <a:pt x="210" y="624"/>
                  </a:lnTo>
                  <a:lnTo>
                    <a:pt x="206" y="633"/>
                  </a:lnTo>
                  <a:lnTo>
                    <a:pt x="201" y="641"/>
                  </a:lnTo>
                  <a:lnTo>
                    <a:pt x="201" y="641"/>
                  </a:lnTo>
                  <a:lnTo>
                    <a:pt x="197" y="645"/>
                  </a:lnTo>
                  <a:lnTo>
                    <a:pt x="191" y="650"/>
                  </a:lnTo>
                  <a:lnTo>
                    <a:pt x="185" y="656"/>
                  </a:lnTo>
                  <a:lnTo>
                    <a:pt x="180" y="662"/>
                  </a:lnTo>
                  <a:lnTo>
                    <a:pt x="172" y="668"/>
                  </a:lnTo>
                  <a:lnTo>
                    <a:pt x="166" y="673"/>
                  </a:lnTo>
                  <a:lnTo>
                    <a:pt x="159" y="679"/>
                  </a:lnTo>
                  <a:lnTo>
                    <a:pt x="151" y="685"/>
                  </a:lnTo>
                  <a:lnTo>
                    <a:pt x="141" y="689"/>
                  </a:lnTo>
                  <a:lnTo>
                    <a:pt x="134" y="692"/>
                  </a:lnTo>
                  <a:lnTo>
                    <a:pt x="124" y="696"/>
                  </a:lnTo>
                  <a:lnTo>
                    <a:pt x="117" y="698"/>
                  </a:lnTo>
                  <a:lnTo>
                    <a:pt x="107" y="700"/>
                  </a:lnTo>
                  <a:lnTo>
                    <a:pt x="98" y="700"/>
                  </a:lnTo>
                  <a:lnTo>
                    <a:pt x="88" y="698"/>
                  </a:lnTo>
                  <a:lnTo>
                    <a:pt x="79" y="696"/>
                  </a:lnTo>
                  <a:lnTo>
                    <a:pt x="79" y="696"/>
                  </a:lnTo>
                  <a:lnTo>
                    <a:pt x="75" y="694"/>
                  </a:lnTo>
                  <a:lnTo>
                    <a:pt x="69" y="694"/>
                  </a:lnTo>
                  <a:lnTo>
                    <a:pt x="63" y="694"/>
                  </a:lnTo>
                  <a:lnTo>
                    <a:pt x="59" y="694"/>
                  </a:lnTo>
                  <a:lnTo>
                    <a:pt x="54" y="692"/>
                  </a:lnTo>
                  <a:lnTo>
                    <a:pt x="50" y="691"/>
                  </a:lnTo>
                  <a:lnTo>
                    <a:pt x="48" y="687"/>
                  </a:lnTo>
                  <a:lnTo>
                    <a:pt x="48" y="683"/>
                  </a:lnTo>
                  <a:lnTo>
                    <a:pt x="48" y="683"/>
                  </a:lnTo>
                  <a:lnTo>
                    <a:pt x="48" y="675"/>
                  </a:lnTo>
                  <a:lnTo>
                    <a:pt x="50" y="670"/>
                  </a:lnTo>
                  <a:lnTo>
                    <a:pt x="52" y="664"/>
                  </a:lnTo>
                  <a:lnTo>
                    <a:pt x="54" y="660"/>
                  </a:lnTo>
                  <a:lnTo>
                    <a:pt x="58" y="656"/>
                  </a:lnTo>
                  <a:lnTo>
                    <a:pt x="59" y="650"/>
                  </a:lnTo>
                  <a:lnTo>
                    <a:pt x="61" y="643"/>
                  </a:lnTo>
                  <a:lnTo>
                    <a:pt x="61" y="635"/>
                  </a:lnTo>
                  <a:lnTo>
                    <a:pt x="61" y="635"/>
                  </a:lnTo>
                  <a:lnTo>
                    <a:pt x="61" y="628"/>
                  </a:lnTo>
                  <a:lnTo>
                    <a:pt x="59" y="620"/>
                  </a:lnTo>
                  <a:lnTo>
                    <a:pt x="59" y="612"/>
                  </a:lnTo>
                  <a:lnTo>
                    <a:pt x="58" y="605"/>
                  </a:lnTo>
                  <a:lnTo>
                    <a:pt x="54" y="599"/>
                  </a:lnTo>
                  <a:lnTo>
                    <a:pt x="52" y="593"/>
                  </a:lnTo>
                  <a:lnTo>
                    <a:pt x="48" y="588"/>
                  </a:lnTo>
                  <a:lnTo>
                    <a:pt x="46" y="584"/>
                  </a:lnTo>
                  <a:lnTo>
                    <a:pt x="42" y="578"/>
                  </a:lnTo>
                  <a:lnTo>
                    <a:pt x="37" y="574"/>
                  </a:lnTo>
                  <a:lnTo>
                    <a:pt x="33" y="570"/>
                  </a:lnTo>
                  <a:lnTo>
                    <a:pt x="29" y="567"/>
                  </a:lnTo>
                  <a:lnTo>
                    <a:pt x="25" y="563"/>
                  </a:lnTo>
                  <a:lnTo>
                    <a:pt x="21" y="559"/>
                  </a:lnTo>
                  <a:lnTo>
                    <a:pt x="16" y="555"/>
                  </a:lnTo>
                  <a:lnTo>
                    <a:pt x="12" y="553"/>
                  </a:lnTo>
                  <a:lnTo>
                    <a:pt x="0" y="549"/>
                  </a:lnTo>
                  <a:lnTo>
                    <a:pt x="0" y="330"/>
                  </a:lnTo>
                  <a:lnTo>
                    <a:pt x="82" y="330"/>
                  </a:lnTo>
                  <a:lnTo>
                    <a:pt x="82" y="32"/>
                  </a:lnTo>
                  <a:lnTo>
                    <a:pt x="94" y="32"/>
                  </a:lnTo>
                  <a:lnTo>
                    <a:pt x="262" y="9"/>
                  </a:lnTo>
                  <a:lnTo>
                    <a:pt x="262" y="9"/>
                  </a:lnTo>
                  <a:lnTo>
                    <a:pt x="265" y="11"/>
                  </a:lnTo>
                  <a:lnTo>
                    <a:pt x="271" y="15"/>
                  </a:lnTo>
                  <a:lnTo>
                    <a:pt x="275" y="19"/>
                  </a:lnTo>
                  <a:lnTo>
                    <a:pt x="279" y="23"/>
                  </a:lnTo>
                  <a:lnTo>
                    <a:pt x="285" y="27"/>
                  </a:lnTo>
                  <a:lnTo>
                    <a:pt x="288" y="32"/>
                  </a:lnTo>
                  <a:lnTo>
                    <a:pt x="294" y="36"/>
                  </a:lnTo>
                  <a:lnTo>
                    <a:pt x="298" y="40"/>
                  </a:lnTo>
                  <a:lnTo>
                    <a:pt x="298" y="40"/>
                  </a:lnTo>
                  <a:lnTo>
                    <a:pt x="302" y="38"/>
                  </a:lnTo>
                  <a:lnTo>
                    <a:pt x="307" y="34"/>
                  </a:lnTo>
                  <a:lnTo>
                    <a:pt x="311" y="30"/>
                  </a:lnTo>
                  <a:lnTo>
                    <a:pt x="315" y="27"/>
                  </a:lnTo>
                  <a:lnTo>
                    <a:pt x="319" y="25"/>
                  </a:lnTo>
                  <a:lnTo>
                    <a:pt x="323" y="21"/>
                  </a:lnTo>
                  <a:lnTo>
                    <a:pt x="327" y="17"/>
                  </a:lnTo>
                  <a:lnTo>
                    <a:pt x="330" y="13"/>
                  </a:lnTo>
                  <a:lnTo>
                    <a:pt x="334" y="11"/>
                  </a:lnTo>
                  <a:lnTo>
                    <a:pt x="340" y="8"/>
                  </a:lnTo>
                  <a:lnTo>
                    <a:pt x="344" y="6"/>
                  </a:lnTo>
                  <a:lnTo>
                    <a:pt x="349" y="4"/>
                  </a:lnTo>
                  <a:lnTo>
                    <a:pt x="357" y="2"/>
                  </a:lnTo>
                  <a:lnTo>
                    <a:pt x="363" y="0"/>
                  </a:lnTo>
                  <a:lnTo>
                    <a:pt x="370" y="0"/>
                  </a:lnTo>
                  <a:lnTo>
                    <a:pt x="378" y="0"/>
                  </a:lnTo>
                  <a:lnTo>
                    <a:pt x="378" y="0"/>
                  </a:lnTo>
                  <a:lnTo>
                    <a:pt x="384" y="0"/>
                  </a:lnTo>
                  <a:lnTo>
                    <a:pt x="391" y="0"/>
                  </a:lnTo>
                  <a:lnTo>
                    <a:pt x="397" y="0"/>
                  </a:lnTo>
                  <a:lnTo>
                    <a:pt x="405" y="0"/>
                  </a:lnTo>
                  <a:lnTo>
                    <a:pt x="410" y="0"/>
                  </a:lnTo>
                  <a:lnTo>
                    <a:pt x="418" y="0"/>
                  </a:lnTo>
                  <a:lnTo>
                    <a:pt x="424" y="0"/>
                  </a:lnTo>
                  <a:lnTo>
                    <a:pt x="431" y="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3" name="Freeform 27"/>
            <p:cNvSpPr>
              <a:spLocks/>
            </p:cNvSpPr>
            <p:nvPr/>
          </p:nvSpPr>
          <p:spPr bwMode="gray">
            <a:xfrm>
              <a:off x="2547" y="2722"/>
              <a:ext cx="521" cy="432"/>
            </a:xfrm>
            <a:custGeom>
              <a:avLst/>
              <a:gdLst/>
              <a:ahLst/>
              <a:cxnLst>
                <a:cxn ang="0">
                  <a:pos x="580" y="597"/>
                </a:cxn>
                <a:cxn ang="0">
                  <a:pos x="532" y="637"/>
                </a:cxn>
                <a:cxn ang="0">
                  <a:pos x="521" y="670"/>
                </a:cxn>
                <a:cxn ang="0">
                  <a:pos x="479" y="683"/>
                </a:cxn>
                <a:cxn ang="0">
                  <a:pos x="444" y="708"/>
                </a:cxn>
                <a:cxn ang="0">
                  <a:pos x="406" y="763"/>
                </a:cxn>
                <a:cxn ang="0">
                  <a:pos x="355" y="788"/>
                </a:cxn>
                <a:cxn ang="0">
                  <a:pos x="296" y="773"/>
                </a:cxn>
                <a:cxn ang="0">
                  <a:pos x="242" y="759"/>
                </a:cxn>
                <a:cxn ang="0">
                  <a:pos x="187" y="740"/>
                </a:cxn>
                <a:cxn ang="0">
                  <a:pos x="130" y="746"/>
                </a:cxn>
                <a:cxn ang="0">
                  <a:pos x="2" y="391"/>
                </a:cxn>
                <a:cxn ang="0">
                  <a:pos x="48" y="391"/>
                </a:cxn>
                <a:cxn ang="0">
                  <a:pos x="93" y="385"/>
                </a:cxn>
                <a:cxn ang="0">
                  <a:pos x="153" y="366"/>
                </a:cxn>
                <a:cxn ang="0">
                  <a:pos x="164" y="311"/>
                </a:cxn>
                <a:cxn ang="0">
                  <a:pos x="164" y="263"/>
                </a:cxn>
                <a:cxn ang="0">
                  <a:pos x="189" y="246"/>
                </a:cxn>
                <a:cxn ang="0">
                  <a:pos x="219" y="254"/>
                </a:cxn>
                <a:cxn ang="0">
                  <a:pos x="256" y="244"/>
                </a:cxn>
                <a:cxn ang="0">
                  <a:pos x="275" y="271"/>
                </a:cxn>
                <a:cxn ang="0">
                  <a:pos x="345" y="301"/>
                </a:cxn>
                <a:cxn ang="0">
                  <a:pos x="399" y="288"/>
                </a:cxn>
                <a:cxn ang="0">
                  <a:pos x="431" y="303"/>
                </a:cxn>
                <a:cxn ang="0">
                  <a:pos x="488" y="336"/>
                </a:cxn>
                <a:cxn ang="0">
                  <a:pos x="525" y="370"/>
                </a:cxn>
                <a:cxn ang="0">
                  <a:pos x="555" y="414"/>
                </a:cxn>
                <a:cxn ang="0">
                  <a:pos x="582" y="408"/>
                </a:cxn>
                <a:cxn ang="0">
                  <a:pos x="612" y="406"/>
                </a:cxn>
                <a:cxn ang="0">
                  <a:pos x="601" y="332"/>
                </a:cxn>
                <a:cxn ang="0">
                  <a:pos x="551" y="326"/>
                </a:cxn>
                <a:cxn ang="0">
                  <a:pos x="513" y="275"/>
                </a:cxn>
                <a:cxn ang="0">
                  <a:pos x="517" y="227"/>
                </a:cxn>
                <a:cxn ang="0">
                  <a:pos x="526" y="179"/>
                </a:cxn>
                <a:cxn ang="0">
                  <a:pos x="526" y="124"/>
                </a:cxn>
                <a:cxn ang="0">
                  <a:pos x="517" y="97"/>
                </a:cxn>
                <a:cxn ang="0">
                  <a:pos x="536" y="67"/>
                </a:cxn>
                <a:cxn ang="0">
                  <a:pos x="555" y="31"/>
                </a:cxn>
                <a:cxn ang="0">
                  <a:pos x="595" y="11"/>
                </a:cxn>
                <a:cxn ang="0">
                  <a:pos x="643" y="8"/>
                </a:cxn>
                <a:cxn ang="0">
                  <a:pos x="721" y="25"/>
                </a:cxn>
                <a:cxn ang="0">
                  <a:pos x="744" y="38"/>
                </a:cxn>
                <a:cxn ang="0">
                  <a:pos x="759" y="36"/>
                </a:cxn>
                <a:cxn ang="0">
                  <a:pos x="778" y="50"/>
                </a:cxn>
                <a:cxn ang="0">
                  <a:pos x="824" y="69"/>
                </a:cxn>
                <a:cxn ang="0">
                  <a:pos x="885" y="97"/>
                </a:cxn>
                <a:cxn ang="0">
                  <a:pos x="904" y="134"/>
                </a:cxn>
                <a:cxn ang="0">
                  <a:pos x="921" y="177"/>
                </a:cxn>
                <a:cxn ang="0">
                  <a:pos x="902" y="225"/>
                </a:cxn>
                <a:cxn ang="0">
                  <a:pos x="895" y="258"/>
                </a:cxn>
                <a:cxn ang="0">
                  <a:pos x="904" y="300"/>
                </a:cxn>
                <a:cxn ang="0">
                  <a:pos x="893" y="328"/>
                </a:cxn>
                <a:cxn ang="0">
                  <a:pos x="883" y="364"/>
                </a:cxn>
                <a:cxn ang="0">
                  <a:pos x="866" y="397"/>
                </a:cxn>
                <a:cxn ang="0">
                  <a:pos x="845" y="424"/>
                </a:cxn>
                <a:cxn ang="0">
                  <a:pos x="881" y="452"/>
                </a:cxn>
                <a:cxn ang="0">
                  <a:pos x="834" y="475"/>
                </a:cxn>
                <a:cxn ang="0">
                  <a:pos x="761" y="496"/>
                </a:cxn>
                <a:cxn ang="0">
                  <a:pos x="721" y="509"/>
                </a:cxn>
                <a:cxn ang="0">
                  <a:pos x="679" y="525"/>
                </a:cxn>
                <a:cxn ang="0">
                  <a:pos x="639" y="551"/>
                </a:cxn>
                <a:cxn ang="0">
                  <a:pos x="645" y="574"/>
                </a:cxn>
                <a:cxn ang="0">
                  <a:pos x="647" y="591"/>
                </a:cxn>
              </a:cxnLst>
              <a:rect l="0" t="0" r="r" b="b"/>
              <a:pathLst>
                <a:path w="921" h="788">
                  <a:moveTo>
                    <a:pt x="631" y="590"/>
                  </a:moveTo>
                  <a:lnTo>
                    <a:pt x="631" y="590"/>
                  </a:lnTo>
                  <a:lnTo>
                    <a:pt x="624" y="590"/>
                  </a:lnTo>
                  <a:lnTo>
                    <a:pt x="616" y="590"/>
                  </a:lnTo>
                  <a:lnTo>
                    <a:pt x="609" y="590"/>
                  </a:lnTo>
                  <a:lnTo>
                    <a:pt x="601" y="591"/>
                  </a:lnTo>
                  <a:lnTo>
                    <a:pt x="595" y="593"/>
                  </a:lnTo>
                  <a:lnTo>
                    <a:pt x="588" y="595"/>
                  </a:lnTo>
                  <a:lnTo>
                    <a:pt x="580" y="597"/>
                  </a:lnTo>
                  <a:lnTo>
                    <a:pt x="574" y="599"/>
                  </a:lnTo>
                  <a:lnTo>
                    <a:pt x="568" y="603"/>
                  </a:lnTo>
                  <a:lnTo>
                    <a:pt x="563" y="607"/>
                  </a:lnTo>
                  <a:lnTo>
                    <a:pt x="557" y="610"/>
                  </a:lnTo>
                  <a:lnTo>
                    <a:pt x="551" y="614"/>
                  </a:lnTo>
                  <a:lnTo>
                    <a:pt x="546" y="620"/>
                  </a:lnTo>
                  <a:lnTo>
                    <a:pt x="542" y="624"/>
                  </a:lnTo>
                  <a:lnTo>
                    <a:pt x="538" y="630"/>
                  </a:lnTo>
                  <a:lnTo>
                    <a:pt x="532" y="637"/>
                  </a:lnTo>
                  <a:lnTo>
                    <a:pt x="532" y="637"/>
                  </a:lnTo>
                  <a:lnTo>
                    <a:pt x="532" y="639"/>
                  </a:lnTo>
                  <a:lnTo>
                    <a:pt x="530" y="645"/>
                  </a:lnTo>
                  <a:lnTo>
                    <a:pt x="530" y="649"/>
                  </a:lnTo>
                  <a:lnTo>
                    <a:pt x="530" y="654"/>
                  </a:lnTo>
                  <a:lnTo>
                    <a:pt x="530" y="658"/>
                  </a:lnTo>
                  <a:lnTo>
                    <a:pt x="528" y="664"/>
                  </a:lnTo>
                  <a:lnTo>
                    <a:pt x="526" y="668"/>
                  </a:lnTo>
                  <a:lnTo>
                    <a:pt x="521" y="670"/>
                  </a:lnTo>
                  <a:lnTo>
                    <a:pt x="521" y="670"/>
                  </a:lnTo>
                  <a:lnTo>
                    <a:pt x="515" y="672"/>
                  </a:lnTo>
                  <a:lnTo>
                    <a:pt x="509" y="673"/>
                  </a:lnTo>
                  <a:lnTo>
                    <a:pt x="504" y="675"/>
                  </a:lnTo>
                  <a:lnTo>
                    <a:pt x="500" y="677"/>
                  </a:lnTo>
                  <a:lnTo>
                    <a:pt x="494" y="679"/>
                  </a:lnTo>
                  <a:lnTo>
                    <a:pt x="488" y="681"/>
                  </a:lnTo>
                  <a:lnTo>
                    <a:pt x="483" y="683"/>
                  </a:lnTo>
                  <a:lnTo>
                    <a:pt x="479" y="683"/>
                  </a:lnTo>
                  <a:lnTo>
                    <a:pt x="473" y="687"/>
                  </a:lnTo>
                  <a:lnTo>
                    <a:pt x="469" y="689"/>
                  </a:lnTo>
                  <a:lnTo>
                    <a:pt x="464" y="691"/>
                  </a:lnTo>
                  <a:lnTo>
                    <a:pt x="460" y="693"/>
                  </a:lnTo>
                  <a:lnTo>
                    <a:pt x="456" y="696"/>
                  </a:lnTo>
                  <a:lnTo>
                    <a:pt x="452" y="700"/>
                  </a:lnTo>
                  <a:lnTo>
                    <a:pt x="448" y="704"/>
                  </a:lnTo>
                  <a:lnTo>
                    <a:pt x="444" y="708"/>
                  </a:lnTo>
                  <a:lnTo>
                    <a:pt x="444" y="708"/>
                  </a:lnTo>
                  <a:lnTo>
                    <a:pt x="441" y="712"/>
                  </a:lnTo>
                  <a:lnTo>
                    <a:pt x="437" y="717"/>
                  </a:lnTo>
                  <a:lnTo>
                    <a:pt x="433" y="723"/>
                  </a:lnTo>
                  <a:lnTo>
                    <a:pt x="429" y="729"/>
                  </a:lnTo>
                  <a:lnTo>
                    <a:pt x="425" y="736"/>
                  </a:lnTo>
                  <a:lnTo>
                    <a:pt x="422" y="742"/>
                  </a:lnTo>
                  <a:lnTo>
                    <a:pt x="418" y="750"/>
                  </a:lnTo>
                  <a:lnTo>
                    <a:pt x="412" y="755"/>
                  </a:lnTo>
                  <a:lnTo>
                    <a:pt x="406" y="763"/>
                  </a:lnTo>
                  <a:lnTo>
                    <a:pt x="402" y="769"/>
                  </a:lnTo>
                  <a:lnTo>
                    <a:pt x="395" y="773"/>
                  </a:lnTo>
                  <a:lnTo>
                    <a:pt x="389" y="778"/>
                  </a:lnTo>
                  <a:lnTo>
                    <a:pt x="383" y="782"/>
                  </a:lnTo>
                  <a:lnTo>
                    <a:pt x="378" y="786"/>
                  </a:lnTo>
                  <a:lnTo>
                    <a:pt x="370" y="786"/>
                  </a:lnTo>
                  <a:lnTo>
                    <a:pt x="362" y="788"/>
                  </a:lnTo>
                  <a:lnTo>
                    <a:pt x="362" y="788"/>
                  </a:lnTo>
                  <a:lnTo>
                    <a:pt x="355" y="788"/>
                  </a:lnTo>
                  <a:lnTo>
                    <a:pt x="349" y="786"/>
                  </a:lnTo>
                  <a:lnTo>
                    <a:pt x="343" y="786"/>
                  </a:lnTo>
                  <a:lnTo>
                    <a:pt x="336" y="784"/>
                  </a:lnTo>
                  <a:lnTo>
                    <a:pt x="330" y="782"/>
                  </a:lnTo>
                  <a:lnTo>
                    <a:pt x="324" y="780"/>
                  </a:lnTo>
                  <a:lnTo>
                    <a:pt x="317" y="778"/>
                  </a:lnTo>
                  <a:lnTo>
                    <a:pt x="309" y="776"/>
                  </a:lnTo>
                  <a:lnTo>
                    <a:pt x="303" y="775"/>
                  </a:lnTo>
                  <a:lnTo>
                    <a:pt x="296" y="773"/>
                  </a:lnTo>
                  <a:lnTo>
                    <a:pt x="290" y="771"/>
                  </a:lnTo>
                  <a:lnTo>
                    <a:pt x="282" y="771"/>
                  </a:lnTo>
                  <a:lnTo>
                    <a:pt x="275" y="769"/>
                  </a:lnTo>
                  <a:lnTo>
                    <a:pt x="269" y="767"/>
                  </a:lnTo>
                  <a:lnTo>
                    <a:pt x="261" y="767"/>
                  </a:lnTo>
                  <a:lnTo>
                    <a:pt x="254" y="767"/>
                  </a:lnTo>
                  <a:lnTo>
                    <a:pt x="254" y="767"/>
                  </a:lnTo>
                  <a:lnTo>
                    <a:pt x="248" y="763"/>
                  </a:lnTo>
                  <a:lnTo>
                    <a:pt x="242" y="759"/>
                  </a:lnTo>
                  <a:lnTo>
                    <a:pt x="237" y="755"/>
                  </a:lnTo>
                  <a:lnTo>
                    <a:pt x="231" y="752"/>
                  </a:lnTo>
                  <a:lnTo>
                    <a:pt x="225" y="746"/>
                  </a:lnTo>
                  <a:lnTo>
                    <a:pt x="219" y="744"/>
                  </a:lnTo>
                  <a:lnTo>
                    <a:pt x="210" y="742"/>
                  </a:lnTo>
                  <a:lnTo>
                    <a:pt x="200" y="740"/>
                  </a:lnTo>
                  <a:lnTo>
                    <a:pt x="200" y="740"/>
                  </a:lnTo>
                  <a:lnTo>
                    <a:pt x="195" y="740"/>
                  </a:lnTo>
                  <a:lnTo>
                    <a:pt x="187" y="740"/>
                  </a:lnTo>
                  <a:lnTo>
                    <a:pt x="181" y="740"/>
                  </a:lnTo>
                  <a:lnTo>
                    <a:pt x="174" y="742"/>
                  </a:lnTo>
                  <a:lnTo>
                    <a:pt x="168" y="742"/>
                  </a:lnTo>
                  <a:lnTo>
                    <a:pt x="160" y="742"/>
                  </a:lnTo>
                  <a:lnTo>
                    <a:pt x="155" y="742"/>
                  </a:lnTo>
                  <a:lnTo>
                    <a:pt x="149" y="744"/>
                  </a:lnTo>
                  <a:lnTo>
                    <a:pt x="143" y="744"/>
                  </a:lnTo>
                  <a:lnTo>
                    <a:pt x="135" y="746"/>
                  </a:lnTo>
                  <a:lnTo>
                    <a:pt x="130" y="746"/>
                  </a:lnTo>
                  <a:lnTo>
                    <a:pt x="124" y="746"/>
                  </a:lnTo>
                  <a:lnTo>
                    <a:pt x="118" y="748"/>
                  </a:lnTo>
                  <a:lnTo>
                    <a:pt x="111" y="748"/>
                  </a:lnTo>
                  <a:lnTo>
                    <a:pt x="105" y="750"/>
                  </a:lnTo>
                  <a:lnTo>
                    <a:pt x="99" y="752"/>
                  </a:lnTo>
                  <a:lnTo>
                    <a:pt x="0" y="637"/>
                  </a:lnTo>
                  <a:lnTo>
                    <a:pt x="0" y="391"/>
                  </a:lnTo>
                  <a:lnTo>
                    <a:pt x="0" y="391"/>
                  </a:lnTo>
                  <a:lnTo>
                    <a:pt x="2" y="391"/>
                  </a:lnTo>
                  <a:lnTo>
                    <a:pt x="6" y="391"/>
                  </a:lnTo>
                  <a:lnTo>
                    <a:pt x="10" y="391"/>
                  </a:lnTo>
                  <a:lnTo>
                    <a:pt x="13" y="391"/>
                  </a:lnTo>
                  <a:lnTo>
                    <a:pt x="19" y="391"/>
                  </a:lnTo>
                  <a:lnTo>
                    <a:pt x="25" y="391"/>
                  </a:lnTo>
                  <a:lnTo>
                    <a:pt x="31" y="391"/>
                  </a:lnTo>
                  <a:lnTo>
                    <a:pt x="36" y="391"/>
                  </a:lnTo>
                  <a:lnTo>
                    <a:pt x="42" y="391"/>
                  </a:lnTo>
                  <a:lnTo>
                    <a:pt x="48" y="391"/>
                  </a:lnTo>
                  <a:lnTo>
                    <a:pt x="53" y="391"/>
                  </a:lnTo>
                  <a:lnTo>
                    <a:pt x="59" y="391"/>
                  </a:lnTo>
                  <a:lnTo>
                    <a:pt x="63" y="391"/>
                  </a:lnTo>
                  <a:lnTo>
                    <a:pt x="69" y="391"/>
                  </a:lnTo>
                  <a:lnTo>
                    <a:pt x="72" y="391"/>
                  </a:lnTo>
                  <a:lnTo>
                    <a:pt x="76" y="391"/>
                  </a:lnTo>
                  <a:lnTo>
                    <a:pt x="76" y="391"/>
                  </a:lnTo>
                  <a:lnTo>
                    <a:pt x="86" y="389"/>
                  </a:lnTo>
                  <a:lnTo>
                    <a:pt x="93" y="385"/>
                  </a:lnTo>
                  <a:lnTo>
                    <a:pt x="101" y="383"/>
                  </a:lnTo>
                  <a:lnTo>
                    <a:pt x="109" y="382"/>
                  </a:lnTo>
                  <a:lnTo>
                    <a:pt x="116" y="382"/>
                  </a:lnTo>
                  <a:lnTo>
                    <a:pt x="124" y="380"/>
                  </a:lnTo>
                  <a:lnTo>
                    <a:pt x="132" y="378"/>
                  </a:lnTo>
                  <a:lnTo>
                    <a:pt x="137" y="376"/>
                  </a:lnTo>
                  <a:lnTo>
                    <a:pt x="143" y="374"/>
                  </a:lnTo>
                  <a:lnTo>
                    <a:pt x="149" y="370"/>
                  </a:lnTo>
                  <a:lnTo>
                    <a:pt x="153" y="366"/>
                  </a:lnTo>
                  <a:lnTo>
                    <a:pt x="156" y="362"/>
                  </a:lnTo>
                  <a:lnTo>
                    <a:pt x="160" y="357"/>
                  </a:lnTo>
                  <a:lnTo>
                    <a:pt x="162" y="349"/>
                  </a:lnTo>
                  <a:lnTo>
                    <a:pt x="164" y="340"/>
                  </a:lnTo>
                  <a:lnTo>
                    <a:pt x="164" y="330"/>
                  </a:lnTo>
                  <a:lnTo>
                    <a:pt x="164" y="330"/>
                  </a:lnTo>
                  <a:lnTo>
                    <a:pt x="164" y="322"/>
                  </a:lnTo>
                  <a:lnTo>
                    <a:pt x="164" y="317"/>
                  </a:lnTo>
                  <a:lnTo>
                    <a:pt x="164" y="311"/>
                  </a:lnTo>
                  <a:lnTo>
                    <a:pt x="164" y="307"/>
                  </a:lnTo>
                  <a:lnTo>
                    <a:pt x="164" y="301"/>
                  </a:lnTo>
                  <a:lnTo>
                    <a:pt x="164" y="298"/>
                  </a:lnTo>
                  <a:lnTo>
                    <a:pt x="164" y="292"/>
                  </a:lnTo>
                  <a:lnTo>
                    <a:pt x="164" y="288"/>
                  </a:lnTo>
                  <a:lnTo>
                    <a:pt x="164" y="282"/>
                  </a:lnTo>
                  <a:lnTo>
                    <a:pt x="164" y="277"/>
                  </a:lnTo>
                  <a:lnTo>
                    <a:pt x="164" y="271"/>
                  </a:lnTo>
                  <a:lnTo>
                    <a:pt x="164" y="263"/>
                  </a:lnTo>
                  <a:lnTo>
                    <a:pt x="164" y="258"/>
                  </a:lnTo>
                  <a:lnTo>
                    <a:pt x="164" y="248"/>
                  </a:lnTo>
                  <a:lnTo>
                    <a:pt x="164" y="238"/>
                  </a:lnTo>
                  <a:lnTo>
                    <a:pt x="164" y="229"/>
                  </a:lnTo>
                  <a:lnTo>
                    <a:pt x="164" y="229"/>
                  </a:lnTo>
                  <a:lnTo>
                    <a:pt x="177" y="231"/>
                  </a:lnTo>
                  <a:lnTo>
                    <a:pt x="185" y="235"/>
                  </a:lnTo>
                  <a:lnTo>
                    <a:pt x="189" y="238"/>
                  </a:lnTo>
                  <a:lnTo>
                    <a:pt x="189" y="246"/>
                  </a:lnTo>
                  <a:lnTo>
                    <a:pt x="189" y="252"/>
                  </a:lnTo>
                  <a:lnTo>
                    <a:pt x="191" y="258"/>
                  </a:lnTo>
                  <a:lnTo>
                    <a:pt x="195" y="261"/>
                  </a:lnTo>
                  <a:lnTo>
                    <a:pt x="200" y="261"/>
                  </a:lnTo>
                  <a:lnTo>
                    <a:pt x="200" y="261"/>
                  </a:lnTo>
                  <a:lnTo>
                    <a:pt x="206" y="261"/>
                  </a:lnTo>
                  <a:lnTo>
                    <a:pt x="210" y="259"/>
                  </a:lnTo>
                  <a:lnTo>
                    <a:pt x="216" y="256"/>
                  </a:lnTo>
                  <a:lnTo>
                    <a:pt x="219" y="254"/>
                  </a:lnTo>
                  <a:lnTo>
                    <a:pt x="225" y="250"/>
                  </a:lnTo>
                  <a:lnTo>
                    <a:pt x="231" y="248"/>
                  </a:lnTo>
                  <a:lnTo>
                    <a:pt x="237" y="244"/>
                  </a:lnTo>
                  <a:lnTo>
                    <a:pt x="244" y="244"/>
                  </a:lnTo>
                  <a:lnTo>
                    <a:pt x="244" y="244"/>
                  </a:lnTo>
                  <a:lnTo>
                    <a:pt x="248" y="244"/>
                  </a:lnTo>
                  <a:lnTo>
                    <a:pt x="250" y="244"/>
                  </a:lnTo>
                  <a:lnTo>
                    <a:pt x="254" y="244"/>
                  </a:lnTo>
                  <a:lnTo>
                    <a:pt x="256" y="244"/>
                  </a:lnTo>
                  <a:lnTo>
                    <a:pt x="258" y="246"/>
                  </a:lnTo>
                  <a:lnTo>
                    <a:pt x="259" y="246"/>
                  </a:lnTo>
                  <a:lnTo>
                    <a:pt x="261" y="244"/>
                  </a:lnTo>
                  <a:lnTo>
                    <a:pt x="265" y="244"/>
                  </a:lnTo>
                  <a:lnTo>
                    <a:pt x="265" y="244"/>
                  </a:lnTo>
                  <a:lnTo>
                    <a:pt x="265" y="252"/>
                  </a:lnTo>
                  <a:lnTo>
                    <a:pt x="269" y="259"/>
                  </a:lnTo>
                  <a:lnTo>
                    <a:pt x="271" y="265"/>
                  </a:lnTo>
                  <a:lnTo>
                    <a:pt x="275" y="271"/>
                  </a:lnTo>
                  <a:lnTo>
                    <a:pt x="280" y="277"/>
                  </a:lnTo>
                  <a:lnTo>
                    <a:pt x="286" y="280"/>
                  </a:lnTo>
                  <a:lnTo>
                    <a:pt x="294" y="286"/>
                  </a:lnTo>
                  <a:lnTo>
                    <a:pt x="301" y="290"/>
                  </a:lnTo>
                  <a:lnTo>
                    <a:pt x="309" y="292"/>
                  </a:lnTo>
                  <a:lnTo>
                    <a:pt x="319" y="296"/>
                  </a:lnTo>
                  <a:lnTo>
                    <a:pt x="328" y="298"/>
                  </a:lnTo>
                  <a:lnTo>
                    <a:pt x="336" y="300"/>
                  </a:lnTo>
                  <a:lnTo>
                    <a:pt x="345" y="301"/>
                  </a:lnTo>
                  <a:lnTo>
                    <a:pt x="355" y="303"/>
                  </a:lnTo>
                  <a:lnTo>
                    <a:pt x="362" y="303"/>
                  </a:lnTo>
                  <a:lnTo>
                    <a:pt x="372" y="303"/>
                  </a:lnTo>
                  <a:lnTo>
                    <a:pt x="372" y="303"/>
                  </a:lnTo>
                  <a:lnTo>
                    <a:pt x="378" y="303"/>
                  </a:lnTo>
                  <a:lnTo>
                    <a:pt x="385" y="300"/>
                  </a:lnTo>
                  <a:lnTo>
                    <a:pt x="389" y="298"/>
                  </a:lnTo>
                  <a:lnTo>
                    <a:pt x="395" y="294"/>
                  </a:lnTo>
                  <a:lnTo>
                    <a:pt x="399" y="288"/>
                  </a:lnTo>
                  <a:lnTo>
                    <a:pt x="401" y="284"/>
                  </a:lnTo>
                  <a:lnTo>
                    <a:pt x="404" y="279"/>
                  </a:lnTo>
                  <a:lnTo>
                    <a:pt x="406" y="273"/>
                  </a:lnTo>
                  <a:lnTo>
                    <a:pt x="406" y="273"/>
                  </a:lnTo>
                  <a:lnTo>
                    <a:pt x="414" y="279"/>
                  </a:lnTo>
                  <a:lnTo>
                    <a:pt x="420" y="284"/>
                  </a:lnTo>
                  <a:lnTo>
                    <a:pt x="423" y="290"/>
                  </a:lnTo>
                  <a:lnTo>
                    <a:pt x="427" y="298"/>
                  </a:lnTo>
                  <a:lnTo>
                    <a:pt x="431" y="303"/>
                  </a:lnTo>
                  <a:lnTo>
                    <a:pt x="435" y="309"/>
                  </a:lnTo>
                  <a:lnTo>
                    <a:pt x="439" y="317"/>
                  </a:lnTo>
                  <a:lnTo>
                    <a:pt x="444" y="321"/>
                  </a:lnTo>
                  <a:lnTo>
                    <a:pt x="444" y="321"/>
                  </a:lnTo>
                  <a:lnTo>
                    <a:pt x="454" y="326"/>
                  </a:lnTo>
                  <a:lnTo>
                    <a:pt x="464" y="330"/>
                  </a:lnTo>
                  <a:lnTo>
                    <a:pt x="471" y="332"/>
                  </a:lnTo>
                  <a:lnTo>
                    <a:pt x="479" y="334"/>
                  </a:lnTo>
                  <a:lnTo>
                    <a:pt x="488" y="336"/>
                  </a:lnTo>
                  <a:lnTo>
                    <a:pt x="496" y="338"/>
                  </a:lnTo>
                  <a:lnTo>
                    <a:pt x="502" y="341"/>
                  </a:lnTo>
                  <a:lnTo>
                    <a:pt x="509" y="347"/>
                  </a:lnTo>
                  <a:lnTo>
                    <a:pt x="509" y="347"/>
                  </a:lnTo>
                  <a:lnTo>
                    <a:pt x="513" y="351"/>
                  </a:lnTo>
                  <a:lnTo>
                    <a:pt x="515" y="355"/>
                  </a:lnTo>
                  <a:lnTo>
                    <a:pt x="519" y="359"/>
                  </a:lnTo>
                  <a:lnTo>
                    <a:pt x="523" y="364"/>
                  </a:lnTo>
                  <a:lnTo>
                    <a:pt x="525" y="370"/>
                  </a:lnTo>
                  <a:lnTo>
                    <a:pt x="528" y="376"/>
                  </a:lnTo>
                  <a:lnTo>
                    <a:pt x="530" y="382"/>
                  </a:lnTo>
                  <a:lnTo>
                    <a:pt x="534" y="387"/>
                  </a:lnTo>
                  <a:lnTo>
                    <a:pt x="538" y="393"/>
                  </a:lnTo>
                  <a:lnTo>
                    <a:pt x="542" y="399"/>
                  </a:lnTo>
                  <a:lnTo>
                    <a:pt x="544" y="403"/>
                  </a:lnTo>
                  <a:lnTo>
                    <a:pt x="547" y="406"/>
                  </a:lnTo>
                  <a:lnTo>
                    <a:pt x="551" y="410"/>
                  </a:lnTo>
                  <a:lnTo>
                    <a:pt x="555" y="414"/>
                  </a:lnTo>
                  <a:lnTo>
                    <a:pt x="559" y="416"/>
                  </a:lnTo>
                  <a:lnTo>
                    <a:pt x="563" y="416"/>
                  </a:lnTo>
                  <a:lnTo>
                    <a:pt x="563" y="416"/>
                  </a:lnTo>
                  <a:lnTo>
                    <a:pt x="567" y="416"/>
                  </a:lnTo>
                  <a:lnTo>
                    <a:pt x="570" y="414"/>
                  </a:lnTo>
                  <a:lnTo>
                    <a:pt x="572" y="412"/>
                  </a:lnTo>
                  <a:lnTo>
                    <a:pt x="576" y="410"/>
                  </a:lnTo>
                  <a:lnTo>
                    <a:pt x="580" y="408"/>
                  </a:lnTo>
                  <a:lnTo>
                    <a:pt x="582" y="408"/>
                  </a:lnTo>
                  <a:lnTo>
                    <a:pt x="586" y="406"/>
                  </a:lnTo>
                  <a:lnTo>
                    <a:pt x="589" y="406"/>
                  </a:lnTo>
                  <a:lnTo>
                    <a:pt x="589" y="406"/>
                  </a:lnTo>
                  <a:lnTo>
                    <a:pt x="595" y="406"/>
                  </a:lnTo>
                  <a:lnTo>
                    <a:pt x="599" y="406"/>
                  </a:lnTo>
                  <a:lnTo>
                    <a:pt x="603" y="406"/>
                  </a:lnTo>
                  <a:lnTo>
                    <a:pt x="605" y="406"/>
                  </a:lnTo>
                  <a:lnTo>
                    <a:pt x="609" y="406"/>
                  </a:lnTo>
                  <a:lnTo>
                    <a:pt x="612" y="406"/>
                  </a:lnTo>
                  <a:lnTo>
                    <a:pt x="616" y="406"/>
                  </a:lnTo>
                  <a:lnTo>
                    <a:pt x="620" y="406"/>
                  </a:lnTo>
                  <a:lnTo>
                    <a:pt x="620" y="321"/>
                  </a:lnTo>
                  <a:lnTo>
                    <a:pt x="620" y="321"/>
                  </a:lnTo>
                  <a:lnTo>
                    <a:pt x="614" y="322"/>
                  </a:lnTo>
                  <a:lnTo>
                    <a:pt x="610" y="324"/>
                  </a:lnTo>
                  <a:lnTo>
                    <a:pt x="607" y="326"/>
                  </a:lnTo>
                  <a:lnTo>
                    <a:pt x="605" y="328"/>
                  </a:lnTo>
                  <a:lnTo>
                    <a:pt x="601" y="332"/>
                  </a:lnTo>
                  <a:lnTo>
                    <a:pt x="599" y="334"/>
                  </a:lnTo>
                  <a:lnTo>
                    <a:pt x="597" y="338"/>
                  </a:lnTo>
                  <a:lnTo>
                    <a:pt x="595" y="341"/>
                  </a:lnTo>
                  <a:lnTo>
                    <a:pt x="572" y="341"/>
                  </a:lnTo>
                  <a:lnTo>
                    <a:pt x="572" y="341"/>
                  </a:lnTo>
                  <a:lnTo>
                    <a:pt x="567" y="338"/>
                  </a:lnTo>
                  <a:lnTo>
                    <a:pt x="563" y="336"/>
                  </a:lnTo>
                  <a:lnTo>
                    <a:pt x="557" y="332"/>
                  </a:lnTo>
                  <a:lnTo>
                    <a:pt x="551" y="326"/>
                  </a:lnTo>
                  <a:lnTo>
                    <a:pt x="546" y="322"/>
                  </a:lnTo>
                  <a:lnTo>
                    <a:pt x="542" y="317"/>
                  </a:lnTo>
                  <a:lnTo>
                    <a:pt x="536" y="313"/>
                  </a:lnTo>
                  <a:lnTo>
                    <a:pt x="530" y="307"/>
                  </a:lnTo>
                  <a:lnTo>
                    <a:pt x="526" y="300"/>
                  </a:lnTo>
                  <a:lnTo>
                    <a:pt x="523" y="294"/>
                  </a:lnTo>
                  <a:lnTo>
                    <a:pt x="519" y="288"/>
                  </a:lnTo>
                  <a:lnTo>
                    <a:pt x="515" y="282"/>
                  </a:lnTo>
                  <a:lnTo>
                    <a:pt x="513" y="275"/>
                  </a:lnTo>
                  <a:lnTo>
                    <a:pt x="511" y="269"/>
                  </a:lnTo>
                  <a:lnTo>
                    <a:pt x="509" y="263"/>
                  </a:lnTo>
                  <a:lnTo>
                    <a:pt x="509" y="256"/>
                  </a:lnTo>
                  <a:lnTo>
                    <a:pt x="509" y="256"/>
                  </a:lnTo>
                  <a:lnTo>
                    <a:pt x="509" y="250"/>
                  </a:lnTo>
                  <a:lnTo>
                    <a:pt x="511" y="242"/>
                  </a:lnTo>
                  <a:lnTo>
                    <a:pt x="513" y="237"/>
                  </a:lnTo>
                  <a:lnTo>
                    <a:pt x="515" y="231"/>
                  </a:lnTo>
                  <a:lnTo>
                    <a:pt x="517" y="227"/>
                  </a:lnTo>
                  <a:lnTo>
                    <a:pt x="521" y="223"/>
                  </a:lnTo>
                  <a:lnTo>
                    <a:pt x="525" y="219"/>
                  </a:lnTo>
                  <a:lnTo>
                    <a:pt x="526" y="216"/>
                  </a:lnTo>
                  <a:lnTo>
                    <a:pt x="526" y="216"/>
                  </a:lnTo>
                  <a:lnTo>
                    <a:pt x="526" y="208"/>
                  </a:lnTo>
                  <a:lnTo>
                    <a:pt x="526" y="200"/>
                  </a:lnTo>
                  <a:lnTo>
                    <a:pt x="526" y="193"/>
                  </a:lnTo>
                  <a:lnTo>
                    <a:pt x="526" y="185"/>
                  </a:lnTo>
                  <a:lnTo>
                    <a:pt x="526" y="179"/>
                  </a:lnTo>
                  <a:lnTo>
                    <a:pt x="526" y="172"/>
                  </a:lnTo>
                  <a:lnTo>
                    <a:pt x="526" y="166"/>
                  </a:lnTo>
                  <a:lnTo>
                    <a:pt x="526" y="158"/>
                  </a:lnTo>
                  <a:lnTo>
                    <a:pt x="526" y="153"/>
                  </a:lnTo>
                  <a:lnTo>
                    <a:pt x="526" y="145"/>
                  </a:lnTo>
                  <a:lnTo>
                    <a:pt x="526" y="139"/>
                  </a:lnTo>
                  <a:lnTo>
                    <a:pt x="526" y="135"/>
                  </a:lnTo>
                  <a:lnTo>
                    <a:pt x="526" y="130"/>
                  </a:lnTo>
                  <a:lnTo>
                    <a:pt x="526" y="124"/>
                  </a:lnTo>
                  <a:lnTo>
                    <a:pt x="526" y="120"/>
                  </a:lnTo>
                  <a:lnTo>
                    <a:pt x="526" y="116"/>
                  </a:lnTo>
                  <a:lnTo>
                    <a:pt x="526" y="116"/>
                  </a:lnTo>
                  <a:lnTo>
                    <a:pt x="526" y="113"/>
                  </a:lnTo>
                  <a:lnTo>
                    <a:pt x="525" y="109"/>
                  </a:lnTo>
                  <a:lnTo>
                    <a:pt x="523" y="107"/>
                  </a:lnTo>
                  <a:lnTo>
                    <a:pt x="521" y="103"/>
                  </a:lnTo>
                  <a:lnTo>
                    <a:pt x="519" y="101"/>
                  </a:lnTo>
                  <a:lnTo>
                    <a:pt x="517" y="97"/>
                  </a:lnTo>
                  <a:lnTo>
                    <a:pt x="515" y="95"/>
                  </a:lnTo>
                  <a:lnTo>
                    <a:pt x="515" y="92"/>
                  </a:lnTo>
                  <a:lnTo>
                    <a:pt x="515" y="92"/>
                  </a:lnTo>
                  <a:lnTo>
                    <a:pt x="517" y="86"/>
                  </a:lnTo>
                  <a:lnTo>
                    <a:pt x="519" y="80"/>
                  </a:lnTo>
                  <a:lnTo>
                    <a:pt x="523" y="76"/>
                  </a:lnTo>
                  <a:lnTo>
                    <a:pt x="526" y="73"/>
                  </a:lnTo>
                  <a:lnTo>
                    <a:pt x="532" y="71"/>
                  </a:lnTo>
                  <a:lnTo>
                    <a:pt x="536" y="67"/>
                  </a:lnTo>
                  <a:lnTo>
                    <a:pt x="540" y="65"/>
                  </a:lnTo>
                  <a:lnTo>
                    <a:pt x="542" y="63"/>
                  </a:lnTo>
                  <a:lnTo>
                    <a:pt x="542" y="63"/>
                  </a:lnTo>
                  <a:lnTo>
                    <a:pt x="547" y="57"/>
                  </a:lnTo>
                  <a:lnTo>
                    <a:pt x="549" y="53"/>
                  </a:lnTo>
                  <a:lnTo>
                    <a:pt x="551" y="48"/>
                  </a:lnTo>
                  <a:lnTo>
                    <a:pt x="551" y="42"/>
                  </a:lnTo>
                  <a:lnTo>
                    <a:pt x="553" y="36"/>
                  </a:lnTo>
                  <a:lnTo>
                    <a:pt x="555" y="31"/>
                  </a:lnTo>
                  <a:lnTo>
                    <a:pt x="557" y="27"/>
                  </a:lnTo>
                  <a:lnTo>
                    <a:pt x="563" y="23"/>
                  </a:lnTo>
                  <a:lnTo>
                    <a:pt x="563" y="23"/>
                  </a:lnTo>
                  <a:lnTo>
                    <a:pt x="568" y="19"/>
                  </a:lnTo>
                  <a:lnTo>
                    <a:pt x="574" y="17"/>
                  </a:lnTo>
                  <a:lnTo>
                    <a:pt x="580" y="15"/>
                  </a:lnTo>
                  <a:lnTo>
                    <a:pt x="586" y="13"/>
                  </a:lnTo>
                  <a:lnTo>
                    <a:pt x="589" y="13"/>
                  </a:lnTo>
                  <a:lnTo>
                    <a:pt x="595" y="11"/>
                  </a:lnTo>
                  <a:lnTo>
                    <a:pt x="601" y="11"/>
                  </a:lnTo>
                  <a:lnTo>
                    <a:pt x="605" y="11"/>
                  </a:lnTo>
                  <a:lnTo>
                    <a:pt x="610" y="11"/>
                  </a:lnTo>
                  <a:lnTo>
                    <a:pt x="616" y="11"/>
                  </a:lnTo>
                  <a:lnTo>
                    <a:pt x="622" y="10"/>
                  </a:lnTo>
                  <a:lnTo>
                    <a:pt x="626" y="10"/>
                  </a:lnTo>
                  <a:lnTo>
                    <a:pt x="631" y="10"/>
                  </a:lnTo>
                  <a:lnTo>
                    <a:pt x="637" y="8"/>
                  </a:lnTo>
                  <a:lnTo>
                    <a:pt x="643" y="8"/>
                  </a:lnTo>
                  <a:lnTo>
                    <a:pt x="649" y="4"/>
                  </a:lnTo>
                  <a:lnTo>
                    <a:pt x="700" y="0"/>
                  </a:lnTo>
                  <a:lnTo>
                    <a:pt x="700" y="0"/>
                  </a:lnTo>
                  <a:lnTo>
                    <a:pt x="704" y="4"/>
                  </a:lnTo>
                  <a:lnTo>
                    <a:pt x="708" y="8"/>
                  </a:lnTo>
                  <a:lnTo>
                    <a:pt x="712" y="11"/>
                  </a:lnTo>
                  <a:lnTo>
                    <a:pt x="715" y="15"/>
                  </a:lnTo>
                  <a:lnTo>
                    <a:pt x="719" y="21"/>
                  </a:lnTo>
                  <a:lnTo>
                    <a:pt x="721" y="25"/>
                  </a:lnTo>
                  <a:lnTo>
                    <a:pt x="725" y="29"/>
                  </a:lnTo>
                  <a:lnTo>
                    <a:pt x="729" y="32"/>
                  </a:lnTo>
                  <a:lnTo>
                    <a:pt x="729" y="32"/>
                  </a:lnTo>
                  <a:lnTo>
                    <a:pt x="731" y="34"/>
                  </a:lnTo>
                  <a:lnTo>
                    <a:pt x="733" y="34"/>
                  </a:lnTo>
                  <a:lnTo>
                    <a:pt x="736" y="36"/>
                  </a:lnTo>
                  <a:lnTo>
                    <a:pt x="738" y="38"/>
                  </a:lnTo>
                  <a:lnTo>
                    <a:pt x="742" y="38"/>
                  </a:lnTo>
                  <a:lnTo>
                    <a:pt x="744" y="38"/>
                  </a:lnTo>
                  <a:lnTo>
                    <a:pt x="746" y="38"/>
                  </a:lnTo>
                  <a:lnTo>
                    <a:pt x="746" y="38"/>
                  </a:lnTo>
                  <a:lnTo>
                    <a:pt x="746" y="38"/>
                  </a:lnTo>
                  <a:lnTo>
                    <a:pt x="752" y="36"/>
                  </a:lnTo>
                  <a:lnTo>
                    <a:pt x="753" y="36"/>
                  </a:lnTo>
                  <a:lnTo>
                    <a:pt x="755" y="36"/>
                  </a:lnTo>
                  <a:lnTo>
                    <a:pt x="757" y="36"/>
                  </a:lnTo>
                  <a:lnTo>
                    <a:pt x="757" y="36"/>
                  </a:lnTo>
                  <a:lnTo>
                    <a:pt x="759" y="36"/>
                  </a:lnTo>
                  <a:lnTo>
                    <a:pt x="759" y="36"/>
                  </a:lnTo>
                  <a:lnTo>
                    <a:pt x="761" y="36"/>
                  </a:lnTo>
                  <a:lnTo>
                    <a:pt x="761" y="36"/>
                  </a:lnTo>
                  <a:lnTo>
                    <a:pt x="763" y="36"/>
                  </a:lnTo>
                  <a:lnTo>
                    <a:pt x="765" y="38"/>
                  </a:lnTo>
                  <a:lnTo>
                    <a:pt x="767" y="42"/>
                  </a:lnTo>
                  <a:lnTo>
                    <a:pt x="771" y="44"/>
                  </a:lnTo>
                  <a:lnTo>
                    <a:pt x="774" y="48"/>
                  </a:lnTo>
                  <a:lnTo>
                    <a:pt x="778" y="50"/>
                  </a:lnTo>
                  <a:lnTo>
                    <a:pt x="780" y="52"/>
                  </a:lnTo>
                  <a:lnTo>
                    <a:pt x="782" y="53"/>
                  </a:lnTo>
                  <a:lnTo>
                    <a:pt x="782" y="53"/>
                  </a:lnTo>
                  <a:lnTo>
                    <a:pt x="790" y="57"/>
                  </a:lnTo>
                  <a:lnTo>
                    <a:pt x="797" y="61"/>
                  </a:lnTo>
                  <a:lnTo>
                    <a:pt x="805" y="63"/>
                  </a:lnTo>
                  <a:lnTo>
                    <a:pt x="813" y="65"/>
                  </a:lnTo>
                  <a:lnTo>
                    <a:pt x="818" y="67"/>
                  </a:lnTo>
                  <a:lnTo>
                    <a:pt x="824" y="69"/>
                  </a:lnTo>
                  <a:lnTo>
                    <a:pt x="832" y="73"/>
                  </a:lnTo>
                  <a:lnTo>
                    <a:pt x="839" y="74"/>
                  </a:lnTo>
                  <a:lnTo>
                    <a:pt x="839" y="74"/>
                  </a:lnTo>
                  <a:lnTo>
                    <a:pt x="847" y="78"/>
                  </a:lnTo>
                  <a:lnTo>
                    <a:pt x="855" y="84"/>
                  </a:lnTo>
                  <a:lnTo>
                    <a:pt x="862" y="88"/>
                  </a:lnTo>
                  <a:lnTo>
                    <a:pt x="870" y="92"/>
                  </a:lnTo>
                  <a:lnTo>
                    <a:pt x="877" y="95"/>
                  </a:lnTo>
                  <a:lnTo>
                    <a:pt x="885" y="97"/>
                  </a:lnTo>
                  <a:lnTo>
                    <a:pt x="893" y="101"/>
                  </a:lnTo>
                  <a:lnTo>
                    <a:pt x="900" y="103"/>
                  </a:lnTo>
                  <a:lnTo>
                    <a:pt x="900" y="103"/>
                  </a:lnTo>
                  <a:lnTo>
                    <a:pt x="898" y="109"/>
                  </a:lnTo>
                  <a:lnTo>
                    <a:pt x="898" y="113"/>
                  </a:lnTo>
                  <a:lnTo>
                    <a:pt x="900" y="118"/>
                  </a:lnTo>
                  <a:lnTo>
                    <a:pt x="900" y="124"/>
                  </a:lnTo>
                  <a:lnTo>
                    <a:pt x="902" y="128"/>
                  </a:lnTo>
                  <a:lnTo>
                    <a:pt x="904" y="134"/>
                  </a:lnTo>
                  <a:lnTo>
                    <a:pt x="906" y="137"/>
                  </a:lnTo>
                  <a:lnTo>
                    <a:pt x="908" y="143"/>
                  </a:lnTo>
                  <a:lnTo>
                    <a:pt x="912" y="147"/>
                  </a:lnTo>
                  <a:lnTo>
                    <a:pt x="914" y="153"/>
                  </a:lnTo>
                  <a:lnTo>
                    <a:pt x="916" y="156"/>
                  </a:lnTo>
                  <a:lnTo>
                    <a:pt x="918" y="162"/>
                  </a:lnTo>
                  <a:lnTo>
                    <a:pt x="919" y="168"/>
                  </a:lnTo>
                  <a:lnTo>
                    <a:pt x="921" y="172"/>
                  </a:lnTo>
                  <a:lnTo>
                    <a:pt x="921" y="177"/>
                  </a:lnTo>
                  <a:lnTo>
                    <a:pt x="921" y="181"/>
                  </a:lnTo>
                  <a:lnTo>
                    <a:pt x="921" y="181"/>
                  </a:lnTo>
                  <a:lnTo>
                    <a:pt x="921" y="189"/>
                  </a:lnTo>
                  <a:lnTo>
                    <a:pt x="918" y="195"/>
                  </a:lnTo>
                  <a:lnTo>
                    <a:pt x="916" y="200"/>
                  </a:lnTo>
                  <a:lnTo>
                    <a:pt x="912" y="206"/>
                  </a:lnTo>
                  <a:lnTo>
                    <a:pt x="908" y="212"/>
                  </a:lnTo>
                  <a:lnTo>
                    <a:pt x="904" y="217"/>
                  </a:lnTo>
                  <a:lnTo>
                    <a:pt x="902" y="225"/>
                  </a:lnTo>
                  <a:lnTo>
                    <a:pt x="900" y="231"/>
                  </a:lnTo>
                  <a:lnTo>
                    <a:pt x="900" y="231"/>
                  </a:lnTo>
                  <a:lnTo>
                    <a:pt x="900" y="235"/>
                  </a:lnTo>
                  <a:lnTo>
                    <a:pt x="900" y="238"/>
                  </a:lnTo>
                  <a:lnTo>
                    <a:pt x="898" y="242"/>
                  </a:lnTo>
                  <a:lnTo>
                    <a:pt x="898" y="246"/>
                  </a:lnTo>
                  <a:lnTo>
                    <a:pt x="897" y="250"/>
                  </a:lnTo>
                  <a:lnTo>
                    <a:pt x="895" y="254"/>
                  </a:lnTo>
                  <a:lnTo>
                    <a:pt x="895" y="258"/>
                  </a:lnTo>
                  <a:lnTo>
                    <a:pt x="895" y="261"/>
                  </a:lnTo>
                  <a:lnTo>
                    <a:pt x="895" y="261"/>
                  </a:lnTo>
                  <a:lnTo>
                    <a:pt x="895" y="269"/>
                  </a:lnTo>
                  <a:lnTo>
                    <a:pt x="897" y="273"/>
                  </a:lnTo>
                  <a:lnTo>
                    <a:pt x="898" y="279"/>
                  </a:lnTo>
                  <a:lnTo>
                    <a:pt x="900" y="284"/>
                  </a:lnTo>
                  <a:lnTo>
                    <a:pt x="902" y="288"/>
                  </a:lnTo>
                  <a:lnTo>
                    <a:pt x="904" y="294"/>
                  </a:lnTo>
                  <a:lnTo>
                    <a:pt x="904" y="300"/>
                  </a:lnTo>
                  <a:lnTo>
                    <a:pt x="906" y="307"/>
                  </a:lnTo>
                  <a:lnTo>
                    <a:pt x="906" y="307"/>
                  </a:lnTo>
                  <a:lnTo>
                    <a:pt x="904" y="311"/>
                  </a:lnTo>
                  <a:lnTo>
                    <a:pt x="904" y="315"/>
                  </a:lnTo>
                  <a:lnTo>
                    <a:pt x="902" y="319"/>
                  </a:lnTo>
                  <a:lnTo>
                    <a:pt x="900" y="321"/>
                  </a:lnTo>
                  <a:lnTo>
                    <a:pt x="898" y="324"/>
                  </a:lnTo>
                  <a:lnTo>
                    <a:pt x="897" y="326"/>
                  </a:lnTo>
                  <a:lnTo>
                    <a:pt x="893" y="328"/>
                  </a:lnTo>
                  <a:lnTo>
                    <a:pt x="891" y="332"/>
                  </a:lnTo>
                  <a:lnTo>
                    <a:pt x="891" y="332"/>
                  </a:lnTo>
                  <a:lnTo>
                    <a:pt x="887" y="336"/>
                  </a:lnTo>
                  <a:lnTo>
                    <a:pt x="885" y="340"/>
                  </a:lnTo>
                  <a:lnTo>
                    <a:pt x="885" y="345"/>
                  </a:lnTo>
                  <a:lnTo>
                    <a:pt x="883" y="349"/>
                  </a:lnTo>
                  <a:lnTo>
                    <a:pt x="883" y="355"/>
                  </a:lnTo>
                  <a:lnTo>
                    <a:pt x="883" y="359"/>
                  </a:lnTo>
                  <a:lnTo>
                    <a:pt x="883" y="364"/>
                  </a:lnTo>
                  <a:lnTo>
                    <a:pt x="881" y="370"/>
                  </a:lnTo>
                  <a:lnTo>
                    <a:pt x="881" y="370"/>
                  </a:lnTo>
                  <a:lnTo>
                    <a:pt x="879" y="374"/>
                  </a:lnTo>
                  <a:lnTo>
                    <a:pt x="877" y="378"/>
                  </a:lnTo>
                  <a:lnTo>
                    <a:pt x="876" y="382"/>
                  </a:lnTo>
                  <a:lnTo>
                    <a:pt x="874" y="385"/>
                  </a:lnTo>
                  <a:lnTo>
                    <a:pt x="872" y="387"/>
                  </a:lnTo>
                  <a:lnTo>
                    <a:pt x="870" y="391"/>
                  </a:lnTo>
                  <a:lnTo>
                    <a:pt x="866" y="397"/>
                  </a:lnTo>
                  <a:lnTo>
                    <a:pt x="864" y="403"/>
                  </a:lnTo>
                  <a:lnTo>
                    <a:pt x="864" y="403"/>
                  </a:lnTo>
                  <a:lnTo>
                    <a:pt x="862" y="406"/>
                  </a:lnTo>
                  <a:lnTo>
                    <a:pt x="858" y="408"/>
                  </a:lnTo>
                  <a:lnTo>
                    <a:pt x="855" y="410"/>
                  </a:lnTo>
                  <a:lnTo>
                    <a:pt x="853" y="414"/>
                  </a:lnTo>
                  <a:lnTo>
                    <a:pt x="849" y="416"/>
                  </a:lnTo>
                  <a:lnTo>
                    <a:pt x="847" y="420"/>
                  </a:lnTo>
                  <a:lnTo>
                    <a:pt x="845" y="424"/>
                  </a:lnTo>
                  <a:lnTo>
                    <a:pt x="843" y="427"/>
                  </a:lnTo>
                  <a:lnTo>
                    <a:pt x="843" y="427"/>
                  </a:lnTo>
                  <a:lnTo>
                    <a:pt x="845" y="437"/>
                  </a:lnTo>
                  <a:lnTo>
                    <a:pt x="849" y="443"/>
                  </a:lnTo>
                  <a:lnTo>
                    <a:pt x="853" y="445"/>
                  </a:lnTo>
                  <a:lnTo>
                    <a:pt x="860" y="446"/>
                  </a:lnTo>
                  <a:lnTo>
                    <a:pt x="868" y="448"/>
                  </a:lnTo>
                  <a:lnTo>
                    <a:pt x="874" y="450"/>
                  </a:lnTo>
                  <a:lnTo>
                    <a:pt x="881" y="452"/>
                  </a:lnTo>
                  <a:lnTo>
                    <a:pt x="887" y="456"/>
                  </a:lnTo>
                  <a:lnTo>
                    <a:pt x="887" y="456"/>
                  </a:lnTo>
                  <a:lnTo>
                    <a:pt x="881" y="460"/>
                  </a:lnTo>
                  <a:lnTo>
                    <a:pt x="874" y="462"/>
                  </a:lnTo>
                  <a:lnTo>
                    <a:pt x="864" y="464"/>
                  </a:lnTo>
                  <a:lnTo>
                    <a:pt x="856" y="467"/>
                  </a:lnTo>
                  <a:lnTo>
                    <a:pt x="849" y="469"/>
                  </a:lnTo>
                  <a:lnTo>
                    <a:pt x="841" y="473"/>
                  </a:lnTo>
                  <a:lnTo>
                    <a:pt x="834" y="475"/>
                  </a:lnTo>
                  <a:lnTo>
                    <a:pt x="824" y="477"/>
                  </a:lnTo>
                  <a:lnTo>
                    <a:pt x="816" y="481"/>
                  </a:lnTo>
                  <a:lnTo>
                    <a:pt x="809" y="483"/>
                  </a:lnTo>
                  <a:lnTo>
                    <a:pt x="799" y="486"/>
                  </a:lnTo>
                  <a:lnTo>
                    <a:pt x="792" y="488"/>
                  </a:lnTo>
                  <a:lnTo>
                    <a:pt x="784" y="490"/>
                  </a:lnTo>
                  <a:lnTo>
                    <a:pt x="776" y="494"/>
                  </a:lnTo>
                  <a:lnTo>
                    <a:pt x="769" y="496"/>
                  </a:lnTo>
                  <a:lnTo>
                    <a:pt x="761" y="496"/>
                  </a:lnTo>
                  <a:lnTo>
                    <a:pt x="761" y="496"/>
                  </a:lnTo>
                  <a:lnTo>
                    <a:pt x="755" y="498"/>
                  </a:lnTo>
                  <a:lnTo>
                    <a:pt x="750" y="500"/>
                  </a:lnTo>
                  <a:lnTo>
                    <a:pt x="746" y="502"/>
                  </a:lnTo>
                  <a:lnTo>
                    <a:pt x="740" y="502"/>
                  </a:lnTo>
                  <a:lnTo>
                    <a:pt x="734" y="504"/>
                  </a:lnTo>
                  <a:lnTo>
                    <a:pt x="731" y="506"/>
                  </a:lnTo>
                  <a:lnTo>
                    <a:pt x="725" y="507"/>
                  </a:lnTo>
                  <a:lnTo>
                    <a:pt x="721" y="509"/>
                  </a:lnTo>
                  <a:lnTo>
                    <a:pt x="715" y="511"/>
                  </a:lnTo>
                  <a:lnTo>
                    <a:pt x="712" y="513"/>
                  </a:lnTo>
                  <a:lnTo>
                    <a:pt x="706" y="515"/>
                  </a:lnTo>
                  <a:lnTo>
                    <a:pt x="702" y="517"/>
                  </a:lnTo>
                  <a:lnTo>
                    <a:pt x="696" y="519"/>
                  </a:lnTo>
                  <a:lnTo>
                    <a:pt x="691" y="521"/>
                  </a:lnTo>
                  <a:lnTo>
                    <a:pt x="685" y="523"/>
                  </a:lnTo>
                  <a:lnTo>
                    <a:pt x="679" y="525"/>
                  </a:lnTo>
                  <a:lnTo>
                    <a:pt x="679" y="525"/>
                  </a:lnTo>
                  <a:lnTo>
                    <a:pt x="677" y="525"/>
                  </a:lnTo>
                  <a:lnTo>
                    <a:pt x="671" y="527"/>
                  </a:lnTo>
                  <a:lnTo>
                    <a:pt x="668" y="530"/>
                  </a:lnTo>
                  <a:lnTo>
                    <a:pt x="662" y="532"/>
                  </a:lnTo>
                  <a:lnTo>
                    <a:pt x="656" y="534"/>
                  </a:lnTo>
                  <a:lnTo>
                    <a:pt x="650" y="538"/>
                  </a:lnTo>
                  <a:lnTo>
                    <a:pt x="645" y="540"/>
                  </a:lnTo>
                  <a:lnTo>
                    <a:pt x="639" y="540"/>
                  </a:lnTo>
                  <a:lnTo>
                    <a:pt x="639" y="551"/>
                  </a:lnTo>
                  <a:lnTo>
                    <a:pt x="639" y="551"/>
                  </a:lnTo>
                  <a:lnTo>
                    <a:pt x="639" y="553"/>
                  </a:lnTo>
                  <a:lnTo>
                    <a:pt x="641" y="557"/>
                  </a:lnTo>
                  <a:lnTo>
                    <a:pt x="641" y="559"/>
                  </a:lnTo>
                  <a:lnTo>
                    <a:pt x="643" y="563"/>
                  </a:lnTo>
                  <a:lnTo>
                    <a:pt x="643" y="565"/>
                  </a:lnTo>
                  <a:lnTo>
                    <a:pt x="645" y="569"/>
                  </a:lnTo>
                  <a:lnTo>
                    <a:pt x="645" y="572"/>
                  </a:lnTo>
                  <a:lnTo>
                    <a:pt x="645" y="574"/>
                  </a:lnTo>
                  <a:lnTo>
                    <a:pt x="645" y="574"/>
                  </a:lnTo>
                  <a:lnTo>
                    <a:pt x="645" y="576"/>
                  </a:lnTo>
                  <a:lnTo>
                    <a:pt x="647" y="576"/>
                  </a:lnTo>
                  <a:lnTo>
                    <a:pt x="647" y="578"/>
                  </a:lnTo>
                  <a:lnTo>
                    <a:pt x="647" y="580"/>
                  </a:lnTo>
                  <a:lnTo>
                    <a:pt x="647" y="582"/>
                  </a:lnTo>
                  <a:lnTo>
                    <a:pt x="647" y="586"/>
                  </a:lnTo>
                  <a:lnTo>
                    <a:pt x="647" y="588"/>
                  </a:lnTo>
                  <a:lnTo>
                    <a:pt x="647" y="591"/>
                  </a:lnTo>
                  <a:lnTo>
                    <a:pt x="631" y="59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4" name="Freeform 28"/>
            <p:cNvSpPr>
              <a:spLocks/>
            </p:cNvSpPr>
            <p:nvPr/>
          </p:nvSpPr>
          <p:spPr bwMode="gray">
            <a:xfrm>
              <a:off x="2092" y="2622"/>
              <a:ext cx="548" cy="527"/>
            </a:xfrm>
            <a:custGeom>
              <a:avLst/>
              <a:gdLst/>
              <a:ahLst/>
              <a:cxnLst>
                <a:cxn ang="0">
                  <a:pos x="51" y="13"/>
                </a:cxn>
                <a:cxn ang="0">
                  <a:pos x="88" y="2"/>
                </a:cxn>
                <a:cxn ang="0">
                  <a:pos x="326" y="2"/>
                </a:cxn>
                <a:cxn ang="0">
                  <a:pos x="380" y="7"/>
                </a:cxn>
                <a:cxn ang="0">
                  <a:pos x="389" y="42"/>
                </a:cxn>
                <a:cxn ang="0">
                  <a:pos x="401" y="93"/>
                </a:cxn>
                <a:cxn ang="0">
                  <a:pos x="446" y="158"/>
                </a:cxn>
                <a:cxn ang="0">
                  <a:pos x="502" y="177"/>
                </a:cxn>
                <a:cxn ang="0">
                  <a:pos x="557" y="168"/>
                </a:cxn>
                <a:cxn ang="0">
                  <a:pos x="605" y="152"/>
                </a:cxn>
                <a:cxn ang="0">
                  <a:pos x="614" y="105"/>
                </a:cxn>
                <a:cxn ang="0">
                  <a:pos x="652" y="89"/>
                </a:cxn>
                <a:cxn ang="0">
                  <a:pos x="692" y="112"/>
                </a:cxn>
                <a:cxn ang="0">
                  <a:pos x="799" y="171"/>
                </a:cxn>
                <a:cxn ang="0">
                  <a:pos x="799" y="246"/>
                </a:cxn>
                <a:cxn ang="0">
                  <a:pos x="801" y="301"/>
                </a:cxn>
                <a:cxn ang="0">
                  <a:pos x="826" y="324"/>
                </a:cxn>
                <a:cxn ang="0">
                  <a:pos x="839" y="362"/>
                </a:cxn>
                <a:cxn ang="0">
                  <a:pos x="830" y="400"/>
                </a:cxn>
                <a:cxn ang="0">
                  <a:pos x="834" y="427"/>
                </a:cxn>
                <a:cxn ang="0">
                  <a:pos x="858" y="423"/>
                </a:cxn>
                <a:cxn ang="0">
                  <a:pos x="898" y="412"/>
                </a:cxn>
                <a:cxn ang="0">
                  <a:pos x="931" y="412"/>
                </a:cxn>
                <a:cxn ang="0">
                  <a:pos x="967" y="410"/>
                </a:cxn>
                <a:cxn ang="0">
                  <a:pos x="967" y="463"/>
                </a:cxn>
                <a:cxn ang="0">
                  <a:pos x="967" y="498"/>
                </a:cxn>
                <a:cxn ang="0">
                  <a:pos x="959" y="543"/>
                </a:cxn>
                <a:cxn ang="0">
                  <a:pos x="919" y="563"/>
                </a:cxn>
                <a:cxn ang="0">
                  <a:pos x="875" y="572"/>
                </a:cxn>
                <a:cxn ang="0">
                  <a:pos x="839" y="572"/>
                </a:cxn>
                <a:cxn ang="0">
                  <a:pos x="805" y="572"/>
                </a:cxn>
                <a:cxn ang="0">
                  <a:pos x="870" y="938"/>
                </a:cxn>
                <a:cxn ang="0">
                  <a:pos x="792" y="952"/>
                </a:cxn>
                <a:cxn ang="0">
                  <a:pos x="719" y="957"/>
                </a:cxn>
                <a:cxn ang="0">
                  <a:pos x="635" y="954"/>
                </a:cxn>
                <a:cxn ang="0">
                  <a:pos x="557" y="942"/>
                </a:cxn>
                <a:cxn ang="0">
                  <a:pos x="525" y="925"/>
                </a:cxn>
                <a:cxn ang="0">
                  <a:pos x="168" y="910"/>
                </a:cxn>
                <a:cxn ang="0">
                  <a:pos x="114" y="887"/>
                </a:cxn>
                <a:cxn ang="0">
                  <a:pos x="69" y="896"/>
                </a:cxn>
                <a:cxn ang="0">
                  <a:pos x="29" y="896"/>
                </a:cxn>
                <a:cxn ang="0">
                  <a:pos x="2" y="885"/>
                </a:cxn>
                <a:cxn ang="0">
                  <a:pos x="6" y="847"/>
                </a:cxn>
                <a:cxn ang="0">
                  <a:pos x="6" y="811"/>
                </a:cxn>
                <a:cxn ang="0">
                  <a:pos x="9" y="788"/>
                </a:cxn>
                <a:cxn ang="0">
                  <a:pos x="23" y="751"/>
                </a:cxn>
                <a:cxn ang="0">
                  <a:pos x="34" y="713"/>
                </a:cxn>
                <a:cxn ang="0">
                  <a:pos x="48" y="643"/>
                </a:cxn>
                <a:cxn ang="0">
                  <a:pos x="76" y="576"/>
                </a:cxn>
                <a:cxn ang="0">
                  <a:pos x="118" y="528"/>
                </a:cxn>
                <a:cxn ang="0">
                  <a:pos x="160" y="461"/>
                </a:cxn>
                <a:cxn ang="0">
                  <a:pos x="160" y="387"/>
                </a:cxn>
                <a:cxn ang="0">
                  <a:pos x="124" y="324"/>
                </a:cxn>
                <a:cxn ang="0">
                  <a:pos x="105" y="265"/>
                </a:cxn>
                <a:cxn ang="0">
                  <a:pos x="130" y="215"/>
                </a:cxn>
                <a:cxn ang="0">
                  <a:pos x="114" y="160"/>
                </a:cxn>
                <a:cxn ang="0">
                  <a:pos x="80" y="91"/>
                </a:cxn>
              </a:cxnLst>
              <a:rect l="0" t="0" r="r" b="b"/>
              <a:pathLst>
                <a:path w="967" h="957">
                  <a:moveTo>
                    <a:pt x="40" y="30"/>
                  </a:moveTo>
                  <a:lnTo>
                    <a:pt x="40" y="30"/>
                  </a:lnTo>
                  <a:lnTo>
                    <a:pt x="42" y="25"/>
                  </a:lnTo>
                  <a:lnTo>
                    <a:pt x="44" y="21"/>
                  </a:lnTo>
                  <a:lnTo>
                    <a:pt x="46" y="19"/>
                  </a:lnTo>
                  <a:lnTo>
                    <a:pt x="50" y="15"/>
                  </a:lnTo>
                  <a:lnTo>
                    <a:pt x="51" y="13"/>
                  </a:lnTo>
                  <a:lnTo>
                    <a:pt x="57" y="11"/>
                  </a:lnTo>
                  <a:lnTo>
                    <a:pt x="61" y="7"/>
                  </a:lnTo>
                  <a:lnTo>
                    <a:pt x="67" y="5"/>
                  </a:lnTo>
                  <a:lnTo>
                    <a:pt x="71" y="5"/>
                  </a:lnTo>
                  <a:lnTo>
                    <a:pt x="76" y="4"/>
                  </a:lnTo>
                  <a:lnTo>
                    <a:pt x="82" y="2"/>
                  </a:lnTo>
                  <a:lnTo>
                    <a:pt x="88" y="2"/>
                  </a:lnTo>
                  <a:lnTo>
                    <a:pt x="93" y="2"/>
                  </a:lnTo>
                  <a:lnTo>
                    <a:pt x="99" y="0"/>
                  </a:lnTo>
                  <a:lnTo>
                    <a:pt x="103" y="0"/>
                  </a:lnTo>
                  <a:lnTo>
                    <a:pt x="109" y="0"/>
                  </a:lnTo>
                  <a:lnTo>
                    <a:pt x="318" y="0"/>
                  </a:lnTo>
                  <a:lnTo>
                    <a:pt x="318" y="0"/>
                  </a:lnTo>
                  <a:lnTo>
                    <a:pt x="326" y="2"/>
                  </a:lnTo>
                  <a:lnTo>
                    <a:pt x="336" y="2"/>
                  </a:lnTo>
                  <a:lnTo>
                    <a:pt x="343" y="0"/>
                  </a:lnTo>
                  <a:lnTo>
                    <a:pt x="351" y="0"/>
                  </a:lnTo>
                  <a:lnTo>
                    <a:pt x="359" y="0"/>
                  </a:lnTo>
                  <a:lnTo>
                    <a:pt x="366" y="0"/>
                  </a:lnTo>
                  <a:lnTo>
                    <a:pt x="372" y="4"/>
                  </a:lnTo>
                  <a:lnTo>
                    <a:pt x="380" y="7"/>
                  </a:lnTo>
                  <a:lnTo>
                    <a:pt x="380" y="7"/>
                  </a:lnTo>
                  <a:lnTo>
                    <a:pt x="383" y="13"/>
                  </a:lnTo>
                  <a:lnTo>
                    <a:pt x="387" y="19"/>
                  </a:lnTo>
                  <a:lnTo>
                    <a:pt x="387" y="25"/>
                  </a:lnTo>
                  <a:lnTo>
                    <a:pt x="389" y="30"/>
                  </a:lnTo>
                  <a:lnTo>
                    <a:pt x="389" y="36"/>
                  </a:lnTo>
                  <a:lnTo>
                    <a:pt x="389" y="42"/>
                  </a:lnTo>
                  <a:lnTo>
                    <a:pt x="389" y="49"/>
                  </a:lnTo>
                  <a:lnTo>
                    <a:pt x="389" y="55"/>
                  </a:lnTo>
                  <a:lnTo>
                    <a:pt x="389" y="55"/>
                  </a:lnTo>
                  <a:lnTo>
                    <a:pt x="391" y="65"/>
                  </a:lnTo>
                  <a:lnTo>
                    <a:pt x="393" y="74"/>
                  </a:lnTo>
                  <a:lnTo>
                    <a:pt x="397" y="84"/>
                  </a:lnTo>
                  <a:lnTo>
                    <a:pt x="401" y="93"/>
                  </a:lnTo>
                  <a:lnTo>
                    <a:pt x="404" y="103"/>
                  </a:lnTo>
                  <a:lnTo>
                    <a:pt x="410" y="114"/>
                  </a:lnTo>
                  <a:lnTo>
                    <a:pt x="416" y="124"/>
                  </a:lnTo>
                  <a:lnTo>
                    <a:pt x="423" y="133"/>
                  </a:lnTo>
                  <a:lnTo>
                    <a:pt x="431" y="141"/>
                  </a:lnTo>
                  <a:lnTo>
                    <a:pt x="437" y="150"/>
                  </a:lnTo>
                  <a:lnTo>
                    <a:pt x="446" y="158"/>
                  </a:lnTo>
                  <a:lnTo>
                    <a:pt x="454" y="164"/>
                  </a:lnTo>
                  <a:lnTo>
                    <a:pt x="463" y="170"/>
                  </a:lnTo>
                  <a:lnTo>
                    <a:pt x="473" y="173"/>
                  </a:lnTo>
                  <a:lnTo>
                    <a:pt x="483" y="175"/>
                  </a:lnTo>
                  <a:lnTo>
                    <a:pt x="492" y="177"/>
                  </a:lnTo>
                  <a:lnTo>
                    <a:pt x="492" y="177"/>
                  </a:lnTo>
                  <a:lnTo>
                    <a:pt x="502" y="177"/>
                  </a:lnTo>
                  <a:lnTo>
                    <a:pt x="509" y="175"/>
                  </a:lnTo>
                  <a:lnTo>
                    <a:pt x="517" y="173"/>
                  </a:lnTo>
                  <a:lnTo>
                    <a:pt x="525" y="173"/>
                  </a:lnTo>
                  <a:lnTo>
                    <a:pt x="532" y="171"/>
                  </a:lnTo>
                  <a:lnTo>
                    <a:pt x="540" y="170"/>
                  </a:lnTo>
                  <a:lnTo>
                    <a:pt x="549" y="168"/>
                  </a:lnTo>
                  <a:lnTo>
                    <a:pt x="557" y="168"/>
                  </a:lnTo>
                  <a:lnTo>
                    <a:pt x="557" y="168"/>
                  </a:lnTo>
                  <a:lnTo>
                    <a:pt x="568" y="168"/>
                  </a:lnTo>
                  <a:lnTo>
                    <a:pt x="580" y="166"/>
                  </a:lnTo>
                  <a:lnTo>
                    <a:pt x="587" y="164"/>
                  </a:lnTo>
                  <a:lnTo>
                    <a:pt x="595" y="162"/>
                  </a:lnTo>
                  <a:lnTo>
                    <a:pt x="601" y="158"/>
                  </a:lnTo>
                  <a:lnTo>
                    <a:pt x="605" y="152"/>
                  </a:lnTo>
                  <a:lnTo>
                    <a:pt x="610" y="145"/>
                  </a:lnTo>
                  <a:lnTo>
                    <a:pt x="614" y="135"/>
                  </a:lnTo>
                  <a:lnTo>
                    <a:pt x="614" y="135"/>
                  </a:lnTo>
                  <a:lnTo>
                    <a:pt x="616" y="128"/>
                  </a:lnTo>
                  <a:lnTo>
                    <a:pt x="616" y="120"/>
                  </a:lnTo>
                  <a:lnTo>
                    <a:pt x="614" y="112"/>
                  </a:lnTo>
                  <a:lnTo>
                    <a:pt x="614" y="105"/>
                  </a:lnTo>
                  <a:lnTo>
                    <a:pt x="616" y="99"/>
                  </a:lnTo>
                  <a:lnTo>
                    <a:pt x="618" y="93"/>
                  </a:lnTo>
                  <a:lnTo>
                    <a:pt x="626" y="89"/>
                  </a:lnTo>
                  <a:lnTo>
                    <a:pt x="637" y="89"/>
                  </a:lnTo>
                  <a:lnTo>
                    <a:pt x="637" y="89"/>
                  </a:lnTo>
                  <a:lnTo>
                    <a:pt x="645" y="89"/>
                  </a:lnTo>
                  <a:lnTo>
                    <a:pt x="652" y="89"/>
                  </a:lnTo>
                  <a:lnTo>
                    <a:pt x="660" y="89"/>
                  </a:lnTo>
                  <a:lnTo>
                    <a:pt x="666" y="91"/>
                  </a:lnTo>
                  <a:lnTo>
                    <a:pt x="671" y="93"/>
                  </a:lnTo>
                  <a:lnTo>
                    <a:pt x="677" y="93"/>
                  </a:lnTo>
                  <a:lnTo>
                    <a:pt x="685" y="93"/>
                  </a:lnTo>
                  <a:lnTo>
                    <a:pt x="692" y="95"/>
                  </a:lnTo>
                  <a:lnTo>
                    <a:pt x="692" y="112"/>
                  </a:lnTo>
                  <a:lnTo>
                    <a:pt x="799" y="112"/>
                  </a:lnTo>
                  <a:lnTo>
                    <a:pt x="799" y="112"/>
                  </a:lnTo>
                  <a:lnTo>
                    <a:pt x="799" y="126"/>
                  </a:lnTo>
                  <a:lnTo>
                    <a:pt x="799" y="137"/>
                  </a:lnTo>
                  <a:lnTo>
                    <a:pt x="799" y="149"/>
                  </a:lnTo>
                  <a:lnTo>
                    <a:pt x="799" y="160"/>
                  </a:lnTo>
                  <a:lnTo>
                    <a:pt x="799" y="171"/>
                  </a:lnTo>
                  <a:lnTo>
                    <a:pt x="799" y="183"/>
                  </a:lnTo>
                  <a:lnTo>
                    <a:pt x="799" y="192"/>
                  </a:lnTo>
                  <a:lnTo>
                    <a:pt x="799" y="204"/>
                  </a:lnTo>
                  <a:lnTo>
                    <a:pt x="799" y="213"/>
                  </a:lnTo>
                  <a:lnTo>
                    <a:pt x="799" y="225"/>
                  </a:lnTo>
                  <a:lnTo>
                    <a:pt x="799" y="234"/>
                  </a:lnTo>
                  <a:lnTo>
                    <a:pt x="799" y="246"/>
                  </a:lnTo>
                  <a:lnTo>
                    <a:pt x="799" y="255"/>
                  </a:lnTo>
                  <a:lnTo>
                    <a:pt x="799" y="267"/>
                  </a:lnTo>
                  <a:lnTo>
                    <a:pt x="799" y="278"/>
                  </a:lnTo>
                  <a:lnTo>
                    <a:pt x="799" y="290"/>
                  </a:lnTo>
                  <a:lnTo>
                    <a:pt x="799" y="290"/>
                  </a:lnTo>
                  <a:lnTo>
                    <a:pt x="799" y="294"/>
                  </a:lnTo>
                  <a:lnTo>
                    <a:pt x="801" y="301"/>
                  </a:lnTo>
                  <a:lnTo>
                    <a:pt x="805" y="307"/>
                  </a:lnTo>
                  <a:lnTo>
                    <a:pt x="807" y="313"/>
                  </a:lnTo>
                  <a:lnTo>
                    <a:pt x="811" y="316"/>
                  </a:lnTo>
                  <a:lnTo>
                    <a:pt x="816" y="320"/>
                  </a:lnTo>
                  <a:lnTo>
                    <a:pt x="820" y="324"/>
                  </a:lnTo>
                  <a:lnTo>
                    <a:pt x="826" y="324"/>
                  </a:lnTo>
                  <a:lnTo>
                    <a:pt x="826" y="324"/>
                  </a:lnTo>
                  <a:lnTo>
                    <a:pt x="826" y="332"/>
                  </a:lnTo>
                  <a:lnTo>
                    <a:pt x="828" y="337"/>
                  </a:lnTo>
                  <a:lnTo>
                    <a:pt x="830" y="343"/>
                  </a:lnTo>
                  <a:lnTo>
                    <a:pt x="834" y="347"/>
                  </a:lnTo>
                  <a:lnTo>
                    <a:pt x="835" y="353"/>
                  </a:lnTo>
                  <a:lnTo>
                    <a:pt x="837" y="357"/>
                  </a:lnTo>
                  <a:lnTo>
                    <a:pt x="839" y="362"/>
                  </a:lnTo>
                  <a:lnTo>
                    <a:pt x="839" y="368"/>
                  </a:lnTo>
                  <a:lnTo>
                    <a:pt x="839" y="368"/>
                  </a:lnTo>
                  <a:lnTo>
                    <a:pt x="839" y="376"/>
                  </a:lnTo>
                  <a:lnTo>
                    <a:pt x="837" y="383"/>
                  </a:lnTo>
                  <a:lnTo>
                    <a:pt x="835" y="389"/>
                  </a:lnTo>
                  <a:lnTo>
                    <a:pt x="834" y="395"/>
                  </a:lnTo>
                  <a:lnTo>
                    <a:pt x="830" y="400"/>
                  </a:lnTo>
                  <a:lnTo>
                    <a:pt x="828" y="406"/>
                  </a:lnTo>
                  <a:lnTo>
                    <a:pt x="826" y="412"/>
                  </a:lnTo>
                  <a:lnTo>
                    <a:pt x="826" y="419"/>
                  </a:lnTo>
                  <a:lnTo>
                    <a:pt x="826" y="419"/>
                  </a:lnTo>
                  <a:lnTo>
                    <a:pt x="828" y="423"/>
                  </a:lnTo>
                  <a:lnTo>
                    <a:pt x="830" y="425"/>
                  </a:lnTo>
                  <a:lnTo>
                    <a:pt x="834" y="427"/>
                  </a:lnTo>
                  <a:lnTo>
                    <a:pt x="837" y="427"/>
                  </a:lnTo>
                  <a:lnTo>
                    <a:pt x="837" y="427"/>
                  </a:lnTo>
                  <a:lnTo>
                    <a:pt x="841" y="427"/>
                  </a:lnTo>
                  <a:lnTo>
                    <a:pt x="845" y="427"/>
                  </a:lnTo>
                  <a:lnTo>
                    <a:pt x="849" y="425"/>
                  </a:lnTo>
                  <a:lnTo>
                    <a:pt x="855" y="425"/>
                  </a:lnTo>
                  <a:lnTo>
                    <a:pt x="858" y="423"/>
                  </a:lnTo>
                  <a:lnTo>
                    <a:pt x="864" y="421"/>
                  </a:lnTo>
                  <a:lnTo>
                    <a:pt x="870" y="421"/>
                  </a:lnTo>
                  <a:lnTo>
                    <a:pt x="875" y="419"/>
                  </a:lnTo>
                  <a:lnTo>
                    <a:pt x="881" y="418"/>
                  </a:lnTo>
                  <a:lnTo>
                    <a:pt x="887" y="416"/>
                  </a:lnTo>
                  <a:lnTo>
                    <a:pt x="893" y="414"/>
                  </a:lnTo>
                  <a:lnTo>
                    <a:pt x="898" y="412"/>
                  </a:lnTo>
                  <a:lnTo>
                    <a:pt x="904" y="412"/>
                  </a:lnTo>
                  <a:lnTo>
                    <a:pt x="908" y="410"/>
                  </a:lnTo>
                  <a:lnTo>
                    <a:pt x="914" y="410"/>
                  </a:lnTo>
                  <a:lnTo>
                    <a:pt x="917" y="410"/>
                  </a:lnTo>
                  <a:lnTo>
                    <a:pt x="917" y="410"/>
                  </a:lnTo>
                  <a:lnTo>
                    <a:pt x="923" y="410"/>
                  </a:lnTo>
                  <a:lnTo>
                    <a:pt x="931" y="412"/>
                  </a:lnTo>
                  <a:lnTo>
                    <a:pt x="938" y="412"/>
                  </a:lnTo>
                  <a:lnTo>
                    <a:pt x="944" y="412"/>
                  </a:lnTo>
                  <a:lnTo>
                    <a:pt x="950" y="414"/>
                  </a:lnTo>
                  <a:lnTo>
                    <a:pt x="958" y="414"/>
                  </a:lnTo>
                  <a:lnTo>
                    <a:pt x="963" y="412"/>
                  </a:lnTo>
                  <a:lnTo>
                    <a:pt x="967" y="410"/>
                  </a:lnTo>
                  <a:lnTo>
                    <a:pt x="967" y="410"/>
                  </a:lnTo>
                  <a:lnTo>
                    <a:pt x="967" y="419"/>
                  </a:lnTo>
                  <a:lnTo>
                    <a:pt x="967" y="429"/>
                  </a:lnTo>
                  <a:lnTo>
                    <a:pt x="967" y="439"/>
                  </a:lnTo>
                  <a:lnTo>
                    <a:pt x="967" y="444"/>
                  </a:lnTo>
                  <a:lnTo>
                    <a:pt x="967" y="452"/>
                  </a:lnTo>
                  <a:lnTo>
                    <a:pt x="967" y="458"/>
                  </a:lnTo>
                  <a:lnTo>
                    <a:pt x="967" y="463"/>
                  </a:lnTo>
                  <a:lnTo>
                    <a:pt x="967" y="469"/>
                  </a:lnTo>
                  <a:lnTo>
                    <a:pt x="967" y="473"/>
                  </a:lnTo>
                  <a:lnTo>
                    <a:pt x="967" y="479"/>
                  </a:lnTo>
                  <a:lnTo>
                    <a:pt x="967" y="482"/>
                  </a:lnTo>
                  <a:lnTo>
                    <a:pt x="967" y="488"/>
                  </a:lnTo>
                  <a:lnTo>
                    <a:pt x="967" y="492"/>
                  </a:lnTo>
                  <a:lnTo>
                    <a:pt x="967" y="498"/>
                  </a:lnTo>
                  <a:lnTo>
                    <a:pt x="967" y="503"/>
                  </a:lnTo>
                  <a:lnTo>
                    <a:pt x="967" y="511"/>
                  </a:lnTo>
                  <a:lnTo>
                    <a:pt x="967" y="511"/>
                  </a:lnTo>
                  <a:lnTo>
                    <a:pt x="967" y="521"/>
                  </a:lnTo>
                  <a:lnTo>
                    <a:pt x="965" y="530"/>
                  </a:lnTo>
                  <a:lnTo>
                    <a:pt x="963" y="538"/>
                  </a:lnTo>
                  <a:lnTo>
                    <a:pt x="959" y="543"/>
                  </a:lnTo>
                  <a:lnTo>
                    <a:pt x="956" y="547"/>
                  </a:lnTo>
                  <a:lnTo>
                    <a:pt x="952" y="551"/>
                  </a:lnTo>
                  <a:lnTo>
                    <a:pt x="946" y="555"/>
                  </a:lnTo>
                  <a:lnTo>
                    <a:pt x="940" y="557"/>
                  </a:lnTo>
                  <a:lnTo>
                    <a:pt x="935" y="559"/>
                  </a:lnTo>
                  <a:lnTo>
                    <a:pt x="927" y="561"/>
                  </a:lnTo>
                  <a:lnTo>
                    <a:pt x="919" y="563"/>
                  </a:lnTo>
                  <a:lnTo>
                    <a:pt x="912" y="563"/>
                  </a:lnTo>
                  <a:lnTo>
                    <a:pt x="904" y="564"/>
                  </a:lnTo>
                  <a:lnTo>
                    <a:pt x="896" y="566"/>
                  </a:lnTo>
                  <a:lnTo>
                    <a:pt x="889" y="570"/>
                  </a:lnTo>
                  <a:lnTo>
                    <a:pt x="879" y="572"/>
                  </a:lnTo>
                  <a:lnTo>
                    <a:pt x="879" y="572"/>
                  </a:lnTo>
                  <a:lnTo>
                    <a:pt x="875" y="572"/>
                  </a:lnTo>
                  <a:lnTo>
                    <a:pt x="872" y="572"/>
                  </a:lnTo>
                  <a:lnTo>
                    <a:pt x="866" y="572"/>
                  </a:lnTo>
                  <a:lnTo>
                    <a:pt x="862" y="572"/>
                  </a:lnTo>
                  <a:lnTo>
                    <a:pt x="856" y="572"/>
                  </a:lnTo>
                  <a:lnTo>
                    <a:pt x="851" y="572"/>
                  </a:lnTo>
                  <a:lnTo>
                    <a:pt x="845" y="572"/>
                  </a:lnTo>
                  <a:lnTo>
                    <a:pt x="839" y="572"/>
                  </a:lnTo>
                  <a:lnTo>
                    <a:pt x="834" y="572"/>
                  </a:lnTo>
                  <a:lnTo>
                    <a:pt x="828" y="572"/>
                  </a:lnTo>
                  <a:lnTo>
                    <a:pt x="822" y="572"/>
                  </a:lnTo>
                  <a:lnTo>
                    <a:pt x="816" y="572"/>
                  </a:lnTo>
                  <a:lnTo>
                    <a:pt x="813" y="572"/>
                  </a:lnTo>
                  <a:lnTo>
                    <a:pt x="809" y="572"/>
                  </a:lnTo>
                  <a:lnTo>
                    <a:pt x="805" y="572"/>
                  </a:lnTo>
                  <a:lnTo>
                    <a:pt x="803" y="572"/>
                  </a:lnTo>
                  <a:lnTo>
                    <a:pt x="803" y="818"/>
                  </a:lnTo>
                  <a:lnTo>
                    <a:pt x="902" y="933"/>
                  </a:lnTo>
                  <a:lnTo>
                    <a:pt x="902" y="933"/>
                  </a:lnTo>
                  <a:lnTo>
                    <a:pt x="891" y="935"/>
                  </a:lnTo>
                  <a:lnTo>
                    <a:pt x="881" y="936"/>
                  </a:lnTo>
                  <a:lnTo>
                    <a:pt x="870" y="938"/>
                  </a:lnTo>
                  <a:lnTo>
                    <a:pt x="858" y="940"/>
                  </a:lnTo>
                  <a:lnTo>
                    <a:pt x="849" y="942"/>
                  </a:lnTo>
                  <a:lnTo>
                    <a:pt x="837" y="944"/>
                  </a:lnTo>
                  <a:lnTo>
                    <a:pt x="826" y="946"/>
                  </a:lnTo>
                  <a:lnTo>
                    <a:pt x="814" y="948"/>
                  </a:lnTo>
                  <a:lnTo>
                    <a:pt x="805" y="950"/>
                  </a:lnTo>
                  <a:lnTo>
                    <a:pt x="792" y="952"/>
                  </a:lnTo>
                  <a:lnTo>
                    <a:pt x="780" y="954"/>
                  </a:lnTo>
                  <a:lnTo>
                    <a:pt x="769" y="954"/>
                  </a:lnTo>
                  <a:lnTo>
                    <a:pt x="757" y="956"/>
                  </a:lnTo>
                  <a:lnTo>
                    <a:pt x="746" y="956"/>
                  </a:lnTo>
                  <a:lnTo>
                    <a:pt x="732" y="957"/>
                  </a:lnTo>
                  <a:lnTo>
                    <a:pt x="719" y="957"/>
                  </a:lnTo>
                  <a:lnTo>
                    <a:pt x="719" y="957"/>
                  </a:lnTo>
                  <a:lnTo>
                    <a:pt x="708" y="957"/>
                  </a:lnTo>
                  <a:lnTo>
                    <a:pt x="696" y="957"/>
                  </a:lnTo>
                  <a:lnTo>
                    <a:pt x="685" y="957"/>
                  </a:lnTo>
                  <a:lnTo>
                    <a:pt x="673" y="956"/>
                  </a:lnTo>
                  <a:lnTo>
                    <a:pt x="660" y="956"/>
                  </a:lnTo>
                  <a:lnTo>
                    <a:pt x="648" y="956"/>
                  </a:lnTo>
                  <a:lnTo>
                    <a:pt x="635" y="954"/>
                  </a:lnTo>
                  <a:lnTo>
                    <a:pt x="624" y="954"/>
                  </a:lnTo>
                  <a:lnTo>
                    <a:pt x="612" y="952"/>
                  </a:lnTo>
                  <a:lnTo>
                    <a:pt x="601" y="950"/>
                  </a:lnTo>
                  <a:lnTo>
                    <a:pt x="589" y="948"/>
                  </a:lnTo>
                  <a:lnTo>
                    <a:pt x="578" y="946"/>
                  </a:lnTo>
                  <a:lnTo>
                    <a:pt x="568" y="944"/>
                  </a:lnTo>
                  <a:lnTo>
                    <a:pt x="557" y="942"/>
                  </a:lnTo>
                  <a:lnTo>
                    <a:pt x="547" y="938"/>
                  </a:lnTo>
                  <a:lnTo>
                    <a:pt x="540" y="936"/>
                  </a:lnTo>
                  <a:lnTo>
                    <a:pt x="540" y="936"/>
                  </a:lnTo>
                  <a:lnTo>
                    <a:pt x="536" y="935"/>
                  </a:lnTo>
                  <a:lnTo>
                    <a:pt x="532" y="931"/>
                  </a:lnTo>
                  <a:lnTo>
                    <a:pt x="528" y="929"/>
                  </a:lnTo>
                  <a:lnTo>
                    <a:pt x="525" y="925"/>
                  </a:lnTo>
                  <a:lnTo>
                    <a:pt x="521" y="921"/>
                  </a:lnTo>
                  <a:lnTo>
                    <a:pt x="519" y="919"/>
                  </a:lnTo>
                  <a:lnTo>
                    <a:pt x="515" y="917"/>
                  </a:lnTo>
                  <a:lnTo>
                    <a:pt x="513" y="915"/>
                  </a:lnTo>
                  <a:lnTo>
                    <a:pt x="174" y="915"/>
                  </a:lnTo>
                  <a:lnTo>
                    <a:pt x="174" y="915"/>
                  </a:lnTo>
                  <a:lnTo>
                    <a:pt x="168" y="910"/>
                  </a:lnTo>
                  <a:lnTo>
                    <a:pt x="162" y="904"/>
                  </a:lnTo>
                  <a:lnTo>
                    <a:pt x="156" y="898"/>
                  </a:lnTo>
                  <a:lnTo>
                    <a:pt x="151" y="895"/>
                  </a:lnTo>
                  <a:lnTo>
                    <a:pt x="143" y="891"/>
                  </a:lnTo>
                  <a:lnTo>
                    <a:pt x="135" y="889"/>
                  </a:lnTo>
                  <a:lnTo>
                    <a:pt x="126" y="887"/>
                  </a:lnTo>
                  <a:lnTo>
                    <a:pt x="114" y="887"/>
                  </a:lnTo>
                  <a:lnTo>
                    <a:pt x="114" y="887"/>
                  </a:lnTo>
                  <a:lnTo>
                    <a:pt x="105" y="887"/>
                  </a:lnTo>
                  <a:lnTo>
                    <a:pt x="97" y="889"/>
                  </a:lnTo>
                  <a:lnTo>
                    <a:pt x="90" y="889"/>
                  </a:lnTo>
                  <a:lnTo>
                    <a:pt x="82" y="893"/>
                  </a:lnTo>
                  <a:lnTo>
                    <a:pt x="76" y="895"/>
                  </a:lnTo>
                  <a:lnTo>
                    <a:pt x="69" y="896"/>
                  </a:lnTo>
                  <a:lnTo>
                    <a:pt x="63" y="898"/>
                  </a:lnTo>
                  <a:lnTo>
                    <a:pt x="55" y="898"/>
                  </a:lnTo>
                  <a:lnTo>
                    <a:pt x="55" y="898"/>
                  </a:lnTo>
                  <a:lnTo>
                    <a:pt x="48" y="898"/>
                  </a:lnTo>
                  <a:lnTo>
                    <a:pt x="42" y="898"/>
                  </a:lnTo>
                  <a:lnTo>
                    <a:pt x="34" y="896"/>
                  </a:lnTo>
                  <a:lnTo>
                    <a:pt x="29" y="896"/>
                  </a:lnTo>
                  <a:lnTo>
                    <a:pt x="23" y="896"/>
                  </a:lnTo>
                  <a:lnTo>
                    <a:pt x="15" y="896"/>
                  </a:lnTo>
                  <a:lnTo>
                    <a:pt x="9" y="896"/>
                  </a:lnTo>
                  <a:lnTo>
                    <a:pt x="0" y="898"/>
                  </a:lnTo>
                  <a:lnTo>
                    <a:pt x="0" y="898"/>
                  </a:lnTo>
                  <a:lnTo>
                    <a:pt x="2" y="891"/>
                  </a:lnTo>
                  <a:lnTo>
                    <a:pt x="2" y="885"/>
                  </a:lnTo>
                  <a:lnTo>
                    <a:pt x="4" y="879"/>
                  </a:lnTo>
                  <a:lnTo>
                    <a:pt x="4" y="874"/>
                  </a:lnTo>
                  <a:lnTo>
                    <a:pt x="6" y="868"/>
                  </a:lnTo>
                  <a:lnTo>
                    <a:pt x="6" y="862"/>
                  </a:lnTo>
                  <a:lnTo>
                    <a:pt x="6" y="854"/>
                  </a:lnTo>
                  <a:lnTo>
                    <a:pt x="6" y="847"/>
                  </a:lnTo>
                  <a:lnTo>
                    <a:pt x="6" y="847"/>
                  </a:lnTo>
                  <a:lnTo>
                    <a:pt x="6" y="841"/>
                  </a:lnTo>
                  <a:lnTo>
                    <a:pt x="6" y="833"/>
                  </a:lnTo>
                  <a:lnTo>
                    <a:pt x="6" y="830"/>
                  </a:lnTo>
                  <a:lnTo>
                    <a:pt x="6" y="824"/>
                  </a:lnTo>
                  <a:lnTo>
                    <a:pt x="6" y="818"/>
                  </a:lnTo>
                  <a:lnTo>
                    <a:pt x="6" y="814"/>
                  </a:lnTo>
                  <a:lnTo>
                    <a:pt x="6" y="811"/>
                  </a:lnTo>
                  <a:lnTo>
                    <a:pt x="6" y="805"/>
                  </a:lnTo>
                  <a:lnTo>
                    <a:pt x="6" y="805"/>
                  </a:lnTo>
                  <a:lnTo>
                    <a:pt x="6" y="803"/>
                  </a:lnTo>
                  <a:lnTo>
                    <a:pt x="6" y="799"/>
                  </a:lnTo>
                  <a:lnTo>
                    <a:pt x="8" y="795"/>
                  </a:lnTo>
                  <a:lnTo>
                    <a:pt x="9" y="791"/>
                  </a:lnTo>
                  <a:lnTo>
                    <a:pt x="9" y="788"/>
                  </a:lnTo>
                  <a:lnTo>
                    <a:pt x="11" y="782"/>
                  </a:lnTo>
                  <a:lnTo>
                    <a:pt x="13" y="778"/>
                  </a:lnTo>
                  <a:lnTo>
                    <a:pt x="15" y="772"/>
                  </a:lnTo>
                  <a:lnTo>
                    <a:pt x="17" y="767"/>
                  </a:lnTo>
                  <a:lnTo>
                    <a:pt x="19" y="763"/>
                  </a:lnTo>
                  <a:lnTo>
                    <a:pt x="21" y="757"/>
                  </a:lnTo>
                  <a:lnTo>
                    <a:pt x="23" y="751"/>
                  </a:lnTo>
                  <a:lnTo>
                    <a:pt x="25" y="748"/>
                  </a:lnTo>
                  <a:lnTo>
                    <a:pt x="27" y="742"/>
                  </a:lnTo>
                  <a:lnTo>
                    <a:pt x="29" y="738"/>
                  </a:lnTo>
                  <a:lnTo>
                    <a:pt x="29" y="734"/>
                  </a:lnTo>
                  <a:lnTo>
                    <a:pt x="29" y="734"/>
                  </a:lnTo>
                  <a:lnTo>
                    <a:pt x="32" y="725"/>
                  </a:lnTo>
                  <a:lnTo>
                    <a:pt x="34" y="713"/>
                  </a:lnTo>
                  <a:lnTo>
                    <a:pt x="36" y="704"/>
                  </a:lnTo>
                  <a:lnTo>
                    <a:pt x="40" y="692"/>
                  </a:lnTo>
                  <a:lnTo>
                    <a:pt x="40" y="683"/>
                  </a:lnTo>
                  <a:lnTo>
                    <a:pt x="42" y="673"/>
                  </a:lnTo>
                  <a:lnTo>
                    <a:pt x="44" y="662"/>
                  </a:lnTo>
                  <a:lnTo>
                    <a:pt x="46" y="652"/>
                  </a:lnTo>
                  <a:lnTo>
                    <a:pt x="48" y="643"/>
                  </a:lnTo>
                  <a:lnTo>
                    <a:pt x="50" y="633"/>
                  </a:lnTo>
                  <a:lnTo>
                    <a:pt x="51" y="624"/>
                  </a:lnTo>
                  <a:lnTo>
                    <a:pt x="55" y="614"/>
                  </a:lnTo>
                  <a:lnTo>
                    <a:pt x="59" y="603"/>
                  </a:lnTo>
                  <a:lnTo>
                    <a:pt x="65" y="593"/>
                  </a:lnTo>
                  <a:lnTo>
                    <a:pt x="71" y="585"/>
                  </a:lnTo>
                  <a:lnTo>
                    <a:pt x="76" y="576"/>
                  </a:lnTo>
                  <a:lnTo>
                    <a:pt x="76" y="576"/>
                  </a:lnTo>
                  <a:lnTo>
                    <a:pt x="84" y="568"/>
                  </a:lnTo>
                  <a:lnTo>
                    <a:pt x="90" y="559"/>
                  </a:lnTo>
                  <a:lnTo>
                    <a:pt x="97" y="553"/>
                  </a:lnTo>
                  <a:lnTo>
                    <a:pt x="105" y="543"/>
                  </a:lnTo>
                  <a:lnTo>
                    <a:pt x="111" y="536"/>
                  </a:lnTo>
                  <a:lnTo>
                    <a:pt x="118" y="528"/>
                  </a:lnTo>
                  <a:lnTo>
                    <a:pt x="126" y="521"/>
                  </a:lnTo>
                  <a:lnTo>
                    <a:pt x="133" y="511"/>
                  </a:lnTo>
                  <a:lnTo>
                    <a:pt x="139" y="503"/>
                  </a:lnTo>
                  <a:lnTo>
                    <a:pt x="145" y="494"/>
                  </a:lnTo>
                  <a:lnTo>
                    <a:pt x="151" y="482"/>
                  </a:lnTo>
                  <a:lnTo>
                    <a:pt x="156" y="473"/>
                  </a:lnTo>
                  <a:lnTo>
                    <a:pt x="160" y="461"/>
                  </a:lnTo>
                  <a:lnTo>
                    <a:pt x="162" y="448"/>
                  </a:lnTo>
                  <a:lnTo>
                    <a:pt x="164" y="435"/>
                  </a:lnTo>
                  <a:lnTo>
                    <a:pt x="164" y="421"/>
                  </a:lnTo>
                  <a:lnTo>
                    <a:pt x="164" y="421"/>
                  </a:lnTo>
                  <a:lnTo>
                    <a:pt x="164" y="410"/>
                  </a:lnTo>
                  <a:lnTo>
                    <a:pt x="162" y="398"/>
                  </a:lnTo>
                  <a:lnTo>
                    <a:pt x="160" y="387"/>
                  </a:lnTo>
                  <a:lnTo>
                    <a:pt x="156" y="378"/>
                  </a:lnTo>
                  <a:lnTo>
                    <a:pt x="151" y="368"/>
                  </a:lnTo>
                  <a:lnTo>
                    <a:pt x="147" y="358"/>
                  </a:lnTo>
                  <a:lnTo>
                    <a:pt x="141" y="351"/>
                  </a:lnTo>
                  <a:lnTo>
                    <a:pt x="135" y="341"/>
                  </a:lnTo>
                  <a:lnTo>
                    <a:pt x="130" y="332"/>
                  </a:lnTo>
                  <a:lnTo>
                    <a:pt x="124" y="324"/>
                  </a:lnTo>
                  <a:lnTo>
                    <a:pt x="120" y="315"/>
                  </a:lnTo>
                  <a:lnTo>
                    <a:pt x="114" y="307"/>
                  </a:lnTo>
                  <a:lnTo>
                    <a:pt x="111" y="297"/>
                  </a:lnTo>
                  <a:lnTo>
                    <a:pt x="109" y="286"/>
                  </a:lnTo>
                  <a:lnTo>
                    <a:pt x="107" y="276"/>
                  </a:lnTo>
                  <a:lnTo>
                    <a:pt x="105" y="265"/>
                  </a:lnTo>
                  <a:lnTo>
                    <a:pt x="105" y="265"/>
                  </a:lnTo>
                  <a:lnTo>
                    <a:pt x="107" y="257"/>
                  </a:lnTo>
                  <a:lnTo>
                    <a:pt x="111" y="250"/>
                  </a:lnTo>
                  <a:lnTo>
                    <a:pt x="114" y="244"/>
                  </a:lnTo>
                  <a:lnTo>
                    <a:pt x="120" y="236"/>
                  </a:lnTo>
                  <a:lnTo>
                    <a:pt x="124" y="229"/>
                  </a:lnTo>
                  <a:lnTo>
                    <a:pt x="128" y="223"/>
                  </a:lnTo>
                  <a:lnTo>
                    <a:pt x="130" y="215"/>
                  </a:lnTo>
                  <a:lnTo>
                    <a:pt x="130" y="206"/>
                  </a:lnTo>
                  <a:lnTo>
                    <a:pt x="130" y="206"/>
                  </a:lnTo>
                  <a:lnTo>
                    <a:pt x="128" y="196"/>
                  </a:lnTo>
                  <a:lnTo>
                    <a:pt x="124" y="189"/>
                  </a:lnTo>
                  <a:lnTo>
                    <a:pt x="122" y="179"/>
                  </a:lnTo>
                  <a:lnTo>
                    <a:pt x="118" y="170"/>
                  </a:lnTo>
                  <a:lnTo>
                    <a:pt x="114" y="160"/>
                  </a:lnTo>
                  <a:lnTo>
                    <a:pt x="109" y="150"/>
                  </a:lnTo>
                  <a:lnTo>
                    <a:pt x="105" y="141"/>
                  </a:lnTo>
                  <a:lnTo>
                    <a:pt x="99" y="131"/>
                  </a:lnTo>
                  <a:lnTo>
                    <a:pt x="95" y="122"/>
                  </a:lnTo>
                  <a:lnTo>
                    <a:pt x="90" y="112"/>
                  </a:lnTo>
                  <a:lnTo>
                    <a:pt x="84" y="103"/>
                  </a:lnTo>
                  <a:lnTo>
                    <a:pt x="80" y="91"/>
                  </a:lnTo>
                  <a:lnTo>
                    <a:pt x="74" y="82"/>
                  </a:lnTo>
                  <a:lnTo>
                    <a:pt x="71" y="70"/>
                  </a:lnTo>
                  <a:lnTo>
                    <a:pt x="65" y="59"/>
                  </a:lnTo>
                  <a:lnTo>
                    <a:pt x="61" y="47"/>
                  </a:lnTo>
                  <a:lnTo>
                    <a:pt x="44" y="32"/>
                  </a:lnTo>
                  <a:lnTo>
                    <a:pt x="40" y="3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5" name="Freeform 29"/>
            <p:cNvSpPr>
              <a:spLocks/>
            </p:cNvSpPr>
            <p:nvPr/>
          </p:nvSpPr>
          <p:spPr bwMode="gray">
            <a:xfrm>
              <a:off x="2868" y="2464"/>
              <a:ext cx="83" cy="93"/>
            </a:xfrm>
            <a:custGeom>
              <a:avLst/>
              <a:gdLst/>
              <a:ahLst/>
              <a:cxnLst>
                <a:cxn ang="0">
                  <a:pos x="21" y="126"/>
                </a:cxn>
                <a:cxn ang="0">
                  <a:pos x="20" y="122"/>
                </a:cxn>
                <a:cxn ang="0">
                  <a:pos x="18" y="116"/>
                </a:cxn>
                <a:cxn ang="0">
                  <a:pos x="18" y="110"/>
                </a:cxn>
                <a:cxn ang="0">
                  <a:pos x="18" y="103"/>
                </a:cxn>
                <a:cxn ang="0">
                  <a:pos x="18" y="99"/>
                </a:cxn>
                <a:cxn ang="0">
                  <a:pos x="18" y="87"/>
                </a:cxn>
                <a:cxn ang="0">
                  <a:pos x="18" y="78"/>
                </a:cxn>
                <a:cxn ang="0">
                  <a:pos x="18" y="68"/>
                </a:cxn>
                <a:cxn ang="0">
                  <a:pos x="16" y="63"/>
                </a:cxn>
                <a:cxn ang="0">
                  <a:pos x="12" y="57"/>
                </a:cxn>
                <a:cxn ang="0">
                  <a:pos x="8" y="49"/>
                </a:cxn>
                <a:cxn ang="0">
                  <a:pos x="2" y="44"/>
                </a:cxn>
                <a:cxn ang="0">
                  <a:pos x="0" y="36"/>
                </a:cxn>
                <a:cxn ang="0">
                  <a:pos x="0" y="34"/>
                </a:cxn>
                <a:cxn ang="0">
                  <a:pos x="2" y="30"/>
                </a:cxn>
                <a:cxn ang="0">
                  <a:pos x="6" y="26"/>
                </a:cxn>
                <a:cxn ang="0">
                  <a:pos x="12" y="25"/>
                </a:cxn>
                <a:cxn ang="0">
                  <a:pos x="14" y="25"/>
                </a:cxn>
                <a:cxn ang="0">
                  <a:pos x="23" y="26"/>
                </a:cxn>
                <a:cxn ang="0">
                  <a:pos x="29" y="32"/>
                </a:cxn>
                <a:cxn ang="0">
                  <a:pos x="37" y="38"/>
                </a:cxn>
                <a:cxn ang="0">
                  <a:pos x="46" y="40"/>
                </a:cxn>
                <a:cxn ang="0">
                  <a:pos x="58" y="40"/>
                </a:cxn>
                <a:cxn ang="0">
                  <a:pos x="73" y="28"/>
                </a:cxn>
                <a:cxn ang="0">
                  <a:pos x="82" y="13"/>
                </a:cxn>
                <a:cxn ang="0">
                  <a:pos x="96" y="2"/>
                </a:cxn>
                <a:cxn ang="0">
                  <a:pos x="107" y="0"/>
                </a:cxn>
                <a:cxn ang="0">
                  <a:pos x="123" y="9"/>
                </a:cxn>
                <a:cxn ang="0">
                  <a:pos x="124" y="26"/>
                </a:cxn>
                <a:cxn ang="0">
                  <a:pos x="128" y="44"/>
                </a:cxn>
                <a:cxn ang="0">
                  <a:pos x="147" y="53"/>
                </a:cxn>
                <a:cxn ang="0">
                  <a:pos x="147" y="53"/>
                </a:cxn>
                <a:cxn ang="0">
                  <a:pos x="147" y="57"/>
                </a:cxn>
                <a:cxn ang="0">
                  <a:pos x="144" y="53"/>
                </a:cxn>
                <a:cxn ang="0">
                  <a:pos x="145" y="57"/>
                </a:cxn>
                <a:cxn ang="0">
                  <a:pos x="147" y="61"/>
                </a:cxn>
                <a:cxn ang="0">
                  <a:pos x="147" y="63"/>
                </a:cxn>
                <a:cxn ang="0">
                  <a:pos x="142" y="78"/>
                </a:cxn>
                <a:cxn ang="0">
                  <a:pos x="128" y="91"/>
                </a:cxn>
                <a:cxn ang="0">
                  <a:pos x="113" y="105"/>
                </a:cxn>
                <a:cxn ang="0">
                  <a:pos x="103" y="118"/>
                </a:cxn>
                <a:cxn ang="0">
                  <a:pos x="102" y="126"/>
                </a:cxn>
                <a:cxn ang="0">
                  <a:pos x="94" y="141"/>
                </a:cxn>
                <a:cxn ang="0">
                  <a:pos x="82" y="158"/>
                </a:cxn>
                <a:cxn ang="0">
                  <a:pos x="69" y="168"/>
                </a:cxn>
                <a:cxn ang="0">
                  <a:pos x="61" y="169"/>
                </a:cxn>
                <a:cxn ang="0">
                  <a:pos x="54" y="169"/>
                </a:cxn>
                <a:cxn ang="0">
                  <a:pos x="50" y="169"/>
                </a:cxn>
                <a:cxn ang="0">
                  <a:pos x="48" y="166"/>
                </a:cxn>
                <a:cxn ang="0">
                  <a:pos x="42" y="156"/>
                </a:cxn>
                <a:cxn ang="0">
                  <a:pos x="39" y="147"/>
                </a:cxn>
                <a:cxn ang="0">
                  <a:pos x="31" y="139"/>
                </a:cxn>
                <a:cxn ang="0">
                  <a:pos x="27" y="137"/>
                </a:cxn>
                <a:cxn ang="0">
                  <a:pos x="27" y="135"/>
                </a:cxn>
                <a:cxn ang="0">
                  <a:pos x="25" y="131"/>
                </a:cxn>
                <a:cxn ang="0">
                  <a:pos x="21" y="126"/>
                </a:cxn>
                <a:cxn ang="0">
                  <a:pos x="20" y="122"/>
                </a:cxn>
                <a:cxn ang="0">
                  <a:pos x="12" y="122"/>
                </a:cxn>
                <a:cxn ang="0">
                  <a:pos x="12" y="124"/>
                </a:cxn>
                <a:cxn ang="0">
                  <a:pos x="12" y="124"/>
                </a:cxn>
              </a:cxnLst>
              <a:rect l="0" t="0" r="r" b="b"/>
              <a:pathLst>
                <a:path w="147" h="169">
                  <a:moveTo>
                    <a:pt x="21" y="126"/>
                  </a:moveTo>
                  <a:lnTo>
                    <a:pt x="21" y="126"/>
                  </a:lnTo>
                  <a:lnTo>
                    <a:pt x="21" y="124"/>
                  </a:lnTo>
                  <a:lnTo>
                    <a:pt x="20" y="122"/>
                  </a:lnTo>
                  <a:lnTo>
                    <a:pt x="20" y="118"/>
                  </a:lnTo>
                  <a:lnTo>
                    <a:pt x="18" y="116"/>
                  </a:lnTo>
                  <a:lnTo>
                    <a:pt x="18" y="114"/>
                  </a:lnTo>
                  <a:lnTo>
                    <a:pt x="18" y="110"/>
                  </a:lnTo>
                  <a:lnTo>
                    <a:pt x="18" y="107"/>
                  </a:lnTo>
                  <a:lnTo>
                    <a:pt x="18" y="103"/>
                  </a:lnTo>
                  <a:lnTo>
                    <a:pt x="18" y="103"/>
                  </a:lnTo>
                  <a:lnTo>
                    <a:pt x="18" y="99"/>
                  </a:lnTo>
                  <a:lnTo>
                    <a:pt x="18" y="93"/>
                  </a:lnTo>
                  <a:lnTo>
                    <a:pt x="18" y="87"/>
                  </a:lnTo>
                  <a:lnTo>
                    <a:pt x="18" y="84"/>
                  </a:lnTo>
                  <a:lnTo>
                    <a:pt x="18" y="78"/>
                  </a:lnTo>
                  <a:lnTo>
                    <a:pt x="18" y="74"/>
                  </a:lnTo>
                  <a:lnTo>
                    <a:pt x="18" y="68"/>
                  </a:lnTo>
                  <a:lnTo>
                    <a:pt x="16" y="63"/>
                  </a:lnTo>
                  <a:lnTo>
                    <a:pt x="16" y="63"/>
                  </a:lnTo>
                  <a:lnTo>
                    <a:pt x="14" y="59"/>
                  </a:lnTo>
                  <a:lnTo>
                    <a:pt x="12" y="57"/>
                  </a:lnTo>
                  <a:lnTo>
                    <a:pt x="10" y="53"/>
                  </a:lnTo>
                  <a:lnTo>
                    <a:pt x="8" y="49"/>
                  </a:lnTo>
                  <a:lnTo>
                    <a:pt x="4" y="47"/>
                  </a:lnTo>
                  <a:lnTo>
                    <a:pt x="2" y="44"/>
                  </a:lnTo>
                  <a:lnTo>
                    <a:pt x="0" y="40"/>
                  </a:lnTo>
                  <a:lnTo>
                    <a:pt x="0" y="36"/>
                  </a:lnTo>
                  <a:lnTo>
                    <a:pt x="0" y="36"/>
                  </a:lnTo>
                  <a:lnTo>
                    <a:pt x="0" y="34"/>
                  </a:lnTo>
                  <a:lnTo>
                    <a:pt x="2" y="32"/>
                  </a:lnTo>
                  <a:lnTo>
                    <a:pt x="2" y="30"/>
                  </a:lnTo>
                  <a:lnTo>
                    <a:pt x="4" y="28"/>
                  </a:lnTo>
                  <a:lnTo>
                    <a:pt x="6" y="26"/>
                  </a:lnTo>
                  <a:lnTo>
                    <a:pt x="8" y="25"/>
                  </a:lnTo>
                  <a:lnTo>
                    <a:pt x="12" y="25"/>
                  </a:lnTo>
                  <a:lnTo>
                    <a:pt x="14" y="25"/>
                  </a:lnTo>
                  <a:lnTo>
                    <a:pt x="14" y="25"/>
                  </a:lnTo>
                  <a:lnTo>
                    <a:pt x="18" y="25"/>
                  </a:lnTo>
                  <a:lnTo>
                    <a:pt x="23" y="26"/>
                  </a:lnTo>
                  <a:lnTo>
                    <a:pt x="27" y="30"/>
                  </a:lnTo>
                  <a:lnTo>
                    <a:pt x="29" y="32"/>
                  </a:lnTo>
                  <a:lnTo>
                    <a:pt x="33" y="36"/>
                  </a:lnTo>
                  <a:lnTo>
                    <a:pt x="37" y="38"/>
                  </a:lnTo>
                  <a:lnTo>
                    <a:pt x="42" y="40"/>
                  </a:lnTo>
                  <a:lnTo>
                    <a:pt x="46" y="40"/>
                  </a:lnTo>
                  <a:lnTo>
                    <a:pt x="46" y="40"/>
                  </a:lnTo>
                  <a:lnTo>
                    <a:pt x="58" y="40"/>
                  </a:lnTo>
                  <a:lnTo>
                    <a:pt x="67" y="34"/>
                  </a:lnTo>
                  <a:lnTo>
                    <a:pt x="73" y="28"/>
                  </a:lnTo>
                  <a:lnTo>
                    <a:pt x="77" y="21"/>
                  </a:lnTo>
                  <a:lnTo>
                    <a:pt x="82" y="13"/>
                  </a:lnTo>
                  <a:lnTo>
                    <a:pt x="88" y="7"/>
                  </a:lnTo>
                  <a:lnTo>
                    <a:pt x="96" y="2"/>
                  </a:lnTo>
                  <a:lnTo>
                    <a:pt x="107" y="0"/>
                  </a:lnTo>
                  <a:lnTo>
                    <a:pt x="107" y="0"/>
                  </a:lnTo>
                  <a:lnTo>
                    <a:pt x="117" y="4"/>
                  </a:lnTo>
                  <a:lnTo>
                    <a:pt x="123" y="9"/>
                  </a:lnTo>
                  <a:lnTo>
                    <a:pt x="124" y="17"/>
                  </a:lnTo>
                  <a:lnTo>
                    <a:pt x="124" y="26"/>
                  </a:lnTo>
                  <a:lnTo>
                    <a:pt x="126" y="36"/>
                  </a:lnTo>
                  <a:lnTo>
                    <a:pt x="128" y="44"/>
                  </a:lnTo>
                  <a:lnTo>
                    <a:pt x="136" y="51"/>
                  </a:lnTo>
                  <a:lnTo>
                    <a:pt x="147" y="53"/>
                  </a:lnTo>
                  <a:lnTo>
                    <a:pt x="147" y="53"/>
                  </a:lnTo>
                  <a:lnTo>
                    <a:pt x="147" y="53"/>
                  </a:lnTo>
                  <a:lnTo>
                    <a:pt x="147" y="55"/>
                  </a:lnTo>
                  <a:lnTo>
                    <a:pt x="147" y="57"/>
                  </a:lnTo>
                  <a:lnTo>
                    <a:pt x="147" y="59"/>
                  </a:lnTo>
                  <a:lnTo>
                    <a:pt x="144" y="53"/>
                  </a:lnTo>
                  <a:lnTo>
                    <a:pt x="144" y="53"/>
                  </a:lnTo>
                  <a:lnTo>
                    <a:pt x="145" y="57"/>
                  </a:lnTo>
                  <a:lnTo>
                    <a:pt x="145" y="59"/>
                  </a:lnTo>
                  <a:lnTo>
                    <a:pt x="147" y="61"/>
                  </a:lnTo>
                  <a:lnTo>
                    <a:pt x="147" y="63"/>
                  </a:lnTo>
                  <a:lnTo>
                    <a:pt x="147" y="63"/>
                  </a:lnTo>
                  <a:lnTo>
                    <a:pt x="147" y="70"/>
                  </a:lnTo>
                  <a:lnTo>
                    <a:pt x="142" y="78"/>
                  </a:lnTo>
                  <a:lnTo>
                    <a:pt x="136" y="84"/>
                  </a:lnTo>
                  <a:lnTo>
                    <a:pt x="128" y="91"/>
                  </a:lnTo>
                  <a:lnTo>
                    <a:pt x="121" y="97"/>
                  </a:lnTo>
                  <a:lnTo>
                    <a:pt x="113" y="105"/>
                  </a:lnTo>
                  <a:lnTo>
                    <a:pt x="107" y="112"/>
                  </a:lnTo>
                  <a:lnTo>
                    <a:pt x="103" y="118"/>
                  </a:lnTo>
                  <a:lnTo>
                    <a:pt x="103" y="118"/>
                  </a:lnTo>
                  <a:lnTo>
                    <a:pt x="102" y="126"/>
                  </a:lnTo>
                  <a:lnTo>
                    <a:pt x="98" y="133"/>
                  </a:lnTo>
                  <a:lnTo>
                    <a:pt x="94" y="141"/>
                  </a:lnTo>
                  <a:lnTo>
                    <a:pt x="88" y="150"/>
                  </a:lnTo>
                  <a:lnTo>
                    <a:pt x="82" y="158"/>
                  </a:lnTo>
                  <a:lnTo>
                    <a:pt x="77" y="164"/>
                  </a:lnTo>
                  <a:lnTo>
                    <a:pt x="69" y="168"/>
                  </a:lnTo>
                  <a:lnTo>
                    <a:pt x="61" y="169"/>
                  </a:lnTo>
                  <a:lnTo>
                    <a:pt x="61" y="169"/>
                  </a:lnTo>
                  <a:lnTo>
                    <a:pt x="58" y="169"/>
                  </a:lnTo>
                  <a:lnTo>
                    <a:pt x="54" y="169"/>
                  </a:lnTo>
                  <a:lnTo>
                    <a:pt x="52" y="169"/>
                  </a:lnTo>
                  <a:lnTo>
                    <a:pt x="50" y="169"/>
                  </a:lnTo>
                  <a:lnTo>
                    <a:pt x="50" y="169"/>
                  </a:lnTo>
                  <a:lnTo>
                    <a:pt x="48" y="166"/>
                  </a:lnTo>
                  <a:lnTo>
                    <a:pt x="46" y="160"/>
                  </a:lnTo>
                  <a:lnTo>
                    <a:pt x="42" y="156"/>
                  </a:lnTo>
                  <a:lnTo>
                    <a:pt x="41" y="150"/>
                  </a:lnTo>
                  <a:lnTo>
                    <a:pt x="39" y="147"/>
                  </a:lnTo>
                  <a:lnTo>
                    <a:pt x="35" y="143"/>
                  </a:lnTo>
                  <a:lnTo>
                    <a:pt x="31" y="139"/>
                  </a:lnTo>
                  <a:lnTo>
                    <a:pt x="27" y="137"/>
                  </a:lnTo>
                  <a:lnTo>
                    <a:pt x="27" y="137"/>
                  </a:lnTo>
                  <a:lnTo>
                    <a:pt x="27" y="137"/>
                  </a:lnTo>
                  <a:lnTo>
                    <a:pt x="27" y="135"/>
                  </a:lnTo>
                  <a:lnTo>
                    <a:pt x="25" y="133"/>
                  </a:lnTo>
                  <a:lnTo>
                    <a:pt x="25" y="131"/>
                  </a:lnTo>
                  <a:lnTo>
                    <a:pt x="23" y="128"/>
                  </a:lnTo>
                  <a:lnTo>
                    <a:pt x="21" y="126"/>
                  </a:lnTo>
                  <a:lnTo>
                    <a:pt x="21" y="124"/>
                  </a:lnTo>
                  <a:lnTo>
                    <a:pt x="20" y="122"/>
                  </a:lnTo>
                  <a:lnTo>
                    <a:pt x="12" y="122"/>
                  </a:lnTo>
                  <a:lnTo>
                    <a:pt x="12" y="122"/>
                  </a:lnTo>
                  <a:lnTo>
                    <a:pt x="12" y="122"/>
                  </a:lnTo>
                  <a:lnTo>
                    <a:pt x="12" y="124"/>
                  </a:lnTo>
                  <a:lnTo>
                    <a:pt x="12" y="124"/>
                  </a:lnTo>
                  <a:lnTo>
                    <a:pt x="12" y="124"/>
                  </a:lnTo>
                  <a:lnTo>
                    <a:pt x="21" y="126"/>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6" name="Freeform 30"/>
            <p:cNvSpPr>
              <a:spLocks/>
            </p:cNvSpPr>
            <p:nvPr/>
          </p:nvSpPr>
          <p:spPr bwMode="gray">
            <a:xfrm>
              <a:off x="2113" y="2130"/>
              <a:ext cx="849" cy="820"/>
            </a:xfrm>
            <a:custGeom>
              <a:avLst/>
              <a:gdLst/>
              <a:ahLst/>
              <a:cxnLst>
                <a:cxn ang="0">
                  <a:pos x="511" y="170"/>
                </a:cxn>
                <a:cxn ang="0">
                  <a:pos x="513" y="80"/>
                </a:cxn>
                <a:cxn ang="0">
                  <a:pos x="612" y="27"/>
                </a:cxn>
                <a:cxn ang="0">
                  <a:pos x="734" y="92"/>
                </a:cxn>
                <a:cxn ang="0">
                  <a:pos x="828" y="67"/>
                </a:cxn>
                <a:cxn ang="0">
                  <a:pos x="883" y="55"/>
                </a:cxn>
                <a:cxn ang="0">
                  <a:pos x="965" y="23"/>
                </a:cxn>
                <a:cxn ang="0">
                  <a:pos x="1030" y="21"/>
                </a:cxn>
                <a:cxn ang="0">
                  <a:pos x="1116" y="19"/>
                </a:cxn>
                <a:cxn ang="0">
                  <a:pos x="1188" y="4"/>
                </a:cxn>
                <a:cxn ang="0">
                  <a:pos x="1242" y="57"/>
                </a:cxn>
                <a:cxn ang="0">
                  <a:pos x="1312" y="65"/>
                </a:cxn>
                <a:cxn ang="0">
                  <a:pos x="1375" y="52"/>
                </a:cxn>
                <a:cxn ang="0">
                  <a:pos x="1450" y="107"/>
                </a:cxn>
                <a:cxn ang="0">
                  <a:pos x="1471" y="147"/>
                </a:cxn>
                <a:cxn ang="0">
                  <a:pos x="1473" y="199"/>
                </a:cxn>
                <a:cxn ang="0">
                  <a:pos x="1499" y="248"/>
                </a:cxn>
                <a:cxn ang="0">
                  <a:pos x="1431" y="326"/>
                </a:cxn>
                <a:cxn ang="0">
                  <a:pos x="1396" y="395"/>
                </a:cxn>
                <a:cxn ang="0">
                  <a:pos x="1375" y="521"/>
                </a:cxn>
                <a:cxn ang="0">
                  <a:pos x="1347" y="578"/>
                </a:cxn>
                <a:cxn ang="0">
                  <a:pos x="1322" y="624"/>
                </a:cxn>
                <a:cxn ang="0">
                  <a:pos x="1345" y="666"/>
                </a:cxn>
                <a:cxn ang="0">
                  <a:pos x="1351" y="719"/>
                </a:cxn>
                <a:cxn ang="0">
                  <a:pos x="1345" y="733"/>
                </a:cxn>
                <a:cxn ang="0">
                  <a:pos x="1351" y="775"/>
                </a:cxn>
                <a:cxn ang="0">
                  <a:pos x="1349" y="843"/>
                </a:cxn>
                <a:cxn ang="0">
                  <a:pos x="1358" y="893"/>
                </a:cxn>
                <a:cxn ang="0">
                  <a:pos x="1377" y="964"/>
                </a:cxn>
                <a:cxn ang="0">
                  <a:pos x="1433" y="1028"/>
                </a:cxn>
                <a:cxn ang="0">
                  <a:pos x="1375" y="1089"/>
                </a:cxn>
                <a:cxn ang="0">
                  <a:pos x="1314" y="1131"/>
                </a:cxn>
                <a:cxn ang="0">
                  <a:pos x="1286" y="1181"/>
                </a:cxn>
                <a:cxn ang="0">
                  <a:pos x="1291" y="1257"/>
                </a:cxn>
                <a:cxn ang="0">
                  <a:pos x="1274" y="1341"/>
                </a:cxn>
                <a:cxn ang="0">
                  <a:pos x="1360" y="1419"/>
                </a:cxn>
                <a:cxn ang="0">
                  <a:pos x="1368" y="1484"/>
                </a:cxn>
                <a:cxn ang="0">
                  <a:pos x="1316" y="1488"/>
                </a:cxn>
                <a:cxn ang="0">
                  <a:pos x="1261" y="1416"/>
                </a:cxn>
                <a:cxn ang="0">
                  <a:pos x="1171" y="1351"/>
                </a:cxn>
                <a:cxn ang="0">
                  <a:pos x="1074" y="1370"/>
                </a:cxn>
                <a:cxn ang="0">
                  <a:pos x="1015" y="1322"/>
                </a:cxn>
                <a:cxn ang="0">
                  <a:pos x="954" y="1324"/>
                </a:cxn>
                <a:cxn ang="0">
                  <a:pos x="870" y="1307"/>
                </a:cxn>
                <a:cxn ang="0">
                  <a:pos x="796" y="1324"/>
                </a:cxn>
                <a:cxn ang="0">
                  <a:pos x="797" y="1250"/>
                </a:cxn>
                <a:cxn ang="0">
                  <a:pos x="761" y="1175"/>
                </a:cxn>
                <a:cxn ang="0">
                  <a:pos x="654" y="1009"/>
                </a:cxn>
                <a:cxn ang="0">
                  <a:pos x="576" y="1009"/>
                </a:cxn>
                <a:cxn ang="0">
                  <a:pos x="494" y="1068"/>
                </a:cxn>
                <a:cxn ang="0">
                  <a:pos x="372" y="1011"/>
                </a:cxn>
                <a:cxn ang="0">
                  <a:pos x="342" y="904"/>
                </a:cxn>
                <a:cxn ang="0">
                  <a:pos x="38" y="901"/>
                </a:cxn>
                <a:cxn ang="0">
                  <a:pos x="15" y="864"/>
                </a:cxn>
                <a:cxn ang="0">
                  <a:pos x="59" y="803"/>
                </a:cxn>
                <a:cxn ang="0">
                  <a:pos x="164" y="778"/>
                </a:cxn>
                <a:cxn ang="0">
                  <a:pos x="172" y="824"/>
                </a:cxn>
                <a:cxn ang="0">
                  <a:pos x="263" y="758"/>
                </a:cxn>
                <a:cxn ang="0">
                  <a:pos x="317" y="664"/>
                </a:cxn>
                <a:cxn ang="0">
                  <a:pos x="368" y="538"/>
                </a:cxn>
                <a:cxn ang="0">
                  <a:pos x="433" y="445"/>
                </a:cxn>
                <a:cxn ang="0">
                  <a:pos x="460" y="303"/>
                </a:cxn>
              </a:cxnLst>
              <a:rect l="0" t="0" r="r" b="b"/>
              <a:pathLst>
                <a:path w="1499" h="1494">
                  <a:moveTo>
                    <a:pt x="466" y="261"/>
                  </a:moveTo>
                  <a:lnTo>
                    <a:pt x="466" y="261"/>
                  </a:lnTo>
                  <a:lnTo>
                    <a:pt x="471" y="250"/>
                  </a:lnTo>
                  <a:lnTo>
                    <a:pt x="475" y="242"/>
                  </a:lnTo>
                  <a:lnTo>
                    <a:pt x="481" y="235"/>
                  </a:lnTo>
                  <a:lnTo>
                    <a:pt x="487" y="229"/>
                  </a:lnTo>
                  <a:lnTo>
                    <a:pt x="492" y="221"/>
                  </a:lnTo>
                  <a:lnTo>
                    <a:pt x="498" y="214"/>
                  </a:lnTo>
                  <a:lnTo>
                    <a:pt x="502" y="206"/>
                  </a:lnTo>
                  <a:lnTo>
                    <a:pt x="507" y="197"/>
                  </a:lnTo>
                  <a:lnTo>
                    <a:pt x="507" y="197"/>
                  </a:lnTo>
                  <a:lnTo>
                    <a:pt x="507" y="191"/>
                  </a:lnTo>
                  <a:lnTo>
                    <a:pt x="509" y="185"/>
                  </a:lnTo>
                  <a:lnTo>
                    <a:pt x="511" y="179"/>
                  </a:lnTo>
                  <a:lnTo>
                    <a:pt x="511" y="176"/>
                  </a:lnTo>
                  <a:lnTo>
                    <a:pt x="511" y="170"/>
                  </a:lnTo>
                  <a:lnTo>
                    <a:pt x="511" y="164"/>
                  </a:lnTo>
                  <a:lnTo>
                    <a:pt x="511" y="160"/>
                  </a:lnTo>
                  <a:lnTo>
                    <a:pt x="511" y="155"/>
                  </a:lnTo>
                  <a:lnTo>
                    <a:pt x="509" y="149"/>
                  </a:lnTo>
                  <a:lnTo>
                    <a:pt x="509" y="143"/>
                  </a:lnTo>
                  <a:lnTo>
                    <a:pt x="509" y="139"/>
                  </a:lnTo>
                  <a:lnTo>
                    <a:pt x="507" y="134"/>
                  </a:lnTo>
                  <a:lnTo>
                    <a:pt x="507" y="128"/>
                  </a:lnTo>
                  <a:lnTo>
                    <a:pt x="507" y="124"/>
                  </a:lnTo>
                  <a:lnTo>
                    <a:pt x="507" y="118"/>
                  </a:lnTo>
                  <a:lnTo>
                    <a:pt x="507" y="113"/>
                  </a:lnTo>
                  <a:lnTo>
                    <a:pt x="507" y="113"/>
                  </a:lnTo>
                  <a:lnTo>
                    <a:pt x="507" y="105"/>
                  </a:lnTo>
                  <a:lnTo>
                    <a:pt x="507" y="97"/>
                  </a:lnTo>
                  <a:lnTo>
                    <a:pt x="511" y="90"/>
                  </a:lnTo>
                  <a:lnTo>
                    <a:pt x="513" y="80"/>
                  </a:lnTo>
                  <a:lnTo>
                    <a:pt x="517" y="73"/>
                  </a:lnTo>
                  <a:lnTo>
                    <a:pt x="521" y="63"/>
                  </a:lnTo>
                  <a:lnTo>
                    <a:pt x="525" y="55"/>
                  </a:lnTo>
                  <a:lnTo>
                    <a:pt x="530" y="48"/>
                  </a:lnTo>
                  <a:lnTo>
                    <a:pt x="536" y="40"/>
                  </a:lnTo>
                  <a:lnTo>
                    <a:pt x="542" y="34"/>
                  </a:lnTo>
                  <a:lnTo>
                    <a:pt x="549" y="29"/>
                  </a:lnTo>
                  <a:lnTo>
                    <a:pt x="555" y="23"/>
                  </a:lnTo>
                  <a:lnTo>
                    <a:pt x="563" y="19"/>
                  </a:lnTo>
                  <a:lnTo>
                    <a:pt x="569" y="15"/>
                  </a:lnTo>
                  <a:lnTo>
                    <a:pt x="576" y="13"/>
                  </a:lnTo>
                  <a:lnTo>
                    <a:pt x="584" y="13"/>
                  </a:lnTo>
                  <a:lnTo>
                    <a:pt x="584" y="13"/>
                  </a:lnTo>
                  <a:lnTo>
                    <a:pt x="595" y="15"/>
                  </a:lnTo>
                  <a:lnTo>
                    <a:pt x="605" y="21"/>
                  </a:lnTo>
                  <a:lnTo>
                    <a:pt x="612" y="27"/>
                  </a:lnTo>
                  <a:lnTo>
                    <a:pt x="620" y="36"/>
                  </a:lnTo>
                  <a:lnTo>
                    <a:pt x="628" y="46"/>
                  </a:lnTo>
                  <a:lnTo>
                    <a:pt x="635" y="54"/>
                  </a:lnTo>
                  <a:lnTo>
                    <a:pt x="641" y="61"/>
                  </a:lnTo>
                  <a:lnTo>
                    <a:pt x="649" y="67"/>
                  </a:lnTo>
                  <a:lnTo>
                    <a:pt x="649" y="67"/>
                  </a:lnTo>
                  <a:lnTo>
                    <a:pt x="654" y="69"/>
                  </a:lnTo>
                  <a:lnTo>
                    <a:pt x="662" y="73"/>
                  </a:lnTo>
                  <a:lnTo>
                    <a:pt x="670" y="76"/>
                  </a:lnTo>
                  <a:lnTo>
                    <a:pt x="679" y="78"/>
                  </a:lnTo>
                  <a:lnTo>
                    <a:pt x="689" y="82"/>
                  </a:lnTo>
                  <a:lnTo>
                    <a:pt x="696" y="84"/>
                  </a:lnTo>
                  <a:lnTo>
                    <a:pt x="706" y="86"/>
                  </a:lnTo>
                  <a:lnTo>
                    <a:pt x="715" y="88"/>
                  </a:lnTo>
                  <a:lnTo>
                    <a:pt x="725" y="90"/>
                  </a:lnTo>
                  <a:lnTo>
                    <a:pt x="734" y="92"/>
                  </a:lnTo>
                  <a:lnTo>
                    <a:pt x="744" y="94"/>
                  </a:lnTo>
                  <a:lnTo>
                    <a:pt x="754" y="94"/>
                  </a:lnTo>
                  <a:lnTo>
                    <a:pt x="763" y="96"/>
                  </a:lnTo>
                  <a:lnTo>
                    <a:pt x="773" y="96"/>
                  </a:lnTo>
                  <a:lnTo>
                    <a:pt x="780" y="96"/>
                  </a:lnTo>
                  <a:lnTo>
                    <a:pt x="788" y="96"/>
                  </a:lnTo>
                  <a:lnTo>
                    <a:pt x="788" y="96"/>
                  </a:lnTo>
                  <a:lnTo>
                    <a:pt x="796" y="96"/>
                  </a:lnTo>
                  <a:lnTo>
                    <a:pt x="801" y="94"/>
                  </a:lnTo>
                  <a:lnTo>
                    <a:pt x="807" y="92"/>
                  </a:lnTo>
                  <a:lnTo>
                    <a:pt x="811" y="88"/>
                  </a:lnTo>
                  <a:lnTo>
                    <a:pt x="815" y="84"/>
                  </a:lnTo>
                  <a:lnTo>
                    <a:pt x="818" y="80"/>
                  </a:lnTo>
                  <a:lnTo>
                    <a:pt x="822" y="76"/>
                  </a:lnTo>
                  <a:lnTo>
                    <a:pt x="824" y="71"/>
                  </a:lnTo>
                  <a:lnTo>
                    <a:pt x="828" y="67"/>
                  </a:lnTo>
                  <a:lnTo>
                    <a:pt x="832" y="63"/>
                  </a:lnTo>
                  <a:lnTo>
                    <a:pt x="834" y="57"/>
                  </a:lnTo>
                  <a:lnTo>
                    <a:pt x="837" y="55"/>
                  </a:lnTo>
                  <a:lnTo>
                    <a:pt x="843" y="52"/>
                  </a:lnTo>
                  <a:lnTo>
                    <a:pt x="849" y="48"/>
                  </a:lnTo>
                  <a:lnTo>
                    <a:pt x="855" y="48"/>
                  </a:lnTo>
                  <a:lnTo>
                    <a:pt x="860" y="46"/>
                  </a:lnTo>
                  <a:lnTo>
                    <a:pt x="860" y="46"/>
                  </a:lnTo>
                  <a:lnTo>
                    <a:pt x="862" y="48"/>
                  </a:lnTo>
                  <a:lnTo>
                    <a:pt x="866" y="48"/>
                  </a:lnTo>
                  <a:lnTo>
                    <a:pt x="868" y="50"/>
                  </a:lnTo>
                  <a:lnTo>
                    <a:pt x="872" y="52"/>
                  </a:lnTo>
                  <a:lnTo>
                    <a:pt x="874" y="52"/>
                  </a:lnTo>
                  <a:lnTo>
                    <a:pt x="876" y="54"/>
                  </a:lnTo>
                  <a:lnTo>
                    <a:pt x="879" y="55"/>
                  </a:lnTo>
                  <a:lnTo>
                    <a:pt x="883" y="55"/>
                  </a:lnTo>
                  <a:lnTo>
                    <a:pt x="883" y="55"/>
                  </a:lnTo>
                  <a:lnTo>
                    <a:pt x="889" y="55"/>
                  </a:lnTo>
                  <a:lnTo>
                    <a:pt x="895" y="54"/>
                  </a:lnTo>
                  <a:lnTo>
                    <a:pt x="900" y="52"/>
                  </a:lnTo>
                  <a:lnTo>
                    <a:pt x="906" y="50"/>
                  </a:lnTo>
                  <a:lnTo>
                    <a:pt x="912" y="48"/>
                  </a:lnTo>
                  <a:lnTo>
                    <a:pt x="918" y="46"/>
                  </a:lnTo>
                  <a:lnTo>
                    <a:pt x="923" y="42"/>
                  </a:lnTo>
                  <a:lnTo>
                    <a:pt x="929" y="40"/>
                  </a:lnTo>
                  <a:lnTo>
                    <a:pt x="935" y="36"/>
                  </a:lnTo>
                  <a:lnTo>
                    <a:pt x="939" y="34"/>
                  </a:lnTo>
                  <a:lnTo>
                    <a:pt x="944" y="33"/>
                  </a:lnTo>
                  <a:lnTo>
                    <a:pt x="950" y="29"/>
                  </a:lnTo>
                  <a:lnTo>
                    <a:pt x="954" y="27"/>
                  </a:lnTo>
                  <a:lnTo>
                    <a:pt x="960" y="25"/>
                  </a:lnTo>
                  <a:lnTo>
                    <a:pt x="965" y="23"/>
                  </a:lnTo>
                  <a:lnTo>
                    <a:pt x="971" y="23"/>
                  </a:lnTo>
                  <a:lnTo>
                    <a:pt x="971" y="23"/>
                  </a:lnTo>
                  <a:lnTo>
                    <a:pt x="973" y="27"/>
                  </a:lnTo>
                  <a:lnTo>
                    <a:pt x="975" y="31"/>
                  </a:lnTo>
                  <a:lnTo>
                    <a:pt x="979" y="33"/>
                  </a:lnTo>
                  <a:lnTo>
                    <a:pt x="981" y="33"/>
                  </a:lnTo>
                  <a:lnTo>
                    <a:pt x="984" y="33"/>
                  </a:lnTo>
                  <a:lnTo>
                    <a:pt x="988" y="33"/>
                  </a:lnTo>
                  <a:lnTo>
                    <a:pt x="992" y="31"/>
                  </a:lnTo>
                  <a:lnTo>
                    <a:pt x="998" y="31"/>
                  </a:lnTo>
                  <a:lnTo>
                    <a:pt x="998" y="31"/>
                  </a:lnTo>
                  <a:lnTo>
                    <a:pt x="1007" y="31"/>
                  </a:lnTo>
                  <a:lnTo>
                    <a:pt x="1015" y="31"/>
                  </a:lnTo>
                  <a:lnTo>
                    <a:pt x="1023" y="29"/>
                  </a:lnTo>
                  <a:lnTo>
                    <a:pt x="1026" y="25"/>
                  </a:lnTo>
                  <a:lnTo>
                    <a:pt x="1030" y="21"/>
                  </a:lnTo>
                  <a:lnTo>
                    <a:pt x="1034" y="17"/>
                  </a:lnTo>
                  <a:lnTo>
                    <a:pt x="1036" y="10"/>
                  </a:lnTo>
                  <a:lnTo>
                    <a:pt x="1036" y="2"/>
                  </a:lnTo>
                  <a:lnTo>
                    <a:pt x="1036" y="2"/>
                  </a:lnTo>
                  <a:lnTo>
                    <a:pt x="1044" y="0"/>
                  </a:lnTo>
                  <a:lnTo>
                    <a:pt x="1051" y="0"/>
                  </a:lnTo>
                  <a:lnTo>
                    <a:pt x="1059" y="2"/>
                  </a:lnTo>
                  <a:lnTo>
                    <a:pt x="1064" y="2"/>
                  </a:lnTo>
                  <a:lnTo>
                    <a:pt x="1072" y="4"/>
                  </a:lnTo>
                  <a:lnTo>
                    <a:pt x="1078" y="6"/>
                  </a:lnTo>
                  <a:lnTo>
                    <a:pt x="1084" y="8"/>
                  </a:lnTo>
                  <a:lnTo>
                    <a:pt x="1091" y="10"/>
                  </a:lnTo>
                  <a:lnTo>
                    <a:pt x="1097" y="12"/>
                  </a:lnTo>
                  <a:lnTo>
                    <a:pt x="1103" y="13"/>
                  </a:lnTo>
                  <a:lnTo>
                    <a:pt x="1108" y="17"/>
                  </a:lnTo>
                  <a:lnTo>
                    <a:pt x="1116" y="19"/>
                  </a:lnTo>
                  <a:lnTo>
                    <a:pt x="1122" y="21"/>
                  </a:lnTo>
                  <a:lnTo>
                    <a:pt x="1129" y="21"/>
                  </a:lnTo>
                  <a:lnTo>
                    <a:pt x="1137" y="23"/>
                  </a:lnTo>
                  <a:lnTo>
                    <a:pt x="1145" y="23"/>
                  </a:lnTo>
                  <a:lnTo>
                    <a:pt x="1145" y="23"/>
                  </a:lnTo>
                  <a:lnTo>
                    <a:pt x="1152" y="23"/>
                  </a:lnTo>
                  <a:lnTo>
                    <a:pt x="1160" y="21"/>
                  </a:lnTo>
                  <a:lnTo>
                    <a:pt x="1166" y="21"/>
                  </a:lnTo>
                  <a:lnTo>
                    <a:pt x="1171" y="19"/>
                  </a:lnTo>
                  <a:lnTo>
                    <a:pt x="1175" y="17"/>
                  </a:lnTo>
                  <a:lnTo>
                    <a:pt x="1181" y="15"/>
                  </a:lnTo>
                  <a:lnTo>
                    <a:pt x="1187" y="15"/>
                  </a:lnTo>
                  <a:lnTo>
                    <a:pt x="1194" y="13"/>
                  </a:lnTo>
                  <a:lnTo>
                    <a:pt x="1188" y="2"/>
                  </a:lnTo>
                  <a:lnTo>
                    <a:pt x="1188" y="2"/>
                  </a:lnTo>
                  <a:lnTo>
                    <a:pt x="1188" y="4"/>
                  </a:lnTo>
                  <a:lnTo>
                    <a:pt x="1188" y="8"/>
                  </a:lnTo>
                  <a:lnTo>
                    <a:pt x="1190" y="12"/>
                  </a:lnTo>
                  <a:lnTo>
                    <a:pt x="1192" y="13"/>
                  </a:lnTo>
                  <a:lnTo>
                    <a:pt x="1192" y="13"/>
                  </a:lnTo>
                  <a:lnTo>
                    <a:pt x="1196" y="17"/>
                  </a:lnTo>
                  <a:lnTo>
                    <a:pt x="1200" y="19"/>
                  </a:lnTo>
                  <a:lnTo>
                    <a:pt x="1206" y="21"/>
                  </a:lnTo>
                  <a:lnTo>
                    <a:pt x="1209" y="25"/>
                  </a:lnTo>
                  <a:lnTo>
                    <a:pt x="1217" y="29"/>
                  </a:lnTo>
                  <a:lnTo>
                    <a:pt x="1221" y="31"/>
                  </a:lnTo>
                  <a:lnTo>
                    <a:pt x="1227" y="36"/>
                  </a:lnTo>
                  <a:lnTo>
                    <a:pt x="1230" y="40"/>
                  </a:lnTo>
                  <a:lnTo>
                    <a:pt x="1230" y="40"/>
                  </a:lnTo>
                  <a:lnTo>
                    <a:pt x="1234" y="46"/>
                  </a:lnTo>
                  <a:lnTo>
                    <a:pt x="1238" y="52"/>
                  </a:lnTo>
                  <a:lnTo>
                    <a:pt x="1242" y="57"/>
                  </a:lnTo>
                  <a:lnTo>
                    <a:pt x="1246" y="65"/>
                  </a:lnTo>
                  <a:lnTo>
                    <a:pt x="1251" y="71"/>
                  </a:lnTo>
                  <a:lnTo>
                    <a:pt x="1257" y="75"/>
                  </a:lnTo>
                  <a:lnTo>
                    <a:pt x="1265" y="76"/>
                  </a:lnTo>
                  <a:lnTo>
                    <a:pt x="1274" y="78"/>
                  </a:lnTo>
                  <a:lnTo>
                    <a:pt x="1274" y="78"/>
                  </a:lnTo>
                  <a:lnTo>
                    <a:pt x="1280" y="78"/>
                  </a:lnTo>
                  <a:lnTo>
                    <a:pt x="1284" y="76"/>
                  </a:lnTo>
                  <a:lnTo>
                    <a:pt x="1288" y="73"/>
                  </a:lnTo>
                  <a:lnTo>
                    <a:pt x="1290" y="71"/>
                  </a:lnTo>
                  <a:lnTo>
                    <a:pt x="1293" y="69"/>
                  </a:lnTo>
                  <a:lnTo>
                    <a:pt x="1297" y="67"/>
                  </a:lnTo>
                  <a:lnTo>
                    <a:pt x="1301" y="65"/>
                  </a:lnTo>
                  <a:lnTo>
                    <a:pt x="1307" y="65"/>
                  </a:lnTo>
                  <a:lnTo>
                    <a:pt x="1307" y="65"/>
                  </a:lnTo>
                  <a:lnTo>
                    <a:pt x="1312" y="65"/>
                  </a:lnTo>
                  <a:lnTo>
                    <a:pt x="1318" y="65"/>
                  </a:lnTo>
                  <a:lnTo>
                    <a:pt x="1324" y="67"/>
                  </a:lnTo>
                  <a:lnTo>
                    <a:pt x="1330" y="67"/>
                  </a:lnTo>
                  <a:lnTo>
                    <a:pt x="1335" y="69"/>
                  </a:lnTo>
                  <a:lnTo>
                    <a:pt x="1339" y="71"/>
                  </a:lnTo>
                  <a:lnTo>
                    <a:pt x="1345" y="71"/>
                  </a:lnTo>
                  <a:lnTo>
                    <a:pt x="1351" y="73"/>
                  </a:lnTo>
                  <a:lnTo>
                    <a:pt x="1351" y="73"/>
                  </a:lnTo>
                  <a:lnTo>
                    <a:pt x="1354" y="71"/>
                  </a:lnTo>
                  <a:lnTo>
                    <a:pt x="1358" y="69"/>
                  </a:lnTo>
                  <a:lnTo>
                    <a:pt x="1360" y="65"/>
                  </a:lnTo>
                  <a:lnTo>
                    <a:pt x="1362" y="61"/>
                  </a:lnTo>
                  <a:lnTo>
                    <a:pt x="1366" y="59"/>
                  </a:lnTo>
                  <a:lnTo>
                    <a:pt x="1368" y="55"/>
                  </a:lnTo>
                  <a:lnTo>
                    <a:pt x="1372" y="54"/>
                  </a:lnTo>
                  <a:lnTo>
                    <a:pt x="1375" y="52"/>
                  </a:lnTo>
                  <a:lnTo>
                    <a:pt x="1375" y="52"/>
                  </a:lnTo>
                  <a:lnTo>
                    <a:pt x="1385" y="55"/>
                  </a:lnTo>
                  <a:lnTo>
                    <a:pt x="1393" y="59"/>
                  </a:lnTo>
                  <a:lnTo>
                    <a:pt x="1400" y="67"/>
                  </a:lnTo>
                  <a:lnTo>
                    <a:pt x="1406" y="75"/>
                  </a:lnTo>
                  <a:lnTo>
                    <a:pt x="1412" y="84"/>
                  </a:lnTo>
                  <a:lnTo>
                    <a:pt x="1417" y="94"/>
                  </a:lnTo>
                  <a:lnTo>
                    <a:pt x="1423" y="99"/>
                  </a:lnTo>
                  <a:lnTo>
                    <a:pt x="1431" y="105"/>
                  </a:lnTo>
                  <a:lnTo>
                    <a:pt x="1431" y="105"/>
                  </a:lnTo>
                  <a:lnTo>
                    <a:pt x="1435" y="105"/>
                  </a:lnTo>
                  <a:lnTo>
                    <a:pt x="1438" y="105"/>
                  </a:lnTo>
                  <a:lnTo>
                    <a:pt x="1442" y="107"/>
                  </a:lnTo>
                  <a:lnTo>
                    <a:pt x="1444" y="107"/>
                  </a:lnTo>
                  <a:lnTo>
                    <a:pt x="1448" y="107"/>
                  </a:lnTo>
                  <a:lnTo>
                    <a:pt x="1450" y="107"/>
                  </a:lnTo>
                  <a:lnTo>
                    <a:pt x="1454" y="109"/>
                  </a:lnTo>
                  <a:lnTo>
                    <a:pt x="1456" y="111"/>
                  </a:lnTo>
                  <a:lnTo>
                    <a:pt x="1456" y="111"/>
                  </a:lnTo>
                  <a:lnTo>
                    <a:pt x="1456" y="115"/>
                  </a:lnTo>
                  <a:lnTo>
                    <a:pt x="1456" y="117"/>
                  </a:lnTo>
                  <a:lnTo>
                    <a:pt x="1456" y="120"/>
                  </a:lnTo>
                  <a:lnTo>
                    <a:pt x="1456" y="124"/>
                  </a:lnTo>
                  <a:lnTo>
                    <a:pt x="1457" y="128"/>
                  </a:lnTo>
                  <a:lnTo>
                    <a:pt x="1459" y="132"/>
                  </a:lnTo>
                  <a:lnTo>
                    <a:pt x="1461" y="134"/>
                  </a:lnTo>
                  <a:lnTo>
                    <a:pt x="1467" y="136"/>
                  </a:lnTo>
                  <a:lnTo>
                    <a:pt x="1469" y="134"/>
                  </a:lnTo>
                  <a:lnTo>
                    <a:pt x="1469" y="134"/>
                  </a:lnTo>
                  <a:lnTo>
                    <a:pt x="1471" y="139"/>
                  </a:lnTo>
                  <a:lnTo>
                    <a:pt x="1471" y="143"/>
                  </a:lnTo>
                  <a:lnTo>
                    <a:pt x="1471" y="147"/>
                  </a:lnTo>
                  <a:lnTo>
                    <a:pt x="1471" y="151"/>
                  </a:lnTo>
                  <a:lnTo>
                    <a:pt x="1471" y="157"/>
                  </a:lnTo>
                  <a:lnTo>
                    <a:pt x="1469" y="160"/>
                  </a:lnTo>
                  <a:lnTo>
                    <a:pt x="1469" y="166"/>
                  </a:lnTo>
                  <a:lnTo>
                    <a:pt x="1469" y="172"/>
                  </a:lnTo>
                  <a:lnTo>
                    <a:pt x="1469" y="172"/>
                  </a:lnTo>
                  <a:lnTo>
                    <a:pt x="1469" y="176"/>
                  </a:lnTo>
                  <a:lnTo>
                    <a:pt x="1469" y="179"/>
                  </a:lnTo>
                  <a:lnTo>
                    <a:pt x="1469" y="181"/>
                  </a:lnTo>
                  <a:lnTo>
                    <a:pt x="1471" y="183"/>
                  </a:lnTo>
                  <a:lnTo>
                    <a:pt x="1471" y="185"/>
                  </a:lnTo>
                  <a:lnTo>
                    <a:pt x="1473" y="187"/>
                  </a:lnTo>
                  <a:lnTo>
                    <a:pt x="1473" y="191"/>
                  </a:lnTo>
                  <a:lnTo>
                    <a:pt x="1473" y="195"/>
                  </a:lnTo>
                  <a:lnTo>
                    <a:pt x="1473" y="195"/>
                  </a:lnTo>
                  <a:lnTo>
                    <a:pt x="1473" y="199"/>
                  </a:lnTo>
                  <a:lnTo>
                    <a:pt x="1471" y="200"/>
                  </a:lnTo>
                  <a:lnTo>
                    <a:pt x="1471" y="202"/>
                  </a:lnTo>
                  <a:lnTo>
                    <a:pt x="1469" y="204"/>
                  </a:lnTo>
                  <a:lnTo>
                    <a:pt x="1467" y="208"/>
                  </a:lnTo>
                  <a:lnTo>
                    <a:pt x="1465" y="210"/>
                  </a:lnTo>
                  <a:lnTo>
                    <a:pt x="1465" y="214"/>
                  </a:lnTo>
                  <a:lnTo>
                    <a:pt x="1465" y="220"/>
                  </a:lnTo>
                  <a:lnTo>
                    <a:pt x="1465" y="220"/>
                  </a:lnTo>
                  <a:lnTo>
                    <a:pt x="1467" y="225"/>
                  </a:lnTo>
                  <a:lnTo>
                    <a:pt x="1471" y="229"/>
                  </a:lnTo>
                  <a:lnTo>
                    <a:pt x="1477" y="231"/>
                  </a:lnTo>
                  <a:lnTo>
                    <a:pt x="1482" y="233"/>
                  </a:lnTo>
                  <a:lnTo>
                    <a:pt x="1490" y="235"/>
                  </a:lnTo>
                  <a:lnTo>
                    <a:pt x="1496" y="239"/>
                  </a:lnTo>
                  <a:lnTo>
                    <a:pt x="1499" y="242"/>
                  </a:lnTo>
                  <a:lnTo>
                    <a:pt x="1499" y="248"/>
                  </a:lnTo>
                  <a:lnTo>
                    <a:pt x="1499" y="248"/>
                  </a:lnTo>
                  <a:lnTo>
                    <a:pt x="1499" y="254"/>
                  </a:lnTo>
                  <a:lnTo>
                    <a:pt x="1498" y="260"/>
                  </a:lnTo>
                  <a:lnTo>
                    <a:pt x="1494" y="263"/>
                  </a:lnTo>
                  <a:lnTo>
                    <a:pt x="1490" y="269"/>
                  </a:lnTo>
                  <a:lnTo>
                    <a:pt x="1486" y="273"/>
                  </a:lnTo>
                  <a:lnTo>
                    <a:pt x="1480" y="277"/>
                  </a:lnTo>
                  <a:lnTo>
                    <a:pt x="1475" y="281"/>
                  </a:lnTo>
                  <a:lnTo>
                    <a:pt x="1471" y="284"/>
                  </a:lnTo>
                  <a:lnTo>
                    <a:pt x="1471" y="284"/>
                  </a:lnTo>
                  <a:lnTo>
                    <a:pt x="1463" y="292"/>
                  </a:lnTo>
                  <a:lnTo>
                    <a:pt x="1457" y="298"/>
                  </a:lnTo>
                  <a:lnTo>
                    <a:pt x="1450" y="305"/>
                  </a:lnTo>
                  <a:lnTo>
                    <a:pt x="1444" y="313"/>
                  </a:lnTo>
                  <a:lnTo>
                    <a:pt x="1436" y="319"/>
                  </a:lnTo>
                  <a:lnTo>
                    <a:pt x="1431" y="326"/>
                  </a:lnTo>
                  <a:lnTo>
                    <a:pt x="1423" y="334"/>
                  </a:lnTo>
                  <a:lnTo>
                    <a:pt x="1415" y="340"/>
                  </a:lnTo>
                  <a:lnTo>
                    <a:pt x="1415" y="340"/>
                  </a:lnTo>
                  <a:lnTo>
                    <a:pt x="1414" y="342"/>
                  </a:lnTo>
                  <a:lnTo>
                    <a:pt x="1412" y="345"/>
                  </a:lnTo>
                  <a:lnTo>
                    <a:pt x="1408" y="347"/>
                  </a:lnTo>
                  <a:lnTo>
                    <a:pt x="1406" y="349"/>
                  </a:lnTo>
                  <a:lnTo>
                    <a:pt x="1404" y="351"/>
                  </a:lnTo>
                  <a:lnTo>
                    <a:pt x="1402" y="355"/>
                  </a:lnTo>
                  <a:lnTo>
                    <a:pt x="1400" y="359"/>
                  </a:lnTo>
                  <a:lnTo>
                    <a:pt x="1400" y="361"/>
                  </a:lnTo>
                  <a:lnTo>
                    <a:pt x="1400" y="361"/>
                  </a:lnTo>
                  <a:lnTo>
                    <a:pt x="1400" y="370"/>
                  </a:lnTo>
                  <a:lnTo>
                    <a:pt x="1398" y="378"/>
                  </a:lnTo>
                  <a:lnTo>
                    <a:pt x="1398" y="387"/>
                  </a:lnTo>
                  <a:lnTo>
                    <a:pt x="1396" y="395"/>
                  </a:lnTo>
                  <a:lnTo>
                    <a:pt x="1394" y="405"/>
                  </a:lnTo>
                  <a:lnTo>
                    <a:pt x="1393" y="412"/>
                  </a:lnTo>
                  <a:lnTo>
                    <a:pt x="1391" y="422"/>
                  </a:lnTo>
                  <a:lnTo>
                    <a:pt x="1389" y="431"/>
                  </a:lnTo>
                  <a:lnTo>
                    <a:pt x="1385" y="441"/>
                  </a:lnTo>
                  <a:lnTo>
                    <a:pt x="1383" y="450"/>
                  </a:lnTo>
                  <a:lnTo>
                    <a:pt x="1381" y="460"/>
                  </a:lnTo>
                  <a:lnTo>
                    <a:pt x="1379" y="469"/>
                  </a:lnTo>
                  <a:lnTo>
                    <a:pt x="1377" y="479"/>
                  </a:lnTo>
                  <a:lnTo>
                    <a:pt x="1377" y="490"/>
                  </a:lnTo>
                  <a:lnTo>
                    <a:pt x="1377" y="502"/>
                  </a:lnTo>
                  <a:lnTo>
                    <a:pt x="1375" y="513"/>
                  </a:lnTo>
                  <a:lnTo>
                    <a:pt x="1375" y="513"/>
                  </a:lnTo>
                  <a:lnTo>
                    <a:pt x="1375" y="515"/>
                  </a:lnTo>
                  <a:lnTo>
                    <a:pt x="1375" y="519"/>
                  </a:lnTo>
                  <a:lnTo>
                    <a:pt x="1375" y="521"/>
                  </a:lnTo>
                  <a:lnTo>
                    <a:pt x="1375" y="525"/>
                  </a:lnTo>
                  <a:lnTo>
                    <a:pt x="1377" y="527"/>
                  </a:lnTo>
                  <a:lnTo>
                    <a:pt x="1377" y="530"/>
                  </a:lnTo>
                  <a:lnTo>
                    <a:pt x="1377" y="532"/>
                  </a:lnTo>
                  <a:lnTo>
                    <a:pt x="1377" y="536"/>
                  </a:lnTo>
                  <a:lnTo>
                    <a:pt x="1377" y="536"/>
                  </a:lnTo>
                  <a:lnTo>
                    <a:pt x="1372" y="540"/>
                  </a:lnTo>
                  <a:lnTo>
                    <a:pt x="1366" y="544"/>
                  </a:lnTo>
                  <a:lnTo>
                    <a:pt x="1360" y="548"/>
                  </a:lnTo>
                  <a:lnTo>
                    <a:pt x="1356" y="553"/>
                  </a:lnTo>
                  <a:lnTo>
                    <a:pt x="1353" y="559"/>
                  </a:lnTo>
                  <a:lnTo>
                    <a:pt x="1349" y="563"/>
                  </a:lnTo>
                  <a:lnTo>
                    <a:pt x="1347" y="569"/>
                  </a:lnTo>
                  <a:lnTo>
                    <a:pt x="1347" y="574"/>
                  </a:lnTo>
                  <a:lnTo>
                    <a:pt x="1347" y="574"/>
                  </a:lnTo>
                  <a:lnTo>
                    <a:pt x="1347" y="578"/>
                  </a:lnTo>
                  <a:lnTo>
                    <a:pt x="1347" y="580"/>
                  </a:lnTo>
                  <a:lnTo>
                    <a:pt x="1349" y="584"/>
                  </a:lnTo>
                  <a:lnTo>
                    <a:pt x="1349" y="588"/>
                  </a:lnTo>
                  <a:lnTo>
                    <a:pt x="1349" y="590"/>
                  </a:lnTo>
                  <a:lnTo>
                    <a:pt x="1349" y="593"/>
                  </a:lnTo>
                  <a:lnTo>
                    <a:pt x="1347" y="595"/>
                  </a:lnTo>
                  <a:lnTo>
                    <a:pt x="1345" y="597"/>
                  </a:lnTo>
                  <a:lnTo>
                    <a:pt x="1345" y="597"/>
                  </a:lnTo>
                  <a:lnTo>
                    <a:pt x="1341" y="599"/>
                  </a:lnTo>
                  <a:lnTo>
                    <a:pt x="1337" y="601"/>
                  </a:lnTo>
                  <a:lnTo>
                    <a:pt x="1333" y="603"/>
                  </a:lnTo>
                  <a:lnTo>
                    <a:pt x="1330" y="605"/>
                  </a:lnTo>
                  <a:lnTo>
                    <a:pt x="1328" y="609"/>
                  </a:lnTo>
                  <a:lnTo>
                    <a:pt x="1326" y="613"/>
                  </a:lnTo>
                  <a:lnTo>
                    <a:pt x="1324" y="618"/>
                  </a:lnTo>
                  <a:lnTo>
                    <a:pt x="1322" y="624"/>
                  </a:lnTo>
                  <a:lnTo>
                    <a:pt x="1322" y="624"/>
                  </a:lnTo>
                  <a:lnTo>
                    <a:pt x="1324" y="628"/>
                  </a:lnTo>
                  <a:lnTo>
                    <a:pt x="1324" y="630"/>
                  </a:lnTo>
                  <a:lnTo>
                    <a:pt x="1326" y="634"/>
                  </a:lnTo>
                  <a:lnTo>
                    <a:pt x="1326" y="635"/>
                  </a:lnTo>
                  <a:lnTo>
                    <a:pt x="1328" y="637"/>
                  </a:lnTo>
                  <a:lnTo>
                    <a:pt x="1330" y="641"/>
                  </a:lnTo>
                  <a:lnTo>
                    <a:pt x="1332" y="643"/>
                  </a:lnTo>
                  <a:lnTo>
                    <a:pt x="1333" y="645"/>
                  </a:lnTo>
                  <a:lnTo>
                    <a:pt x="1333" y="645"/>
                  </a:lnTo>
                  <a:lnTo>
                    <a:pt x="1333" y="649"/>
                  </a:lnTo>
                  <a:lnTo>
                    <a:pt x="1335" y="653"/>
                  </a:lnTo>
                  <a:lnTo>
                    <a:pt x="1337" y="656"/>
                  </a:lnTo>
                  <a:lnTo>
                    <a:pt x="1341" y="658"/>
                  </a:lnTo>
                  <a:lnTo>
                    <a:pt x="1343" y="662"/>
                  </a:lnTo>
                  <a:lnTo>
                    <a:pt x="1345" y="666"/>
                  </a:lnTo>
                  <a:lnTo>
                    <a:pt x="1347" y="668"/>
                  </a:lnTo>
                  <a:lnTo>
                    <a:pt x="1349" y="672"/>
                  </a:lnTo>
                  <a:lnTo>
                    <a:pt x="1349" y="672"/>
                  </a:lnTo>
                  <a:lnTo>
                    <a:pt x="1351" y="677"/>
                  </a:lnTo>
                  <a:lnTo>
                    <a:pt x="1351" y="683"/>
                  </a:lnTo>
                  <a:lnTo>
                    <a:pt x="1351" y="687"/>
                  </a:lnTo>
                  <a:lnTo>
                    <a:pt x="1351" y="693"/>
                  </a:lnTo>
                  <a:lnTo>
                    <a:pt x="1351" y="696"/>
                  </a:lnTo>
                  <a:lnTo>
                    <a:pt x="1351" y="702"/>
                  </a:lnTo>
                  <a:lnTo>
                    <a:pt x="1351" y="708"/>
                  </a:lnTo>
                  <a:lnTo>
                    <a:pt x="1351" y="712"/>
                  </a:lnTo>
                  <a:lnTo>
                    <a:pt x="1351" y="712"/>
                  </a:lnTo>
                  <a:lnTo>
                    <a:pt x="1351" y="714"/>
                  </a:lnTo>
                  <a:lnTo>
                    <a:pt x="1351" y="716"/>
                  </a:lnTo>
                  <a:lnTo>
                    <a:pt x="1351" y="717"/>
                  </a:lnTo>
                  <a:lnTo>
                    <a:pt x="1351" y="719"/>
                  </a:lnTo>
                  <a:lnTo>
                    <a:pt x="1351" y="721"/>
                  </a:lnTo>
                  <a:lnTo>
                    <a:pt x="1351" y="723"/>
                  </a:lnTo>
                  <a:lnTo>
                    <a:pt x="1351" y="725"/>
                  </a:lnTo>
                  <a:lnTo>
                    <a:pt x="1351" y="725"/>
                  </a:lnTo>
                  <a:lnTo>
                    <a:pt x="1351" y="725"/>
                  </a:lnTo>
                  <a:lnTo>
                    <a:pt x="1351" y="727"/>
                  </a:lnTo>
                  <a:lnTo>
                    <a:pt x="1353" y="729"/>
                  </a:lnTo>
                  <a:lnTo>
                    <a:pt x="1353" y="731"/>
                  </a:lnTo>
                  <a:lnTo>
                    <a:pt x="1353" y="733"/>
                  </a:lnTo>
                  <a:lnTo>
                    <a:pt x="1353" y="733"/>
                  </a:lnTo>
                  <a:lnTo>
                    <a:pt x="1351" y="733"/>
                  </a:lnTo>
                  <a:lnTo>
                    <a:pt x="1349" y="733"/>
                  </a:lnTo>
                  <a:lnTo>
                    <a:pt x="1347" y="731"/>
                  </a:lnTo>
                  <a:lnTo>
                    <a:pt x="1345" y="731"/>
                  </a:lnTo>
                  <a:lnTo>
                    <a:pt x="1345" y="731"/>
                  </a:lnTo>
                  <a:lnTo>
                    <a:pt x="1345" y="733"/>
                  </a:lnTo>
                  <a:lnTo>
                    <a:pt x="1345" y="735"/>
                  </a:lnTo>
                  <a:lnTo>
                    <a:pt x="1345" y="735"/>
                  </a:lnTo>
                  <a:lnTo>
                    <a:pt x="1345" y="737"/>
                  </a:lnTo>
                  <a:lnTo>
                    <a:pt x="1345" y="738"/>
                  </a:lnTo>
                  <a:lnTo>
                    <a:pt x="1345" y="740"/>
                  </a:lnTo>
                  <a:lnTo>
                    <a:pt x="1345" y="742"/>
                  </a:lnTo>
                  <a:lnTo>
                    <a:pt x="1345" y="744"/>
                  </a:lnTo>
                  <a:lnTo>
                    <a:pt x="1345" y="744"/>
                  </a:lnTo>
                  <a:lnTo>
                    <a:pt x="1345" y="748"/>
                  </a:lnTo>
                  <a:lnTo>
                    <a:pt x="1345" y="752"/>
                  </a:lnTo>
                  <a:lnTo>
                    <a:pt x="1347" y="756"/>
                  </a:lnTo>
                  <a:lnTo>
                    <a:pt x="1347" y="759"/>
                  </a:lnTo>
                  <a:lnTo>
                    <a:pt x="1349" y="761"/>
                  </a:lnTo>
                  <a:lnTo>
                    <a:pt x="1349" y="765"/>
                  </a:lnTo>
                  <a:lnTo>
                    <a:pt x="1351" y="771"/>
                  </a:lnTo>
                  <a:lnTo>
                    <a:pt x="1351" y="775"/>
                  </a:lnTo>
                  <a:lnTo>
                    <a:pt x="1351" y="775"/>
                  </a:lnTo>
                  <a:lnTo>
                    <a:pt x="1351" y="780"/>
                  </a:lnTo>
                  <a:lnTo>
                    <a:pt x="1349" y="784"/>
                  </a:lnTo>
                  <a:lnTo>
                    <a:pt x="1349" y="790"/>
                  </a:lnTo>
                  <a:lnTo>
                    <a:pt x="1347" y="794"/>
                  </a:lnTo>
                  <a:lnTo>
                    <a:pt x="1347" y="798"/>
                  </a:lnTo>
                  <a:lnTo>
                    <a:pt x="1345" y="803"/>
                  </a:lnTo>
                  <a:lnTo>
                    <a:pt x="1345" y="809"/>
                  </a:lnTo>
                  <a:lnTo>
                    <a:pt x="1345" y="815"/>
                  </a:lnTo>
                  <a:lnTo>
                    <a:pt x="1345" y="815"/>
                  </a:lnTo>
                  <a:lnTo>
                    <a:pt x="1345" y="820"/>
                  </a:lnTo>
                  <a:lnTo>
                    <a:pt x="1345" y="824"/>
                  </a:lnTo>
                  <a:lnTo>
                    <a:pt x="1345" y="830"/>
                  </a:lnTo>
                  <a:lnTo>
                    <a:pt x="1347" y="834"/>
                  </a:lnTo>
                  <a:lnTo>
                    <a:pt x="1347" y="840"/>
                  </a:lnTo>
                  <a:lnTo>
                    <a:pt x="1349" y="843"/>
                  </a:lnTo>
                  <a:lnTo>
                    <a:pt x="1351" y="847"/>
                  </a:lnTo>
                  <a:lnTo>
                    <a:pt x="1351" y="851"/>
                  </a:lnTo>
                  <a:lnTo>
                    <a:pt x="1353" y="855"/>
                  </a:lnTo>
                  <a:lnTo>
                    <a:pt x="1354" y="859"/>
                  </a:lnTo>
                  <a:lnTo>
                    <a:pt x="1354" y="862"/>
                  </a:lnTo>
                  <a:lnTo>
                    <a:pt x="1356" y="866"/>
                  </a:lnTo>
                  <a:lnTo>
                    <a:pt x="1356" y="870"/>
                  </a:lnTo>
                  <a:lnTo>
                    <a:pt x="1358" y="874"/>
                  </a:lnTo>
                  <a:lnTo>
                    <a:pt x="1358" y="878"/>
                  </a:lnTo>
                  <a:lnTo>
                    <a:pt x="1358" y="880"/>
                  </a:lnTo>
                  <a:lnTo>
                    <a:pt x="1358" y="880"/>
                  </a:lnTo>
                  <a:lnTo>
                    <a:pt x="1358" y="883"/>
                  </a:lnTo>
                  <a:lnTo>
                    <a:pt x="1358" y="885"/>
                  </a:lnTo>
                  <a:lnTo>
                    <a:pt x="1358" y="887"/>
                  </a:lnTo>
                  <a:lnTo>
                    <a:pt x="1358" y="889"/>
                  </a:lnTo>
                  <a:lnTo>
                    <a:pt x="1358" y="893"/>
                  </a:lnTo>
                  <a:lnTo>
                    <a:pt x="1358" y="897"/>
                  </a:lnTo>
                  <a:lnTo>
                    <a:pt x="1358" y="901"/>
                  </a:lnTo>
                  <a:lnTo>
                    <a:pt x="1358" y="904"/>
                  </a:lnTo>
                  <a:lnTo>
                    <a:pt x="1358" y="904"/>
                  </a:lnTo>
                  <a:lnTo>
                    <a:pt x="1358" y="910"/>
                  </a:lnTo>
                  <a:lnTo>
                    <a:pt x="1360" y="914"/>
                  </a:lnTo>
                  <a:lnTo>
                    <a:pt x="1360" y="918"/>
                  </a:lnTo>
                  <a:lnTo>
                    <a:pt x="1362" y="923"/>
                  </a:lnTo>
                  <a:lnTo>
                    <a:pt x="1362" y="929"/>
                  </a:lnTo>
                  <a:lnTo>
                    <a:pt x="1364" y="933"/>
                  </a:lnTo>
                  <a:lnTo>
                    <a:pt x="1366" y="939"/>
                  </a:lnTo>
                  <a:lnTo>
                    <a:pt x="1370" y="944"/>
                  </a:lnTo>
                  <a:lnTo>
                    <a:pt x="1372" y="948"/>
                  </a:lnTo>
                  <a:lnTo>
                    <a:pt x="1374" y="954"/>
                  </a:lnTo>
                  <a:lnTo>
                    <a:pt x="1375" y="958"/>
                  </a:lnTo>
                  <a:lnTo>
                    <a:pt x="1377" y="964"/>
                  </a:lnTo>
                  <a:lnTo>
                    <a:pt x="1381" y="967"/>
                  </a:lnTo>
                  <a:lnTo>
                    <a:pt x="1383" y="971"/>
                  </a:lnTo>
                  <a:lnTo>
                    <a:pt x="1385" y="973"/>
                  </a:lnTo>
                  <a:lnTo>
                    <a:pt x="1387" y="977"/>
                  </a:lnTo>
                  <a:lnTo>
                    <a:pt x="1387" y="977"/>
                  </a:lnTo>
                  <a:lnTo>
                    <a:pt x="1391" y="981"/>
                  </a:lnTo>
                  <a:lnTo>
                    <a:pt x="1396" y="985"/>
                  </a:lnTo>
                  <a:lnTo>
                    <a:pt x="1402" y="988"/>
                  </a:lnTo>
                  <a:lnTo>
                    <a:pt x="1408" y="992"/>
                  </a:lnTo>
                  <a:lnTo>
                    <a:pt x="1414" y="996"/>
                  </a:lnTo>
                  <a:lnTo>
                    <a:pt x="1417" y="1002"/>
                  </a:lnTo>
                  <a:lnTo>
                    <a:pt x="1421" y="1006"/>
                  </a:lnTo>
                  <a:lnTo>
                    <a:pt x="1425" y="1011"/>
                  </a:lnTo>
                  <a:lnTo>
                    <a:pt x="1425" y="1011"/>
                  </a:lnTo>
                  <a:lnTo>
                    <a:pt x="1429" y="1021"/>
                  </a:lnTo>
                  <a:lnTo>
                    <a:pt x="1433" y="1028"/>
                  </a:lnTo>
                  <a:lnTo>
                    <a:pt x="1435" y="1038"/>
                  </a:lnTo>
                  <a:lnTo>
                    <a:pt x="1436" y="1046"/>
                  </a:lnTo>
                  <a:lnTo>
                    <a:pt x="1440" y="1051"/>
                  </a:lnTo>
                  <a:lnTo>
                    <a:pt x="1444" y="1059"/>
                  </a:lnTo>
                  <a:lnTo>
                    <a:pt x="1450" y="1065"/>
                  </a:lnTo>
                  <a:lnTo>
                    <a:pt x="1457" y="1070"/>
                  </a:lnTo>
                  <a:lnTo>
                    <a:pt x="1465" y="1078"/>
                  </a:lnTo>
                  <a:lnTo>
                    <a:pt x="1414" y="1082"/>
                  </a:lnTo>
                  <a:lnTo>
                    <a:pt x="1414" y="1082"/>
                  </a:lnTo>
                  <a:lnTo>
                    <a:pt x="1408" y="1086"/>
                  </a:lnTo>
                  <a:lnTo>
                    <a:pt x="1402" y="1086"/>
                  </a:lnTo>
                  <a:lnTo>
                    <a:pt x="1396" y="1088"/>
                  </a:lnTo>
                  <a:lnTo>
                    <a:pt x="1391" y="1088"/>
                  </a:lnTo>
                  <a:lnTo>
                    <a:pt x="1387" y="1088"/>
                  </a:lnTo>
                  <a:lnTo>
                    <a:pt x="1381" y="1089"/>
                  </a:lnTo>
                  <a:lnTo>
                    <a:pt x="1375" y="1089"/>
                  </a:lnTo>
                  <a:lnTo>
                    <a:pt x="1370" y="1089"/>
                  </a:lnTo>
                  <a:lnTo>
                    <a:pt x="1366" y="1089"/>
                  </a:lnTo>
                  <a:lnTo>
                    <a:pt x="1360" y="1089"/>
                  </a:lnTo>
                  <a:lnTo>
                    <a:pt x="1354" y="1091"/>
                  </a:lnTo>
                  <a:lnTo>
                    <a:pt x="1351" y="1091"/>
                  </a:lnTo>
                  <a:lnTo>
                    <a:pt x="1345" y="1093"/>
                  </a:lnTo>
                  <a:lnTo>
                    <a:pt x="1339" y="1095"/>
                  </a:lnTo>
                  <a:lnTo>
                    <a:pt x="1333" y="1097"/>
                  </a:lnTo>
                  <a:lnTo>
                    <a:pt x="1328" y="1101"/>
                  </a:lnTo>
                  <a:lnTo>
                    <a:pt x="1328" y="1101"/>
                  </a:lnTo>
                  <a:lnTo>
                    <a:pt x="1322" y="1105"/>
                  </a:lnTo>
                  <a:lnTo>
                    <a:pt x="1320" y="1109"/>
                  </a:lnTo>
                  <a:lnTo>
                    <a:pt x="1318" y="1114"/>
                  </a:lnTo>
                  <a:lnTo>
                    <a:pt x="1316" y="1120"/>
                  </a:lnTo>
                  <a:lnTo>
                    <a:pt x="1316" y="1126"/>
                  </a:lnTo>
                  <a:lnTo>
                    <a:pt x="1314" y="1131"/>
                  </a:lnTo>
                  <a:lnTo>
                    <a:pt x="1312" y="1135"/>
                  </a:lnTo>
                  <a:lnTo>
                    <a:pt x="1307" y="1141"/>
                  </a:lnTo>
                  <a:lnTo>
                    <a:pt x="1307" y="1141"/>
                  </a:lnTo>
                  <a:lnTo>
                    <a:pt x="1305" y="1143"/>
                  </a:lnTo>
                  <a:lnTo>
                    <a:pt x="1301" y="1145"/>
                  </a:lnTo>
                  <a:lnTo>
                    <a:pt x="1297" y="1149"/>
                  </a:lnTo>
                  <a:lnTo>
                    <a:pt x="1291" y="1151"/>
                  </a:lnTo>
                  <a:lnTo>
                    <a:pt x="1288" y="1154"/>
                  </a:lnTo>
                  <a:lnTo>
                    <a:pt x="1284" y="1158"/>
                  </a:lnTo>
                  <a:lnTo>
                    <a:pt x="1282" y="1164"/>
                  </a:lnTo>
                  <a:lnTo>
                    <a:pt x="1280" y="1170"/>
                  </a:lnTo>
                  <a:lnTo>
                    <a:pt x="1280" y="1170"/>
                  </a:lnTo>
                  <a:lnTo>
                    <a:pt x="1280" y="1173"/>
                  </a:lnTo>
                  <a:lnTo>
                    <a:pt x="1282" y="1175"/>
                  </a:lnTo>
                  <a:lnTo>
                    <a:pt x="1284" y="1179"/>
                  </a:lnTo>
                  <a:lnTo>
                    <a:pt x="1286" y="1181"/>
                  </a:lnTo>
                  <a:lnTo>
                    <a:pt x="1288" y="1185"/>
                  </a:lnTo>
                  <a:lnTo>
                    <a:pt x="1290" y="1187"/>
                  </a:lnTo>
                  <a:lnTo>
                    <a:pt x="1291" y="1191"/>
                  </a:lnTo>
                  <a:lnTo>
                    <a:pt x="1291" y="1194"/>
                  </a:lnTo>
                  <a:lnTo>
                    <a:pt x="1291" y="1194"/>
                  </a:lnTo>
                  <a:lnTo>
                    <a:pt x="1291" y="1198"/>
                  </a:lnTo>
                  <a:lnTo>
                    <a:pt x="1291" y="1202"/>
                  </a:lnTo>
                  <a:lnTo>
                    <a:pt x="1291" y="1208"/>
                  </a:lnTo>
                  <a:lnTo>
                    <a:pt x="1291" y="1213"/>
                  </a:lnTo>
                  <a:lnTo>
                    <a:pt x="1291" y="1217"/>
                  </a:lnTo>
                  <a:lnTo>
                    <a:pt x="1291" y="1223"/>
                  </a:lnTo>
                  <a:lnTo>
                    <a:pt x="1291" y="1231"/>
                  </a:lnTo>
                  <a:lnTo>
                    <a:pt x="1291" y="1236"/>
                  </a:lnTo>
                  <a:lnTo>
                    <a:pt x="1291" y="1244"/>
                  </a:lnTo>
                  <a:lnTo>
                    <a:pt x="1291" y="1250"/>
                  </a:lnTo>
                  <a:lnTo>
                    <a:pt x="1291" y="1257"/>
                  </a:lnTo>
                  <a:lnTo>
                    <a:pt x="1291" y="1263"/>
                  </a:lnTo>
                  <a:lnTo>
                    <a:pt x="1291" y="1271"/>
                  </a:lnTo>
                  <a:lnTo>
                    <a:pt x="1291" y="1278"/>
                  </a:lnTo>
                  <a:lnTo>
                    <a:pt x="1291" y="1286"/>
                  </a:lnTo>
                  <a:lnTo>
                    <a:pt x="1291" y="1294"/>
                  </a:lnTo>
                  <a:lnTo>
                    <a:pt x="1291" y="1294"/>
                  </a:lnTo>
                  <a:lnTo>
                    <a:pt x="1290" y="1297"/>
                  </a:lnTo>
                  <a:lnTo>
                    <a:pt x="1286" y="1301"/>
                  </a:lnTo>
                  <a:lnTo>
                    <a:pt x="1282" y="1305"/>
                  </a:lnTo>
                  <a:lnTo>
                    <a:pt x="1280" y="1309"/>
                  </a:lnTo>
                  <a:lnTo>
                    <a:pt x="1278" y="1315"/>
                  </a:lnTo>
                  <a:lnTo>
                    <a:pt x="1276" y="1320"/>
                  </a:lnTo>
                  <a:lnTo>
                    <a:pt x="1274" y="1328"/>
                  </a:lnTo>
                  <a:lnTo>
                    <a:pt x="1274" y="1334"/>
                  </a:lnTo>
                  <a:lnTo>
                    <a:pt x="1274" y="1334"/>
                  </a:lnTo>
                  <a:lnTo>
                    <a:pt x="1274" y="1341"/>
                  </a:lnTo>
                  <a:lnTo>
                    <a:pt x="1276" y="1347"/>
                  </a:lnTo>
                  <a:lnTo>
                    <a:pt x="1278" y="1353"/>
                  </a:lnTo>
                  <a:lnTo>
                    <a:pt x="1280" y="1360"/>
                  </a:lnTo>
                  <a:lnTo>
                    <a:pt x="1284" y="1366"/>
                  </a:lnTo>
                  <a:lnTo>
                    <a:pt x="1288" y="1372"/>
                  </a:lnTo>
                  <a:lnTo>
                    <a:pt x="1291" y="1378"/>
                  </a:lnTo>
                  <a:lnTo>
                    <a:pt x="1295" y="1385"/>
                  </a:lnTo>
                  <a:lnTo>
                    <a:pt x="1301" y="1391"/>
                  </a:lnTo>
                  <a:lnTo>
                    <a:pt x="1307" y="1395"/>
                  </a:lnTo>
                  <a:lnTo>
                    <a:pt x="1311" y="1400"/>
                  </a:lnTo>
                  <a:lnTo>
                    <a:pt x="1316" y="1404"/>
                  </a:lnTo>
                  <a:lnTo>
                    <a:pt x="1322" y="1410"/>
                  </a:lnTo>
                  <a:lnTo>
                    <a:pt x="1328" y="1414"/>
                  </a:lnTo>
                  <a:lnTo>
                    <a:pt x="1332" y="1416"/>
                  </a:lnTo>
                  <a:lnTo>
                    <a:pt x="1337" y="1419"/>
                  </a:lnTo>
                  <a:lnTo>
                    <a:pt x="1360" y="1419"/>
                  </a:lnTo>
                  <a:lnTo>
                    <a:pt x="1360" y="1419"/>
                  </a:lnTo>
                  <a:lnTo>
                    <a:pt x="1362" y="1416"/>
                  </a:lnTo>
                  <a:lnTo>
                    <a:pt x="1364" y="1412"/>
                  </a:lnTo>
                  <a:lnTo>
                    <a:pt x="1366" y="1410"/>
                  </a:lnTo>
                  <a:lnTo>
                    <a:pt x="1370" y="1406"/>
                  </a:lnTo>
                  <a:lnTo>
                    <a:pt x="1372" y="1404"/>
                  </a:lnTo>
                  <a:lnTo>
                    <a:pt x="1375" y="1402"/>
                  </a:lnTo>
                  <a:lnTo>
                    <a:pt x="1379" y="1400"/>
                  </a:lnTo>
                  <a:lnTo>
                    <a:pt x="1385" y="1399"/>
                  </a:lnTo>
                  <a:lnTo>
                    <a:pt x="1385" y="1484"/>
                  </a:lnTo>
                  <a:lnTo>
                    <a:pt x="1385" y="1484"/>
                  </a:lnTo>
                  <a:lnTo>
                    <a:pt x="1381" y="1484"/>
                  </a:lnTo>
                  <a:lnTo>
                    <a:pt x="1377" y="1484"/>
                  </a:lnTo>
                  <a:lnTo>
                    <a:pt x="1374" y="1484"/>
                  </a:lnTo>
                  <a:lnTo>
                    <a:pt x="1370" y="1484"/>
                  </a:lnTo>
                  <a:lnTo>
                    <a:pt x="1368" y="1484"/>
                  </a:lnTo>
                  <a:lnTo>
                    <a:pt x="1364" y="1484"/>
                  </a:lnTo>
                  <a:lnTo>
                    <a:pt x="1360" y="1484"/>
                  </a:lnTo>
                  <a:lnTo>
                    <a:pt x="1354" y="1484"/>
                  </a:lnTo>
                  <a:lnTo>
                    <a:pt x="1354" y="1484"/>
                  </a:lnTo>
                  <a:lnTo>
                    <a:pt x="1351" y="1484"/>
                  </a:lnTo>
                  <a:lnTo>
                    <a:pt x="1347" y="1486"/>
                  </a:lnTo>
                  <a:lnTo>
                    <a:pt x="1345" y="1486"/>
                  </a:lnTo>
                  <a:lnTo>
                    <a:pt x="1341" y="1488"/>
                  </a:lnTo>
                  <a:lnTo>
                    <a:pt x="1337" y="1490"/>
                  </a:lnTo>
                  <a:lnTo>
                    <a:pt x="1335" y="1492"/>
                  </a:lnTo>
                  <a:lnTo>
                    <a:pt x="1332" y="1494"/>
                  </a:lnTo>
                  <a:lnTo>
                    <a:pt x="1328" y="1494"/>
                  </a:lnTo>
                  <a:lnTo>
                    <a:pt x="1328" y="1494"/>
                  </a:lnTo>
                  <a:lnTo>
                    <a:pt x="1324" y="1494"/>
                  </a:lnTo>
                  <a:lnTo>
                    <a:pt x="1320" y="1492"/>
                  </a:lnTo>
                  <a:lnTo>
                    <a:pt x="1316" y="1488"/>
                  </a:lnTo>
                  <a:lnTo>
                    <a:pt x="1312" y="1484"/>
                  </a:lnTo>
                  <a:lnTo>
                    <a:pt x="1309" y="1481"/>
                  </a:lnTo>
                  <a:lnTo>
                    <a:pt x="1307" y="1477"/>
                  </a:lnTo>
                  <a:lnTo>
                    <a:pt x="1303" y="1471"/>
                  </a:lnTo>
                  <a:lnTo>
                    <a:pt x="1299" y="1465"/>
                  </a:lnTo>
                  <a:lnTo>
                    <a:pt x="1295" y="1460"/>
                  </a:lnTo>
                  <a:lnTo>
                    <a:pt x="1293" y="1454"/>
                  </a:lnTo>
                  <a:lnTo>
                    <a:pt x="1290" y="1448"/>
                  </a:lnTo>
                  <a:lnTo>
                    <a:pt x="1288" y="1442"/>
                  </a:lnTo>
                  <a:lnTo>
                    <a:pt x="1284" y="1437"/>
                  </a:lnTo>
                  <a:lnTo>
                    <a:pt x="1280" y="1433"/>
                  </a:lnTo>
                  <a:lnTo>
                    <a:pt x="1278" y="1429"/>
                  </a:lnTo>
                  <a:lnTo>
                    <a:pt x="1274" y="1425"/>
                  </a:lnTo>
                  <a:lnTo>
                    <a:pt x="1274" y="1425"/>
                  </a:lnTo>
                  <a:lnTo>
                    <a:pt x="1267" y="1419"/>
                  </a:lnTo>
                  <a:lnTo>
                    <a:pt x="1261" y="1416"/>
                  </a:lnTo>
                  <a:lnTo>
                    <a:pt x="1253" y="1414"/>
                  </a:lnTo>
                  <a:lnTo>
                    <a:pt x="1244" y="1412"/>
                  </a:lnTo>
                  <a:lnTo>
                    <a:pt x="1236" y="1410"/>
                  </a:lnTo>
                  <a:lnTo>
                    <a:pt x="1229" y="1408"/>
                  </a:lnTo>
                  <a:lnTo>
                    <a:pt x="1219" y="1404"/>
                  </a:lnTo>
                  <a:lnTo>
                    <a:pt x="1209" y="1399"/>
                  </a:lnTo>
                  <a:lnTo>
                    <a:pt x="1209" y="1399"/>
                  </a:lnTo>
                  <a:lnTo>
                    <a:pt x="1204" y="1395"/>
                  </a:lnTo>
                  <a:lnTo>
                    <a:pt x="1200" y="1387"/>
                  </a:lnTo>
                  <a:lnTo>
                    <a:pt x="1196" y="1381"/>
                  </a:lnTo>
                  <a:lnTo>
                    <a:pt x="1192" y="1376"/>
                  </a:lnTo>
                  <a:lnTo>
                    <a:pt x="1188" y="1368"/>
                  </a:lnTo>
                  <a:lnTo>
                    <a:pt x="1185" y="1362"/>
                  </a:lnTo>
                  <a:lnTo>
                    <a:pt x="1179" y="1357"/>
                  </a:lnTo>
                  <a:lnTo>
                    <a:pt x="1171" y="1351"/>
                  </a:lnTo>
                  <a:lnTo>
                    <a:pt x="1171" y="1351"/>
                  </a:lnTo>
                  <a:lnTo>
                    <a:pt x="1169" y="1357"/>
                  </a:lnTo>
                  <a:lnTo>
                    <a:pt x="1166" y="1362"/>
                  </a:lnTo>
                  <a:lnTo>
                    <a:pt x="1164" y="1366"/>
                  </a:lnTo>
                  <a:lnTo>
                    <a:pt x="1160" y="1372"/>
                  </a:lnTo>
                  <a:lnTo>
                    <a:pt x="1154" y="1376"/>
                  </a:lnTo>
                  <a:lnTo>
                    <a:pt x="1150" y="1378"/>
                  </a:lnTo>
                  <a:lnTo>
                    <a:pt x="1143" y="1381"/>
                  </a:lnTo>
                  <a:lnTo>
                    <a:pt x="1137" y="1381"/>
                  </a:lnTo>
                  <a:lnTo>
                    <a:pt x="1137" y="1381"/>
                  </a:lnTo>
                  <a:lnTo>
                    <a:pt x="1127" y="1381"/>
                  </a:lnTo>
                  <a:lnTo>
                    <a:pt x="1120" y="1381"/>
                  </a:lnTo>
                  <a:lnTo>
                    <a:pt x="1110" y="1379"/>
                  </a:lnTo>
                  <a:lnTo>
                    <a:pt x="1101" y="1378"/>
                  </a:lnTo>
                  <a:lnTo>
                    <a:pt x="1093" y="1376"/>
                  </a:lnTo>
                  <a:lnTo>
                    <a:pt x="1084" y="1374"/>
                  </a:lnTo>
                  <a:lnTo>
                    <a:pt x="1074" y="1370"/>
                  </a:lnTo>
                  <a:lnTo>
                    <a:pt x="1066" y="1368"/>
                  </a:lnTo>
                  <a:lnTo>
                    <a:pt x="1059" y="1364"/>
                  </a:lnTo>
                  <a:lnTo>
                    <a:pt x="1051" y="1358"/>
                  </a:lnTo>
                  <a:lnTo>
                    <a:pt x="1045" y="1355"/>
                  </a:lnTo>
                  <a:lnTo>
                    <a:pt x="1040" y="1349"/>
                  </a:lnTo>
                  <a:lnTo>
                    <a:pt x="1036" y="1343"/>
                  </a:lnTo>
                  <a:lnTo>
                    <a:pt x="1034" y="1337"/>
                  </a:lnTo>
                  <a:lnTo>
                    <a:pt x="1030" y="1330"/>
                  </a:lnTo>
                  <a:lnTo>
                    <a:pt x="1030" y="1322"/>
                  </a:lnTo>
                  <a:lnTo>
                    <a:pt x="1030" y="1322"/>
                  </a:lnTo>
                  <a:lnTo>
                    <a:pt x="1026" y="1322"/>
                  </a:lnTo>
                  <a:lnTo>
                    <a:pt x="1024" y="1324"/>
                  </a:lnTo>
                  <a:lnTo>
                    <a:pt x="1023" y="1324"/>
                  </a:lnTo>
                  <a:lnTo>
                    <a:pt x="1021" y="1322"/>
                  </a:lnTo>
                  <a:lnTo>
                    <a:pt x="1019" y="1322"/>
                  </a:lnTo>
                  <a:lnTo>
                    <a:pt x="1015" y="1322"/>
                  </a:lnTo>
                  <a:lnTo>
                    <a:pt x="1013" y="1322"/>
                  </a:lnTo>
                  <a:lnTo>
                    <a:pt x="1009" y="1322"/>
                  </a:lnTo>
                  <a:lnTo>
                    <a:pt x="1009" y="1322"/>
                  </a:lnTo>
                  <a:lnTo>
                    <a:pt x="1002" y="1322"/>
                  </a:lnTo>
                  <a:lnTo>
                    <a:pt x="996" y="1326"/>
                  </a:lnTo>
                  <a:lnTo>
                    <a:pt x="990" y="1328"/>
                  </a:lnTo>
                  <a:lnTo>
                    <a:pt x="984" y="1332"/>
                  </a:lnTo>
                  <a:lnTo>
                    <a:pt x="981" y="1334"/>
                  </a:lnTo>
                  <a:lnTo>
                    <a:pt x="975" y="1337"/>
                  </a:lnTo>
                  <a:lnTo>
                    <a:pt x="971" y="1339"/>
                  </a:lnTo>
                  <a:lnTo>
                    <a:pt x="965" y="1339"/>
                  </a:lnTo>
                  <a:lnTo>
                    <a:pt x="965" y="1339"/>
                  </a:lnTo>
                  <a:lnTo>
                    <a:pt x="960" y="1339"/>
                  </a:lnTo>
                  <a:lnTo>
                    <a:pt x="956" y="1336"/>
                  </a:lnTo>
                  <a:lnTo>
                    <a:pt x="954" y="1330"/>
                  </a:lnTo>
                  <a:lnTo>
                    <a:pt x="954" y="1324"/>
                  </a:lnTo>
                  <a:lnTo>
                    <a:pt x="954" y="1316"/>
                  </a:lnTo>
                  <a:lnTo>
                    <a:pt x="950" y="1313"/>
                  </a:lnTo>
                  <a:lnTo>
                    <a:pt x="942" y="1309"/>
                  </a:lnTo>
                  <a:lnTo>
                    <a:pt x="929" y="1307"/>
                  </a:lnTo>
                  <a:lnTo>
                    <a:pt x="929" y="1307"/>
                  </a:lnTo>
                  <a:lnTo>
                    <a:pt x="925" y="1309"/>
                  </a:lnTo>
                  <a:lnTo>
                    <a:pt x="920" y="1311"/>
                  </a:lnTo>
                  <a:lnTo>
                    <a:pt x="912" y="1311"/>
                  </a:lnTo>
                  <a:lnTo>
                    <a:pt x="906" y="1309"/>
                  </a:lnTo>
                  <a:lnTo>
                    <a:pt x="900" y="1309"/>
                  </a:lnTo>
                  <a:lnTo>
                    <a:pt x="893" y="1309"/>
                  </a:lnTo>
                  <a:lnTo>
                    <a:pt x="885" y="1307"/>
                  </a:lnTo>
                  <a:lnTo>
                    <a:pt x="879" y="1307"/>
                  </a:lnTo>
                  <a:lnTo>
                    <a:pt x="879" y="1307"/>
                  </a:lnTo>
                  <a:lnTo>
                    <a:pt x="876" y="1307"/>
                  </a:lnTo>
                  <a:lnTo>
                    <a:pt x="870" y="1307"/>
                  </a:lnTo>
                  <a:lnTo>
                    <a:pt x="866" y="1309"/>
                  </a:lnTo>
                  <a:lnTo>
                    <a:pt x="860" y="1309"/>
                  </a:lnTo>
                  <a:lnTo>
                    <a:pt x="855" y="1311"/>
                  </a:lnTo>
                  <a:lnTo>
                    <a:pt x="849" y="1313"/>
                  </a:lnTo>
                  <a:lnTo>
                    <a:pt x="843" y="1315"/>
                  </a:lnTo>
                  <a:lnTo>
                    <a:pt x="837" y="1316"/>
                  </a:lnTo>
                  <a:lnTo>
                    <a:pt x="832" y="1318"/>
                  </a:lnTo>
                  <a:lnTo>
                    <a:pt x="826" y="1318"/>
                  </a:lnTo>
                  <a:lnTo>
                    <a:pt x="820" y="1320"/>
                  </a:lnTo>
                  <a:lnTo>
                    <a:pt x="817" y="1322"/>
                  </a:lnTo>
                  <a:lnTo>
                    <a:pt x="811" y="1322"/>
                  </a:lnTo>
                  <a:lnTo>
                    <a:pt x="807" y="1324"/>
                  </a:lnTo>
                  <a:lnTo>
                    <a:pt x="803" y="1324"/>
                  </a:lnTo>
                  <a:lnTo>
                    <a:pt x="799" y="1324"/>
                  </a:lnTo>
                  <a:lnTo>
                    <a:pt x="799" y="1324"/>
                  </a:lnTo>
                  <a:lnTo>
                    <a:pt x="796" y="1324"/>
                  </a:lnTo>
                  <a:lnTo>
                    <a:pt x="792" y="1322"/>
                  </a:lnTo>
                  <a:lnTo>
                    <a:pt x="790" y="1320"/>
                  </a:lnTo>
                  <a:lnTo>
                    <a:pt x="788" y="1316"/>
                  </a:lnTo>
                  <a:lnTo>
                    <a:pt x="788" y="1316"/>
                  </a:lnTo>
                  <a:lnTo>
                    <a:pt x="788" y="1309"/>
                  </a:lnTo>
                  <a:lnTo>
                    <a:pt x="790" y="1303"/>
                  </a:lnTo>
                  <a:lnTo>
                    <a:pt x="792" y="1297"/>
                  </a:lnTo>
                  <a:lnTo>
                    <a:pt x="796" y="1292"/>
                  </a:lnTo>
                  <a:lnTo>
                    <a:pt x="797" y="1286"/>
                  </a:lnTo>
                  <a:lnTo>
                    <a:pt x="799" y="1280"/>
                  </a:lnTo>
                  <a:lnTo>
                    <a:pt x="801" y="1273"/>
                  </a:lnTo>
                  <a:lnTo>
                    <a:pt x="801" y="1265"/>
                  </a:lnTo>
                  <a:lnTo>
                    <a:pt x="801" y="1265"/>
                  </a:lnTo>
                  <a:lnTo>
                    <a:pt x="801" y="1259"/>
                  </a:lnTo>
                  <a:lnTo>
                    <a:pt x="799" y="1254"/>
                  </a:lnTo>
                  <a:lnTo>
                    <a:pt x="797" y="1250"/>
                  </a:lnTo>
                  <a:lnTo>
                    <a:pt x="796" y="1244"/>
                  </a:lnTo>
                  <a:lnTo>
                    <a:pt x="792" y="1240"/>
                  </a:lnTo>
                  <a:lnTo>
                    <a:pt x="790" y="1234"/>
                  </a:lnTo>
                  <a:lnTo>
                    <a:pt x="788" y="1229"/>
                  </a:lnTo>
                  <a:lnTo>
                    <a:pt x="788" y="1221"/>
                  </a:lnTo>
                  <a:lnTo>
                    <a:pt x="788" y="1221"/>
                  </a:lnTo>
                  <a:lnTo>
                    <a:pt x="782" y="1221"/>
                  </a:lnTo>
                  <a:lnTo>
                    <a:pt x="778" y="1217"/>
                  </a:lnTo>
                  <a:lnTo>
                    <a:pt x="773" y="1213"/>
                  </a:lnTo>
                  <a:lnTo>
                    <a:pt x="769" y="1210"/>
                  </a:lnTo>
                  <a:lnTo>
                    <a:pt x="767" y="1204"/>
                  </a:lnTo>
                  <a:lnTo>
                    <a:pt x="763" y="1198"/>
                  </a:lnTo>
                  <a:lnTo>
                    <a:pt x="761" y="1191"/>
                  </a:lnTo>
                  <a:lnTo>
                    <a:pt x="761" y="1187"/>
                  </a:lnTo>
                  <a:lnTo>
                    <a:pt x="761" y="1187"/>
                  </a:lnTo>
                  <a:lnTo>
                    <a:pt x="761" y="1175"/>
                  </a:lnTo>
                  <a:lnTo>
                    <a:pt x="761" y="1164"/>
                  </a:lnTo>
                  <a:lnTo>
                    <a:pt x="761" y="1152"/>
                  </a:lnTo>
                  <a:lnTo>
                    <a:pt x="761" y="1143"/>
                  </a:lnTo>
                  <a:lnTo>
                    <a:pt x="761" y="1131"/>
                  </a:lnTo>
                  <a:lnTo>
                    <a:pt x="761" y="1122"/>
                  </a:lnTo>
                  <a:lnTo>
                    <a:pt x="761" y="1110"/>
                  </a:lnTo>
                  <a:lnTo>
                    <a:pt x="761" y="1101"/>
                  </a:lnTo>
                  <a:lnTo>
                    <a:pt x="761" y="1089"/>
                  </a:lnTo>
                  <a:lnTo>
                    <a:pt x="761" y="1080"/>
                  </a:lnTo>
                  <a:lnTo>
                    <a:pt x="761" y="1068"/>
                  </a:lnTo>
                  <a:lnTo>
                    <a:pt x="761" y="1057"/>
                  </a:lnTo>
                  <a:lnTo>
                    <a:pt x="761" y="1046"/>
                  </a:lnTo>
                  <a:lnTo>
                    <a:pt x="761" y="1034"/>
                  </a:lnTo>
                  <a:lnTo>
                    <a:pt x="761" y="1023"/>
                  </a:lnTo>
                  <a:lnTo>
                    <a:pt x="761" y="1009"/>
                  </a:lnTo>
                  <a:lnTo>
                    <a:pt x="654" y="1009"/>
                  </a:lnTo>
                  <a:lnTo>
                    <a:pt x="654" y="992"/>
                  </a:lnTo>
                  <a:lnTo>
                    <a:pt x="654" y="992"/>
                  </a:lnTo>
                  <a:lnTo>
                    <a:pt x="647" y="990"/>
                  </a:lnTo>
                  <a:lnTo>
                    <a:pt x="639" y="990"/>
                  </a:lnTo>
                  <a:lnTo>
                    <a:pt x="633" y="990"/>
                  </a:lnTo>
                  <a:lnTo>
                    <a:pt x="628" y="988"/>
                  </a:lnTo>
                  <a:lnTo>
                    <a:pt x="622" y="986"/>
                  </a:lnTo>
                  <a:lnTo>
                    <a:pt x="614" y="986"/>
                  </a:lnTo>
                  <a:lnTo>
                    <a:pt x="607" y="986"/>
                  </a:lnTo>
                  <a:lnTo>
                    <a:pt x="599" y="986"/>
                  </a:lnTo>
                  <a:lnTo>
                    <a:pt x="599" y="986"/>
                  </a:lnTo>
                  <a:lnTo>
                    <a:pt x="588" y="986"/>
                  </a:lnTo>
                  <a:lnTo>
                    <a:pt x="580" y="990"/>
                  </a:lnTo>
                  <a:lnTo>
                    <a:pt x="578" y="996"/>
                  </a:lnTo>
                  <a:lnTo>
                    <a:pt x="576" y="1002"/>
                  </a:lnTo>
                  <a:lnTo>
                    <a:pt x="576" y="1009"/>
                  </a:lnTo>
                  <a:lnTo>
                    <a:pt x="578" y="1017"/>
                  </a:lnTo>
                  <a:lnTo>
                    <a:pt x="578" y="1025"/>
                  </a:lnTo>
                  <a:lnTo>
                    <a:pt x="576" y="1032"/>
                  </a:lnTo>
                  <a:lnTo>
                    <a:pt x="576" y="1032"/>
                  </a:lnTo>
                  <a:lnTo>
                    <a:pt x="572" y="1042"/>
                  </a:lnTo>
                  <a:lnTo>
                    <a:pt x="567" y="1049"/>
                  </a:lnTo>
                  <a:lnTo>
                    <a:pt x="563" y="1055"/>
                  </a:lnTo>
                  <a:lnTo>
                    <a:pt x="557" y="1059"/>
                  </a:lnTo>
                  <a:lnTo>
                    <a:pt x="549" y="1061"/>
                  </a:lnTo>
                  <a:lnTo>
                    <a:pt x="542" y="1063"/>
                  </a:lnTo>
                  <a:lnTo>
                    <a:pt x="530" y="1065"/>
                  </a:lnTo>
                  <a:lnTo>
                    <a:pt x="519" y="1065"/>
                  </a:lnTo>
                  <a:lnTo>
                    <a:pt x="519" y="1065"/>
                  </a:lnTo>
                  <a:lnTo>
                    <a:pt x="511" y="1065"/>
                  </a:lnTo>
                  <a:lnTo>
                    <a:pt x="502" y="1067"/>
                  </a:lnTo>
                  <a:lnTo>
                    <a:pt x="494" y="1068"/>
                  </a:lnTo>
                  <a:lnTo>
                    <a:pt x="487" y="1070"/>
                  </a:lnTo>
                  <a:lnTo>
                    <a:pt x="479" y="1070"/>
                  </a:lnTo>
                  <a:lnTo>
                    <a:pt x="471" y="1072"/>
                  </a:lnTo>
                  <a:lnTo>
                    <a:pt x="464" y="1074"/>
                  </a:lnTo>
                  <a:lnTo>
                    <a:pt x="454" y="1074"/>
                  </a:lnTo>
                  <a:lnTo>
                    <a:pt x="454" y="1074"/>
                  </a:lnTo>
                  <a:lnTo>
                    <a:pt x="445" y="1072"/>
                  </a:lnTo>
                  <a:lnTo>
                    <a:pt x="435" y="1070"/>
                  </a:lnTo>
                  <a:lnTo>
                    <a:pt x="425" y="1067"/>
                  </a:lnTo>
                  <a:lnTo>
                    <a:pt x="416" y="1061"/>
                  </a:lnTo>
                  <a:lnTo>
                    <a:pt x="408" y="1055"/>
                  </a:lnTo>
                  <a:lnTo>
                    <a:pt x="399" y="1047"/>
                  </a:lnTo>
                  <a:lnTo>
                    <a:pt x="393" y="1038"/>
                  </a:lnTo>
                  <a:lnTo>
                    <a:pt x="385" y="1030"/>
                  </a:lnTo>
                  <a:lnTo>
                    <a:pt x="378" y="1021"/>
                  </a:lnTo>
                  <a:lnTo>
                    <a:pt x="372" y="1011"/>
                  </a:lnTo>
                  <a:lnTo>
                    <a:pt x="366" y="1000"/>
                  </a:lnTo>
                  <a:lnTo>
                    <a:pt x="363" y="990"/>
                  </a:lnTo>
                  <a:lnTo>
                    <a:pt x="359" y="981"/>
                  </a:lnTo>
                  <a:lnTo>
                    <a:pt x="355" y="971"/>
                  </a:lnTo>
                  <a:lnTo>
                    <a:pt x="353" y="962"/>
                  </a:lnTo>
                  <a:lnTo>
                    <a:pt x="351" y="952"/>
                  </a:lnTo>
                  <a:lnTo>
                    <a:pt x="351" y="952"/>
                  </a:lnTo>
                  <a:lnTo>
                    <a:pt x="351" y="946"/>
                  </a:lnTo>
                  <a:lnTo>
                    <a:pt x="351" y="939"/>
                  </a:lnTo>
                  <a:lnTo>
                    <a:pt x="351" y="933"/>
                  </a:lnTo>
                  <a:lnTo>
                    <a:pt x="351" y="927"/>
                  </a:lnTo>
                  <a:lnTo>
                    <a:pt x="349" y="922"/>
                  </a:lnTo>
                  <a:lnTo>
                    <a:pt x="349" y="916"/>
                  </a:lnTo>
                  <a:lnTo>
                    <a:pt x="345" y="910"/>
                  </a:lnTo>
                  <a:lnTo>
                    <a:pt x="342" y="904"/>
                  </a:lnTo>
                  <a:lnTo>
                    <a:pt x="342" y="904"/>
                  </a:lnTo>
                  <a:lnTo>
                    <a:pt x="334" y="901"/>
                  </a:lnTo>
                  <a:lnTo>
                    <a:pt x="328" y="897"/>
                  </a:lnTo>
                  <a:lnTo>
                    <a:pt x="321" y="897"/>
                  </a:lnTo>
                  <a:lnTo>
                    <a:pt x="313" y="897"/>
                  </a:lnTo>
                  <a:lnTo>
                    <a:pt x="305" y="897"/>
                  </a:lnTo>
                  <a:lnTo>
                    <a:pt x="298" y="899"/>
                  </a:lnTo>
                  <a:lnTo>
                    <a:pt x="288" y="899"/>
                  </a:lnTo>
                  <a:lnTo>
                    <a:pt x="280" y="897"/>
                  </a:lnTo>
                  <a:lnTo>
                    <a:pt x="71" y="897"/>
                  </a:lnTo>
                  <a:lnTo>
                    <a:pt x="71" y="897"/>
                  </a:lnTo>
                  <a:lnTo>
                    <a:pt x="65" y="897"/>
                  </a:lnTo>
                  <a:lnTo>
                    <a:pt x="61" y="897"/>
                  </a:lnTo>
                  <a:lnTo>
                    <a:pt x="55" y="899"/>
                  </a:lnTo>
                  <a:lnTo>
                    <a:pt x="50" y="899"/>
                  </a:lnTo>
                  <a:lnTo>
                    <a:pt x="44" y="899"/>
                  </a:lnTo>
                  <a:lnTo>
                    <a:pt x="38" y="901"/>
                  </a:lnTo>
                  <a:lnTo>
                    <a:pt x="33" y="902"/>
                  </a:lnTo>
                  <a:lnTo>
                    <a:pt x="29" y="902"/>
                  </a:lnTo>
                  <a:lnTo>
                    <a:pt x="23" y="904"/>
                  </a:lnTo>
                  <a:lnTo>
                    <a:pt x="19" y="908"/>
                  </a:lnTo>
                  <a:lnTo>
                    <a:pt x="13" y="910"/>
                  </a:lnTo>
                  <a:lnTo>
                    <a:pt x="12" y="912"/>
                  </a:lnTo>
                  <a:lnTo>
                    <a:pt x="8" y="916"/>
                  </a:lnTo>
                  <a:lnTo>
                    <a:pt x="6" y="918"/>
                  </a:lnTo>
                  <a:lnTo>
                    <a:pt x="4" y="922"/>
                  </a:lnTo>
                  <a:lnTo>
                    <a:pt x="2" y="927"/>
                  </a:lnTo>
                  <a:lnTo>
                    <a:pt x="0" y="887"/>
                  </a:lnTo>
                  <a:lnTo>
                    <a:pt x="0" y="887"/>
                  </a:lnTo>
                  <a:lnTo>
                    <a:pt x="8" y="885"/>
                  </a:lnTo>
                  <a:lnTo>
                    <a:pt x="12" y="880"/>
                  </a:lnTo>
                  <a:lnTo>
                    <a:pt x="15" y="874"/>
                  </a:lnTo>
                  <a:lnTo>
                    <a:pt x="15" y="864"/>
                  </a:lnTo>
                  <a:lnTo>
                    <a:pt x="15" y="855"/>
                  </a:lnTo>
                  <a:lnTo>
                    <a:pt x="15" y="845"/>
                  </a:lnTo>
                  <a:lnTo>
                    <a:pt x="15" y="836"/>
                  </a:lnTo>
                  <a:lnTo>
                    <a:pt x="17" y="828"/>
                  </a:lnTo>
                  <a:lnTo>
                    <a:pt x="17" y="828"/>
                  </a:lnTo>
                  <a:lnTo>
                    <a:pt x="21" y="822"/>
                  </a:lnTo>
                  <a:lnTo>
                    <a:pt x="25" y="819"/>
                  </a:lnTo>
                  <a:lnTo>
                    <a:pt x="29" y="815"/>
                  </a:lnTo>
                  <a:lnTo>
                    <a:pt x="34" y="813"/>
                  </a:lnTo>
                  <a:lnTo>
                    <a:pt x="38" y="809"/>
                  </a:lnTo>
                  <a:lnTo>
                    <a:pt x="44" y="807"/>
                  </a:lnTo>
                  <a:lnTo>
                    <a:pt x="48" y="803"/>
                  </a:lnTo>
                  <a:lnTo>
                    <a:pt x="52" y="799"/>
                  </a:lnTo>
                  <a:lnTo>
                    <a:pt x="52" y="799"/>
                  </a:lnTo>
                  <a:lnTo>
                    <a:pt x="55" y="801"/>
                  </a:lnTo>
                  <a:lnTo>
                    <a:pt x="59" y="803"/>
                  </a:lnTo>
                  <a:lnTo>
                    <a:pt x="63" y="805"/>
                  </a:lnTo>
                  <a:lnTo>
                    <a:pt x="67" y="807"/>
                  </a:lnTo>
                  <a:lnTo>
                    <a:pt x="71" y="809"/>
                  </a:lnTo>
                  <a:lnTo>
                    <a:pt x="74" y="809"/>
                  </a:lnTo>
                  <a:lnTo>
                    <a:pt x="78" y="811"/>
                  </a:lnTo>
                  <a:lnTo>
                    <a:pt x="82" y="811"/>
                  </a:lnTo>
                  <a:lnTo>
                    <a:pt x="82" y="811"/>
                  </a:lnTo>
                  <a:lnTo>
                    <a:pt x="90" y="809"/>
                  </a:lnTo>
                  <a:lnTo>
                    <a:pt x="97" y="807"/>
                  </a:lnTo>
                  <a:lnTo>
                    <a:pt x="105" y="801"/>
                  </a:lnTo>
                  <a:lnTo>
                    <a:pt x="113" y="798"/>
                  </a:lnTo>
                  <a:lnTo>
                    <a:pt x="122" y="792"/>
                  </a:lnTo>
                  <a:lnTo>
                    <a:pt x="130" y="786"/>
                  </a:lnTo>
                  <a:lnTo>
                    <a:pt x="136" y="782"/>
                  </a:lnTo>
                  <a:lnTo>
                    <a:pt x="141" y="778"/>
                  </a:lnTo>
                  <a:lnTo>
                    <a:pt x="164" y="778"/>
                  </a:lnTo>
                  <a:lnTo>
                    <a:pt x="164" y="778"/>
                  </a:lnTo>
                  <a:lnTo>
                    <a:pt x="162" y="780"/>
                  </a:lnTo>
                  <a:lnTo>
                    <a:pt x="160" y="784"/>
                  </a:lnTo>
                  <a:lnTo>
                    <a:pt x="158" y="786"/>
                  </a:lnTo>
                  <a:lnTo>
                    <a:pt x="157" y="790"/>
                  </a:lnTo>
                  <a:lnTo>
                    <a:pt x="155" y="792"/>
                  </a:lnTo>
                  <a:lnTo>
                    <a:pt x="155" y="796"/>
                  </a:lnTo>
                  <a:lnTo>
                    <a:pt x="153" y="799"/>
                  </a:lnTo>
                  <a:lnTo>
                    <a:pt x="153" y="801"/>
                  </a:lnTo>
                  <a:lnTo>
                    <a:pt x="153" y="801"/>
                  </a:lnTo>
                  <a:lnTo>
                    <a:pt x="155" y="809"/>
                  </a:lnTo>
                  <a:lnTo>
                    <a:pt x="155" y="813"/>
                  </a:lnTo>
                  <a:lnTo>
                    <a:pt x="158" y="819"/>
                  </a:lnTo>
                  <a:lnTo>
                    <a:pt x="162" y="820"/>
                  </a:lnTo>
                  <a:lnTo>
                    <a:pt x="166" y="822"/>
                  </a:lnTo>
                  <a:lnTo>
                    <a:pt x="172" y="824"/>
                  </a:lnTo>
                  <a:lnTo>
                    <a:pt x="177" y="826"/>
                  </a:lnTo>
                  <a:lnTo>
                    <a:pt x="181" y="826"/>
                  </a:lnTo>
                  <a:lnTo>
                    <a:pt x="181" y="826"/>
                  </a:lnTo>
                  <a:lnTo>
                    <a:pt x="191" y="824"/>
                  </a:lnTo>
                  <a:lnTo>
                    <a:pt x="200" y="820"/>
                  </a:lnTo>
                  <a:lnTo>
                    <a:pt x="212" y="817"/>
                  </a:lnTo>
                  <a:lnTo>
                    <a:pt x="221" y="811"/>
                  </a:lnTo>
                  <a:lnTo>
                    <a:pt x="229" y="803"/>
                  </a:lnTo>
                  <a:lnTo>
                    <a:pt x="237" y="796"/>
                  </a:lnTo>
                  <a:lnTo>
                    <a:pt x="240" y="788"/>
                  </a:lnTo>
                  <a:lnTo>
                    <a:pt x="240" y="780"/>
                  </a:lnTo>
                  <a:lnTo>
                    <a:pt x="240" y="780"/>
                  </a:lnTo>
                  <a:lnTo>
                    <a:pt x="242" y="773"/>
                  </a:lnTo>
                  <a:lnTo>
                    <a:pt x="246" y="767"/>
                  </a:lnTo>
                  <a:lnTo>
                    <a:pt x="254" y="761"/>
                  </a:lnTo>
                  <a:lnTo>
                    <a:pt x="263" y="758"/>
                  </a:lnTo>
                  <a:lnTo>
                    <a:pt x="273" y="754"/>
                  </a:lnTo>
                  <a:lnTo>
                    <a:pt x="282" y="750"/>
                  </a:lnTo>
                  <a:lnTo>
                    <a:pt x="290" y="746"/>
                  </a:lnTo>
                  <a:lnTo>
                    <a:pt x="298" y="740"/>
                  </a:lnTo>
                  <a:lnTo>
                    <a:pt x="298" y="740"/>
                  </a:lnTo>
                  <a:lnTo>
                    <a:pt x="301" y="737"/>
                  </a:lnTo>
                  <a:lnTo>
                    <a:pt x="303" y="731"/>
                  </a:lnTo>
                  <a:lnTo>
                    <a:pt x="305" y="725"/>
                  </a:lnTo>
                  <a:lnTo>
                    <a:pt x="309" y="719"/>
                  </a:lnTo>
                  <a:lnTo>
                    <a:pt x="311" y="712"/>
                  </a:lnTo>
                  <a:lnTo>
                    <a:pt x="313" y="706"/>
                  </a:lnTo>
                  <a:lnTo>
                    <a:pt x="313" y="696"/>
                  </a:lnTo>
                  <a:lnTo>
                    <a:pt x="315" y="689"/>
                  </a:lnTo>
                  <a:lnTo>
                    <a:pt x="315" y="681"/>
                  </a:lnTo>
                  <a:lnTo>
                    <a:pt x="317" y="674"/>
                  </a:lnTo>
                  <a:lnTo>
                    <a:pt x="317" y="664"/>
                  </a:lnTo>
                  <a:lnTo>
                    <a:pt x="317" y="656"/>
                  </a:lnTo>
                  <a:lnTo>
                    <a:pt x="319" y="649"/>
                  </a:lnTo>
                  <a:lnTo>
                    <a:pt x="319" y="641"/>
                  </a:lnTo>
                  <a:lnTo>
                    <a:pt x="319" y="634"/>
                  </a:lnTo>
                  <a:lnTo>
                    <a:pt x="319" y="628"/>
                  </a:lnTo>
                  <a:lnTo>
                    <a:pt x="319" y="628"/>
                  </a:lnTo>
                  <a:lnTo>
                    <a:pt x="319" y="616"/>
                  </a:lnTo>
                  <a:lnTo>
                    <a:pt x="321" y="607"/>
                  </a:lnTo>
                  <a:lnTo>
                    <a:pt x="324" y="597"/>
                  </a:lnTo>
                  <a:lnTo>
                    <a:pt x="328" y="588"/>
                  </a:lnTo>
                  <a:lnTo>
                    <a:pt x="334" y="578"/>
                  </a:lnTo>
                  <a:lnTo>
                    <a:pt x="340" y="571"/>
                  </a:lnTo>
                  <a:lnTo>
                    <a:pt x="345" y="561"/>
                  </a:lnTo>
                  <a:lnTo>
                    <a:pt x="353" y="553"/>
                  </a:lnTo>
                  <a:lnTo>
                    <a:pt x="361" y="546"/>
                  </a:lnTo>
                  <a:lnTo>
                    <a:pt x="368" y="538"/>
                  </a:lnTo>
                  <a:lnTo>
                    <a:pt x="374" y="530"/>
                  </a:lnTo>
                  <a:lnTo>
                    <a:pt x="382" y="523"/>
                  </a:lnTo>
                  <a:lnTo>
                    <a:pt x="389" y="517"/>
                  </a:lnTo>
                  <a:lnTo>
                    <a:pt x="395" y="510"/>
                  </a:lnTo>
                  <a:lnTo>
                    <a:pt x="401" y="504"/>
                  </a:lnTo>
                  <a:lnTo>
                    <a:pt x="406" y="498"/>
                  </a:lnTo>
                  <a:lnTo>
                    <a:pt x="406" y="498"/>
                  </a:lnTo>
                  <a:lnTo>
                    <a:pt x="410" y="492"/>
                  </a:lnTo>
                  <a:lnTo>
                    <a:pt x="414" y="487"/>
                  </a:lnTo>
                  <a:lnTo>
                    <a:pt x="416" y="481"/>
                  </a:lnTo>
                  <a:lnTo>
                    <a:pt x="420" y="475"/>
                  </a:lnTo>
                  <a:lnTo>
                    <a:pt x="424" y="469"/>
                  </a:lnTo>
                  <a:lnTo>
                    <a:pt x="425" y="464"/>
                  </a:lnTo>
                  <a:lnTo>
                    <a:pt x="429" y="456"/>
                  </a:lnTo>
                  <a:lnTo>
                    <a:pt x="431" y="450"/>
                  </a:lnTo>
                  <a:lnTo>
                    <a:pt x="433" y="445"/>
                  </a:lnTo>
                  <a:lnTo>
                    <a:pt x="437" y="437"/>
                  </a:lnTo>
                  <a:lnTo>
                    <a:pt x="439" y="431"/>
                  </a:lnTo>
                  <a:lnTo>
                    <a:pt x="441" y="426"/>
                  </a:lnTo>
                  <a:lnTo>
                    <a:pt x="445" y="418"/>
                  </a:lnTo>
                  <a:lnTo>
                    <a:pt x="446" y="412"/>
                  </a:lnTo>
                  <a:lnTo>
                    <a:pt x="448" y="406"/>
                  </a:lnTo>
                  <a:lnTo>
                    <a:pt x="452" y="401"/>
                  </a:lnTo>
                  <a:lnTo>
                    <a:pt x="452" y="338"/>
                  </a:lnTo>
                  <a:lnTo>
                    <a:pt x="452" y="338"/>
                  </a:lnTo>
                  <a:lnTo>
                    <a:pt x="452" y="332"/>
                  </a:lnTo>
                  <a:lnTo>
                    <a:pt x="454" y="326"/>
                  </a:lnTo>
                  <a:lnTo>
                    <a:pt x="456" y="323"/>
                  </a:lnTo>
                  <a:lnTo>
                    <a:pt x="458" y="317"/>
                  </a:lnTo>
                  <a:lnTo>
                    <a:pt x="458" y="313"/>
                  </a:lnTo>
                  <a:lnTo>
                    <a:pt x="458" y="307"/>
                  </a:lnTo>
                  <a:lnTo>
                    <a:pt x="460" y="303"/>
                  </a:lnTo>
                  <a:lnTo>
                    <a:pt x="460" y="300"/>
                  </a:lnTo>
                  <a:lnTo>
                    <a:pt x="462" y="294"/>
                  </a:lnTo>
                  <a:lnTo>
                    <a:pt x="462" y="290"/>
                  </a:lnTo>
                  <a:lnTo>
                    <a:pt x="462" y="286"/>
                  </a:lnTo>
                  <a:lnTo>
                    <a:pt x="464" y="282"/>
                  </a:lnTo>
                  <a:lnTo>
                    <a:pt x="466" y="277"/>
                  </a:lnTo>
                  <a:lnTo>
                    <a:pt x="466" y="273"/>
                  </a:lnTo>
                  <a:lnTo>
                    <a:pt x="467" y="267"/>
                  </a:lnTo>
                  <a:lnTo>
                    <a:pt x="469" y="261"/>
                  </a:lnTo>
                  <a:lnTo>
                    <a:pt x="466" y="261"/>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7" name="Freeform 31"/>
            <p:cNvSpPr>
              <a:spLocks/>
            </p:cNvSpPr>
            <p:nvPr/>
          </p:nvSpPr>
          <p:spPr bwMode="gray">
            <a:xfrm>
              <a:off x="2208" y="1884"/>
              <a:ext cx="580" cy="370"/>
            </a:xfrm>
            <a:custGeom>
              <a:avLst/>
              <a:gdLst/>
              <a:ahLst/>
              <a:cxnLst>
                <a:cxn ang="0">
                  <a:pos x="1022" y="431"/>
                </a:cxn>
                <a:cxn ang="0">
                  <a:pos x="994" y="398"/>
                </a:cxn>
                <a:cxn ang="0">
                  <a:pos x="958" y="375"/>
                </a:cxn>
                <a:cxn ang="0">
                  <a:pos x="942" y="333"/>
                </a:cxn>
                <a:cxn ang="0">
                  <a:pos x="916" y="307"/>
                </a:cxn>
                <a:cxn ang="0">
                  <a:pos x="870" y="278"/>
                </a:cxn>
                <a:cxn ang="0">
                  <a:pos x="856" y="253"/>
                </a:cxn>
                <a:cxn ang="0">
                  <a:pos x="855" y="236"/>
                </a:cxn>
                <a:cxn ang="0">
                  <a:pos x="803" y="215"/>
                </a:cxn>
                <a:cxn ang="0">
                  <a:pos x="776" y="173"/>
                </a:cxn>
                <a:cxn ang="0">
                  <a:pos x="748" y="173"/>
                </a:cxn>
                <a:cxn ang="0">
                  <a:pos x="719" y="152"/>
                </a:cxn>
                <a:cxn ang="0">
                  <a:pos x="729" y="116"/>
                </a:cxn>
                <a:cxn ang="0">
                  <a:pos x="729" y="76"/>
                </a:cxn>
                <a:cxn ang="0">
                  <a:pos x="692" y="34"/>
                </a:cxn>
                <a:cxn ang="0">
                  <a:pos x="666" y="9"/>
                </a:cxn>
                <a:cxn ang="0">
                  <a:pos x="624" y="3"/>
                </a:cxn>
                <a:cxn ang="0">
                  <a:pos x="586" y="36"/>
                </a:cxn>
                <a:cxn ang="0">
                  <a:pos x="540" y="85"/>
                </a:cxn>
                <a:cxn ang="0">
                  <a:pos x="469" y="141"/>
                </a:cxn>
                <a:cxn ang="0">
                  <a:pos x="368" y="162"/>
                </a:cxn>
                <a:cxn ang="0">
                  <a:pos x="378" y="175"/>
                </a:cxn>
                <a:cxn ang="0">
                  <a:pos x="353" y="219"/>
                </a:cxn>
                <a:cxn ang="0">
                  <a:pos x="305" y="242"/>
                </a:cxn>
                <a:cxn ang="0">
                  <a:pos x="242" y="250"/>
                </a:cxn>
                <a:cxn ang="0">
                  <a:pos x="204" y="265"/>
                </a:cxn>
                <a:cxn ang="0">
                  <a:pos x="175" y="269"/>
                </a:cxn>
                <a:cxn ang="0">
                  <a:pos x="154" y="261"/>
                </a:cxn>
                <a:cxn ang="0">
                  <a:pos x="101" y="278"/>
                </a:cxn>
                <a:cxn ang="0">
                  <a:pos x="69" y="292"/>
                </a:cxn>
                <a:cxn ang="0">
                  <a:pos x="32" y="347"/>
                </a:cxn>
                <a:cxn ang="0">
                  <a:pos x="0" y="393"/>
                </a:cxn>
                <a:cxn ang="0">
                  <a:pos x="13" y="408"/>
                </a:cxn>
                <a:cxn ang="0">
                  <a:pos x="13" y="433"/>
                </a:cxn>
                <a:cxn ang="0">
                  <a:pos x="29" y="505"/>
                </a:cxn>
                <a:cxn ang="0">
                  <a:pos x="74" y="583"/>
                </a:cxn>
                <a:cxn ang="0">
                  <a:pos x="107" y="618"/>
                </a:cxn>
                <a:cxn ang="0">
                  <a:pos x="137" y="650"/>
                </a:cxn>
                <a:cxn ang="0">
                  <a:pos x="154" y="635"/>
                </a:cxn>
                <a:cxn ang="0">
                  <a:pos x="191" y="581"/>
                </a:cxn>
                <a:cxn ang="0">
                  <a:pos x="254" y="574"/>
                </a:cxn>
                <a:cxn ang="0">
                  <a:pos x="339" y="578"/>
                </a:cxn>
                <a:cxn ang="0">
                  <a:pos x="339" y="557"/>
                </a:cxn>
                <a:cxn ang="0">
                  <a:pos x="362" y="492"/>
                </a:cxn>
                <a:cxn ang="0">
                  <a:pos x="416" y="457"/>
                </a:cxn>
                <a:cxn ang="0">
                  <a:pos x="473" y="505"/>
                </a:cxn>
                <a:cxn ang="0">
                  <a:pos x="528" y="528"/>
                </a:cxn>
                <a:cxn ang="0">
                  <a:pos x="605" y="540"/>
                </a:cxn>
                <a:cxn ang="0">
                  <a:pos x="647" y="528"/>
                </a:cxn>
                <a:cxn ang="0">
                  <a:pos x="675" y="496"/>
                </a:cxn>
                <a:cxn ang="0">
                  <a:pos x="704" y="496"/>
                </a:cxn>
                <a:cxn ang="0">
                  <a:pos x="732" y="496"/>
                </a:cxn>
                <a:cxn ang="0">
                  <a:pos x="776" y="477"/>
                </a:cxn>
                <a:cxn ang="0">
                  <a:pos x="807" y="475"/>
                </a:cxn>
                <a:cxn ang="0">
                  <a:pos x="839" y="475"/>
                </a:cxn>
                <a:cxn ang="0">
                  <a:pos x="868" y="446"/>
                </a:cxn>
                <a:cxn ang="0">
                  <a:pos x="923" y="454"/>
                </a:cxn>
                <a:cxn ang="0">
                  <a:pos x="977" y="467"/>
                </a:cxn>
                <a:cxn ang="0">
                  <a:pos x="1017" y="457"/>
                </a:cxn>
              </a:cxnLst>
              <a:rect l="0" t="0" r="r" b="b"/>
              <a:pathLst>
                <a:path w="1024" h="671">
                  <a:moveTo>
                    <a:pt x="1024" y="457"/>
                  </a:moveTo>
                  <a:lnTo>
                    <a:pt x="1024" y="457"/>
                  </a:lnTo>
                  <a:lnTo>
                    <a:pt x="1020" y="454"/>
                  </a:lnTo>
                  <a:lnTo>
                    <a:pt x="1020" y="450"/>
                  </a:lnTo>
                  <a:lnTo>
                    <a:pt x="1020" y="444"/>
                  </a:lnTo>
                  <a:lnTo>
                    <a:pt x="1020" y="440"/>
                  </a:lnTo>
                  <a:lnTo>
                    <a:pt x="1020" y="435"/>
                  </a:lnTo>
                  <a:lnTo>
                    <a:pt x="1022" y="431"/>
                  </a:lnTo>
                  <a:lnTo>
                    <a:pt x="1022" y="425"/>
                  </a:lnTo>
                  <a:lnTo>
                    <a:pt x="1020" y="421"/>
                  </a:lnTo>
                  <a:lnTo>
                    <a:pt x="1020" y="421"/>
                  </a:lnTo>
                  <a:lnTo>
                    <a:pt x="1017" y="416"/>
                  </a:lnTo>
                  <a:lnTo>
                    <a:pt x="1013" y="410"/>
                  </a:lnTo>
                  <a:lnTo>
                    <a:pt x="1007" y="406"/>
                  </a:lnTo>
                  <a:lnTo>
                    <a:pt x="1001" y="402"/>
                  </a:lnTo>
                  <a:lnTo>
                    <a:pt x="994" y="398"/>
                  </a:lnTo>
                  <a:lnTo>
                    <a:pt x="988" y="395"/>
                  </a:lnTo>
                  <a:lnTo>
                    <a:pt x="980" y="393"/>
                  </a:lnTo>
                  <a:lnTo>
                    <a:pt x="975" y="391"/>
                  </a:lnTo>
                  <a:lnTo>
                    <a:pt x="975" y="391"/>
                  </a:lnTo>
                  <a:lnTo>
                    <a:pt x="969" y="387"/>
                  </a:lnTo>
                  <a:lnTo>
                    <a:pt x="965" y="385"/>
                  </a:lnTo>
                  <a:lnTo>
                    <a:pt x="961" y="381"/>
                  </a:lnTo>
                  <a:lnTo>
                    <a:pt x="958" y="375"/>
                  </a:lnTo>
                  <a:lnTo>
                    <a:pt x="956" y="372"/>
                  </a:lnTo>
                  <a:lnTo>
                    <a:pt x="954" y="366"/>
                  </a:lnTo>
                  <a:lnTo>
                    <a:pt x="952" y="360"/>
                  </a:lnTo>
                  <a:lnTo>
                    <a:pt x="950" y="354"/>
                  </a:lnTo>
                  <a:lnTo>
                    <a:pt x="948" y="349"/>
                  </a:lnTo>
                  <a:lnTo>
                    <a:pt x="946" y="343"/>
                  </a:lnTo>
                  <a:lnTo>
                    <a:pt x="944" y="339"/>
                  </a:lnTo>
                  <a:lnTo>
                    <a:pt x="942" y="333"/>
                  </a:lnTo>
                  <a:lnTo>
                    <a:pt x="940" y="328"/>
                  </a:lnTo>
                  <a:lnTo>
                    <a:pt x="937" y="324"/>
                  </a:lnTo>
                  <a:lnTo>
                    <a:pt x="933" y="320"/>
                  </a:lnTo>
                  <a:lnTo>
                    <a:pt x="929" y="316"/>
                  </a:lnTo>
                  <a:lnTo>
                    <a:pt x="929" y="316"/>
                  </a:lnTo>
                  <a:lnTo>
                    <a:pt x="925" y="313"/>
                  </a:lnTo>
                  <a:lnTo>
                    <a:pt x="921" y="311"/>
                  </a:lnTo>
                  <a:lnTo>
                    <a:pt x="916" y="307"/>
                  </a:lnTo>
                  <a:lnTo>
                    <a:pt x="910" y="303"/>
                  </a:lnTo>
                  <a:lnTo>
                    <a:pt x="904" y="299"/>
                  </a:lnTo>
                  <a:lnTo>
                    <a:pt x="898" y="297"/>
                  </a:lnTo>
                  <a:lnTo>
                    <a:pt x="891" y="293"/>
                  </a:lnTo>
                  <a:lnTo>
                    <a:pt x="885" y="290"/>
                  </a:lnTo>
                  <a:lnTo>
                    <a:pt x="879" y="286"/>
                  </a:lnTo>
                  <a:lnTo>
                    <a:pt x="874" y="282"/>
                  </a:lnTo>
                  <a:lnTo>
                    <a:pt x="870" y="278"/>
                  </a:lnTo>
                  <a:lnTo>
                    <a:pt x="864" y="274"/>
                  </a:lnTo>
                  <a:lnTo>
                    <a:pt x="860" y="271"/>
                  </a:lnTo>
                  <a:lnTo>
                    <a:pt x="858" y="267"/>
                  </a:lnTo>
                  <a:lnTo>
                    <a:pt x="856" y="263"/>
                  </a:lnTo>
                  <a:lnTo>
                    <a:pt x="856" y="259"/>
                  </a:lnTo>
                  <a:lnTo>
                    <a:pt x="856" y="259"/>
                  </a:lnTo>
                  <a:lnTo>
                    <a:pt x="856" y="255"/>
                  </a:lnTo>
                  <a:lnTo>
                    <a:pt x="856" y="253"/>
                  </a:lnTo>
                  <a:lnTo>
                    <a:pt x="856" y="251"/>
                  </a:lnTo>
                  <a:lnTo>
                    <a:pt x="856" y="250"/>
                  </a:lnTo>
                  <a:lnTo>
                    <a:pt x="856" y="248"/>
                  </a:lnTo>
                  <a:lnTo>
                    <a:pt x="856" y="248"/>
                  </a:lnTo>
                  <a:lnTo>
                    <a:pt x="856" y="246"/>
                  </a:lnTo>
                  <a:lnTo>
                    <a:pt x="856" y="242"/>
                  </a:lnTo>
                  <a:lnTo>
                    <a:pt x="856" y="242"/>
                  </a:lnTo>
                  <a:lnTo>
                    <a:pt x="855" y="236"/>
                  </a:lnTo>
                  <a:lnTo>
                    <a:pt x="853" y="232"/>
                  </a:lnTo>
                  <a:lnTo>
                    <a:pt x="847" y="229"/>
                  </a:lnTo>
                  <a:lnTo>
                    <a:pt x="841" y="225"/>
                  </a:lnTo>
                  <a:lnTo>
                    <a:pt x="835" y="223"/>
                  </a:lnTo>
                  <a:lnTo>
                    <a:pt x="828" y="221"/>
                  </a:lnTo>
                  <a:lnTo>
                    <a:pt x="818" y="219"/>
                  </a:lnTo>
                  <a:lnTo>
                    <a:pt x="811" y="217"/>
                  </a:lnTo>
                  <a:lnTo>
                    <a:pt x="803" y="215"/>
                  </a:lnTo>
                  <a:lnTo>
                    <a:pt x="795" y="211"/>
                  </a:lnTo>
                  <a:lnTo>
                    <a:pt x="788" y="209"/>
                  </a:lnTo>
                  <a:lnTo>
                    <a:pt x="782" y="208"/>
                  </a:lnTo>
                  <a:lnTo>
                    <a:pt x="778" y="204"/>
                  </a:lnTo>
                  <a:lnTo>
                    <a:pt x="774" y="200"/>
                  </a:lnTo>
                  <a:lnTo>
                    <a:pt x="774" y="194"/>
                  </a:lnTo>
                  <a:lnTo>
                    <a:pt x="776" y="188"/>
                  </a:lnTo>
                  <a:lnTo>
                    <a:pt x="776" y="173"/>
                  </a:lnTo>
                  <a:lnTo>
                    <a:pt x="776" y="173"/>
                  </a:lnTo>
                  <a:lnTo>
                    <a:pt x="771" y="173"/>
                  </a:lnTo>
                  <a:lnTo>
                    <a:pt x="765" y="173"/>
                  </a:lnTo>
                  <a:lnTo>
                    <a:pt x="761" y="173"/>
                  </a:lnTo>
                  <a:lnTo>
                    <a:pt x="757" y="173"/>
                  </a:lnTo>
                  <a:lnTo>
                    <a:pt x="753" y="173"/>
                  </a:lnTo>
                  <a:lnTo>
                    <a:pt x="750" y="173"/>
                  </a:lnTo>
                  <a:lnTo>
                    <a:pt x="748" y="173"/>
                  </a:lnTo>
                  <a:lnTo>
                    <a:pt x="744" y="173"/>
                  </a:lnTo>
                  <a:lnTo>
                    <a:pt x="744" y="173"/>
                  </a:lnTo>
                  <a:lnTo>
                    <a:pt x="738" y="173"/>
                  </a:lnTo>
                  <a:lnTo>
                    <a:pt x="734" y="171"/>
                  </a:lnTo>
                  <a:lnTo>
                    <a:pt x="729" y="168"/>
                  </a:lnTo>
                  <a:lnTo>
                    <a:pt x="725" y="164"/>
                  </a:lnTo>
                  <a:lnTo>
                    <a:pt x="723" y="158"/>
                  </a:lnTo>
                  <a:lnTo>
                    <a:pt x="719" y="152"/>
                  </a:lnTo>
                  <a:lnTo>
                    <a:pt x="717" y="147"/>
                  </a:lnTo>
                  <a:lnTo>
                    <a:pt x="717" y="139"/>
                  </a:lnTo>
                  <a:lnTo>
                    <a:pt x="717" y="139"/>
                  </a:lnTo>
                  <a:lnTo>
                    <a:pt x="717" y="133"/>
                  </a:lnTo>
                  <a:lnTo>
                    <a:pt x="719" y="127"/>
                  </a:lnTo>
                  <a:lnTo>
                    <a:pt x="723" y="124"/>
                  </a:lnTo>
                  <a:lnTo>
                    <a:pt x="725" y="120"/>
                  </a:lnTo>
                  <a:lnTo>
                    <a:pt x="729" y="116"/>
                  </a:lnTo>
                  <a:lnTo>
                    <a:pt x="732" y="110"/>
                  </a:lnTo>
                  <a:lnTo>
                    <a:pt x="734" y="106"/>
                  </a:lnTo>
                  <a:lnTo>
                    <a:pt x="734" y="101"/>
                  </a:lnTo>
                  <a:lnTo>
                    <a:pt x="734" y="101"/>
                  </a:lnTo>
                  <a:lnTo>
                    <a:pt x="734" y="95"/>
                  </a:lnTo>
                  <a:lnTo>
                    <a:pt x="732" y="87"/>
                  </a:lnTo>
                  <a:lnTo>
                    <a:pt x="731" y="82"/>
                  </a:lnTo>
                  <a:lnTo>
                    <a:pt x="729" y="76"/>
                  </a:lnTo>
                  <a:lnTo>
                    <a:pt x="725" y="70"/>
                  </a:lnTo>
                  <a:lnTo>
                    <a:pt x="721" y="64"/>
                  </a:lnTo>
                  <a:lnTo>
                    <a:pt x="717" y="59"/>
                  </a:lnTo>
                  <a:lnTo>
                    <a:pt x="711" y="53"/>
                  </a:lnTo>
                  <a:lnTo>
                    <a:pt x="708" y="49"/>
                  </a:lnTo>
                  <a:lnTo>
                    <a:pt x="702" y="44"/>
                  </a:lnTo>
                  <a:lnTo>
                    <a:pt x="698" y="38"/>
                  </a:lnTo>
                  <a:lnTo>
                    <a:pt x="692" y="34"/>
                  </a:lnTo>
                  <a:lnTo>
                    <a:pt x="689" y="28"/>
                  </a:lnTo>
                  <a:lnTo>
                    <a:pt x="685" y="23"/>
                  </a:lnTo>
                  <a:lnTo>
                    <a:pt x="681" y="19"/>
                  </a:lnTo>
                  <a:lnTo>
                    <a:pt x="677" y="13"/>
                  </a:lnTo>
                  <a:lnTo>
                    <a:pt x="677" y="13"/>
                  </a:lnTo>
                  <a:lnTo>
                    <a:pt x="673" y="13"/>
                  </a:lnTo>
                  <a:lnTo>
                    <a:pt x="669" y="11"/>
                  </a:lnTo>
                  <a:lnTo>
                    <a:pt x="666" y="9"/>
                  </a:lnTo>
                  <a:lnTo>
                    <a:pt x="660" y="5"/>
                  </a:lnTo>
                  <a:lnTo>
                    <a:pt x="654" y="3"/>
                  </a:lnTo>
                  <a:lnTo>
                    <a:pt x="649" y="2"/>
                  </a:lnTo>
                  <a:lnTo>
                    <a:pt x="643" y="0"/>
                  </a:lnTo>
                  <a:lnTo>
                    <a:pt x="637" y="0"/>
                  </a:lnTo>
                  <a:lnTo>
                    <a:pt x="637" y="0"/>
                  </a:lnTo>
                  <a:lnTo>
                    <a:pt x="629" y="2"/>
                  </a:lnTo>
                  <a:lnTo>
                    <a:pt x="624" y="3"/>
                  </a:lnTo>
                  <a:lnTo>
                    <a:pt x="616" y="7"/>
                  </a:lnTo>
                  <a:lnTo>
                    <a:pt x="610" y="11"/>
                  </a:lnTo>
                  <a:lnTo>
                    <a:pt x="605" y="15"/>
                  </a:lnTo>
                  <a:lnTo>
                    <a:pt x="599" y="19"/>
                  </a:lnTo>
                  <a:lnTo>
                    <a:pt x="591" y="23"/>
                  </a:lnTo>
                  <a:lnTo>
                    <a:pt x="584" y="24"/>
                  </a:lnTo>
                  <a:lnTo>
                    <a:pt x="584" y="24"/>
                  </a:lnTo>
                  <a:lnTo>
                    <a:pt x="586" y="36"/>
                  </a:lnTo>
                  <a:lnTo>
                    <a:pt x="582" y="45"/>
                  </a:lnTo>
                  <a:lnTo>
                    <a:pt x="578" y="55"/>
                  </a:lnTo>
                  <a:lnTo>
                    <a:pt x="570" y="61"/>
                  </a:lnTo>
                  <a:lnTo>
                    <a:pt x="563" y="68"/>
                  </a:lnTo>
                  <a:lnTo>
                    <a:pt x="555" y="74"/>
                  </a:lnTo>
                  <a:lnTo>
                    <a:pt x="547" y="80"/>
                  </a:lnTo>
                  <a:lnTo>
                    <a:pt x="540" y="85"/>
                  </a:lnTo>
                  <a:lnTo>
                    <a:pt x="540" y="85"/>
                  </a:lnTo>
                  <a:lnTo>
                    <a:pt x="530" y="93"/>
                  </a:lnTo>
                  <a:lnTo>
                    <a:pt x="523" y="103"/>
                  </a:lnTo>
                  <a:lnTo>
                    <a:pt x="513" y="110"/>
                  </a:lnTo>
                  <a:lnTo>
                    <a:pt x="505" y="118"/>
                  </a:lnTo>
                  <a:lnTo>
                    <a:pt x="496" y="126"/>
                  </a:lnTo>
                  <a:lnTo>
                    <a:pt x="488" y="131"/>
                  </a:lnTo>
                  <a:lnTo>
                    <a:pt x="479" y="137"/>
                  </a:lnTo>
                  <a:lnTo>
                    <a:pt x="469" y="141"/>
                  </a:lnTo>
                  <a:lnTo>
                    <a:pt x="460" y="147"/>
                  </a:lnTo>
                  <a:lnTo>
                    <a:pt x="450" y="150"/>
                  </a:lnTo>
                  <a:lnTo>
                    <a:pt x="439" y="154"/>
                  </a:lnTo>
                  <a:lnTo>
                    <a:pt x="427" y="156"/>
                  </a:lnTo>
                  <a:lnTo>
                    <a:pt x="414" y="160"/>
                  </a:lnTo>
                  <a:lnTo>
                    <a:pt x="399" y="160"/>
                  </a:lnTo>
                  <a:lnTo>
                    <a:pt x="385" y="162"/>
                  </a:lnTo>
                  <a:lnTo>
                    <a:pt x="368" y="162"/>
                  </a:lnTo>
                  <a:lnTo>
                    <a:pt x="368" y="162"/>
                  </a:lnTo>
                  <a:lnTo>
                    <a:pt x="370" y="164"/>
                  </a:lnTo>
                  <a:lnTo>
                    <a:pt x="370" y="166"/>
                  </a:lnTo>
                  <a:lnTo>
                    <a:pt x="372" y="168"/>
                  </a:lnTo>
                  <a:lnTo>
                    <a:pt x="374" y="169"/>
                  </a:lnTo>
                  <a:lnTo>
                    <a:pt x="374" y="171"/>
                  </a:lnTo>
                  <a:lnTo>
                    <a:pt x="376" y="173"/>
                  </a:lnTo>
                  <a:lnTo>
                    <a:pt x="378" y="175"/>
                  </a:lnTo>
                  <a:lnTo>
                    <a:pt x="380" y="177"/>
                  </a:lnTo>
                  <a:lnTo>
                    <a:pt x="380" y="177"/>
                  </a:lnTo>
                  <a:lnTo>
                    <a:pt x="374" y="185"/>
                  </a:lnTo>
                  <a:lnTo>
                    <a:pt x="370" y="190"/>
                  </a:lnTo>
                  <a:lnTo>
                    <a:pt x="366" y="198"/>
                  </a:lnTo>
                  <a:lnTo>
                    <a:pt x="362" y="206"/>
                  </a:lnTo>
                  <a:lnTo>
                    <a:pt x="359" y="211"/>
                  </a:lnTo>
                  <a:lnTo>
                    <a:pt x="353" y="219"/>
                  </a:lnTo>
                  <a:lnTo>
                    <a:pt x="347" y="225"/>
                  </a:lnTo>
                  <a:lnTo>
                    <a:pt x="339" y="230"/>
                  </a:lnTo>
                  <a:lnTo>
                    <a:pt x="339" y="230"/>
                  </a:lnTo>
                  <a:lnTo>
                    <a:pt x="332" y="234"/>
                  </a:lnTo>
                  <a:lnTo>
                    <a:pt x="326" y="236"/>
                  </a:lnTo>
                  <a:lnTo>
                    <a:pt x="319" y="238"/>
                  </a:lnTo>
                  <a:lnTo>
                    <a:pt x="311" y="240"/>
                  </a:lnTo>
                  <a:lnTo>
                    <a:pt x="305" y="242"/>
                  </a:lnTo>
                  <a:lnTo>
                    <a:pt x="298" y="244"/>
                  </a:lnTo>
                  <a:lnTo>
                    <a:pt x="290" y="244"/>
                  </a:lnTo>
                  <a:lnTo>
                    <a:pt x="280" y="244"/>
                  </a:lnTo>
                  <a:lnTo>
                    <a:pt x="273" y="246"/>
                  </a:lnTo>
                  <a:lnTo>
                    <a:pt x="265" y="246"/>
                  </a:lnTo>
                  <a:lnTo>
                    <a:pt x="257" y="246"/>
                  </a:lnTo>
                  <a:lnTo>
                    <a:pt x="250" y="248"/>
                  </a:lnTo>
                  <a:lnTo>
                    <a:pt x="242" y="250"/>
                  </a:lnTo>
                  <a:lnTo>
                    <a:pt x="235" y="250"/>
                  </a:lnTo>
                  <a:lnTo>
                    <a:pt x="225" y="251"/>
                  </a:lnTo>
                  <a:lnTo>
                    <a:pt x="219" y="253"/>
                  </a:lnTo>
                  <a:lnTo>
                    <a:pt x="219" y="253"/>
                  </a:lnTo>
                  <a:lnTo>
                    <a:pt x="214" y="255"/>
                  </a:lnTo>
                  <a:lnTo>
                    <a:pt x="210" y="259"/>
                  </a:lnTo>
                  <a:lnTo>
                    <a:pt x="206" y="263"/>
                  </a:lnTo>
                  <a:lnTo>
                    <a:pt x="204" y="265"/>
                  </a:lnTo>
                  <a:lnTo>
                    <a:pt x="200" y="269"/>
                  </a:lnTo>
                  <a:lnTo>
                    <a:pt x="196" y="271"/>
                  </a:lnTo>
                  <a:lnTo>
                    <a:pt x="191" y="271"/>
                  </a:lnTo>
                  <a:lnTo>
                    <a:pt x="185" y="272"/>
                  </a:lnTo>
                  <a:lnTo>
                    <a:pt x="185" y="272"/>
                  </a:lnTo>
                  <a:lnTo>
                    <a:pt x="181" y="271"/>
                  </a:lnTo>
                  <a:lnTo>
                    <a:pt x="179" y="271"/>
                  </a:lnTo>
                  <a:lnTo>
                    <a:pt x="175" y="269"/>
                  </a:lnTo>
                  <a:lnTo>
                    <a:pt x="174" y="265"/>
                  </a:lnTo>
                  <a:lnTo>
                    <a:pt x="172" y="263"/>
                  </a:lnTo>
                  <a:lnTo>
                    <a:pt x="170" y="259"/>
                  </a:lnTo>
                  <a:lnTo>
                    <a:pt x="166" y="257"/>
                  </a:lnTo>
                  <a:lnTo>
                    <a:pt x="164" y="253"/>
                  </a:lnTo>
                  <a:lnTo>
                    <a:pt x="164" y="253"/>
                  </a:lnTo>
                  <a:lnTo>
                    <a:pt x="160" y="257"/>
                  </a:lnTo>
                  <a:lnTo>
                    <a:pt x="154" y="261"/>
                  </a:lnTo>
                  <a:lnTo>
                    <a:pt x="149" y="265"/>
                  </a:lnTo>
                  <a:lnTo>
                    <a:pt x="141" y="267"/>
                  </a:lnTo>
                  <a:lnTo>
                    <a:pt x="135" y="269"/>
                  </a:lnTo>
                  <a:lnTo>
                    <a:pt x="128" y="271"/>
                  </a:lnTo>
                  <a:lnTo>
                    <a:pt x="120" y="272"/>
                  </a:lnTo>
                  <a:lnTo>
                    <a:pt x="114" y="274"/>
                  </a:lnTo>
                  <a:lnTo>
                    <a:pt x="107" y="276"/>
                  </a:lnTo>
                  <a:lnTo>
                    <a:pt x="101" y="278"/>
                  </a:lnTo>
                  <a:lnTo>
                    <a:pt x="93" y="278"/>
                  </a:lnTo>
                  <a:lnTo>
                    <a:pt x="88" y="280"/>
                  </a:lnTo>
                  <a:lnTo>
                    <a:pt x="84" y="282"/>
                  </a:lnTo>
                  <a:lnTo>
                    <a:pt x="80" y="282"/>
                  </a:lnTo>
                  <a:lnTo>
                    <a:pt x="76" y="284"/>
                  </a:lnTo>
                  <a:lnTo>
                    <a:pt x="72" y="286"/>
                  </a:lnTo>
                  <a:lnTo>
                    <a:pt x="72" y="286"/>
                  </a:lnTo>
                  <a:lnTo>
                    <a:pt x="69" y="292"/>
                  </a:lnTo>
                  <a:lnTo>
                    <a:pt x="63" y="299"/>
                  </a:lnTo>
                  <a:lnTo>
                    <a:pt x="57" y="305"/>
                  </a:lnTo>
                  <a:lnTo>
                    <a:pt x="53" y="313"/>
                  </a:lnTo>
                  <a:lnTo>
                    <a:pt x="50" y="318"/>
                  </a:lnTo>
                  <a:lnTo>
                    <a:pt x="46" y="326"/>
                  </a:lnTo>
                  <a:lnTo>
                    <a:pt x="42" y="333"/>
                  </a:lnTo>
                  <a:lnTo>
                    <a:pt x="38" y="339"/>
                  </a:lnTo>
                  <a:lnTo>
                    <a:pt x="32" y="347"/>
                  </a:lnTo>
                  <a:lnTo>
                    <a:pt x="29" y="353"/>
                  </a:lnTo>
                  <a:lnTo>
                    <a:pt x="25" y="360"/>
                  </a:lnTo>
                  <a:lnTo>
                    <a:pt x="21" y="368"/>
                  </a:lnTo>
                  <a:lnTo>
                    <a:pt x="17" y="374"/>
                  </a:lnTo>
                  <a:lnTo>
                    <a:pt x="11" y="379"/>
                  </a:lnTo>
                  <a:lnTo>
                    <a:pt x="6" y="387"/>
                  </a:lnTo>
                  <a:lnTo>
                    <a:pt x="0" y="393"/>
                  </a:lnTo>
                  <a:lnTo>
                    <a:pt x="0" y="393"/>
                  </a:lnTo>
                  <a:lnTo>
                    <a:pt x="2" y="395"/>
                  </a:lnTo>
                  <a:lnTo>
                    <a:pt x="4" y="396"/>
                  </a:lnTo>
                  <a:lnTo>
                    <a:pt x="8" y="398"/>
                  </a:lnTo>
                  <a:lnTo>
                    <a:pt x="9" y="400"/>
                  </a:lnTo>
                  <a:lnTo>
                    <a:pt x="11" y="402"/>
                  </a:lnTo>
                  <a:lnTo>
                    <a:pt x="13" y="404"/>
                  </a:lnTo>
                  <a:lnTo>
                    <a:pt x="13" y="406"/>
                  </a:lnTo>
                  <a:lnTo>
                    <a:pt x="13" y="408"/>
                  </a:lnTo>
                  <a:lnTo>
                    <a:pt x="13" y="408"/>
                  </a:lnTo>
                  <a:lnTo>
                    <a:pt x="15" y="412"/>
                  </a:lnTo>
                  <a:lnTo>
                    <a:pt x="15" y="414"/>
                  </a:lnTo>
                  <a:lnTo>
                    <a:pt x="15" y="417"/>
                  </a:lnTo>
                  <a:lnTo>
                    <a:pt x="15" y="419"/>
                  </a:lnTo>
                  <a:lnTo>
                    <a:pt x="15" y="423"/>
                  </a:lnTo>
                  <a:lnTo>
                    <a:pt x="15" y="427"/>
                  </a:lnTo>
                  <a:lnTo>
                    <a:pt x="13" y="433"/>
                  </a:lnTo>
                  <a:lnTo>
                    <a:pt x="13" y="437"/>
                  </a:lnTo>
                  <a:lnTo>
                    <a:pt x="13" y="437"/>
                  </a:lnTo>
                  <a:lnTo>
                    <a:pt x="15" y="448"/>
                  </a:lnTo>
                  <a:lnTo>
                    <a:pt x="17" y="459"/>
                  </a:lnTo>
                  <a:lnTo>
                    <a:pt x="19" y="471"/>
                  </a:lnTo>
                  <a:lnTo>
                    <a:pt x="21" y="482"/>
                  </a:lnTo>
                  <a:lnTo>
                    <a:pt x="25" y="494"/>
                  </a:lnTo>
                  <a:lnTo>
                    <a:pt x="29" y="505"/>
                  </a:lnTo>
                  <a:lnTo>
                    <a:pt x="34" y="517"/>
                  </a:lnTo>
                  <a:lnTo>
                    <a:pt x="40" y="526"/>
                  </a:lnTo>
                  <a:lnTo>
                    <a:pt x="46" y="538"/>
                  </a:lnTo>
                  <a:lnTo>
                    <a:pt x="51" y="547"/>
                  </a:lnTo>
                  <a:lnTo>
                    <a:pt x="57" y="557"/>
                  </a:lnTo>
                  <a:lnTo>
                    <a:pt x="63" y="566"/>
                  </a:lnTo>
                  <a:lnTo>
                    <a:pt x="69" y="576"/>
                  </a:lnTo>
                  <a:lnTo>
                    <a:pt x="74" y="583"/>
                  </a:lnTo>
                  <a:lnTo>
                    <a:pt x="80" y="591"/>
                  </a:lnTo>
                  <a:lnTo>
                    <a:pt x="86" y="599"/>
                  </a:lnTo>
                  <a:lnTo>
                    <a:pt x="86" y="599"/>
                  </a:lnTo>
                  <a:lnTo>
                    <a:pt x="90" y="602"/>
                  </a:lnTo>
                  <a:lnTo>
                    <a:pt x="93" y="606"/>
                  </a:lnTo>
                  <a:lnTo>
                    <a:pt x="97" y="610"/>
                  </a:lnTo>
                  <a:lnTo>
                    <a:pt x="101" y="614"/>
                  </a:lnTo>
                  <a:lnTo>
                    <a:pt x="107" y="618"/>
                  </a:lnTo>
                  <a:lnTo>
                    <a:pt x="111" y="620"/>
                  </a:lnTo>
                  <a:lnTo>
                    <a:pt x="116" y="623"/>
                  </a:lnTo>
                  <a:lnTo>
                    <a:pt x="120" y="627"/>
                  </a:lnTo>
                  <a:lnTo>
                    <a:pt x="124" y="631"/>
                  </a:lnTo>
                  <a:lnTo>
                    <a:pt x="130" y="635"/>
                  </a:lnTo>
                  <a:lnTo>
                    <a:pt x="132" y="639"/>
                  </a:lnTo>
                  <a:lnTo>
                    <a:pt x="135" y="644"/>
                  </a:lnTo>
                  <a:lnTo>
                    <a:pt x="137" y="650"/>
                  </a:lnTo>
                  <a:lnTo>
                    <a:pt x="141" y="656"/>
                  </a:lnTo>
                  <a:lnTo>
                    <a:pt x="141" y="664"/>
                  </a:lnTo>
                  <a:lnTo>
                    <a:pt x="141" y="671"/>
                  </a:lnTo>
                  <a:lnTo>
                    <a:pt x="141" y="671"/>
                  </a:lnTo>
                  <a:lnTo>
                    <a:pt x="145" y="662"/>
                  </a:lnTo>
                  <a:lnTo>
                    <a:pt x="149" y="654"/>
                  </a:lnTo>
                  <a:lnTo>
                    <a:pt x="151" y="644"/>
                  </a:lnTo>
                  <a:lnTo>
                    <a:pt x="154" y="635"/>
                  </a:lnTo>
                  <a:lnTo>
                    <a:pt x="156" y="627"/>
                  </a:lnTo>
                  <a:lnTo>
                    <a:pt x="160" y="620"/>
                  </a:lnTo>
                  <a:lnTo>
                    <a:pt x="164" y="612"/>
                  </a:lnTo>
                  <a:lnTo>
                    <a:pt x="168" y="604"/>
                  </a:lnTo>
                  <a:lnTo>
                    <a:pt x="172" y="597"/>
                  </a:lnTo>
                  <a:lnTo>
                    <a:pt x="177" y="591"/>
                  </a:lnTo>
                  <a:lnTo>
                    <a:pt x="183" y="585"/>
                  </a:lnTo>
                  <a:lnTo>
                    <a:pt x="191" y="581"/>
                  </a:lnTo>
                  <a:lnTo>
                    <a:pt x="198" y="578"/>
                  </a:lnTo>
                  <a:lnTo>
                    <a:pt x="210" y="576"/>
                  </a:lnTo>
                  <a:lnTo>
                    <a:pt x="219" y="574"/>
                  </a:lnTo>
                  <a:lnTo>
                    <a:pt x="233" y="574"/>
                  </a:lnTo>
                  <a:lnTo>
                    <a:pt x="233" y="574"/>
                  </a:lnTo>
                  <a:lnTo>
                    <a:pt x="240" y="574"/>
                  </a:lnTo>
                  <a:lnTo>
                    <a:pt x="246" y="574"/>
                  </a:lnTo>
                  <a:lnTo>
                    <a:pt x="254" y="574"/>
                  </a:lnTo>
                  <a:lnTo>
                    <a:pt x="259" y="574"/>
                  </a:lnTo>
                  <a:lnTo>
                    <a:pt x="265" y="576"/>
                  </a:lnTo>
                  <a:lnTo>
                    <a:pt x="271" y="578"/>
                  </a:lnTo>
                  <a:lnTo>
                    <a:pt x="277" y="580"/>
                  </a:lnTo>
                  <a:lnTo>
                    <a:pt x="284" y="581"/>
                  </a:lnTo>
                  <a:lnTo>
                    <a:pt x="339" y="581"/>
                  </a:lnTo>
                  <a:lnTo>
                    <a:pt x="339" y="581"/>
                  </a:lnTo>
                  <a:lnTo>
                    <a:pt x="339" y="578"/>
                  </a:lnTo>
                  <a:lnTo>
                    <a:pt x="339" y="576"/>
                  </a:lnTo>
                  <a:lnTo>
                    <a:pt x="339" y="572"/>
                  </a:lnTo>
                  <a:lnTo>
                    <a:pt x="339" y="570"/>
                  </a:lnTo>
                  <a:lnTo>
                    <a:pt x="339" y="566"/>
                  </a:lnTo>
                  <a:lnTo>
                    <a:pt x="339" y="564"/>
                  </a:lnTo>
                  <a:lnTo>
                    <a:pt x="339" y="561"/>
                  </a:lnTo>
                  <a:lnTo>
                    <a:pt x="339" y="557"/>
                  </a:lnTo>
                  <a:lnTo>
                    <a:pt x="339" y="557"/>
                  </a:lnTo>
                  <a:lnTo>
                    <a:pt x="339" y="549"/>
                  </a:lnTo>
                  <a:lnTo>
                    <a:pt x="339" y="541"/>
                  </a:lnTo>
                  <a:lnTo>
                    <a:pt x="343" y="534"/>
                  </a:lnTo>
                  <a:lnTo>
                    <a:pt x="345" y="524"/>
                  </a:lnTo>
                  <a:lnTo>
                    <a:pt x="349" y="517"/>
                  </a:lnTo>
                  <a:lnTo>
                    <a:pt x="353" y="507"/>
                  </a:lnTo>
                  <a:lnTo>
                    <a:pt x="357" y="499"/>
                  </a:lnTo>
                  <a:lnTo>
                    <a:pt x="362" y="492"/>
                  </a:lnTo>
                  <a:lnTo>
                    <a:pt x="368" y="484"/>
                  </a:lnTo>
                  <a:lnTo>
                    <a:pt x="374" y="478"/>
                  </a:lnTo>
                  <a:lnTo>
                    <a:pt x="381" y="473"/>
                  </a:lnTo>
                  <a:lnTo>
                    <a:pt x="387" y="467"/>
                  </a:lnTo>
                  <a:lnTo>
                    <a:pt x="395" y="463"/>
                  </a:lnTo>
                  <a:lnTo>
                    <a:pt x="401" y="459"/>
                  </a:lnTo>
                  <a:lnTo>
                    <a:pt x="408" y="457"/>
                  </a:lnTo>
                  <a:lnTo>
                    <a:pt x="416" y="457"/>
                  </a:lnTo>
                  <a:lnTo>
                    <a:pt x="416" y="457"/>
                  </a:lnTo>
                  <a:lnTo>
                    <a:pt x="427" y="459"/>
                  </a:lnTo>
                  <a:lnTo>
                    <a:pt x="437" y="465"/>
                  </a:lnTo>
                  <a:lnTo>
                    <a:pt x="444" y="471"/>
                  </a:lnTo>
                  <a:lnTo>
                    <a:pt x="452" y="480"/>
                  </a:lnTo>
                  <a:lnTo>
                    <a:pt x="460" y="490"/>
                  </a:lnTo>
                  <a:lnTo>
                    <a:pt x="467" y="498"/>
                  </a:lnTo>
                  <a:lnTo>
                    <a:pt x="473" y="505"/>
                  </a:lnTo>
                  <a:lnTo>
                    <a:pt x="481" y="511"/>
                  </a:lnTo>
                  <a:lnTo>
                    <a:pt x="481" y="511"/>
                  </a:lnTo>
                  <a:lnTo>
                    <a:pt x="486" y="513"/>
                  </a:lnTo>
                  <a:lnTo>
                    <a:pt x="494" y="517"/>
                  </a:lnTo>
                  <a:lnTo>
                    <a:pt x="502" y="520"/>
                  </a:lnTo>
                  <a:lnTo>
                    <a:pt x="511" y="522"/>
                  </a:lnTo>
                  <a:lnTo>
                    <a:pt x="521" y="526"/>
                  </a:lnTo>
                  <a:lnTo>
                    <a:pt x="528" y="528"/>
                  </a:lnTo>
                  <a:lnTo>
                    <a:pt x="538" y="530"/>
                  </a:lnTo>
                  <a:lnTo>
                    <a:pt x="547" y="532"/>
                  </a:lnTo>
                  <a:lnTo>
                    <a:pt x="557" y="534"/>
                  </a:lnTo>
                  <a:lnTo>
                    <a:pt x="566" y="536"/>
                  </a:lnTo>
                  <a:lnTo>
                    <a:pt x="576" y="538"/>
                  </a:lnTo>
                  <a:lnTo>
                    <a:pt x="586" y="538"/>
                  </a:lnTo>
                  <a:lnTo>
                    <a:pt x="595" y="540"/>
                  </a:lnTo>
                  <a:lnTo>
                    <a:pt x="605" y="540"/>
                  </a:lnTo>
                  <a:lnTo>
                    <a:pt x="612" y="540"/>
                  </a:lnTo>
                  <a:lnTo>
                    <a:pt x="620" y="540"/>
                  </a:lnTo>
                  <a:lnTo>
                    <a:pt x="620" y="540"/>
                  </a:lnTo>
                  <a:lnTo>
                    <a:pt x="628" y="540"/>
                  </a:lnTo>
                  <a:lnTo>
                    <a:pt x="633" y="538"/>
                  </a:lnTo>
                  <a:lnTo>
                    <a:pt x="639" y="536"/>
                  </a:lnTo>
                  <a:lnTo>
                    <a:pt x="643" y="532"/>
                  </a:lnTo>
                  <a:lnTo>
                    <a:pt x="647" y="528"/>
                  </a:lnTo>
                  <a:lnTo>
                    <a:pt x="650" y="524"/>
                  </a:lnTo>
                  <a:lnTo>
                    <a:pt x="654" y="520"/>
                  </a:lnTo>
                  <a:lnTo>
                    <a:pt x="656" y="515"/>
                  </a:lnTo>
                  <a:lnTo>
                    <a:pt x="660" y="511"/>
                  </a:lnTo>
                  <a:lnTo>
                    <a:pt x="664" y="507"/>
                  </a:lnTo>
                  <a:lnTo>
                    <a:pt x="666" y="501"/>
                  </a:lnTo>
                  <a:lnTo>
                    <a:pt x="669" y="499"/>
                  </a:lnTo>
                  <a:lnTo>
                    <a:pt x="675" y="496"/>
                  </a:lnTo>
                  <a:lnTo>
                    <a:pt x="681" y="492"/>
                  </a:lnTo>
                  <a:lnTo>
                    <a:pt x="687" y="492"/>
                  </a:lnTo>
                  <a:lnTo>
                    <a:pt x="692" y="490"/>
                  </a:lnTo>
                  <a:lnTo>
                    <a:pt x="692" y="490"/>
                  </a:lnTo>
                  <a:lnTo>
                    <a:pt x="694" y="492"/>
                  </a:lnTo>
                  <a:lnTo>
                    <a:pt x="698" y="492"/>
                  </a:lnTo>
                  <a:lnTo>
                    <a:pt x="700" y="494"/>
                  </a:lnTo>
                  <a:lnTo>
                    <a:pt x="704" y="496"/>
                  </a:lnTo>
                  <a:lnTo>
                    <a:pt x="706" y="496"/>
                  </a:lnTo>
                  <a:lnTo>
                    <a:pt x="708" y="498"/>
                  </a:lnTo>
                  <a:lnTo>
                    <a:pt x="711" y="499"/>
                  </a:lnTo>
                  <a:lnTo>
                    <a:pt x="715" y="499"/>
                  </a:lnTo>
                  <a:lnTo>
                    <a:pt x="715" y="499"/>
                  </a:lnTo>
                  <a:lnTo>
                    <a:pt x="721" y="499"/>
                  </a:lnTo>
                  <a:lnTo>
                    <a:pt x="727" y="498"/>
                  </a:lnTo>
                  <a:lnTo>
                    <a:pt x="732" y="496"/>
                  </a:lnTo>
                  <a:lnTo>
                    <a:pt x="738" y="494"/>
                  </a:lnTo>
                  <a:lnTo>
                    <a:pt x="744" y="492"/>
                  </a:lnTo>
                  <a:lnTo>
                    <a:pt x="750" y="490"/>
                  </a:lnTo>
                  <a:lnTo>
                    <a:pt x="755" y="486"/>
                  </a:lnTo>
                  <a:lnTo>
                    <a:pt x="761" y="484"/>
                  </a:lnTo>
                  <a:lnTo>
                    <a:pt x="767" y="480"/>
                  </a:lnTo>
                  <a:lnTo>
                    <a:pt x="771" y="478"/>
                  </a:lnTo>
                  <a:lnTo>
                    <a:pt x="776" y="477"/>
                  </a:lnTo>
                  <a:lnTo>
                    <a:pt x="782" y="473"/>
                  </a:lnTo>
                  <a:lnTo>
                    <a:pt x="786" y="471"/>
                  </a:lnTo>
                  <a:lnTo>
                    <a:pt x="792" y="469"/>
                  </a:lnTo>
                  <a:lnTo>
                    <a:pt x="797" y="467"/>
                  </a:lnTo>
                  <a:lnTo>
                    <a:pt x="803" y="467"/>
                  </a:lnTo>
                  <a:lnTo>
                    <a:pt x="803" y="467"/>
                  </a:lnTo>
                  <a:lnTo>
                    <a:pt x="805" y="471"/>
                  </a:lnTo>
                  <a:lnTo>
                    <a:pt x="807" y="475"/>
                  </a:lnTo>
                  <a:lnTo>
                    <a:pt x="811" y="477"/>
                  </a:lnTo>
                  <a:lnTo>
                    <a:pt x="813" y="477"/>
                  </a:lnTo>
                  <a:lnTo>
                    <a:pt x="816" y="477"/>
                  </a:lnTo>
                  <a:lnTo>
                    <a:pt x="820" y="477"/>
                  </a:lnTo>
                  <a:lnTo>
                    <a:pt x="824" y="475"/>
                  </a:lnTo>
                  <a:lnTo>
                    <a:pt x="830" y="475"/>
                  </a:lnTo>
                  <a:lnTo>
                    <a:pt x="830" y="475"/>
                  </a:lnTo>
                  <a:lnTo>
                    <a:pt x="839" y="475"/>
                  </a:lnTo>
                  <a:lnTo>
                    <a:pt x="847" y="475"/>
                  </a:lnTo>
                  <a:lnTo>
                    <a:pt x="855" y="473"/>
                  </a:lnTo>
                  <a:lnTo>
                    <a:pt x="858" y="469"/>
                  </a:lnTo>
                  <a:lnTo>
                    <a:pt x="862" y="465"/>
                  </a:lnTo>
                  <a:lnTo>
                    <a:pt x="866" y="461"/>
                  </a:lnTo>
                  <a:lnTo>
                    <a:pt x="868" y="454"/>
                  </a:lnTo>
                  <a:lnTo>
                    <a:pt x="868" y="446"/>
                  </a:lnTo>
                  <a:lnTo>
                    <a:pt x="868" y="446"/>
                  </a:lnTo>
                  <a:lnTo>
                    <a:pt x="876" y="444"/>
                  </a:lnTo>
                  <a:lnTo>
                    <a:pt x="883" y="444"/>
                  </a:lnTo>
                  <a:lnTo>
                    <a:pt x="891" y="446"/>
                  </a:lnTo>
                  <a:lnTo>
                    <a:pt x="896" y="446"/>
                  </a:lnTo>
                  <a:lnTo>
                    <a:pt x="904" y="448"/>
                  </a:lnTo>
                  <a:lnTo>
                    <a:pt x="910" y="450"/>
                  </a:lnTo>
                  <a:lnTo>
                    <a:pt x="916" y="452"/>
                  </a:lnTo>
                  <a:lnTo>
                    <a:pt x="923" y="454"/>
                  </a:lnTo>
                  <a:lnTo>
                    <a:pt x="929" y="456"/>
                  </a:lnTo>
                  <a:lnTo>
                    <a:pt x="935" y="457"/>
                  </a:lnTo>
                  <a:lnTo>
                    <a:pt x="940" y="461"/>
                  </a:lnTo>
                  <a:lnTo>
                    <a:pt x="948" y="463"/>
                  </a:lnTo>
                  <a:lnTo>
                    <a:pt x="954" y="465"/>
                  </a:lnTo>
                  <a:lnTo>
                    <a:pt x="961" y="465"/>
                  </a:lnTo>
                  <a:lnTo>
                    <a:pt x="969" y="467"/>
                  </a:lnTo>
                  <a:lnTo>
                    <a:pt x="977" y="467"/>
                  </a:lnTo>
                  <a:lnTo>
                    <a:pt x="977" y="467"/>
                  </a:lnTo>
                  <a:lnTo>
                    <a:pt x="984" y="467"/>
                  </a:lnTo>
                  <a:lnTo>
                    <a:pt x="992" y="465"/>
                  </a:lnTo>
                  <a:lnTo>
                    <a:pt x="996" y="465"/>
                  </a:lnTo>
                  <a:lnTo>
                    <a:pt x="1001" y="463"/>
                  </a:lnTo>
                  <a:lnTo>
                    <a:pt x="1007" y="461"/>
                  </a:lnTo>
                  <a:lnTo>
                    <a:pt x="1011" y="459"/>
                  </a:lnTo>
                  <a:lnTo>
                    <a:pt x="1017" y="457"/>
                  </a:lnTo>
                  <a:lnTo>
                    <a:pt x="1024" y="457"/>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8" name="Freeform 32"/>
            <p:cNvSpPr>
              <a:spLocks/>
            </p:cNvSpPr>
            <p:nvPr/>
          </p:nvSpPr>
          <p:spPr bwMode="gray">
            <a:xfrm>
              <a:off x="2052" y="2200"/>
              <a:ext cx="351" cy="386"/>
            </a:xfrm>
            <a:custGeom>
              <a:avLst/>
              <a:gdLst/>
              <a:ahLst/>
              <a:cxnLst>
                <a:cxn ang="0">
                  <a:pos x="409" y="126"/>
                </a:cxn>
                <a:cxn ang="0">
                  <a:pos x="391" y="143"/>
                </a:cxn>
                <a:cxn ang="0">
                  <a:pos x="357" y="133"/>
                </a:cxn>
                <a:cxn ang="0">
                  <a:pos x="306" y="120"/>
                </a:cxn>
                <a:cxn ang="0">
                  <a:pos x="254" y="109"/>
                </a:cxn>
                <a:cxn ang="0">
                  <a:pos x="206" y="111"/>
                </a:cxn>
                <a:cxn ang="0">
                  <a:pos x="176" y="131"/>
                </a:cxn>
                <a:cxn ang="0">
                  <a:pos x="170" y="168"/>
                </a:cxn>
                <a:cxn ang="0">
                  <a:pos x="170" y="208"/>
                </a:cxn>
                <a:cxn ang="0">
                  <a:pos x="201" y="200"/>
                </a:cxn>
                <a:cxn ang="0">
                  <a:pos x="229" y="191"/>
                </a:cxn>
                <a:cxn ang="0">
                  <a:pos x="262" y="204"/>
                </a:cxn>
                <a:cxn ang="0">
                  <a:pos x="264" y="248"/>
                </a:cxn>
                <a:cxn ang="0">
                  <a:pos x="224" y="294"/>
                </a:cxn>
                <a:cxn ang="0">
                  <a:pos x="277" y="338"/>
                </a:cxn>
                <a:cxn ang="0">
                  <a:pos x="275" y="385"/>
                </a:cxn>
                <a:cxn ang="0">
                  <a:pos x="262" y="442"/>
                </a:cxn>
                <a:cxn ang="0">
                  <a:pos x="252" y="473"/>
                </a:cxn>
                <a:cxn ang="0">
                  <a:pos x="239" y="488"/>
                </a:cxn>
                <a:cxn ang="0">
                  <a:pos x="225" y="469"/>
                </a:cxn>
                <a:cxn ang="0">
                  <a:pos x="203" y="479"/>
                </a:cxn>
                <a:cxn ang="0">
                  <a:pos x="163" y="471"/>
                </a:cxn>
                <a:cxn ang="0">
                  <a:pos x="132" y="444"/>
                </a:cxn>
                <a:cxn ang="0">
                  <a:pos x="105" y="477"/>
                </a:cxn>
                <a:cxn ang="0">
                  <a:pos x="54" y="484"/>
                </a:cxn>
                <a:cxn ang="0">
                  <a:pos x="46" y="524"/>
                </a:cxn>
                <a:cxn ang="0">
                  <a:pos x="50" y="549"/>
                </a:cxn>
                <a:cxn ang="0">
                  <a:pos x="73" y="566"/>
                </a:cxn>
                <a:cxn ang="0">
                  <a:pos x="63" y="586"/>
                </a:cxn>
                <a:cxn ang="0">
                  <a:pos x="50" y="578"/>
                </a:cxn>
                <a:cxn ang="0">
                  <a:pos x="25" y="582"/>
                </a:cxn>
                <a:cxn ang="0">
                  <a:pos x="2" y="607"/>
                </a:cxn>
                <a:cxn ang="0">
                  <a:pos x="40" y="650"/>
                </a:cxn>
                <a:cxn ang="0">
                  <a:pos x="84" y="694"/>
                </a:cxn>
                <a:cxn ang="0">
                  <a:pos x="122" y="671"/>
                </a:cxn>
                <a:cxn ang="0">
                  <a:pos x="149" y="662"/>
                </a:cxn>
                <a:cxn ang="0">
                  <a:pos x="164" y="671"/>
                </a:cxn>
                <a:cxn ang="0">
                  <a:pos x="191" y="681"/>
                </a:cxn>
                <a:cxn ang="0">
                  <a:pos x="239" y="656"/>
                </a:cxn>
                <a:cxn ang="0">
                  <a:pos x="267" y="656"/>
                </a:cxn>
                <a:cxn ang="0">
                  <a:pos x="264" y="679"/>
                </a:cxn>
                <a:cxn ang="0">
                  <a:pos x="290" y="696"/>
                </a:cxn>
                <a:cxn ang="0">
                  <a:pos x="346" y="666"/>
                </a:cxn>
                <a:cxn ang="0">
                  <a:pos x="372" y="628"/>
                </a:cxn>
                <a:cxn ang="0">
                  <a:pos x="412" y="601"/>
                </a:cxn>
                <a:cxn ang="0">
                  <a:pos x="424" y="551"/>
                </a:cxn>
                <a:cxn ang="0">
                  <a:pos x="428" y="498"/>
                </a:cxn>
                <a:cxn ang="0">
                  <a:pos x="449" y="441"/>
                </a:cxn>
                <a:cxn ang="0">
                  <a:pos x="498" y="387"/>
                </a:cxn>
                <a:cxn ang="0">
                  <a:pos x="525" y="351"/>
                </a:cxn>
                <a:cxn ang="0">
                  <a:pos x="546" y="307"/>
                </a:cxn>
                <a:cxn ang="0">
                  <a:pos x="561" y="208"/>
                </a:cxn>
                <a:cxn ang="0">
                  <a:pos x="567" y="177"/>
                </a:cxn>
                <a:cxn ang="0">
                  <a:pos x="575" y="147"/>
                </a:cxn>
                <a:cxn ang="0">
                  <a:pos x="584" y="112"/>
                </a:cxn>
                <a:cxn ang="0">
                  <a:pos x="616" y="67"/>
                </a:cxn>
                <a:cxn ang="0">
                  <a:pos x="618" y="15"/>
                </a:cxn>
                <a:cxn ang="0">
                  <a:pos x="536" y="0"/>
                </a:cxn>
                <a:cxn ang="0">
                  <a:pos x="487" y="2"/>
                </a:cxn>
                <a:cxn ang="0">
                  <a:pos x="441" y="38"/>
                </a:cxn>
                <a:cxn ang="0">
                  <a:pos x="418" y="97"/>
                </a:cxn>
              </a:cxnLst>
              <a:rect l="0" t="0" r="r" b="b"/>
              <a:pathLst>
                <a:path w="620" h="702">
                  <a:moveTo>
                    <a:pt x="418" y="90"/>
                  </a:moveTo>
                  <a:lnTo>
                    <a:pt x="418" y="90"/>
                  </a:lnTo>
                  <a:lnTo>
                    <a:pt x="414" y="97"/>
                  </a:lnTo>
                  <a:lnTo>
                    <a:pt x="412" y="103"/>
                  </a:lnTo>
                  <a:lnTo>
                    <a:pt x="410" y="111"/>
                  </a:lnTo>
                  <a:lnTo>
                    <a:pt x="409" y="118"/>
                  </a:lnTo>
                  <a:lnTo>
                    <a:pt x="409" y="126"/>
                  </a:lnTo>
                  <a:lnTo>
                    <a:pt x="407" y="133"/>
                  </a:lnTo>
                  <a:lnTo>
                    <a:pt x="405" y="141"/>
                  </a:lnTo>
                  <a:lnTo>
                    <a:pt x="401" y="149"/>
                  </a:lnTo>
                  <a:lnTo>
                    <a:pt x="401" y="149"/>
                  </a:lnTo>
                  <a:lnTo>
                    <a:pt x="399" y="147"/>
                  </a:lnTo>
                  <a:lnTo>
                    <a:pt x="395" y="145"/>
                  </a:lnTo>
                  <a:lnTo>
                    <a:pt x="391" y="143"/>
                  </a:lnTo>
                  <a:lnTo>
                    <a:pt x="388" y="139"/>
                  </a:lnTo>
                  <a:lnTo>
                    <a:pt x="382" y="137"/>
                  </a:lnTo>
                  <a:lnTo>
                    <a:pt x="376" y="137"/>
                  </a:lnTo>
                  <a:lnTo>
                    <a:pt x="370" y="135"/>
                  </a:lnTo>
                  <a:lnTo>
                    <a:pt x="365" y="135"/>
                  </a:lnTo>
                  <a:lnTo>
                    <a:pt x="365" y="135"/>
                  </a:lnTo>
                  <a:lnTo>
                    <a:pt x="357" y="133"/>
                  </a:lnTo>
                  <a:lnTo>
                    <a:pt x="348" y="133"/>
                  </a:lnTo>
                  <a:lnTo>
                    <a:pt x="340" y="131"/>
                  </a:lnTo>
                  <a:lnTo>
                    <a:pt x="332" y="130"/>
                  </a:lnTo>
                  <a:lnTo>
                    <a:pt x="325" y="128"/>
                  </a:lnTo>
                  <a:lnTo>
                    <a:pt x="319" y="126"/>
                  </a:lnTo>
                  <a:lnTo>
                    <a:pt x="313" y="124"/>
                  </a:lnTo>
                  <a:lnTo>
                    <a:pt x="306" y="120"/>
                  </a:lnTo>
                  <a:lnTo>
                    <a:pt x="300" y="118"/>
                  </a:lnTo>
                  <a:lnTo>
                    <a:pt x="292" y="116"/>
                  </a:lnTo>
                  <a:lnTo>
                    <a:pt x="286" y="114"/>
                  </a:lnTo>
                  <a:lnTo>
                    <a:pt x="279" y="112"/>
                  </a:lnTo>
                  <a:lnTo>
                    <a:pt x="271" y="111"/>
                  </a:lnTo>
                  <a:lnTo>
                    <a:pt x="264" y="109"/>
                  </a:lnTo>
                  <a:lnTo>
                    <a:pt x="254" y="109"/>
                  </a:lnTo>
                  <a:lnTo>
                    <a:pt x="245" y="107"/>
                  </a:lnTo>
                  <a:lnTo>
                    <a:pt x="245" y="107"/>
                  </a:lnTo>
                  <a:lnTo>
                    <a:pt x="235" y="107"/>
                  </a:lnTo>
                  <a:lnTo>
                    <a:pt x="227" y="109"/>
                  </a:lnTo>
                  <a:lnTo>
                    <a:pt x="220" y="109"/>
                  </a:lnTo>
                  <a:lnTo>
                    <a:pt x="214" y="109"/>
                  </a:lnTo>
                  <a:lnTo>
                    <a:pt x="206" y="111"/>
                  </a:lnTo>
                  <a:lnTo>
                    <a:pt x="201" y="112"/>
                  </a:lnTo>
                  <a:lnTo>
                    <a:pt x="195" y="114"/>
                  </a:lnTo>
                  <a:lnTo>
                    <a:pt x="191" y="116"/>
                  </a:lnTo>
                  <a:lnTo>
                    <a:pt x="185" y="120"/>
                  </a:lnTo>
                  <a:lnTo>
                    <a:pt x="182" y="124"/>
                  </a:lnTo>
                  <a:lnTo>
                    <a:pt x="180" y="128"/>
                  </a:lnTo>
                  <a:lnTo>
                    <a:pt x="176" y="131"/>
                  </a:lnTo>
                  <a:lnTo>
                    <a:pt x="174" y="137"/>
                  </a:lnTo>
                  <a:lnTo>
                    <a:pt x="172" y="143"/>
                  </a:lnTo>
                  <a:lnTo>
                    <a:pt x="172" y="151"/>
                  </a:lnTo>
                  <a:lnTo>
                    <a:pt x="170" y="158"/>
                  </a:lnTo>
                  <a:lnTo>
                    <a:pt x="170" y="158"/>
                  </a:lnTo>
                  <a:lnTo>
                    <a:pt x="170" y="162"/>
                  </a:lnTo>
                  <a:lnTo>
                    <a:pt x="170" y="168"/>
                  </a:lnTo>
                  <a:lnTo>
                    <a:pt x="170" y="173"/>
                  </a:lnTo>
                  <a:lnTo>
                    <a:pt x="170" y="179"/>
                  </a:lnTo>
                  <a:lnTo>
                    <a:pt x="170" y="187"/>
                  </a:lnTo>
                  <a:lnTo>
                    <a:pt x="170" y="193"/>
                  </a:lnTo>
                  <a:lnTo>
                    <a:pt x="170" y="200"/>
                  </a:lnTo>
                  <a:lnTo>
                    <a:pt x="170" y="208"/>
                  </a:lnTo>
                  <a:lnTo>
                    <a:pt x="170" y="208"/>
                  </a:lnTo>
                  <a:lnTo>
                    <a:pt x="176" y="208"/>
                  </a:lnTo>
                  <a:lnTo>
                    <a:pt x="180" y="208"/>
                  </a:lnTo>
                  <a:lnTo>
                    <a:pt x="185" y="206"/>
                  </a:lnTo>
                  <a:lnTo>
                    <a:pt x="189" y="206"/>
                  </a:lnTo>
                  <a:lnTo>
                    <a:pt x="193" y="204"/>
                  </a:lnTo>
                  <a:lnTo>
                    <a:pt x="197" y="202"/>
                  </a:lnTo>
                  <a:lnTo>
                    <a:pt x="201" y="200"/>
                  </a:lnTo>
                  <a:lnTo>
                    <a:pt x="204" y="198"/>
                  </a:lnTo>
                  <a:lnTo>
                    <a:pt x="208" y="196"/>
                  </a:lnTo>
                  <a:lnTo>
                    <a:pt x="212" y="196"/>
                  </a:lnTo>
                  <a:lnTo>
                    <a:pt x="216" y="194"/>
                  </a:lnTo>
                  <a:lnTo>
                    <a:pt x="220" y="193"/>
                  </a:lnTo>
                  <a:lnTo>
                    <a:pt x="225" y="193"/>
                  </a:lnTo>
                  <a:lnTo>
                    <a:pt x="229" y="191"/>
                  </a:lnTo>
                  <a:lnTo>
                    <a:pt x="233" y="191"/>
                  </a:lnTo>
                  <a:lnTo>
                    <a:pt x="239" y="191"/>
                  </a:lnTo>
                  <a:lnTo>
                    <a:pt x="239" y="191"/>
                  </a:lnTo>
                  <a:lnTo>
                    <a:pt x="245" y="191"/>
                  </a:lnTo>
                  <a:lnTo>
                    <a:pt x="252" y="194"/>
                  </a:lnTo>
                  <a:lnTo>
                    <a:pt x="258" y="198"/>
                  </a:lnTo>
                  <a:lnTo>
                    <a:pt x="262" y="204"/>
                  </a:lnTo>
                  <a:lnTo>
                    <a:pt x="266" y="210"/>
                  </a:lnTo>
                  <a:lnTo>
                    <a:pt x="269" y="217"/>
                  </a:lnTo>
                  <a:lnTo>
                    <a:pt x="271" y="223"/>
                  </a:lnTo>
                  <a:lnTo>
                    <a:pt x="271" y="231"/>
                  </a:lnTo>
                  <a:lnTo>
                    <a:pt x="271" y="231"/>
                  </a:lnTo>
                  <a:lnTo>
                    <a:pt x="269" y="240"/>
                  </a:lnTo>
                  <a:lnTo>
                    <a:pt x="264" y="248"/>
                  </a:lnTo>
                  <a:lnTo>
                    <a:pt x="256" y="254"/>
                  </a:lnTo>
                  <a:lnTo>
                    <a:pt x="248" y="259"/>
                  </a:lnTo>
                  <a:lnTo>
                    <a:pt x="239" y="265"/>
                  </a:lnTo>
                  <a:lnTo>
                    <a:pt x="231" y="273"/>
                  </a:lnTo>
                  <a:lnTo>
                    <a:pt x="225" y="282"/>
                  </a:lnTo>
                  <a:lnTo>
                    <a:pt x="224" y="294"/>
                  </a:lnTo>
                  <a:lnTo>
                    <a:pt x="224" y="294"/>
                  </a:lnTo>
                  <a:lnTo>
                    <a:pt x="227" y="303"/>
                  </a:lnTo>
                  <a:lnTo>
                    <a:pt x="233" y="309"/>
                  </a:lnTo>
                  <a:lnTo>
                    <a:pt x="241" y="315"/>
                  </a:lnTo>
                  <a:lnTo>
                    <a:pt x="252" y="320"/>
                  </a:lnTo>
                  <a:lnTo>
                    <a:pt x="262" y="324"/>
                  </a:lnTo>
                  <a:lnTo>
                    <a:pt x="271" y="330"/>
                  </a:lnTo>
                  <a:lnTo>
                    <a:pt x="277" y="338"/>
                  </a:lnTo>
                  <a:lnTo>
                    <a:pt x="279" y="347"/>
                  </a:lnTo>
                  <a:lnTo>
                    <a:pt x="279" y="347"/>
                  </a:lnTo>
                  <a:lnTo>
                    <a:pt x="279" y="355"/>
                  </a:lnTo>
                  <a:lnTo>
                    <a:pt x="279" y="362"/>
                  </a:lnTo>
                  <a:lnTo>
                    <a:pt x="279" y="370"/>
                  </a:lnTo>
                  <a:lnTo>
                    <a:pt x="277" y="378"/>
                  </a:lnTo>
                  <a:lnTo>
                    <a:pt x="275" y="385"/>
                  </a:lnTo>
                  <a:lnTo>
                    <a:pt x="273" y="393"/>
                  </a:lnTo>
                  <a:lnTo>
                    <a:pt x="271" y="402"/>
                  </a:lnTo>
                  <a:lnTo>
                    <a:pt x="269" y="410"/>
                  </a:lnTo>
                  <a:lnTo>
                    <a:pt x="267" y="420"/>
                  </a:lnTo>
                  <a:lnTo>
                    <a:pt x="266" y="427"/>
                  </a:lnTo>
                  <a:lnTo>
                    <a:pt x="264" y="435"/>
                  </a:lnTo>
                  <a:lnTo>
                    <a:pt x="262" y="442"/>
                  </a:lnTo>
                  <a:lnTo>
                    <a:pt x="260" y="448"/>
                  </a:lnTo>
                  <a:lnTo>
                    <a:pt x="256" y="454"/>
                  </a:lnTo>
                  <a:lnTo>
                    <a:pt x="256" y="460"/>
                  </a:lnTo>
                  <a:lnTo>
                    <a:pt x="254" y="465"/>
                  </a:lnTo>
                  <a:lnTo>
                    <a:pt x="254" y="465"/>
                  </a:lnTo>
                  <a:lnTo>
                    <a:pt x="252" y="469"/>
                  </a:lnTo>
                  <a:lnTo>
                    <a:pt x="252" y="473"/>
                  </a:lnTo>
                  <a:lnTo>
                    <a:pt x="252" y="477"/>
                  </a:lnTo>
                  <a:lnTo>
                    <a:pt x="250" y="481"/>
                  </a:lnTo>
                  <a:lnTo>
                    <a:pt x="248" y="483"/>
                  </a:lnTo>
                  <a:lnTo>
                    <a:pt x="246" y="486"/>
                  </a:lnTo>
                  <a:lnTo>
                    <a:pt x="243" y="488"/>
                  </a:lnTo>
                  <a:lnTo>
                    <a:pt x="239" y="488"/>
                  </a:lnTo>
                  <a:lnTo>
                    <a:pt x="239" y="488"/>
                  </a:lnTo>
                  <a:lnTo>
                    <a:pt x="239" y="488"/>
                  </a:lnTo>
                  <a:lnTo>
                    <a:pt x="237" y="486"/>
                  </a:lnTo>
                  <a:lnTo>
                    <a:pt x="233" y="483"/>
                  </a:lnTo>
                  <a:lnTo>
                    <a:pt x="231" y="479"/>
                  </a:lnTo>
                  <a:lnTo>
                    <a:pt x="229" y="475"/>
                  </a:lnTo>
                  <a:lnTo>
                    <a:pt x="225" y="473"/>
                  </a:lnTo>
                  <a:lnTo>
                    <a:pt x="225" y="469"/>
                  </a:lnTo>
                  <a:lnTo>
                    <a:pt x="224" y="467"/>
                  </a:lnTo>
                  <a:lnTo>
                    <a:pt x="224" y="467"/>
                  </a:lnTo>
                  <a:lnTo>
                    <a:pt x="218" y="469"/>
                  </a:lnTo>
                  <a:lnTo>
                    <a:pt x="214" y="471"/>
                  </a:lnTo>
                  <a:lnTo>
                    <a:pt x="210" y="473"/>
                  </a:lnTo>
                  <a:lnTo>
                    <a:pt x="206" y="477"/>
                  </a:lnTo>
                  <a:lnTo>
                    <a:pt x="203" y="479"/>
                  </a:lnTo>
                  <a:lnTo>
                    <a:pt x="199" y="481"/>
                  </a:lnTo>
                  <a:lnTo>
                    <a:pt x="193" y="483"/>
                  </a:lnTo>
                  <a:lnTo>
                    <a:pt x="185" y="483"/>
                  </a:lnTo>
                  <a:lnTo>
                    <a:pt x="185" y="483"/>
                  </a:lnTo>
                  <a:lnTo>
                    <a:pt x="176" y="483"/>
                  </a:lnTo>
                  <a:lnTo>
                    <a:pt x="168" y="477"/>
                  </a:lnTo>
                  <a:lnTo>
                    <a:pt x="163" y="471"/>
                  </a:lnTo>
                  <a:lnTo>
                    <a:pt x="159" y="463"/>
                  </a:lnTo>
                  <a:lnTo>
                    <a:pt x="153" y="458"/>
                  </a:lnTo>
                  <a:lnTo>
                    <a:pt x="149" y="450"/>
                  </a:lnTo>
                  <a:lnTo>
                    <a:pt x="143" y="446"/>
                  </a:lnTo>
                  <a:lnTo>
                    <a:pt x="138" y="444"/>
                  </a:lnTo>
                  <a:lnTo>
                    <a:pt x="138" y="444"/>
                  </a:lnTo>
                  <a:lnTo>
                    <a:pt x="132" y="444"/>
                  </a:lnTo>
                  <a:lnTo>
                    <a:pt x="126" y="448"/>
                  </a:lnTo>
                  <a:lnTo>
                    <a:pt x="122" y="452"/>
                  </a:lnTo>
                  <a:lnTo>
                    <a:pt x="119" y="456"/>
                  </a:lnTo>
                  <a:lnTo>
                    <a:pt x="117" y="462"/>
                  </a:lnTo>
                  <a:lnTo>
                    <a:pt x="113" y="467"/>
                  </a:lnTo>
                  <a:lnTo>
                    <a:pt x="109" y="473"/>
                  </a:lnTo>
                  <a:lnTo>
                    <a:pt x="105" y="477"/>
                  </a:lnTo>
                  <a:lnTo>
                    <a:pt x="105" y="477"/>
                  </a:lnTo>
                  <a:lnTo>
                    <a:pt x="98" y="483"/>
                  </a:lnTo>
                  <a:lnTo>
                    <a:pt x="90" y="484"/>
                  </a:lnTo>
                  <a:lnTo>
                    <a:pt x="80" y="483"/>
                  </a:lnTo>
                  <a:lnTo>
                    <a:pt x="71" y="481"/>
                  </a:lnTo>
                  <a:lnTo>
                    <a:pt x="61" y="481"/>
                  </a:lnTo>
                  <a:lnTo>
                    <a:pt x="54" y="484"/>
                  </a:lnTo>
                  <a:lnTo>
                    <a:pt x="48" y="494"/>
                  </a:lnTo>
                  <a:lnTo>
                    <a:pt x="46" y="513"/>
                  </a:lnTo>
                  <a:lnTo>
                    <a:pt x="46" y="513"/>
                  </a:lnTo>
                  <a:lnTo>
                    <a:pt x="46" y="515"/>
                  </a:lnTo>
                  <a:lnTo>
                    <a:pt x="46" y="519"/>
                  </a:lnTo>
                  <a:lnTo>
                    <a:pt x="46" y="523"/>
                  </a:lnTo>
                  <a:lnTo>
                    <a:pt x="46" y="524"/>
                  </a:lnTo>
                  <a:lnTo>
                    <a:pt x="46" y="528"/>
                  </a:lnTo>
                  <a:lnTo>
                    <a:pt x="46" y="532"/>
                  </a:lnTo>
                  <a:lnTo>
                    <a:pt x="46" y="538"/>
                  </a:lnTo>
                  <a:lnTo>
                    <a:pt x="46" y="542"/>
                  </a:lnTo>
                  <a:lnTo>
                    <a:pt x="46" y="542"/>
                  </a:lnTo>
                  <a:lnTo>
                    <a:pt x="48" y="545"/>
                  </a:lnTo>
                  <a:lnTo>
                    <a:pt x="50" y="549"/>
                  </a:lnTo>
                  <a:lnTo>
                    <a:pt x="54" y="553"/>
                  </a:lnTo>
                  <a:lnTo>
                    <a:pt x="58" y="557"/>
                  </a:lnTo>
                  <a:lnTo>
                    <a:pt x="61" y="561"/>
                  </a:lnTo>
                  <a:lnTo>
                    <a:pt x="65" y="563"/>
                  </a:lnTo>
                  <a:lnTo>
                    <a:pt x="69" y="565"/>
                  </a:lnTo>
                  <a:lnTo>
                    <a:pt x="73" y="566"/>
                  </a:lnTo>
                  <a:lnTo>
                    <a:pt x="73" y="566"/>
                  </a:lnTo>
                  <a:lnTo>
                    <a:pt x="71" y="568"/>
                  </a:lnTo>
                  <a:lnTo>
                    <a:pt x="71" y="570"/>
                  </a:lnTo>
                  <a:lnTo>
                    <a:pt x="69" y="572"/>
                  </a:lnTo>
                  <a:lnTo>
                    <a:pt x="67" y="576"/>
                  </a:lnTo>
                  <a:lnTo>
                    <a:pt x="65" y="578"/>
                  </a:lnTo>
                  <a:lnTo>
                    <a:pt x="65" y="582"/>
                  </a:lnTo>
                  <a:lnTo>
                    <a:pt x="63" y="586"/>
                  </a:lnTo>
                  <a:lnTo>
                    <a:pt x="61" y="589"/>
                  </a:lnTo>
                  <a:lnTo>
                    <a:pt x="61" y="589"/>
                  </a:lnTo>
                  <a:lnTo>
                    <a:pt x="61" y="589"/>
                  </a:lnTo>
                  <a:lnTo>
                    <a:pt x="59" y="587"/>
                  </a:lnTo>
                  <a:lnTo>
                    <a:pt x="56" y="584"/>
                  </a:lnTo>
                  <a:lnTo>
                    <a:pt x="54" y="582"/>
                  </a:lnTo>
                  <a:lnTo>
                    <a:pt x="50" y="578"/>
                  </a:lnTo>
                  <a:lnTo>
                    <a:pt x="46" y="576"/>
                  </a:lnTo>
                  <a:lnTo>
                    <a:pt x="44" y="574"/>
                  </a:lnTo>
                  <a:lnTo>
                    <a:pt x="40" y="574"/>
                  </a:lnTo>
                  <a:lnTo>
                    <a:pt x="40" y="574"/>
                  </a:lnTo>
                  <a:lnTo>
                    <a:pt x="35" y="576"/>
                  </a:lnTo>
                  <a:lnTo>
                    <a:pt x="29" y="578"/>
                  </a:lnTo>
                  <a:lnTo>
                    <a:pt x="25" y="582"/>
                  </a:lnTo>
                  <a:lnTo>
                    <a:pt x="21" y="586"/>
                  </a:lnTo>
                  <a:lnTo>
                    <a:pt x="16" y="591"/>
                  </a:lnTo>
                  <a:lnTo>
                    <a:pt x="12" y="595"/>
                  </a:lnTo>
                  <a:lnTo>
                    <a:pt x="6" y="597"/>
                  </a:lnTo>
                  <a:lnTo>
                    <a:pt x="0" y="597"/>
                  </a:lnTo>
                  <a:lnTo>
                    <a:pt x="0" y="597"/>
                  </a:lnTo>
                  <a:lnTo>
                    <a:pt x="2" y="607"/>
                  </a:lnTo>
                  <a:lnTo>
                    <a:pt x="6" y="612"/>
                  </a:lnTo>
                  <a:lnTo>
                    <a:pt x="12" y="620"/>
                  </a:lnTo>
                  <a:lnTo>
                    <a:pt x="16" y="626"/>
                  </a:lnTo>
                  <a:lnTo>
                    <a:pt x="21" y="633"/>
                  </a:lnTo>
                  <a:lnTo>
                    <a:pt x="27" y="639"/>
                  </a:lnTo>
                  <a:lnTo>
                    <a:pt x="35" y="645"/>
                  </a:lnTo>
                  <a:lnTo>
                    <a:pt x="40" y="650"/>
                  </a:lnTo>
                  <a:lnTo>
                    <a:pt x="46" y="656"/>
                  </a:lnTo>
                  <a:lnTo>
                    <a:pt x="54" y="662"/>
                  </a:lnTo>
                  <a:lnTo>
                    <a:pt x="59" y="669"/>
                  </a:lnTo>
                  <a:lnTo>
                    <a:pt x="67" y="675"/>
                  </a:lnTo>
                  <a:lnTo>
                    <a:pt x="73" y="681"/>
                  </a:lnTo>
                  <a:lnTo>
                    <a:pt x="79" y="689"/>
                  </a:lnTo>
                  <a:lnTo>
                    <a:pt x="84" y="694"/>
                  </a:lnTo>
                  <a:lnTo>
                    <a:pt x="88" y="702"/>
                  </a:lnTo>
                  <a:lnTo>
                    <a:pt x="88" y="702"/>
                  </a:lnTo>
                  <a:lnTo>
                    <a:pt x="92" y="696"/>
                  </a:lnTo>
                  <a:lnTo>
                    <a:pt x="98" y="690"/>
                  </a:lnTo>
                  <a:lnTo>
                    <a:pt x="105" y="685"/>
                  </a:lnTo>
                  <a:lnTo>
                    <a:pt x="113" y="677"/>
                  </a:lnTo>
                  <a:lnTo>
                    <a:pt x="122" y="671"/>
                  </a:lnTo>
                  <a:lnTo>
                    <a:pt x="130" y="666"/>
                  </a:lnTo>
                  <a:lnTo>
                    <a:pt x="136" y="662"/>
                  </a:lnTo>
                  <a:lnTo>
                    <a:pt x="142" y="660"/>
                  </a:lnTo>
                  <a:lnTo>
                    <a:pt x="142" y="660"/>
                  </a:lnTo>
                  <a:lnTo>
                    <a:pt x="143" y="660"/>
                  </a:lnTo>
                  <a:lnTo>
                    <a:pt x="145" y="662"/>
                  </a:lnTo>
                  <a:lnTo>
                    <a:pt x="149" y="662"/>
                  </a:lnTo>
                  <a:lnTo>
                    <a:pt x="153" y="664"/>
                  </a:lnTo>
                  <a:lnTo>
                    <a:pt x="155" y="666"/>
                  </a:lnTo>
                  <a:lnTo>
                    <a:pt x="159" y="668"/>
                  </a:lnTo>
                  <a:lnTo>
                    <a:pt x="161" y="668"/>
                  </a:lnTo>
                  <a:lnTo>
                    <a:pt x="161" y="669"/>
                  </a:lnTo>
                  <a:lnTo>
                    <a:pt x="161" y="669"/>
                  </a:lnTo>
                  <a:lnTo>
                    <a:pt x="164" y="671"/>
                  </a:lnTo>
                  <a:lnTo>
                    <a:pt x="168" y="673"/>
                  </a:lnTo>
                  <a:lnTo>
                    <a:pt x="172" y="675"/>
                  </a:lnTo>
                  <a:lnTo>
                    <a:pt x="176" y="677"/>
                  </a:lnTo>
                  <a:lnTo>
                    <a:pt x="180" y="679"/>
                  </a:lnTo>
                  <a:lnTo>
                    <a:pt x="183" y="679"/>
                  </a:lnTo>
                  <a:lnTo>
                    <a:pt x="187" y="681"/>
                  </a:lnTo>
                  <a:lnTo>
                    <a:pt x="191" y="681"/>
                  </a:lnTo>
                  <a:lnTo>
                    <a:pt x="191" y="681"/>
                  </a:lnTo>
                  <a:lnTo>
                    <a:pt x="199" y="679"/>
                  </a:lnTo>
                  <a:lnTo>
                    <a:pt x="206" y="677"/>
                  </a:lnTo>
                  <a:lnTo>
                    <a:pt x="214" y="671"/>
                  </a:lnTo>
                  <a:lnTo>
                    <a:pt x="222" y="668"/>
                  </a:lnTo>
                  <a:lnTo>
                    <a:pt x="231" y="662"/>
                  </a:lnTo>
                  <a:lnTo>
                    <a:pt x="239" y="656"/>
                  </a:lnTo>
                  <a:lnTo>
                    <a:pt x="245" y="652"/>
                  </a:lnTo>
                  <a:lnTo>
                    <a:pt x="250" y="648"/>
                  </a:lnTo>
                  <a:lnTo>
                    <a:pt x="273" y="648"/>
                  </a:lnTo>
                  <a:lnTo>
                    <a:pt x="273" y="648"/>
                  </a:lnTo>
                  <a:lnTo>
                    <a:pt x="271" y="650"/>
                  </a:lnTo>
                  <a:lnTo>
                    <a:pt x="269" y="654"/>
                  </a:lnTo>
                  <a:lnTo>
                    <a:pt x="267" y="656"/>
                  </a:lnTo>
                  <a:lnTo>
                    <a:pt x="266" y="660"/>
                  </a:lnTo>
                  <a:lnTo>
                    <a:pt x="264" y="662"/>
                  </a:lnTo>
                  <a:lnTo>
                    <a:pt x="264" y="666"/>
                  </a:lnTo>
                  <a:lnTo>
                    <a:pt x="262" y="669"/>
                  </a:lnTo>
                  <a:lnTo>
                    <a:pt x="262" y="671"/>
                  </a:lnTo>
                  <a:lnTo>
                    <a:pt x="262" y="671"/>
                  </a:lnTo>
                  <a:lnTo>
                    <a:pt x="264" y="679"/>
                  </a:lnTo>
                  <a:lnTo>
                    <a:pt x="264" y="683"/>
                  </a:lnTo>
                  <a:lnTo>
                    <a:pt x="267" y="689"/>
                  </a:lnTo>
                  <a:lnTo>
                    <a:pt x="271" y="690"/>
                  </a:lnTo>
                  <a:lnTo>
                    <a:pt x="275" y="692"/>
                  </a:lnTo>
                  <a:lnTo>
                    <a:pt x="281" y="694"/>
                  </a:lnTo>
                  <a:lnTo>
                    <a:pt x="286" y="696"/>
                  </a:lnTo>
                  <a:lnTo>
                    <a:pt x="290" y="696"/>
                  </a:lnTo>
                  <a:lnTo>
                    <a:pt x="290" y="696"/>
                  </a:lnTo>
                  <a:lnTo>
                    <a:pt x="300" y="694"/>
                  </a:lnTo>
                  <a:lnTo>
                    <a:pt x="309" y="690"/>
                  </a:lnTo>
                  <a:lnTo>
                    <a:pt x="321" y="687"/>
                  </a:lnTo>
                  <a:lnTo>
                    <a:pt x="330" y="681"/>
                  </a:lnTo>
                  <a:lnTo>
                    <a:pt x="338" y="673"/>
                  </a:lnTo>
                  <a:lnTo>
                    <a:pt x="346" y="666"/>
                  </a:lnTo>
                  <a:lnTo>
                    <a:pt x="349" y="658"/>
                  </a:lnTo>
                  <a:lnTo>
                    <a:pt x="349" y="650"/>
                  </a:lnTo>
                  <a:lnTo>
                    <a:pt x="349" y="650"/>
                  </a:lnTo>
                  <a:lnTo>
                    <a:pt x="351" y="643"/>
                  </a:lnTo>
                  <a:lnTo>
                    <a:pt x="355" y="637"/>
                  </a:lnTo>
                  <a:lnTo>
                    <a:pt x="363" y="631"/>
                  </a:lnTo>
                  <a:lnTo>
                    <a:pt x="372" y="628"/>
                  </a:lnTo>
                  <a:lnTo>
                    <a:pt x="382" y="624"/>
                  </a:lnTo>
                  <a:lnTo>
                    <a:pt x="391" y="620"/>
                  </a:lnTo>
                  <a:lnTo>
                    <a:pt x="399" y="616"/>
                  </a:lnTo>
                  <a:lnTo>
                    <a:pt x="407" y="610"/>
                  </a:lnTo>
                  <a:lnTo>
                    <a:pt x="407" y="610"/>
                  </a:lnTo>
                  <a:lnTo>
                    <a:pt x="410" y="607"/>
                  </a:lnTo>
                  <a:lnTo>
                    <a:pt x="412" y="601"/>
                  </a:lnTo>
                  <a:lnTo>
                    <a:pt x="414" y="595"/>
                  </a:lnTo>
                  <a:lnTo>
                    <a:pt x="418" y="589"/>
                  </a:lnTo>
                  <a:lnTo>
                    <a:pt x="420" y="582"/>
                  </a:lnTo>
                  <a:lnTo>
                    <a:pt x="422" y="576"/>
                  </a:lnTo>
                  <a:lnTo>
                    <a:pt x="422" y="566"/>
                  </a:lnTo>
                  <a:lnTo>
                    <a:pt x="424" y="559"/>
                  </a:lnTo>
                  <a:lnTo>
                    <a:pt x="424" y="551"/>
                  </a:lnTo>
                  <a:lnTo>
                    <a:pt x="426" y="544"/>
                  </a:lnTo>
                  <a:lnTo>
                    <a:pt x="426" y="534"/>
                  </a:lnTo>
                  <a:lnTo>
                    <a:pt x="426" y="526"/>
                  </a:lnTo>
                  <a:lnTo>
                    <a:pt x="428" y="519"/>
                  </a:lnTo>
                  <a:lnTo>
                    <a:pt x="428" y="511"/>
                  </a:lnTo>
                  <a:lnTo>
                    <a:pt x="428" y="504"/>
                  </a:lnTo>
                  <a:lnTo>
                    <a:pt x="428" y="498"/>
                  </a:lnTo>
                  <a:lnTo>
                    <a:pt x="428" y="498"/>
                  </a:lnTo>
                  <a:lnTo>
                    <a:pt x="428" y="486"/>
                  </a:lnTo>
                  <a:lnTo>
                    <a:pt x="430" y="477"/>
                  </a:lnTo>
                  <a:lnTo>
                    <a:pt x="433" y="467"/>
                  </a:lnTo>
                  <a:lnTo>
                    <a:pt x="437" y="458"/>
                  </a:lnTo>
                  <a:lnTo>
                    <a:pt x="443" y="448"/>
                  </a:lnTo>
                  <a:lnTo>
                    <a:pt x="449" y="441"/>
                  </a:lnTo>
                  <a:lnTo>
                    <a:pt x="454" y="431"/>
                  </a:lnTo>
                  <a:lnTo>
                    <a:pt x="462" y="423"/>
                  </a:lnTo>
                  <a:lnTo>
                    <a:pt x="470" y="416"/>
                  </a:lnTo>
                  <a:lnTo>
                    <a:pt x="477" y="408"/>
                  </a:lnTo>
                  <a:lnTo>
                    <a:pt x="483" y="400"/>
                  </a:lnTo>
                  <a:lnTo>
                    <a:pt x="491" y="393"/>
                  </a:lnTo>
                  <a:lnTo>
                    <a:pt x="498" y="387"/>
                  </a:lnTo>
                  <a:lnTo>
                    <a:pt x="504" y="380"/>
                  </a:lnTo>
                  <a:lnTo>
                    <a:pt x="510" y="374"/>
                  </a:lnTo>
                  <a:lnTo>
                    <a:pt x="515" y="368"/>
                  </a:lnTo>
                  <a:lnTo>
                    <a:pt x="515" y="368"/>
                  </a:lnTo>
                  <a:lnTo>
                    <a:pt x="519" y="362"/>
                  </a:lnTo>
                  <a:lnTo>
                    <a:pt x="523" y="357"/>
                  </a:lnTo>
                  <a:lnTo>
                    <a:pt x="525" y="351"/>
                  </a:lnTo>
                  <a:lnTo>
                    <a:pt x="529" y="345"/>
                  </a:lnTo>
                  <a:lnTo>
                    <a:pt x="533" y="339"/>
                  </a:lnTo>
                  <a:lnTo>
                    <a:pt x="534" y="334"/>
                  </a:lnTo>
                  <a:lnTo>
                    <a:pt x="538" y="326"/>
                  </a:lnTo>
                  <a:lnTo>
                    <a:pt x="540" y="320"/>
                  </a:lnTo>
                  <a:lnTo>
                    <a:pt x="542" y="315"/>
                  </a:lnTo>
                  <a:lnTo>
                    <a:pt x="546" y="307"/>
                  </a:lnTo>
                  <a:lnTo>
                    <a:pt x="548" y="301"/>
                  </a:lnTo>
                  <a:lnTo>
                    <a:pt x="550" y="296"/>
                  </a:lnTo>
                  <a:lnTo>
                    <a:pt x="554" y="288"/>
                  </a:lnTo>
                  <a:lnTo>
                    <a:pt x="555" y="282"/>
                  </a:lnTo>
                  <a:lnTo>
                    <a:pt x="557" y="276"/>
                  </a:lnTo>
                  <a:lnTo>
                    <a:pt x="561" y="271"/>
                  </a:lnTo>
                  <a:lnTo>
                    <a:pt x="561" y="208"/>
                  </a:lnTo>
                  <a:lnTo>
                    <a:pt x="561" y="208"/>
                  </a:lnTo>
                  <a:lnTo>
                    <a:pt x="561" y="202"/>
                  </a:lnTo>
                  <a:lnTo>
                    <a:pt x="563" y="196"/>
                  </a:lnTo>
                  <a:lnTo>
                    <a:pt x="565" y="193"/>
                  </a:lnTo>
                  <a:lnTo>
                    <a:pt x="567" y="187"/>
                  </a:lnTo>
                  <a:lnTo>
                    <a:pt x="567" y="183"/>
                  </a:lnTo>
                  <a:lnTo>
                    <a:pt x="567" y="177"/>
                  </a:lnTo>
                  <a:lnTo>
                    <a:pt x="569" y="173"/>
                  </a:lnTo>
                  <a:lnTo>
                    <a:pt x="569" y="170"/>
                  </a:lnTo>
                  <a:lnTo>
                    <a:pt x="571" y="164"/>
                  </a:lnTo>
                  <a:lnTo>
                    <a:pt x="571" y="160"/>
                  </a:lnTo>
                  <a:lnTo>
                    <a:pt x="571" y="156"/>
                  </a:lnTo>
                  <a:lnTo>
                    <a:pt x="573" y="152"/>
                  </a:lnTo>
                  <a:lnTo>
                    <a:pt x="575" y="147"/>
                  </a:lnTo>
                  <a:lnTo>
                    <a:pt x="575" y="143"/>
                  </a:lnTo>
                  <a:lnTo>
                    <a:pt x="576" y="137"/>
                  </a:lnTo>
                  <a:lnTo>
                    <a:pt x="578" y="131"/>
                  </a:lnTo>
                  <a:lnTo>
                    <a:pt x="575" y="131"/>
                  </a:lnTo>
                  <a:lnTo>
                    <a:pt x="575" y="131"/>
                  </a:lnTo>
                  <a:lnTo>
                    <a:pt x="580" y="120"/>
                  </a:lnTo>
                  <a:lnTo>
                    <a:pt x="584" y="112"/>
                  </a:lnTo>
                  <a:lnTo>
                    <a:pt x="590" y="105"/>
                  </a:lnTo>
                  <a:lnTo>
                    <a:pt x="596" y="99"/>
                  </a:lnTo>
                  <a:lnTo>
                    <a:pt x="601" y="91"/>
                  </a:lnTo>
                  <a:lnTo>
                    <a:pt x="607" y="84"/>
                  </a:lnTo>
                  <a:lnTo>
                    <a:pt x="611" y="76"/>
                  </a:lnTo>
                  <a:lnTo>
                    <a:pt x="616" y="67"/>
                  </a:lnTo>
                  <a:lnTo>
                    <a:pt x="616" y="67"/>
                  </a:lnTo>
                  <a:lnTo>
                    <a:pt x="618" y="59"/>
                  </a:lnTo>
                  <a:lnTo>
                    <a:pt x="618" y="51"/>
                  </a:lnTo>
                  <a:lnTo>
                    <a:pt x="620" y="44"/>
                  </a:lnTo>
                  <a:lnTo>
                    <a:pt x="620" y="36"/>
                  </a:lnTo>
                  <a:lnTo>
                    <a:pt x="620" y="28"/>
                  </a:lnTo>
                  <a:lnTo>
                    <a:pt x="618" y="21"/>
                  </a:lnTo>
                  <a:lnTo>
                    <a:pt x="618" y="15"/>
                  </a:lnTo>
                  <a:lnTo>
                    <a:pt x="616" y="7"/>
                  </a:lnTo>
                  <a:lnTo>
                    <a:pt x="561" y="7"/>
                  </a:lnTo>
                  <a:lnTo>
                    <a:pt x="561" y="7"/>
                  </a:lnTo>
                  <a:lnTo>
                    <a:pt x="554" y="6"/>
                  </a:lnTo>
                  <a:lnTo>
                    <a:pt x="548" y="4"/>
                  </a:lnTo>
                  <a:lnTo>
                    <a:pt x="542" y="2"/>
                  </a:lnTo>
                  <a:lnTo>
                    <a:pt x="536" y="0"/>
                  </a:lnTo>
                  <a:lnTo>
                    <a:pt x="531" y="0"/>
                  </a:lnTo>
                  <a:lnTo>
                    <a:pt x="523" y="0"/>
                  </a:lnTo>
                  <a:lnTo>
                    <a:pt x="517" y="0"/>
                  </a:lnTo>
                  <a:lnTo>
                    <a:pt x="510" y="0"/>
                  </a:lnTo>
                  <a:lnTo>
                    <a:pt x="510" y="0"/>
                  </a:lnTo>
                  <a:lnTo>
                    <a:pt x="496" y="0"/>
                  </a:lnTo>
                  <a:lnTo>
                    <a:pt x="487" y="2"/>
                  </a:lnTo>
                  <a:lnTo>
                    <a:pt x="475" y="4"/>
                  </a:lnTo>
                  <a:lnTo>
                    <a:pt x="468" y="7"/>
                  </a:lnTo>
                  <a:lnTo>
                    <a:pt x="460" y="11"/>
                  </a:lnTo>
                  <a:lnTo>
                    <a:pt x="454" y="17"/>
                  </a:lnTo>
                  <a:lnTo>
                    <a:pt x="449" y="23"/>
                  </a:lnTo>
                  <a:lnTo>
                    <a:pt x="445" y="30"/>
                  </a:lnTo>
                  <a:lnTo>
                    <a:pt x="441" y="38"/>
                  </a:lnTo>
                  <a:lnTo>
                    <a:pt x="437" y="46"/>
                  </a:lnTo>
                  <a:lnTo>
                    <a:pt x="433" y="53"/>
                  </a:lnTo>
                  <a:lnTo>
                    <a:pt x="431" y="61"/>
                  </a:lnTo>
                  <a:lnTo>
                    <a:pt x="428" y="70"/>
                  </a:lnTo>
                  <a:lnTo>
                    <a:pt x="426" y="80"/>
                  </a:lnTo>
                  <a:lnTo>
                    <a:pt x="422" y="88"/>
                  </a:lnTo>
                  <a:lnTo>
                    <a:pt x="418" y="97"/>
                  </a:lnTo>
                  <a:lnTo>
                    <a:pt x="418" y="9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89" name="Freeform 33"/>
            <p:cNvSpPr>
              <a:spLocks/>
            </p:cNvSpPr>
            <p:nvPr/>
          </p:nvSpPr>
          <p:spPr bwMode="gray">
            <a:xfrm>
              <a:off x="2102" y="2563"/>
              <a:ext cx="41" cy="56"/>
            </a:xfrm>
            <a:custGeom>
              <a:avLst/>
              <a:gdLst/>
              <a:ahLst/>
              <a:cxnLst>
                <a:cxn ang="0">
                  <a:pos x="21" y="97"/>
                </a:cxn>
                <a:cxn ang="0">
                  <a:pos x="29" y="95"/>
                </a:cxn>
                <a:cxn ang="0">
                  <a:pos x="33" y="90"/>
                </a:cxn>
                <a:cxn ang="0">
                  <a:pos x="36" y="84"/>
                </a:cxn>
                <a:cxn ang="0">
                  <a:pos x="36" y="74"/>
                </a:cxn>
                <a:cxn ang="0">
                  <a:pos x="36" y="65"/>
                </a:cxn>
                <a:cxn ang="0">
                  <a:pos x="36" y="55"/>
                </a:cxn>
                <a:cxn ang="0">
                  <a:pos x="36" y="46"/>
                </a:cxn>
                <a:cxn ang="0">
                  <a:pos x="38" y="38"/>
                </a:cxn>
                <a:cxn ang="0">
                  <a:pos x="42" y="32"/>
                </a:cxn>
                <a:cxn ang="0">
                  <a:pos x="46" y="29"/>
                </a:cxn>
                <a:cxn ang="0">
                  <a:pos x="50" y="25"/>
                </a:cxn>
                <a:cxn ang="0">
                  <a:pos x="55" y="23"/>
                </a:cxn>
                <a:cxn ang="0">
                  <a:pos x="59" y="19"/>
                </a:cxn>
                <a:cxn ang="0">
                  <a:pos x="65" y="17"/>
                </a:cxn>
                <a:cxn ang="0">
                  <a:pos x="69" y="13"/>
                </a:cxn>
                <a:cxn ang="0">
                  <a:pos x="73" y="9"/>
                </a:cxn>
                <a:cxn ang="0">
                  <a:pos x="73" y="8"/>
                </a:cxn>
                <a:cxn ang="0">
                  <a:pos x="71" y="8"/>
                </a:cxn>
                <a:cxn ang="0">
                  <a:pos x="67" y="6"/>
                </a:cxn>
                <a:cxn ang="0">
                  <a:pos x="65" y="4"/>
                </a:cxn>
                <a:cxn ang="0">
                  <a:pos x="61" y="2"/>
                </a:cxn>
                <a:cxn ang="0">
                  <a:pos x="57" y="2"/>
                </a:cxn>
                <a:cxn ang="0">
                  <a:pos x="55" y="0"/>
                </a:cxn>
                <a:cxn ang="0">
                  <a:pos x="54" y="0"/>
                </a:cxn>
                <a:cxn ang="0">
                  <a:pos x="48" y="2"/>
                </a:cxn>
                <a:cxn ang="0">
                  <a:pos x="42" y="6"/>
                </a:cxn>
                <a:cxn ang="0">
                  <a:pos x="34" y="11"/>
                </a:cxn>
                <a:cxn ang="0">
                  <a:pos x="25" y="17"/>
                </a:cxn>
                <a:cxn ang="0">
                  <a:pos x="17" y="25"/>
                </a:cxn>
                <a:cxn ang="0">
                  <a:pos x="10" y="30"/>
                </a:cxn>
                <a:cxn ang="0">
                  <a:pos x="4" y="36"/>
                </a:cxn>
                <a:cxn ang="0">
                  <a:pos x="0" y="42"/>
                </a:cxn>
                <a:cxn ang="0">
                  <a:pos x="2" y="42"/>
                </a:cxn>
                <a:cxn ang="0">
                  <a:pos x="4" y="50"/>
                </a:cxn>
                <a:cxn ang="0">
                  <a:pos x="6" y="55"/>
                </a:cxn>
                <a:cxn ang="0">
                  <a:pos x="8" y="63"/>
                </a:cxn>
                <a:cxn ang="0">
                  <a:pos x="10" y="69"/>
                </a:cxn>
                <a:cxn ang="0">
                  <a:pos x="13" y="76"/>
                </a:cxn>
                <a:cxn ang="0">
                  <a:pos x="15" y="82"/>
                </a:cxn>
                <a:cxn ang="0">
                  <a:pos x="19" y="92"/>
                </a:cxn>
                <a:cxn ang="0">
                  <a:pos x="21" y="101"/>
                </a:cxn>
                <a:cxn ang="0">
                  <a:pos x="21" y="97"/>
                </a:cxn>
              </a:cxnLst>
              <a:rect l="0" t="0" r="r" b="b"/>
              <a:pathLst>
                <a:path w="73" h="101">
                  <a:moveTo>
                    <a:pt x="21" y="97"/>
                  </a:moveTo>
                  <a:lnTo>
                    <a:pt x="29" y="95"/>
                  </a:lnTo>
                  <a:lnTo>
                    <a:pt x="33" y="90"/>
                  </a:lnTo>
                  <a:lnTo>
                    <a:pt x="36" y="84"/>
                  </a:lnTo>
                  <a:lnTo>
                    <a:pt x="36" y="74"/>
                  </a:lnTo>
                  <a:lnTo>
                    <a:pt x="36" y="65"/>
                  </a:lnTo>
                  <a:lnTo>
                    <a:pt x="36" y="55"/>
                  </a:lnTo>
                  <a:lnTo>
                    <a:pt x="36" y="46"/>
                  </a:lnTo>
                  <a:lnTo>
                    <a:pt x="38" y="38"/>
                  </a:lnTo>
                  <a:lnTo>
                    <a:pt x="42" y="32"/>
                  </a:lnTo>
                  <a:lnTo>
                    <a:pt x="46" y="29"/>
                  </a:lnTo>
                  <a:lnTo>
                    <a:pt x="50" y="25"/>
                  </a:lnTo>
                  <a:lnTo>
                    <a:pt x="55" y="23"/>
                  </a:lnTo>
                  <a:lnTo>
                    <a:pt x="59" y="19"/>
                  </a:lnTo>
                  <a:lnTo>
                    <a:pt x="65" y="17"/>
                  </a:lnTo>
                  <a:lnTo>
                    <a:pt x="69" y="13"/>
                  </a:lnTo>
                  <a:lnTo>
                    <a:pt x="73" y="9"/>
                  </a:lnTo>
                  <a:lnTo>
                    <a:pt x="73" y="8"/>
                  </a:lnTo>
                  <a:lnTo>
                    <a:pt x="71" y="8"/>
                  </a:lnTo>
                  <a:lnTo>
                    <a:pt x="67" y="6"/>
                  </a:lnTo>
                  <a:lnTo>
                    <a:pt x="65" y="4"/>
                  </a:lnTo>
                  <a:lnTo>
                    <a:pt x="61" y="2"/>
                  </a:lnTo>
                  <a:lnTo>
                    <a:pt x="57" y="2"/>
                  </a:lnTo>
                  <a:lnTo>
                    <a:pt x="55" y="0"/>
                  </a:lnTo>
                  <a:lnTo>
                    <a:pt x="54" y="0"/>
                  </a:lnTo>
                  <a:lnTo>
                    <a:pt x="48" y="2"/>
                  </a:lnTo>
                  <a:lnTo>
                    <a:pt x="42" y="6"/>
                  </a:lnTo>
                  <a:lnTo>
                    <a:pt x="34" y="11"/>
                  </a:lnTo>
                  <a:lnTo>
                    <a:pt x="25" y="17"/>
                  </a:lnTo>
                  <a:lnTo>
                    <a:pt x="17" y="25"/>
                  </a:lnTo>
                  <a:lnTo>
                    <a:pt x="10" y="30"/>
                  </a:lnTo>
                  <a:lnTo>
                    <a:pt x="4" y="36"/>
                  </a:lnTo>
                  <a:lnTo>
                    <a:pt x="0" y="42"/>
                  </a:lnTo>
                  <a:lnTo>
                    <a:pt x="2" y="42"/>
                  </a:lnTo>
                  <a:lnTo>
                    <a:pt x="4" y="50"/>
                  </a:lnTo>
                  <a:lnTo>
                    <a:pt x="6" y="55"/>
                  </a:lnTo>
                  <a:lnTo>
                    <a:pt x="8" y="63"/>
                  </a:lnTo>
                  <a:lnTo>
                    <a:pt x="10" y="69"/>
                  </a:lnTo>
                  <a:lnTo>
                    <a:pt x="13" y="76"/>
                  </a:lnTo>
                  <a:lnTo>
                    <a:pt x="15" y="82"/>
                  </a:lnTo>
                  <a:lnTo>
                    <a:pt x="19" y="92"/>
                  </a:lnTo>
                  <a:lnTo>
                    <a:pt x="21" y="101"/>
                  </a:lnTo>
                  <a:lnTo>
                    <a:pt x="21" y="97"/>
                  </a:lnTo>
                  <a:close/>
                </a:path>
              </a:pathLst>
            </a:custGeom>
            <a:no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290" name="Freeform 34"/>
            <p:cNvSpPr>
              <a:spLocks/>
            </p:cNvSpPr>
            <p:nvPr/>
          </p:nvSpPr>
          <p:spPr bwMode="gray">
            <a:xfrm>
              <a:off x="1952" y="2267"/>
              <a:ext cx="257" cy="262"/>
            </a:xfrm>
            <a:custGeom>
              <a:avLst/>
              <a:gdLst/>
              <a:ahLst/>
              <a:cxnLst>
                <a:cxn ang="0">
                  <a:pos x="351" y="11"/>
                </a:cxn>
                <a:cxn ang="0">
                  <a:pos x="347" y="27"/>
                </a:cxn>
                <a:cxn ang="0">
                  <a:pos x="345" y="42"/>
                </a:cxn>
                <a:cxn ang="0">
                  <a:pos x="345" y="67"/>
                </a:cxn>
                <a:cxn ang="0">
                  <a:pos x="345" y="88"/>
                </a:cxn>
                <a:cxn ang="0">
                  <a:pos x="364" y="86"/>
                </a:cxn>
                <a:cxn ang="0">
                  <a:pos x="379" y="78"/>
                </a:cxn>
                <a:cxn ang="0">
                  <a:pos x="395" y="73"/>
                </a:cxn>
                <a:cxn ang="0">
                  <a:pos x="414" y="71"/>
                </a:cxn>
                <a:cxn ang="0">
                  <a:pos x="433" y="78"/>
                </a:cxn>
                <a:cxn ang="0">
                  <a:pos x="446" y="103"/>
                </a:cxn>
                <a:cxn ang="0">
                  <a:pos x="439" y="128"/>
                </a:cxn>
                <a:cxn ang="0">
                  <a:pos x="406" y="153"/>
                </a:cxn>
                <a:cxn ang="0">
                  <a:pos x="402" y="183"/>
                </a:cxn>
                <a:cxn ang="0">
                  <a:pos x="437" y="204"/>
                </a:cxn>
                <a:cxn ang="0">
                  <a:pos x="454" y="227"/>
                </a:cxn>
                <a:cxn ang="0">
                  <a:pos x="452" y="258"/>
                </a:cxn>
                <a:cxn ang="0">
                  <a:pos x="444" y="290"/>
                </a:cxn>
                <a:cxn ang="0">
                  <a:pos x="437" y="322"/>
                </a:cxn>
                <a:cxn ang="0">
                  <a:pos x="429" y="345"/>
                </a:cxn>
                <a:cxn ang="0">
                  <a:pos x="427" y="357"/>
                </a:cxn>
                <a:cxn ang="0">
                  <a:pos x="418" y="368"/>
                </a:cxn>
                <a:cxn ang="0">
                  <a:pos x="412" y="366"/>
                </a:cxn>
                <a:cxn ang="0">
                  <a:pos x="400" y="353"/>
                </a:cxn>
                <a:cxn ang="0">
                  <a:pos x="393" y="349"/>
                </a:cxn>
                <a:cxn ang="0">
                  <a:pos x="378" y="359"/>
                </a:cxn>
                <a:cxn ang="0">
                  <a:pos x="360" y="363"/>
                </a:cxn>
                <a:cxn ang="0">
                  <a:pos x="334" y="343"/>
                </a:cxn>
                <a:cxn ang="0">
                  <a:pos x="313" y="324"/>
                </a:cxn>
                <a:cxn ang="0">
                  <a:pos x="297" y="332"/>
                </a:cxn>
                <a:cxn ang="0">
                  <a:pos x="284" y="353"/>
                </a:cxn>
                <a:cxn ang="0">
                  <a:pos x="265" y="364"/>
                </a:cxn>
                <a:cxn ang="0">
                  <a:pos x="229" y="364"/>
                </a:cxn>
                <a:cxn ang="0">
                  <a:pos x="221" y="395"/>
                </a:cxn>
                <a:cxn ang="0">
                  <a:pos x="221" y="408"/>
                </a:cxn>
                <a:cxn ang="0">
                  <a:pos x="221" y="422"/>
                </a:cxn>
                <a:cxn ang="0">
                  <a:pos x="233" y="437"/>
                </a:cxn>
                <a:cxn ang="0">
                  <a:pos x="248" y="446"/>
                </a:cxn>
                <a:cxn ang="0">
                  <a:pos x="244" y="452"/>
                </a:cxn>
                <a:cxn ang="0">
                  <a:pos x="238" y="466"/>
                </a:cxn>
                <a:cxn ang="0">
                  <a:pos x="234" y="467"/>
                </a:cxn>
                <a:cxn ang="0">
                  <a:pos x="221" y="456"/>
                </a:cxn>
                <a:cxn ang="0">
                  <a:pos x="210" y="456"/>
                </a:cxn>
                <a:cxn ang="0">
                  <a:pos x="191" y="471"/>
                </a:cxn>
                <a:cxn ang="0">
                  <a:pos x="175" y="477"/>
                </a:cxn>
                <a:cxn ang="0">
                  <a:pos x="158" y="452"/>
                </a:cxn>
                <a:cxn ang="0">
                  <a:pos x="139" y="431"/>
                </a:cxn>
                <a:cxn ang="0">
                  <a:pos x="118" y="414"/>
                </a:cxn>
                <a:cxn ang="0">
                  <a:pos x="95" y="393"/>
                </a:cxn>
                <a:cxn ang="0">
                  <a:pos x="78" y="368"/>
                </a:cxn>
                <a:cxn ang="0">
                  <a:pos x="63" y="336"/>
                </a:cxn>
                <a:cxn ang="0">
                  <a:pos x="49" y="319"/>
                </a:cxn>
                <a:cxn ang="0">
                  <a:pos x="30" y="296"/>
                </a:cxn>
                <a:cxn ang="0">
                  <a:pos x="13" y="269"/>
                </a:cxn>
                <a:cxn ang="0">
                  <a:pos x="2" y="242"/>
                </a:cxn>
                <a:cxn ang="0">
                  <a:pos x="6" y="231"/>
                </a:cxn>
                <a:cxn ang="0">
                  <a:pos x="27" y="208"/>
                </a:cxn>
                <a:cxn ang="0">
                  <a:pos x="46" y="160"/>
                </a:cxn>
                <a:cxn ang="0">
                  <a:pos x="61" y="113"/>
                </a:cxn>
                <a:cxn ang="0">
                  <a:pos x="204" y="94"/>
                </a:cxn>
                <a:cxn ang="0">
                  <a:pos x="360" y="4"/>
                </a:cxn>
              </a:cxnLst>
              <a:rect l="0" t="0" r="r" b="b"/>
              <a:pathLst>
                <a:path w="454" h="477">
                  <a:moveTo>
                    <a:pt x="357" y="4"/>
                  </a:moveTo>
                  <a:lnTo>
                    <a:pt x="357" y="4"/>
                  </a:lnTo>
                  <a:lnTo>
                    <a:pt x="355" y="8"/>
                  </a:lnTo>
                  <a:lnTo>
                    <a:pt x="351" y="11"/>
                  </a:lnTo>
                  <a:lnTo>
                    <a:pt x="351" y="15"/>
                  </a:lnTo>
                  <a:lnTo>
                    <a:pt x="349" y="19"/>
                  </a:lnTo>
                  <a:lnTo>
                    <a:pt x="347" y="23"/>
                  </a:lnTo>
                  <a:lnTo>
                    <a:pt x="347" y="27"/>
                  </a:lnTo>
                  <a:lnTo>
                    <a:pt x="345" y="32"/>
                  </a:lnTo>
                  <a:lnTo>
                    <a:pt x="345" y="38"/>
                  </a:lnTo>
                  <a:lnTo>
                    <a:pt x="345" y="38"/>
                  </a:lnTo>
                  <a:lnTo>
                    <a:pt x="345" y="42"/>
                  </a:lnTo>
                  <a:lnTo>
                    <a:pt x="345" y="48"/>
                  </a:lnTo>
                  <a:lnTo>
                    <a:pt x="345" y="53"/>
                  </a:lnTo>
                  <a:lnTo>
                    <a:pt x="345" y="59"/>
                  </a:lnTo>
                  <a:lnTo>
                    <a:pt x="345" y="67"/>
                  </a:lnTo>
                  <a:lnTo>
                    <a:pt x="345" y="73"/>
                  </a:lnTo>
                  <a:lnTo>
                    <a:pt x="345" y="80"/>
                  </a:lnTo>
                  <a:lnTo>
                    <a:pt x="345" y="88"/>
                  </a:lnTo>
                  <a:lnTo>
                    <a:pt x="345" y="88"/>
                  </a:lnTo>
                  <a:lnTo>
                    <a:pt x="351" y="88"/>
                  </a:lnTo>
                  <a:lnTo>
                    <a:pt x="355" y="88"/>
                  </a:lnTo>
                  <a:lnTo>
                    <a:pt x="360" y="86"/>
                  </a:lnTo>
                  <a:lnTo>
                    <a:pt x="364" y="86"/>
                  </a:lnTo>
                  <a:lnTo>
                    <a:pt x="368" y="84"/>
                  </a:lnTo>
                  <a:lnTo>
                    <a:pt x="372" y="82"/>
                  </a:lnTo>
                  <a:lnTo>
                    <a:pt x="376" y="80"/>
                  </a:lnTo>
                  <a:lnTo>
                    <a:pt x="379" y="78"/>
                  </a:lnTo>
                  <a:lnTo>
                    <a:pt x="383" y="76"/>
                  </a:lnTo>
                  <a:lnTo>
                    <a:pt x="387" y="76"/>
                  </a:lnTo>
                  <a:lnTo>
                    <a:pt x="391" y="74"/>
                  </a:lnTo>
                  <a:lnTo>
                    <a:pt x="395" y="73"/>
                  </a:lnTo>
                  <a:lnTo>
                    <a:pt x="400" y="73"/>
                  </a:lnTo>
                  <a:lnTo>
                    <a:pt x="404" y="71"/>
                  </a:lnTo>
                  <a:lnTo>
                    <a:pt x="408" y="71"/>
                  </a:lnTo>
                  <a:lnTo>
                    <a:pt x="414" y="71"/>
                  </a:lnTo>
                  <a:lnTo>
                    <a:pt x="414" y="71"/>
                  </a:lnTo>
                  <a:lnTo>
                    <a:pt x="420" y="71"/>
                  </a:lnTo>
                  <a:lnTo>
                    <a:pt x="427" y="74"/>
                  </a:lnTo>
                  <a:lnTo>
                    <a:pt x="433" y="78"/>
                  </a:lnTo>
                  <a:lnTo>
                    <a:pt x="437" y="84"/>
                  </a:lnTo>
                  <a:lnTo>
                    <a:pt x="441" y="90"/>
                  </a:lnTo>
                  <a:lnTo>
                    <a:pt x="444" y="97"/>
                  </a:lnTo>
                  <a:lnTo>
                    <a:pt x="446" y="103"/>
                  </a:lnTo>
                  <a:lnTo>
                    <a:pt x="446" y="111"/>
                  </a:lnTo>
                  <a:lnTo>
                    <a:pt x="446" y="111"/>
                  </a:lnTo>
                  <a:lnTo>
                    <a:pt x="444" y="120"/>
                  </a:lnTo>
                  <a:lnTo>
                    <a:pt x="439" y="128"/>
                  </a:lnTo>
                  <a:lnTo>
                    <a:pt x="431" y="134"/>
                  </a:lnTo>
                  <a:lnTo>
                    <a:pt x="423" y="139"/>
                  </a:lnTo>
                  <a:lnTo>
                    <a:pt x="414" y="145"/>
                  </a:lnTo>
                  <a:lnTo>
                    <a:pt x="406" y="153"/>
                  </a:lnTo>
                  <a:lnTo>
                    <a:pt x="400" y="162"/>
                  </a:lnTo>
                  <a:lnTo>
                    <a:pt x="399" y="174"/>
                  </a:lnTo>
                  <a:lnTo>
                    <a:pt x="399" y="174"/>
                  </a:lnTo>
                  <a:lnTo>
                    <a:pt x="402" y="183"/>
                  </a:lnTo>
                  <a:lnTo>
                    <a:pt x="408" y="189"/>
                  </a:lnTo>
                  <a:lnTo>
                    <a:pt x="416" y="195"/>
                  </a:lnTo>
                  <a:lnTo>
                    <a:pt x="427" y="200"/>
                  </a:lnTo>
                  <a:lnTo>
                    <a:pt x="437" y="204"/>
                  </a:lnTo>
                  <a:lnTo>
                    <a:pt x="446" y="210"/>
                  </a:lnTo>
                  <a:lnTo>
                    <a:pt x="452" y="218"/>
                  </a:lnTo>
                  <a:lnTo>
                    <a:pt x="454" y="227"/>
                  </a:lnTo>
                  <a:lnTo>
                    <a:pt x="454" y="227"/>
                  </a:lnTo>
                  <a:lnTo>
                    <a:pt x="454" y="235"/>
                  </a:lnTo>
                  <a:lnTo>
                    <a:pt x="454" y="242"/>
                  </a:lnTo>
                  <a:lnTo>
                    <a:pt x="454" y="250"/>
                  </a:lnTo>
                  <a:lnTo>
                    <a:pt x="452" y="258"/>
                  </a:lnTo>
                  <a:lnTo>
                    <a:pt x="450" y="265"/>
                  </a:lnTo>
                  <a:lnTo>
                    <a:pt x="448" y="273"/>
                  </a:lnTo>
                  <a:lnTo>
                    <a:pt x="446" y="282"/>
                  </a:lnTo>
                  <a:lnTo>
                    <a:pt x="444" y="290"/>
                  </a:lnTo>
                  <a:lnTo>
                    <a:pt x="442" y="300"/>
                  </a:lnTo>
                  <a:lnTo>
                    <a:pt x="441" y="307"/>
                  </a:lnTo>
                  <a:lnTo>
                    <a:pt x="439" y="315"/>
                  </a:lnTo>
                  <a:lnTo>
                    <a:pt x="437" y="322"/>
                  </a:lnTo>
                  <a:lnTo>
                    <a:pt x="435" y="328"/>
                  </a:lnTo>
                  <a:lnTo>
                    <a:pt x="431" y="334"/>
                  </a:lnTo>
                  <a:lnTo>
                    <a:pt x="431" y="340"/>
                  </a:lnTo>
                  <a:lnTo>
                    <a:pt x="429" y="345"/>
                  </a:lnTo>
                  <a:lnTo>
                    <a:pt x="429" y="345"/>
                  </a:lnTo>
                  <a:lnTo>
                    <a:pt x="427" y="349"/>
                  </a:lnTo>
                  <a:lnTo>
                    <a:pt x="427" y="353"/>
                  </a:lnTo>
                  <a:lnTo>
                    <a:pt x="427" y="357"/>
                  </a:lnTo>
                  <a:lnTo>
                    <a:pt x="425" y="361"/>
                  </a:lnTo>
                  <a:lnTo>
                    <a:pt x="423" y="363"/>
                  </a:lnTo>
                  <a:lnTo>
                    <a:pt x="421" y="366"/>
                  </a:lnTo>
                  <a:lnTo>
                    <a:pt x="418" y="368"/>
                  </a:lnTo>
                  <a:lnTo>
                    <a:pt x="414" y="368"/>
                  </a:lnTo>
                  <a:lnTo>
                    <a:pt x="414" y="368"/>
                  </a:lnTo>
                  <a:lnTo>
                    <a:pt x="414" y="368"/>
                  </a:lnTo>
                  <a:lnTo>
                    <a:pt x="412" y="366"/>
                  </a:lnTo>
                  <a:lnTo>
                    <a:pt x="408" y="363"/>
                  </a:lnTo>
                  <a:lnTo>
                    <a:pt x="406" y="359"/>
                  </a:lnTo>
                  <a:lnTo>
                    <a:pt x="404" y="355"/>
                  </a:lnTo>
                  <a:lnTo>
                    <a:pt x="400" y="353"/>
                  </a:lnTo>
                  <a:lnTo>
                    <a:pt x="400" y="349"/>
                  </a:lnTo>
                  <a:lnTo>
                    <a:pt x="399" y="347"/>
                  </a:lnTo>
                  <a:lnTo>
                    <a:pt x="399" y="347"/>
                  </a:lnTo>
                  <a:lnTo>
                    <a:pt x="393" y="349"/>
                  </a:lnTo>
                  <a:lnTo>
                    <a:pt x="389" y="351"/>
                  </a:lnTo>
                  <a:lnTo>
                    <a:pt x="385" y="353"/>
                  </a:lnTo>
                  <a:lnTo>
                    <a:pt x="381" y="357"/>
                  </a:lnTo>
                  <a:lnTo>
                    <a:pt x="378" y="359"/>
                  </a:lnTo>
                  <a:lnTo>
                    <a:pt x="374" y="361"/>
                  </a:lnTo>
                  <a:lnTo>
                    <a:pt x="368" y="363"/>
                  </a:lnTo>
                  <a:lnTo>
                    <a:pt x="360" y="363"/>
                  </a:lnTo>
                  <a:lnTo>
                    <a:pt x="360" y="363"/>
                  </a:lnTo>
                  <a:lnTo>
                    <a:pt x="351" y="363"/>
                  </a:lnTo>
                  <a:lnTo>
                    <a:pt x="343" y="357"/>
                  </a:lnTo>
                  <a:lnTo>
                    <a:pt x="338" y="351"/>
                  </a:lnTo>
                  <a:lnTo>
                    <a:pt x="334" y="343"/>
                  </a:lnTo>
                  <a:lnTo>
                    <a:pt x="328" y="338"/>
                  </a:lnTo>
                  <a:lnTo>
                    <a:pt x="324" y="330"/>
                  </a:lnTo>
                  <a:lnTo>
                    <a:pt x="318" y="326"/>
                  </a:lnTo>
                  <a:lnTo>
                    <a:pt x="313" y="324"/>
                  </a:lnTo>
                  <a:lnTo>
                    <a:pt x="313" y="324"/>
                  </a:lnTo>
                  <a:lnTo>
                    <a:pt x="307" y="324"/>
                  </a:lnTo>
                  <a:lnTo>
                    <a:pt x="301" y="328"/>
                  </a:lnTo>
                  <a:lnTo>
                    <a:pt x="297" y="332"/>
                  </a:lnTo>
                  <a:lnTo>
                    <a:pt x="294" y="336"/>
                  </a:lnTo>
                  <a:lnTo>
                    <a:pt x="292" y="342"/>
                  </a:lnTo>
                  <a:lnTo>
                    <a:pt x="288" y="347"/>
                  </a:lnTo>
                  <a:lnTo>
                    <a:pt x="284" y="353"/>
                  </a:lnTo>
                  <a:lnTo>
                    <a:pt x="280" y="357"/>
                  </a:lnTo>
                  <a:lnTo>
                    <a:pt x="280" y="357"/>
                  </a:lnTo>
                  <a:lnTo>
                    <a:pt x="273" y="363"/>
                  </a:lnTo>
                  <a:lnTo>
                    <a:pt x="265" y="364"/>
                  </a:lnTo>
                  <a:lnTo>
                    <a:pt x="255" y="363"/>
                  </a:lnTo>
                  <a:lnTo>
                    <a:pt x="246" y="361"/>
                  </a:lnTo>
                  <a:lnTo>
                    <a:pt x="236" y="361"/>
                  </a:lnTo>
                  <a:lnTo>
                    <a:pt x="229" y="364"/>
                  </a:lnTo>
                  <a:lnTo>
                    <a:pt x="223" y="374"/>
                  </a:lnTo>
                  <a:lnTo>
                    <a:pt x="221" y="393"/>
                  </a:lnTo>
                  <a:lnTo>
                    <a:pt x="221" y="393"/>
                  </a:lnTo>
                  <a:lnTo>
                    <a:pt x="221" y="395"/>
                  </a:lnTo>
                  <a:lnTo>
                    <a:pt x="221" y="399"/>
                  </a:lnTo>
                  <a:lnTo>
                    <a:pt x="221" y="403"/>
                  </a:lnTo>
                  <a:lnTo>
                    <a:pt x="221" y="404"/>
                  </a:lnTo>
                  <a:lnTo>
                    <a:pt x="221" y="408"/>
                  </a:lnTo>
                  <a:lnTo>
                    <a:pt x="221" y="412"/>
                  </a:lnTo>
                  <a:lnTo>
                    <a:pt x="221" y="418"/>
                  </a:lnTo>
                  <a:lnTo>
                    <a:pt x="221" y="422"/>
                  </a:lnTo>
                  <a:lnTo>
                    <a:pt x="221" y="422"/>
                  </a:lnTo>
                  <a:lnTo>
                    <a:pt x="223" y="425"/>
                  </a:lnTo>
                  <a:lnTo>
                    <a:pt x="225" y="429"/>
                  </a:lnTo>
                  <a:lnTo>
                    <a:pt x="229" y="433"/>
                  </a:lnTo>
                  <a:lnTo>
                    <a:pt x="233" y="437"/>
                  </a:lnTo>
                  <a:lnTo>
                    <a:pt x="236" y="441"/>
                  </a:lnTo>
                  <a:lnTo>
                    <a:pt x="240" y="443"/>
                  </a:lnTo>
                  <a:lnTo>
                    <a:pt x="244" y="445"/>
                  </a:lnTo>
                  <a:lnTo>
                    <a:pt x="248" y="446"/>
                  </a:lnTo>
                  <a:lnTo>
                    <a:pt x="248" y="446"/>
                  </a:lnTo>
                  <a:lnTo>
                    <a:pt x="246" y="448"/>
                  </a:lnTo>
                  <a:lnTo>
                    <a:pt x="246" y="450"/>
                  </a:lnTo>
                  <a:lnTo>
                    <a:pt x="244" y="452"/>
                  </a:lnTo>
                  <a:lnTo>
                    <a:pt x="242" y="456"/>
                  </a:lnTo>
                  <a:lnTo>
                    <a:pt x="240" y="458"/>
                  </a:lnTo>
                  <a:lnTo>
                    <a:pt x="240" y="462"/>
                  </a:lnTo>
                  <a:lnTo>
                    <a:pt x="238" y="466"/>
                  </a:lnTo>
                  <a:lnTo>
                    <a:pt x="236" y="469"/>
                  </a:lnTo>
                  <a:lnTo>
                    <a:pt x="236" y="469"/>
                  </a:lnTo>
                  <a:lnTo>
                    <a:pt x="236" y="469"/>
                  </a:lnTo>
                  <a:lnTo>
                    <a:pt x="234" y="467"/>
                  </a:lnTo>
                  <a:lnTo>
                    <a:pt x="231" y="464"/>
                  </a:lnTo>
                  <a:lnTo>
                    <a:pt x="229" y="462"/>
                  </a:lnTo>
                  <a:lnTo>
                    <a:pt x="225" y="458"/>
                  </a:lnTo>
                  <a:lnTo>
                    <a:pt x="221" y="456"/>
                  </a:lnTo>
                  <a:lnTo>
                    <a:pt x="219" y="454"/>
                  </a:lnTo>
                  <a:lnTo>
                    <a:pt x="215" y="454"/>
                  </a:lnTo>
                  <a:lnTo>
                    <a:pt x="215" y="454"/>
                  </a:lnTo>
                  <a:lnTo>
                    <a:pt x="210" y="456"/>
                  </a:lnTo>
                  <a:lnTo>
                    <a:pt x="204" y="458"/>
                  </a:lnTo>
                  <a:lnTo>
                    <a:pt x="200" y="462"/>
                  </a:lnTo>
                  <a:lnTo>
                    <a:pt x="196" y="466"/>
                  </a:lnTo>
                  <a:lnTo>
                    <a:pt x="191" y="471"/>
                  </a:lnTo>
                  <a:lnTo>
                    <a:pt x="187" y="475"/>
                  </a:lnTo>
                  <a:lnTo>
                    <a:pt x="181" y="477"/>
                  </a:lnTo>
                  <a:lnTo>
                    <a:pt x="175" y="477"/>
                  </a:lnTo>
                  <a:lnTo>
                    <a:pt x="175" y="477"/>
                  </a:lnTo>
                  <a:lnTo>
                    <a:pt x="172" y="471"/>
                  </a:lnTo>
                  <a:lnTo>
                    <a:pt x="168" y="464"/>
                  </a:lnTo>
                  <a:lnTo>
                    <a:pt x="162" y="458"/>
                  </a:lnTo>
                  <a:lnTo>
                    <a:pt x="158" y="452"/>
                  </a:lnTo>
                  <a:lnTo>
                    <a:pt x="152" y="446"/>
                  </a:lnTo>
                  <a:lnTo>
                    <a:pt x="149" y="441"/>
                  </a:lnTo>
                  <a:lnTo>
                    <a:pt x="143" y="437"/>
                  </a:lnTo>
                  <a:lnTo>
                    <a:pt x="139" y="431"/>
                  </a:lnTo>
                  <a:lnTo>
                    <a:pt x="133" y="427"/>
                  </a:lnTo>
                  <a:lnTo>
                    <a:pt x="128" y="422"/>
                  </a:lnTo>
                  <a:lnTo>
                    <a:pt x="122" y="418"/>
                  </a:lnTo>
                  <a:lnTo>
                    <a:pt x="118" y="414"/>
                  </a:lnTo>
                  <a:lnTo>
                    <a:pt x="112" y="408"/>
                  </a:lnTo>
                  <a:lnTo>
                    <a:pt x="107" y="403"/>
                  </a:lnTo>
                  <a:lnTo>
                    <a:pt x="101" y="399"/>
                  </a:lnTo>
                  <a:lnTo>
                    <a:pt x="95" y="393"/>
                  </a:lnTo>
                  <a:lnTo>
                    <a:pt x="95" y="393"/>
                  </a:lnTo>
                  <a:lnTo>
                    <a:pt x="88" y="385"/>
                  </a:lnTo>
                  <a:lnTo>
                    <a:pt x="82" y="378"/>
                  </a:lnTo>
                  <a:lnTo>
                    <a:pt x="78" y="368"/>
                  </a:lnTo>
                  <a:lnTo>
                    <a:pt x="74" y="361"/>
                  </a:lnTo>
                  <a:lnTo>
                    <a:pt x="70" y="353"/>
                  </a:lnTo>
                  <a:lnTo>
                    <a:pt x="67" y="345"/>
                  </a:lnTo>
                  <a:lnTo>
                    <a:pt x="63" y="336"/>
                  </a:lnTo>
                  <a:lnTo>
                    <a:pt x="57" y="328"/>
                  </a:lnTo>
                  <a:lnTo>
                    <a:pt x="57" y="328"/>
                  </a:lnTo>
                  <a:lnTo>
                    <a:pt x="53" y="322"/>
                  </a:lnTo>
                  <a:lnTo>
                    <a:pt x="49" y="319"/>
                  </a:lnTo>
                  <a:lnTo>
                    <a:pt x="44" y="313"/>
                  </a:lnTo>
                  <a:lnTo>
                    <a:pt x="40" y="307"/>
                  </a:lnTo>
                  <a:lnTo>
                    <a:pt x="36" y="301"/>
                  </a:lnTo>
                  <a:lnTo>
                    <a:pt x="30" y="296"/>
                  </a:lnTo>
                  <a:lnTo>
                    <a:pt x="27" y="288"/>
                  </a:lnTo>
                  <a:lnTo>
                    <a:pt x="21" y="282"/>
                  </a:lnTo>
                  <a:lnTo>
                    <a:pt x="17" y="275"/>
                  </a:lnTo>
                  <a:lnTo>
                    <a:pt x="13" y="269"/>
                  </a:lnTo>
                  <a:lnTo>
                    <a:pt x="9" y="261"/>
                  </a:lnTo>
                  <a:lnTo>
                    <a:pt x="6" y="256"/>
                  </a:lnTo>
                  <a:lnTo>
                    <a:pt x="4" y="248"/>
                  </a:lnTo>
                  <a:lnTo>
                    <a:pt x="2" y="242"/>
                  </a:lnTo>
                  <a:lnTo>
                    <a:pt x="0" y="235"/>
                  </a:lnTo>
                  <a:lnTo>
                    <a:pt x="0" y="229"/>
                  </a:lnTo>
                  <a:lnTo>
                    <a:pt x="0" y="229"/>
                  </a:lnTo>
                  <a:lnTo>
                    <a:pt x="6" y="231"/>
                  </a:lnTo>
                  <a:lnTo>
                    <a:pt x="9" y="229"/>
                  </a:lnTo>
                  <a:lnTo>
                    <a:pt x="15" y="225"/>
                  </a:lnTo>
                  <a:lnTo>
                    <a:pt x="21" y="218"/>
                  </a:lnTo>
                  <a:lnTo>
                    <a:pt x="27" y="208"/>
                  </a:lnTo>
                  <a:lnTo>
                    <a:pt x="32" y="198"/>
                  </a:lnTo>
                  <a:lnTo>
                    <a:pt x="36" y="187"/>
                  </a:lnTo>
                  <a:lnTo>
                    <a:pt x="42" y="174"/>
                  </a:lnTo>
                  <a:lnTo>
                    <a:pt x="46" y="160"/>
                  </a:lnTo>
                  <a:lnTo>
                    <a:pt x="51" y="147"/>
                  </a:lnTo>
                  <a:lnTo>
                    <a:pt x="55" y="136"/>
                  </a:lnTo>
                  <a:lnTo>
                    <a:pt x="57" y="124"/>
                  </a:lnTo>
                  <a:lnTo>
                    <a:pt x="61" y="113"/>
                  </a:lnTo>
                  <a:lnTo>
                    <a:pt x="63" y="105"/>
                  </a:lnTo>
                  <a:lnTo>
                    <a:pt x="65" y="97"/>
                  </a:lnTo>
                  <a:lnTo>
                    <a:pt x="65" y="94"/>
                  </a:lnTo>
                  <a:lnTo>
                    <a:pt x="204" y="94"/>
                  </a:lnTo>
                  <a:lnTo>
                    <a:pt x="204" y="0"/>
                  </a:lnTo>
                  <a:lnTo>
                    <a:pt x="349" y="0"/>
                  </a:lnTo>
                  <a:lnTo>
                    <a:pt x="360" y="6"/>
                  </a:lnTo>
                  <a:lnTo>
                    <a:pt x="360" y="4"/>
                  </a:lnTo>
                  <a:lnTo>
                    <a:pt x="357" y="4"/>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91" name="Freeform 35"/>
            <p:cNvSpPr>
              <a:spLocks/>
            </p:cNvSpPr>
            <p:nvPr/>
          </p:nvSpPr>
          <p:spPr bwMode="gray">
            <a:xfrm>
              <a:off x="1985" y="2267"/>
              <a:ext cx="83" cy="51"/>
            </a:xfrm>
            <a:custGeom>
              <a:avLst/>
              <a:gdLst/>
              <a:ahLst/>
              <a:cxnLst>
                <a:cxn ang="0">
                  <a:pos x="147" y="0"/>
                </a:cxn>
                <a:cxn ang="0">
                  <a:pos x="25" y="0"/>
                </a:cxn>
                <a:cxn ang="0">
                  <a:pos x="25" y="0"/>
                </a:cxn>
                <a:cxn ang="0">
                  <a:pos x="25" y="4"/>
                </a:cxn>
                <a:cxn ang="0">
                  <a:pos x="23" y="10"/>
                </a:cxn>
                <a:cxn ang="0">
                  <a:pos x="23" y="15"/>
                </a:cxn>
                <a:cxn ang="0">
                  <a:pos x="21" y="19"/>
                </a:cxn>
                <a:cxn ang="0">
                  <a:pos x="19" y="23"/>
                </a:cxn>
                <a:cxn ang="0">
                  <a:pos x="15" y="27"/>
                </a:cxn>
                <a:cxn ang="0">
                  <a:pos x="13" y="31"/>
                </a:cxn>
                <a:cxn ang="0">
                  <a:pos x="12" y="34"/>
                </a:cxn>
                <a:cxn ang="0">
                  <a:pos x="10" y="38"/>
                </a:cxn>
                <a:cxn ang="0">
                  <a:pos x="8" y="42"/>
                </a:cxn>
                <a:cxn ang="0">
                  <a:pos x="6" y="46"/>
                </a:cxn>
                <a:cxn ang="0">
                  <a:pos x="4" y="50"/>
                </a:cxn>
                <a:cxn ang="0">
                  <a:pos x="2" y="53"/>
                </a:cxn>
                <a:cxn ang="0">
                  <a:pos x="0" y="59"/>
                </a:cxn>
                <a:cxn ang="0">
                  <a:pos x="0" y="63"/>
                </a:cxn>
                <a:cxn ang="0">
                  <a:pos x="0" y="69"/>
                </a:cxn>
                <a:cxn ang="0">
                  <a:pos x="0" y="69"/>
                </a:cxn>
                <a:cxn ang="0">
                  <a:pos x="0" y="71"/>
                </a:cxn>
                <a:cxn ang="0">
                  <a:pos x="0" y="74"/>
                </a:cxn>
                <a:cxn ang="0">
                  <a:pos x="2" y="78"/>
                </a:cxn>
                <a:cxn ang="0">
                  <a:pos x="2" y="82"/>
                </a:cxn>
                <a:cxn ang="0">
                  <a:pos x="4" y="84"/>
                </a:cxn>
                <a:cxn ang="0">
                  <a:pos x="6" y="88"/>
                </a:cxn>
                <a:cxn ang="0">
                  <a:pos x="6" y="90"/>
                </a:cxn>
                <a:cxn ang="0">
                  <a:pos x="8" y="94"/>
                </a:cxn>
                <a:cxn ang="0">
                  <a:pos x="147" y="94"/>
                </a:cxn>
                <a:cxn ang="0">
                  <a:pos x="147" y="0"/>
                </a:cxn>
                <a:cxn ang="0">
                  <a:pos x="147" y="0"/>
                </a:cxn>
              </a:cxnLst>
              <a:rect l="0" t="0" r="r" b="b"/>
              <a:pathLst>
                <a:path w="147" h="94">
                  <a:moveTo>
                    <a:pt x="147" y="0"/>
                  </a:moveTo>
                  <a:lnTo>
                    <a:pt x="25" y="0"/>
                  </a:lnTo>
                  <a:lnTo>
                    <a:pt x="25" y="0"/>
                  </a:lnTo>
                  <a:lnTo>
                    <a:pt x="25" y="4"/>
                  </a:lnTo>
                  <a:lnTo>
                    <a:pt x="23" y="10"/>
                  </a:lnTo>
                  <a:lnTo>
                    <a:pt x="23" y="15"/>
                  </a:lnTo>
                  <a:lnTo>
                    <a:pt x="21" y="19"/>
                  </a:lnTo>
                  <a:lnTo>
                    <a:pt x="19" y="23"/>
                  </a:lnTo>
                  <a:lnTo>
                    <a:pt x="15" y="27"/>
                  </a:lnTo>
                  <a:lnTo>
                    <a:pt x="13" y="31"/>
                  </a:lnTo>
                  <a:lnTo>
                    <a:pt x="12" y="34"/>
                  </a:lnTo>
                  <a:lnTo>
                    <a:pt x="10" y="38"/>
                  </a:lnTo>
                  <a:lnTo>
                    <a:pt x="8" y="42"/>
                  </a:lnTo>
                  <a:lnTo>
                    <a:pt x="6" y="46"/>
                  </a:lnTo>
                  <a:lnTo>
                    <a:pt x="4" y="50"/>
                  </a:lnTo>
                  <a:lnTo>
                    <a:pt x="2" y="53"/>
                  </a:lnTo>
                  <a:lnTo>
                    <a:pt x="0" y="59"/>
                  </a:lnTo>
                  <a:lnTo>
                    <a:pt x="0" y="63"/>
                  </a:lnTo>
                  <a:lnTo>
                    <a:pt x="0" y="69"/>
                  </a:lnTo>
                  <a:lnTo>
                    <a:pt x="0" y="69"/>
                  </a:lnTo>
                  <a:lnTo>
                    <a:pt x="0" y="71"/>
                  </a:lnTo>
                  <a:lnTo>
                    <a:pt x="0" y="74"/>
                  </a:lnTo>
                  <a:lnTo>
                    <a:pt x="2" y="78"/>
                  </a:lnTo>
                  <a:lnTo>
                    <a:pt x="2" y="82"/>
                  </a:lnTo>
                  <a:lnTo>
                    <a:pt x="4" y="84"/>
                  </a:lnTo>
                  <a:lnTo>
                    <a:pt x="6" y="88"/>
                  </a:lnTo>
                  <a:lnTo>
                    <a:pt x="6" y="90"/>
                  </a:lnTo>
                  <a:lnTo>
                    <a:pt x="8" y="94"/>
                  </a:lnTo>
                  <a:lnTo>
                    <a:pt x="147" y="94"/>
                  </a:lnTo>
                  <a:lnTo>
                    <a:pt x="147" y="0"/>
                  </a:lnTo>
                  <a:lnTo>
                    <a:pt x="147" y="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92" name="Freeform 36"/>
            <p:cNvSpPr>
              <a:spLocks/>
            </p:cNvSpPr>
            <p:nvPr/>
          </p:nvSpPr>
          <p:spPr bwMode="gray">
            <a:xfrm>
              <a:off x="1942" y="1790"/>
              <a:ext cx="347" cy="492"/>
            </a:xfrm>
            <a:custGeom>
              <a:avLst/>
              <a:gdLst/>
              <a:ahLst/>
              <a:cxnLst>
                <a:cxn ang="0">
                  <a:pos x="101" y="857"/>
                </a:cxn>
                <a:cxn ang="0">
                  <a:pos x="107" y="826"/>
                </a:cxn>
                <a:cxn ang="0">
                  <a:pos x="112" y="797"/>
                </a:cxn>
                <a:cxn ang="0">
                  <a:pos x="93" y="755"/>
                </a:cxn>
                <a:cxn ang="0">
                  <a:pos x="49" y="723"/>
                </a:cxn>
                <a:cxn ang="0">
                  <a:pos x="21" y="698"/>
                </a:cxn>
                <a:cxn ang="0">
                  <a:pos x="2" y="660"/>
                </a:cxn>
                <a:cxn ang="0">
                  <a:pos x="13" y="628"/>
                </a:cxn>
                <a:cxn ang="0">
                  <a:pos x="21" y="593"/>
                </a:cxn>
                <a:cxn ang="0">
                  <a:pos x="49" y="549"/>
                </a:cxn>
                <a:cxn ang="0">
                  <a:pos x="110" y="504"/>
                </a:cxn>
                <a:cxn ang="0">
                  <a:pos x="150" y="494"/>
                </a:cxn>
                <a:cxn ang="0">
                  <a:pos x="164" y="477"/>
                </a:cxn>
                <a:cxn ang="0">
                  <a:pos x="208" y="527"/>
                </a:cxn>
                <a:cxn ang="0">
                  <a:pos x="238" y="509"/>
                </a:cxn>
                <a:cxn ang="0">
                  <a:pos x="272" y="450"/>
                </a:cxn>
                <a:cxn ang="0">
                  <a:pos x="286" y="410"/>
                </a:cxn>
                <a:cxn ang="0">
                  <a:pos x="305" y="374"/>
                </a:cxn>
                <a:cxn ang="0">
                  <a:pos x="335" y="347"/>
                </a:cxn>
                <a:cxn ang="0">
                  <a:pos x="343" y="321"/>
                </a:cxn>
                <a:cxn ang="0">
                  <a:pos x="362" y="294"/>
                </a:cxn>
                <a:cxn ang="0">
                  <a:pos x="379" y="273"/>
                </a:cxn>
                <a:cxn ang="0">
                  <a:pos x="377" y="244"/>
                </a:cxn>
                <a:cxn ang="0">
                  <a:pos x="398" y="206"/>
                </a:cxn>
                <a:cxn ang="0">
                  <a:pos x="429" y="166"/>
                </a:cxn>
                <a:cxn ang="0">
                  <a:pos x="477" y="132"/>
                </a:cxn>
                <a:cxn ang="0">
                  <a:pos x="486" y="88"/>
                </a:cxn>
                <a:cxn ang="0">
                  <a:pos x="486" y="65"/>
                </a:cxn>
                <a:cxn ang="0">
                  <a:pos x="452" y="55"/>
                </a:cxn>
                <a:cxn ang="0">
                  <a:pos x="477" y="31"/>
                </a:cxn>
                <a:cxn ang="0">
                  <a:pos x="505" y="128"/>
                </a:cxn>
                <a:cxn ang="0">
                  <a:pos x="522" y="179"/>
                </a:cxn>
                <a:cxn ang="0">
                  <a:pos x="538" y="227"/>
                </a:cxn>
                <a:cxn ang="0">
                  <a:pos x="498" y="235"/>
                </a:cxn>
                <a:cxn ang="0">
                  <a:pos x="446" y="246"/>
                </a:cxn>
                <a:cxn ang="0">
                  <a:pos x="438" y="286"/>
                </a:cxn>
                <a:cxn ang="0">
                  <a:pos x="461" y="319"/>
                </a:cxn>
                <a:cxn ang="0">
                  <a:pos x="492" y="342"/>
                </a:cxn>
                <a:cxn ang="0">
                  <a:pos x="522" y="378"/>
                </a:cxn>
                <a:cxn ang="0">
                  <a:pos x="549" y="427"/>
                </a:cxn>
                <a:cxn ang="0">
                  <a:pos x="551" y="456"/>
                </a:cxn>
                <a:cxn ang="0">
                  <a:pos x="536" y="466"/>
                </a:cxn>
                <a:cxn ang="0">
                  <a:pos x="505" y="513"/>
                </a:cxn>
                <a:cxn ang="0">
                  <a:pos x="475" y="561"/>
                </a:cxn>
                <a:cxn ang="0">
                  <a:pos x="480" y="576"/>
                </a:cxn>
                <a:cxn ang="0">
                  <a:pos x="484" y="591"/>
                </a:cxn>
                <a:cxn ang="0">
                  <a:pos x="484" y="622"/>
                </a:cxn>
                <a:cxn ang="0">
                  <a:pos x="509" y="700"/>
                </a:cxn>
                <a:cxn ang="0">
                  <a:pos x="549" y="765"/>
                </a:cxn>
                <a:cxn ang="0">
                  <a:pos x="576" y="792"/>
                </a:cxn>
                <a:cxn ang="0">
                  <a:pos x="604" y="818"/>
                </a:cxn>
                <a:cxn ang="0">
                  <a:pos x="610" y="845"/>
                </a:cxn>
                <a:cxn ang="0">
                  <a:pos x="602" y="859"/>
                </a:cxn>
                <a:cxn ang="0">
                  <a:pos x="591" y="895"/>
                </a:cxn>
                <a:cxn ang="0">
                  <a:pos x="557" y="883"/>
                </a:cxn>
                <a:cxn ang="0">
                  <a:pos x="511" y="874"/>
                </a:cxn>
                <a:cxn ang="0">
                  <a:pos x="463" y="859"/>
                </a:cxn>
                <a:cxn ang="0">
                  <a:pos x="406" y="857"/>
                </a:cxn>
              </a:cxnLst>
              <a:rect l="0" t="0" r="r" b="b"/>
              <a:pathLst>
                <a:path w="610" h="897">
                  <a:moveTo>
                    <a:pt x="366" y="868"/>
                  </a:moveTo>
                  <a:lnTo>
                    <a:pt x="221" y="868"/>
                  </a:lnTo>
                  <a:lnTo>
                    <a:pt x="221" y="868"/>
                  </a:lnTo>
                  <a:lnTo>
                    <a:pt x="99" y="868"/>
                  </a:lnTo>
                  <a:lnTo>
                    <a:pt x="99" y="868"/>
                  </a:lnTo>
                  <a:lnTo>
                    <a:pt x="99" y="862"/>
                  </a:lnTo>
                  <a:lnTo>
                    <a:pt x="101" y="857"/>
                  </a:lnTo>
                  <a:lnTo>
                    <a:pt x="101" y="851"/>
                  </a:lnTo>
                  <a:lnTo>
                    <a:pt x="101" y="847"/>
                  </a:lnTo>
                  <a:lnTo>
                    <a:pt x="103" y="841"/>
                  </a:lnTo>
                  <a:lnTo>
                    <a:pt x="103" y="838"/>
                  </a:lnTo>
                  <a:lnTo>
                    <a:pt x="105" y="834"/>
                  </a:lnTo>
                  <a:lnTo>
                    <a:pt x="107" y="830"/>
                  </a:lnTo>
                  <a:lnTo>
                    <a:pt x="107" y="826"/>
                  </a:lnTo>
                  <a:lnTo>
                    <a:pt x="108" y="822"/>
                  </a:lnTo>
                  <a:lnTo>
                    <a:pt x="108" y="818"/>
                  </a:lnTo>
                  <a:lnTo>
                    <a:pt x="110" y="813"/>
                  </a:lnTo>
                  <a:lnTo>
                    <a:pt x="110" y="809"/>
                  </a:lnTo>
                  <a:lnTo>
                    <a:pt x="110" y="805"/>
                  </a:lnTo>
                  <a:lnTo>
                    <a:pt x="112" y="801"/>
                  </a:lnTo>
                  <a:lnTo>
                    <a:pt x="112" y="797"/>
                  </a:lnTo>
                  <a:lnTo>
                    <a:pt x="112" y="797"/>
                  </a:lnTo>
                  <a:lnTo>
                    <a:pt x="110" y="790"/>
                  </a:lnTo>
                  <a:lnTo>
                    <a:pt x="108" y="782"/>
                  </a:lnTo>
                  <a:lnTo>
                    <a:pt x="107" y="775"/>
                  </a:lnTo>
                  <a:lnTo>
                    <a:pt x="103" y="769"/>
                  </a:lnTo>
                  <a:lnTo>
                    <a:pt x="99" y="761"/>
                  </a:lnTo>
                  <a:lnTo>
                    <a:pt x="93" y="755"/>
                  </a:lnTo>
                  <a:lnTo>
                    <a:pt x="87" y="750"/>
                  </a:lnTo>
                  <a:lnTo>
                    <a:pt x="82" y="744"/>
                  </a:lnTo>
                  <a:lnTo>
                    <a:pt x="76" y="740"/>
                  </a:lnTo>
                  <a:lnTo>
                    <a:pt x="68" y="735"/>
                  </a:lnTo>
                  <a:lnTo>
                    <a:pt x="63" y="731"/>
                  </a:lnTo>
                  <a:lnTo>
                    <a:pt x="57" y="727"/>
                  </a:lnTo>
                  <a:lnTo>
                    <a:pt x="49" y="723"/>
                  </a:lnTo>
                  <a:lnTo>
                    <a:pt x="44" y="719"/>
                  </a:lnTo>
                  <a:lnTo>
                    <a:pt x="40" y="715"/>
                  </a:lnTo>
                  <a:lnTo>
                    <a:pt x="34" y="714"/>
                  </a:lnTo>
                  <a:lnTo>
                    <a:pt x="34" y="714"/>
                  </a:lnTo>
                  <a:lnTo>
                    <a:pt x="30" y="710"/>
                  </a:lnTo>
                  <a:lnTo>
                    <a:pt x="26" y="704"/>
                  </a:lnTo>
                  <a:lnTo>
                    <a:pt x="21" y="698"/>
                  </a:lnTo>
                  <a:lnTo>
                    <a:pt x="17" y="691"/>
                  </a:lnTo>
                  <a:lnTo>
                    <a:pt x="13" y="683"/>
                  </a:lnTo>
                  <a:lnTo>
                    <a:pt x="7" y="675"/>
                  </a:lnTo>
                  <a:lnTo>
                    <a:pt x="4" y="670"/>
                  </a:lnTo>
                  <a:lnTo>
                    <a:pt x="0" y="666"/>
                  </a:lnTo>
                  <a:lnTo>
                    <a:pt x="0" y="666"/>
                  </a:lnTo>
                  <a:lnTo>
                    <a:pt x="2" y="660"/>
                  </a:lnTo>
                  <a:lnTo>
                    <a:pt x="4" y="656"/>
                  </a:lnTo>
                  <a:lnTo>
                    <a:pt x="5" y="652"/>
                  </a:lnTo>
                  <a:lnTo>
                    <a:pt x="7" y="647"/>
                  </a:lnTo>
                  <a:lnTo>
                    <a:pt x="9" y="643"/>
                  </a:lnTo>
                  <a:lnTo>
                    <a:pt x="9" y="637"/>
                  </a:lnTo>
                  <a:lnTo>
                    <a:pt x="11" y="631"/>
                  </a:lnTo>
                  <a:lnTo>
                    <a:pt x="13" y="628"/>
                  </a:lnTo>
                  <a:lnTo>
                    <a:pt x="13" y="622"/>
                  </a:lnTo>
                  <a:lnTo>
                    <a:pt x="15" y="618"/>
                  </a:lnTo>
                  <a:lnTo>
                    <a:pt x="15" y="612"/>
                  </a:lnTo>
                  <a:lnTo>
                    <a:pt x="17" y="607"/>
                  </a:lnTo>
                  <a:lnTo>
                    <a:pt x="19" y="603"/>
                  </a:lnTo>
                  <a:lnTo>
                    <a:pt x="19" y="597"/>
                  </a:lnTo>
                  <a:lnTo>
                    <a:pt x="21" y="593"/>
                  </a:lnTo>
                  <a:lnTo>
                    <a:pt x="23" y="588"/>
                  </a:lnTo>
                  <a:lnTo>
                    <a:pt x="23" y="588"/>
                  </a:lnTo>
                  <a:lnTo>
                    <a:pt x="26" y="580"/>
                  </a:lnTo>
                  <a:lnTo>
                    <a:pt x="30" y="572"/>
                  </a:lnTo>
                  <a:lnTo>
                    <a:pt x="36" y="565"/>
                  </a:lnTo>
                  <a:lnTo>
                    <a:pt x="42" y="557"/>
                  </a:lnTo>
                  <a:lnTo>
                    <a:pt x="49" y="549"/>
                  </a:lnTo>
                  <a:lnTo>
                    <a:pt x="57" y="542"/>
                  </a:lnTo>
                  <a:lnTo>
                    <a:pt x="65" y="534"/>
                  </a:lnTo>
                  <a:lnTo>
                    <a:pt x="74" y="527"/>
                  </a:lnTo>
                  <a:lnTo>
                    <a:pt x="82" y="521"/>
                  </a:lnTo>
                  <a:lnTo>
                    <a:pt x="91" y="515"/>
                  </a:lnTo>
                  <a:lnTo>
                    <a:pt x="101" y="509"/>
                  </a:lnTo>
                  <a:lnTo>
                    <a:pt x="110" y="504"/>
                  </a:lnTo>
                  <a:lnTo>
                    <a:pt x="120" y="502"/>
                  </a:lnTo>
                  <a:lnTo>
                    <a:pt x="128" y="498"/>
                  </a:lnTo>
                  <a:lnTo>
                    <a:pt x="137" y="496"/>
                  </a:lnTo>
                  <a:lnTo>
                    <a:pt x="145" y="496"/>
                  </a:lnTo>
                  <a:lnTo>
                    <a:pt x="145" y="496"/>
                  </a:lnTo>
                  <a:lnTo>
                    <a:pt x="148" y="496"/>
                  </a:lnTo>
                  <a:lnTo>
                    <a:pt x="150" y="494"/>
                  </a:lnTo>
                  <a:lnTo>
                    <a:pt x="154" y="490"/>
                  </a:lnTo>
                  <a:lnTo>
                    <a:pt x="156" y="488"/>
                  </a:lnTo>
                  <a:lnTo>
                    <a:pt x="160" y="485"/>
                  </a:lnTo>
                  <a:lnTo>
                    <a:pt x="162" y="483"/>
                  </a:lnTo>
                  <a:lnTo>
                    <a:pt x="164" y="479"/>
                  </a:lnTo>
                  <a:lnTo>
                    <a:pt x="164" y="477"/>
                  </a:lnTo>
                  <a:lnTo>
                    <a:pt x="164" y="477"/>
                  </a:lnTo>
                  <a:lnTo>
                    <a:pt x="171" y="485"/>
                  </a:lnTo>
                  <a:lnTo>
                    <a:pt x="179" y="492"/>
                  </a:lnTo>
                  <a:lnTo>
                    <a:pt x="185" y="500"/>
                  </a:lnTo>
                  <a:lnTo>
                    <a:pt x="190" y="509"/>
                  </a:lnTo>
                  <a:lnTo>
                    <a:pt x="196" y="517"/>
                  </a:lnTo>
                  <a:lnTo>
                    <a:pt x="202" y="523"/>
                  </a:lnTo>
                  <a:lnTo>
                    <a:pt x="208" y="527"/>
                  </a:lnTo>
                  <a:lnTo>
                    <a:pt x="215" y="528"/>
                  </a:lnTo>
                  <a:lnTo>
                    <a:pt x="215" y="528"/>
                  </a:lnTo>
                  <a:lnTo>
                    <a:pt x="219" y="528"/>
                  </a:lnTo>
                  <a:lnTo>
                    <a:pt x="223" y="525"/>
                  </a:lnTo>
                  <a:lnTo>
                    <a:pt x="229" y="521"/>
                  </a:lnTo>
                  <a:lnTo>
                    <a:pt x="234" y="515"/>
                  </a:lnTo>
                  <a:lnTo>
                    <a:pt x="238" y="509"/>
                  </a:lnTo>
                  <a:lnTo>
                    <a:pt x="244" y="502"/>
                  </a:lnTo>
                  <a:lnTo>
                    <a:pt x="250" y="494"/>
                  </a:lnTo>
                  <a:lnTo>
                    <a:pt x="255" y="487"/>
                  </a:lnTo>
                  <a:lnTo>
                    <a:pt x="259" y="477"/>
                  </a:lnTo>
                  <a:lnTo>
                    <a:pt x="265" y="467"/>
                  </a:lnTo>
                  <a:lnTo>
                    <a:pt x="269" y="460"/>
                  </a:lnTo>
                  <a:lnTo>
                    <a:pt x="272" y="450"/>
                  </a:lnTo>
                  <a:lnTo>
                    <a:pt x="276" y="443"/>
                  </a:lnTo>
                  <a:lnTo>
                    <a:pt x="280" y="437"/>
                  </a:lnTo>
                  <a:lnTo>
                    <a:pt x="282" y="429"/>
                  </a:lnTo>
                  <a:lnTo>
                    <a:pt x="282" y="425"/>
                  </a:lnTo>
                  <a:lnTo>
                    <a:pt x="282" y="425"/>
                  </a:lnTo>
                  <a:lnTo>
                    <a:pt x="284" y="418"/>
                  </a:lnTo>
                  <a:lnTo>
                    <a:pt x="286" y="410"/>
                  </a:lnTo>
                  <a:lnTo>
                    <a:pt x="288" y="404"/>
                  </a:lnTo>
                  <a:lnTo>
                    <a:pt x="290" y="399"/>
                  </a:lnTo>
                  <a:lnTo>
                    <a:pt x="293" y="393"/>
                  </a:lnTo>
                  <a:lnTo>
                    <a:pt x="295" y="387"/>
                  </a:lnTo>
                  <a:lnTo>
                    <a:pt x="299" y="383"/>
                  </a:lnTo>
                  <a:lnTo>
                    <a:pt x="303" y="378"/>
                  </a:lnTo>
                  <a:lnTo>
                    <a:pt x="305" y="374"/>
                  </a:lnTo>
                  <a:lnTo>
                    <a:pt x="309" y="370"/>
                  </a:lnTo>
                  <a:lnTo>
                    <a:pt x="314" y="366"/>
                  </a:lnTo>
                  <a:lnTo>
                    <a:pt x="318" y="362"/>
                  </a:lnTo>
                  <a:lnTo>
                    <a:pt x="322" y="359"/>
                  </a:lnTo>
                  <a:lnTo>
                    <a:pt x="326" y="355"/>
                  </a:lnTo>
                  <a:lnTo>
                    <a:pt x="332" y="351"/>
                  </a:lnTo>
                  <a:lnTo>
                    <a:pt x="335" y="347"/>
                  </a:lnTo>
                  <a:lnTo>
                    <a:pt x="335" y="347"/>
                  </a:lnTo>
                  <a:lnTo>
                    <a:pt x="339" y="345"/>
                  </a:lnTo>
                  <a:lnTo>
                    <a:pt x="341" y="340"/>
                  </a:lnTo>
                  <a:lnTo>
                    <a:pt x="343" y="336"/>
                  </a:lnTo>
                  <a:lnTo>
                    <a:pt x="343" y="330"/>
                  </a:lnTo>
                  <a:lnTo>
                    <a:pt x="343" y="324"/>
                  </a:lnTo>
                  <a:lnTo>
                    <a:pt x="343" y="321"/>
                  </a:lnTo>
                  <a:lnTo>
                    <a:pt x="345" y="315"/>
                  </a:lnTo>
                  <a:lnTo>
                    <a:pt x="345" y="313"/>
                  </a:lnTo>
                  <a:lnTo>
                    <a:pt x="345" y="313"/>
                  </a:lnTo>
                  <a:lnTo>
                    <a:pt x="349" y="307"/>
                  </a:lnTo>
                  <a:lnTo>
                    <a:pt x="353" y="303"/>
                  </a:lnTo>
                  <a:lnTo>
                    <a:pt x="356" y="298"/>
                  </a:lnTo>
                  <a:lnTo>
                    <a:pt x="362" y="294"/>
                  </a:lnTo>
                  <a:lnTo>
                    <a:pt x="368" y="290"/>
                  </a:lnTo>
                  <a:lnTo>
                    <a:pt x="372" y="286"/>
                  </a:lnTo>
                  <a:lnTo>
                    <a:pt x="375" y="282"/>
                  </a:lnTo>
                  <a:lnTo>
                    <a:pt x="377" y="280"/>
                  </a:lnTo>
                  <a:lnTo>
                    <a:pt x="377" y="280"/>
                  </a:lnTo>
                  <a:lnTo>
                    <a:pt x="377" y="277"/>
                  </a:lnTo>
                  <a:lnTo>
                    <a:pt x="379" y="273"/>
                  </a:lnTo>
                  <a:lnTo>
                    <a:pt x="377" y="269"/>
                  </a:lnTo>
                  <a:lnTo>
                    <a:pt x="377" y="263"/>
                  </a:lnTo>
                  <a:lnTo>
                    <a:pt x="377" y="258"/>
                  </a:lnTo>
                  <a:lnTo>
                    <a:pt x="377" y="254"/>
                  </a:lnTo>
                  <a:lnTo>
                    <a:pt x="377" y="248"/>
                  </a:lnTo>
                  <a:lnTo>
                    <a:pt x="377" y="244"/>
                  </a:lnTo>
                  <a:lnTo>
                    <a:pt x="377" y="244"/>
                  </a:lnTo>
                  <a:lnTo>
                    <a:pt x="377" y="240"/>
                  </a:lnTo>
                  <a:lnTo>
                    <a:pt x="381" y="237"/>
                  </a:lnTo>
                  <a:lnTo>
                    <a:pt x="383" y="231"/>
                  </a:lnTo>
                  <a:lnTo>
                    <a:pt x="387" y="223"/>
                  </a:lnTo>
                  <a:lnTo>
                    <a:pt x="391" y="218"/>
                  </a:lnTo>
                  <a:lnTo>
                    <a:pt x="395" y="212"/>
                  </a:lnTo>
                  <a:lnTo>
                    <a:pt x="398" y="206"/>
                  </a:lnTo>
                  <a:lnTo>
                    <a:pt x="400" y="200"/>
                  </a:lnTo>
                  <a:lnTo>
                    <a:pt x="400" y="200"/>
                  </a:lnTo>
                  <a:lnTo>
                    <a:pt x="406" y="191"/>
                  </a:lnTo>
                  <a:lnTo>
                    <a:pt x="410" y="183"/>
                  </a:lnTo>
                  <a:lnTo>
                    <a:pt x="416" y="177"/>
                  </a:lnTo>
                  <a:lnTo>
                    <a:pt x="421" y="172"/>
                  </a:lnTo>
                  <a:lnTo>
                    <a:pt x="429" y="166"/>
                  </a:lnTo>
                  <a:lnTo>
                    <a:pt x="437" y="162"/>
                  </a:lnTo>
                  <a:lnTo>
                    <a:pt x="444" y="156"/>
                  </a:lnTo>
                  <a:lnTo>
                    <a:pt x="452" y="153"/>
                  </a:lnTo>
                  <a:lnTo>
                    <a:pt x="458" y="149"/>
                  </a:lnTo>
                  <a:lnTo>
                    <a:pt x="465" y="143"/>
                  </a:lnTo>
                  <a:lnTo>
                    <a:pt x="471" y="137"/>
                  </a:lnTo>
                  <a:lnTo>
                    <a:pt x="477" y="132"/>
                  </a:lnTo>
                  <a:lnTo>
                    <a:pt x="480" y="126"/>
                  </a:lnTo>
                  <a:lnTo>
                    <a:pt x="484" y="118"/>
                  </a:lnTo>
                  <a:lnTo>
                    <a:pt x="486" y="109"/>
                  </a:lnTo>
                  <a:lnTo>
                    <a:pt x="486" y="99"/>
                  </a:lnTo>
                  <a:lnTo>
                    <a:pt x="486" y="99"/>
                  </a:lnTo>
                  <a:lnTo>
                    <a:pt x="486" y="94"/>
                  </a:lnTo>
                  <a:lnTo>
                    <a:pt x="486" y="88"/>
                  </a:lnTo>
                  <a:lnTo>
                    <a:pt x="486" y="84"/>
                  </a:lnTo>
                  <a:lnTo>
                    <a:pt x="484" y="80"/>
                  </a:lnTo>
                  <a:lnTo>
                    <a:pt x="484" y="76"/>
                  </a:lnTo>
                  <a:lnTo>
                    <a:pt x="484" y="73"/>
                  </a:lnTo>
                  <a:lnTo>
                    <a:pt x="486" y="69"/>
                  </a:lnTo>
                  <a:lnTo>
                    <a:pt x="486" y="65"/>
                  </a:lnTo>
                  <a:lnTo>
                    <a:pt x="486" y="65"/>
                  </a:lnTo>
                  <a:lnTo>
                    <a:pt x="480" y="63"/>
                  </a:lnTo>
                  <a:lnTo>
                    <a:pt x="475" y="63"/>
                  </a:lnTo>
                  <a:lnTo>
                    <a:pt x="469" y="61"/>
                  </a:lnTo>
                  <a:lnTo>
                    <a:pt x="463" y="59"/>
                  </a:lnTo>
                  <a:lnTo>
                    <a:pt x="459" y="59"/>
                  </a:lnTo>
                  <a:lnTo>
                    <a:pt x="454" y="57"/>
                  </a:lnTo>
                  <a:lnTo>
                    <a:pt x="452" y="55"/>
                  </a:lnTo>
                  <a:lnTo>
                    <a:pt x="448" y="53"/>
                  </a:lnTo>
                  <a:lnTo>
                    <a:pt x="448" y="0"/>
                  </a:lnTo>
                  <a:lnTo>
                    <a:pt x="448" y="0"/>
                  </a:lnTo>
                  <a:lnTo>
                    <a:pt x="458" y="8"/>
                  </a:lnTo>
                  <a:lnTo>
                    <a:pt x="465" y="15"/>
                  </a:lnTo>
                  <a:lnTo>
                    <a:pt x="471" y="21"/>
                  </a:lnTo>
                  <a:lnTo>
                    <a:pt x="477" y="31"/>
                  </a:lnTo>
                  <a:lnTo>
                    <a:pt x="482" y="38"/>
                  </a:lnTo>
                  <a:lnTo>
                    <a:pt x="488" y="46"/>
                  </a:lnTo>
                  <a:lnTo>
                    <a:pt x="496" y="55"/>
                  </a:lnTo>
                  <a:lnTo>
                    <a:pt x="501" y="65"/>
                  </a:lnTo>
                  <a:lnTo>
                    <a:pt x="501" y="120"/>
                  </a:lnTo>
                  <a:lnTo>
                    <a:pt x="501" y="120"/>
                  </a:lnTo>
                  <a:lnTo>
                    <a:pt x="505" y="128"/>
                  </a:lnTo>
                  <a:lnTo>
                    <a:pt x="509" y="135"/>
                  </a:lnTo>
                  <a:lnTo>
                    <a:pt x="511" y="143"/>
                  </a:lnTo>
                  <a:lnTo>
                    <a:pt x="515" y="151"/>
                  </a:lnTo>
                  <a:lnTo>
                    <a:pt x="517" y="156"/>
                  </a:lnTo>
                  <a:lnTo>
                    <a:pt x="519" y="164"/>
                  </a:lnTo>
                  <a:lnTo>
                    <a:pt x="520" y="172"/>
                  </a:lnTo>
                  <a:lnTo>
                    <a:pt x="522" y="179"/>
                  </a:lnTo>
                  <a:lnTo>
                    <a:pt x="524" y="185"/>
                  </a:lnTo>
                  <a:lnTo>
                    <a:pt x="526" y="193"/>
                  </a:lnTo>
                  <a:lnTo>
                    <a:pt x="528" y="200"/>
                  </a:lnTo>
                  <a:lnTo>
                    <a:pt x="530" y="206"/>
                  </a:lnTo>
                  <a:lnTo>
                    <a:pt x="532" y="214"/>
                  </a:lnTo>
                  <a:lnTo>
                    <a:pt x="534" y="221"/>
                  </a:lnTo>
                  <a:lnTo>
                    <a:pt x="538" y="227"/>
                  </a:lnTo>
                  <a:lnTo>
                    <a:pt x="540" y="235"/>
                  </a:lnTo>
                  <a:lnTo>
                    <a:pt x="540" y="235"/>
                  </a:lnTo>
                  <a:lnTo>
                    <a:pt x="532" y="235"/>
                  </a:lnTo>
                  <a:lnTo>
                    <a:pt x="524" y="235"/>
                  </a:lnTo>
                  <a:lnTo>
                    <a:pt x="515" y="235"/>
                  </a:lnTo>
                  <a:lnTo>
                    <a:pt x="507" y="235"/>
                  </a:lnTo>
                  <a:lnTo>
                    <a:pt x="498" y="235"/>
                  </a:lnTo>
                  <a:lnTo>
                    <a:pt x="490" y="237"/>
                  </a:lnTo>
                  <a:lnTo>
                    <a:pt x="480" y="237"/>
                  </a:lnTo>
                  <a:lnTo>
                    <a:pt x="473" y="237"/>
                  </a:lnTo>
                  <a:lnTo>
                    <a:pt x="465" y="238"/>
                  </a:lnTo>
                  <a:lnTo>
                    <a:pt x="458" y="240"/>
                  </a:lnTo>
                  <a:lnTo>
                    <a:pt x="452" y="242"/>
                  </a:lnTo>
                  <a:lnTo>
                    <a:pt x="446" y="246"/>
                  </a:lnTo>
                  <a:lnTo>
                    <a:pt x="442" y="250"/>
                  </a:lnTo>
                  <a:lnTo>
                    <a:pt x="438" y="256"/>
                  </a:lnTo>
                  <a:lnTo>
                    <a:pt x="437" y="263"/>
                  </a:lnTo>
                  <a:lnTo>
                    <a:pt x="437" y="271"/>
                  </a:lnTo>
                  <a:lnTo>
                    <a:pt x="437" y="271"/>
                  </a:lnTo>
                  <a:lnTo>
                    <a:pt x="437" y="279"/>
                  </a:lnTo>
                  <a:lnTo>
                    <a:pt x="438" y="286"/>
                  </a:lnTo>
                  <a:lnTo>
                    <a:pt x="440" y="292"/>
                  </a:lnTo>
                  <a:lnTo>
                    <a:pt x="442" y="298"/>
                  </a:lnTo>
                  <a:lnTo>
                    <a:pt x="446" y="303"/>
                  </a:lnTo>
                  <a:lnTo>
                    <a:pt x="448" y="307"/>
                  </a:lnTo>
                  <a:lnTo>
                    <a:pt x="452" y="311"/>
                  </a:lnTo>
                  <a:lnTo>
                    <a:pt x="458" y="315"/>
                  </a:lnTo>
                  <a:lnTo>
                    <a:pt x="461" y="319"/>
                  </a:lnTo>
                  <a:lnTo>
                    <a:pt x="467" y="322"/>
                  </a:lnTo>
                  <a:lnTo>
                    <a:pt x="471" y="326"/>
                  </a:lnTo>
                  <a:lnTo>
                    <a:pt x="475" y="328"/>
                  </a:lnTo>
                  <a:lnTo>
                    <a:pt x="480" y="332"/>
                  </a:lnTo>
                  <a:lnTo>
                    <a:pt x="484" y="336"/>
                  </a:lnTo>
                  <a:lnTo>
                    <a:pt x="490" y="338"/>
                  </a:lnTo>
                  <a:lnTo>
                    <a:pt x="492" y="342"/>
                  </a:lnTo>
                  <a:lnTo>
                    <a:pt x="492" y="342"/>
                  </a:lnTo>
                  <a:lnTo>
                    <a:pt x="498" y="347"/>
                  </a:lnTo>
                  <a:lnTo>
                    <a:pt x="503" y="355"/>
                  </a:lnTo>
                  <a:lnTo>
                    <a:pt x="509" y="361"/>
                  </a:lnTo>
                  <a:lnTo>
                    <a:pt x="515" y="366"/>
                  </a:lnTo>
                  <a:lnTo>
                    <a:pt x="519" y="372"/>
                  </a:lnTo>
                  <a:lnTo>
                    <a:pt x="522" y="378"/>
                  </a:lnTo>
                  <a:lnTo>
                    <a:pt x="528" y="385"/>
                  </a:lnTo>
                  <a:lnTo>
                    <a:pt x="532" y="391"/>
                  </a:lnTo>
                  <a:lnTo>
                    <a:pt x="536" y="399"/>
                  </a:lnTo>
                  <a:lnTo>
                    <a:pt x="540" y="404"/>
                  </a:lnTo>
                  <a:lnTo>
                    <a:pt x="541" y="412"/>
                  </a:lnTo>
                  <a:lnTo>
                    <a:pt x="545" y="420"/>
                  </a:lnTo>
                  <a:lnTo>
                    <a:pt x="549" y="427"/>
                  </a:lnTo>
                  <a:lnTo>
                    <a:pt x="551" y="437"/>
                  </a:lnTo>
                  <a:lnTo>
                    <a:pt x="555" y="445"/>
                  </a:lnTo>
                  <a:lnTo>
                    <a:pt x="557" y="454"/>
                  </a:lnTo>
                  <a:lnTo>
                    <a:pt x="557" y="454"/>
                  </a:lnTo>
                  <a:lnTo>
                    <a:pt x="555" y="454"/>
                  </a:lnTo>
                  <a:lnTo>
                    <a:pt x="553" y="454"/>
                  </a:lnTo>
                  <a:lnTo>
                    <a:pt x="551" y="456"/>
                  </a:lnTo>
                  <a:lnTo>
                    <a:pt x="551" y="456"/>
                  </a:lnTo>
                  <a:lnTo>
                    <a:pt x="549" y="458"/>
                  </a:lnTo>
                  <a:lnTo>
                    <a:pt x="547" y="458"/>
                  </a:lnTo>
                  <a:lnTo>
                    <a:pt x="545" y="458"/>
                  </a:lnTo>
                  <a:lnTo>
                    <a:pt x="541" y="460"/>
                  </a:lnTo>
                  <a:lnTo>
                    <a:pt x="541" y="460"/>
                  </a:lnTo>
                  <a:lnTo>
                    <a:pt x="536" y="466"/>
                  </a:lnTo>
                  <a:lnTo>
                    <a:pt x="532" y="473"/>
                  </a:lnTo>
                  <a:lnTo>
                    <a:pt x="526" y="479"/>
                  </a:lnTo>
                  <a:lnTo>
                    <a:pt x="522" y="487"/>
                  </a:lnTo>
                  <a:lnTo>
                    <a:pt x="517" y="492"/>
                  </a:lnTo>
                  <a:lnTo>
                    <a:pt x="513" y="500"/>
                  </a:lnTo>
                  <a:lnTo>
                    <a:pt x="509" y="506"/>
                  </a:lnTo>
                  <a:lnTo>
                    <a:pt x="505" y="513"/>
                  </a:lnTo>
                  <a:lnTo>
                    <a:pt x="501" y="521"/>
                  </a:lnTo>
                  <a:lnTo>
                    <a:pt x="498" y="527"/>
                  </a:lnTo>
                  <a:lnTo>
                    <a:pt x="494" y="534"/>
                  </a:lnTo>
                  <a:lnTo>
                    <a:pt x="490" y="540"/>
                  </a:lnTo>
                  <a:lnTo>
                    <a:pt x="484" y="548"/>
                  </a:lnTo>
                  <a:lnTo>
                    <a:pt x="480" y="553"/>
                  </a:lnTo>
                  <a:lnTo>
                    <a:pt x="475" y="561"/>
                  </a:lnTo>
                  <a:lnTo>
                    <a:pt x="469" y="567"/>
                  </a:lnTo>
                  <a:lnTo>
                    <a:pt x="469" y="567"/>
                  </a:lnTo>
                  <a:lnTo>
                    <a:pt x="471" y="569"/>
                  </a:lnTo>
                  <a:lnTo>
                    <a:pt x="473" y="570"/>
                  </a:lnTo>
                  <a:lnTo>
                    <a:pt x="477" y="572"/>
                  </a:lnTo>
                  <a:lnTo>
                    <a:pt x="478" y="574"/>
                  </a:lnTo>
                  <a:lnTo>
                    <a:pt x="480" y="576"/>
                  </a:lnTo>
                  <a:lnTo>
                    <a:pt x="482" y="578"/>
                  </a:lnTo>
                  <a:lnTo>
                    <a:pt x="482" y="580"/>
                  </a:lnTo>
                  <a:lnTo>
                    <a:pt x="482" y="582"/>
                  </a:lnTo>
                  <a:lnTo>
                    <a:pt x="482" y="582"/>
                  </a:lnTo>
                  <a:lnTo>
                    <a:pt x="484" y="586"/>
                  </a:lnTo>
                  <a:lnTo>
                    <a:pt x="484" y="588"/>
                  </a:lnTo>
                  <a:lnTo>
                    <a:pt x="484" y="591"/>
                  </a:lnTo>
                  <a:lnTo>
                    <a:pt x="484" y="593"/>
                  </a:lnTo>
                  <a:lnTo>
                    <a:pt x="484" y="597"/>
                  </a:lnTo>
                  <a:lnTo>
                    <a:pt x="484" y="601"/>
                  </a:lnTo>
                  <a:lnTo>
                    <a:pt x="482" y="607"/>
                  </a:lnTo>
                  <a:lnTo>
                    <a:pt x="482" y="611"/>
                  </a:lnTo>
                  <a:lnTo>
                    <a:pt x="482" y="611"/>
                  </a:lnTo>
                  <a:lnTo>
                    <a:pt x="484" y="622"/>
                  </a:lnTo>
                  <a:lnTo>
                    <a:pt x="486" y="633"/>
                  </a:lnTo>
                  <a:lnTo>
                    <a:pt x="488" y="645"/>
                  </a:lnTo>
                  <a:lnTo>
                    <a:pt x="490" y="656"/>
                  </a:lnTo>
                  <a:lnTo>
                    <a:pt x="494" y="668"/>
                  </a:lnTo>
                  <a:lnTo>
                    <a:pt x="498" y="679"/>
                  </a:lnTo>
                  <a:lnTo>
                    <a:pt x="503" y="691"/>
                  </a:lnTo>
                  <a:lnTo>
                    <a:pt x="509" y="700"/>
                  </a:lnTo>
                  <a:lnTo>
                    <a:pt x="515" y="712"/>
                  </a:lnTo>
                  <a:lnTo>
                    <a:pt x="520" y="721"/>
                  </a:lnTo>
                  <a:lnTo>
                    <a:pt x="526" y="731"/>
                  </a:lnTo>
                  <a:lnTo>
                    <a:pt x="532" y="740"/>
                  </a:lnTo>
                  <a:lnTo>
                    <a:pt x="538" y="750"/>
                  </a:lnTo>
                  <a:lnTo>
                    <a:pt x="543" y="757"/>
                  </a:lnTo>
                  <a:lnTo>
                    <a:pt x="549" y="765"/>
                  </a:lnTo>
                  <a:lnTo>
                    <a:pt x="555" y="773"/>
                  </a:lnTo>
                  <a:lnTo>
                    <a:pt x="555" y="773"/>
                  </a:lnTo>
                  <a:lnTo>
                    <a:pt x="559" y="776"/>
                  </a:lnTo>
                  <a:lnTo>
                    <a:pt x="562" y="780"/>
                  </a:lnTo>
                  <a:lnTo>
                    <a:pt x="566" y="784"/>
                  </a:lnTo>
                  <a:lnTo>
                    <a:pt x="570" y="788"/>
                  </a:lnTo>
                  <a:lnTo>
                    <a:pt x="576" y="792"/>
                  </a:lnTo>
                  <a:lnTo>
                    <a:pt x="580" y="794"/>
                  </a:lnTo>
                  <a:lnTo>
                    <a:pt x="585" y="797"/>
                  </a:lnTo>
                  <a:lnTo>
                    <a:pt x="589" y="801"/>
                  </a:lnTo>
                  <a:lnTo>
                    <a:pt x="593" y="805"/>
                  </a:lnTo>
                  <a:lnTo>
                    <a:pt x="597" y="809"/>
                  </a:lnTo>
                  <a:lnTo>
                    <a:pt x="601" y="813"/>
                  </a:lnTo>
                  <a:lnTo>
                    <a:pt x="604" y="818"/>
                  </a:lnTo>
                  <a:lnTo>
                    <a:pt x="606" y="824"/>
                  </a:lnTo>
                  <a:lnTo>
                    <a:pt x="608" y="830"/>
                  </a:lnTo>
                  <a:lnTo>
                    <a:pt x="610" y="838"/>
                  </a:lnTo>
                  <a:lnTo>
                    <a:pt x="610" y="845"/>
                  </a:lnTo>
                  <a:lnTo>
                    <a:pt x="610" y="845"/>
                  </a:lnTo>
                  <a:lnTo>
                    <a:pt x="610" y="847"/>
                  </a:lnTo>
                  <a:lnTo>
                    <a:pt x="610" y="845"/>
                  </a:lnTo>
                  <a:lnTo>
                    <a:pt x="610" y="843"/>
                  </a:lnTo>
                  <a:lnTo>
                    <a:pt x="610" y="845"/>
                  </a:lnTo>
                  <a:lnTo>
                    <a:pt x="610" y="838"/>
                  </a:lnTo>
                  <a:lnTo>
                    <a:pt x="610" y="838"/>
                  </a:lnTo>
                  <a:lnTo>
                    <a:pt x="606" y="845"/>
                  </a:lnTo>
                  <a:lnTo>
                    <a:pt x="604" y="851"/>
                  </a:lnTo>
                  <a:lnTo>
                    <a:pt x="602" y="859"/>
                  </a:lnTo>
                  <a:lnTo>
                    <a:pt x="601" y="866"/>
                  </a:lnTo>
                  <a:lnTo>
                    <a:pt x="601" y="874"/>
                  </a:lnTo>
                  <a:lnTo>
                    <a:pt x="599" y="881"/>
                  </a:lnTo>
                  <a:lnTo>
                    <a:pt x="597" y="889"/>
                  </a:lnTo>
                  <a:lnTo>
                    <a:pt x="593" y="897"/>
                  </a:lnTo>
                  <a:lnTo>
                    <a:pt x="593" y="897"/>
                  </a:lnTo>
                  <a:lnTo>
                    <a:pt x="591" y="895"/>
                  </a:lnTo>
                  <a:lnTo>
                    <a:pt x="587" y="893"/>
                  </a:lnTo>
                  <a:lnTo>
                    <a:pt x="583" y="891"/>
                  </a:lnTo>
                  <a:lnTo>
                    <a:pt x="580" y="887"/>
                  </a:lnTo>
                  <a:lnTo>
                    <a:pt x="574" y="885"/>
                  </a:lnTo>
                  <a:lnTo>
                    <a:pt x="568" y="885"/>
                  </a:lnTo>
                  <a:lnTo>
                    <a:pt x="562" y="883"/>
                  </a:lnTo>
                  <a:lnTo>
                    <a:pt x="557" y="883"/>
                  </a:lnTo>
                  <a:lnTo>
                    <a:pt x="557" y="883"/>
                  </a:lnTo>
                  <a:lnTo>
                    <a:pt x="549" y="881"/>
                  </a:lnTo>
                  <a:lnTo>
                    <a:pt x="540" y="881"/>
                  </a:lnTo>
                  <a:lnTo>
                    <a:pt x="532" y="879"/>
                  </a:lnTo>
                  <a:lnTo>
                    <a:pt x="524" y="878"/>
                  </a:lnTo>
                  <a:lnTo>
                    <a:pt x="517" y="876"/>
                  </a:lnTo>
                  <a:lnTo>
                    <a:pt x="511" y="874"/>
                  </a:lnTo>
                  <a:lnTo>
                    <a:pt x="505" y="872"/>
                  </a:lnTo>
                  <a:lnTo>
                    <a:pt x="498" y="868"/>
                  </a:lnTo>
                  <a:lnTo>
                    <a:pt x="492" y="866"/>
                  </a:lnTo>
                  <a:lnTo>
                    <a:pt x="484" y="864"/>
                  </a:lnTo>
                  <a:lnTo>
                    <a:pt x="478" y="862"/>
                  </a:lnTo>
                  <a:lnTo>
                    <a:pt x="471" y="860"/>
                  </a:lnTo>
                  <a:lnTo>
                    <a:pt x="463" y="859"/>
                  </a:lnTo>
                  <a:lnTo>
                    <a:pt x="456" y="857"/>
                  </a:lnTo>
                  <a:lnTo>
                    <a:pt x="446" y="857"/>
                  </a:lnTo>
                  <a:lnTo>
                    <a:pt x="437" y="855"/>
                  </a:lnTo>
                  <a:lnTo>
                    <a:pt x="437" y="855"/>
                  </a:lnTo>
                  <a:lnTo>
                    <a:pt x="425" y="855"/>
                  </a:lnTo>
                  <a:lnTo>
                    <a:pt x="416" y="857"/>
                  </a:lnTo>
                  <a:lnTo>
                    <a:pt x="406" y="857"/>
                  </a:lnTo>
                  <a:lnTo>
                    <a:pt x="398" y="859"/>
                  </a:lnTo>
                  <a:lnTo>
                    <a:pt x="391" y="860"/>
                  </a:lnTo>
                  <a:lnTo>
                    <a:pt x="383" y="864"/>
                  </a:lnTo>
                  <a:lnTo>
                    <a:pt x="377" y="868"/>
                  </a:lnTo>
                  <a:lnTo>
                    <a:pt x="374" y="872"/>
                  </a:lnTo>
                  <a:lnTo>
                    <a:pt x="366" y="86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93" name="Freeform 37"/>
            <p:cNvSpPr>
              <a:spLocks/>
            </p:cNvSpPr>
            <p:nvPr/>
          </p:nvSpPr>
          <p:spPr bwMode="gray">
            <a:xfrm>
              <a:off x="1683" y="1749"/>
              <a:ext cx="535" cy="420"/>
            </a:xfrm>
            <a:custGeom>
              <a:avLst/>
              <a:gdLst/>
              <a:ahLst/>
              <a:cxnLst>
                <a:cxn ang="0">
                  <a:pos x="442" y="730"/>
                </a:cxn>
                <a:cxn ang="0">
                  <a:pos x="421" y="738"/>
                </a:cxn>
                <a:cxn ang="0">
                  <a:pos x="379" y="751"/>
                </a:cxn>
                <a:cxn ang="0">
                  <a:pos x="339" y="755"/>
                </a:cxn>
                <a:cxn ang="0">
                  <a:pos x="311" y="757"/>
                </a:cxn>
                <a:cxn ang="0">
                  <a:pos x="280" y="761"/>
                </a:cxn>
                <a:cxn ang="0">
                  <a:pos x="236" y="751"/>
                </a:cxn>
                <a:cxn ang="0">
                  <a:pos x="208" y="703"/>
                </a:cxn>
                <a:cxn ang="0">
                  <a:pos x="183" y="658"/>
                </a:cxn>
                <a:cxn ang="0">
                  <a:pos x="141" y="608"/>
                </a:cxn>
                <a:cxn ang="0">
                  <a:pos x="97" y="599"/>
                </a:cxn>
                <a:cxn ang="0">
                  <a:pos x="4" y="595"/>
                </a:cxn>
                <a:cxn ang="0">
                  <a:pos x="4" y="427"/>
                </a:cxn>
                <a:cxn ang="0">
                  <a:pos x="23" y="394"/>
                </a:cxn>
                <a:cxn ang="0">
                  <a:pos x="30" y="352"/>
                </a:cxn>
                <a:cxn ang="0">
                  <a:pos x="61" y="312"/>
                </a:cxn>
                <a:cxn ang="0">
                  <a:pos x="93" y="267"/>
                </a:cxn>
                <a:cxn ang="0">
                  <a:pos x="88" y="215"/>
                </a:cxn>
                <a:cxn ang="0">
                  <a:pos x="78" y="145"/>
                </a:cxn>
                <a:cxn ang="0">
                  <a:pos x="99" y="89"/>
                </a:cxn>
                <a:cxn ang="0">
                  <a:pos x="124" y="43"/>
                </a:cxn>
                <a:cxn ang="0">
                  <a:pos x="147" y="13"/>
                </a:cxn>
                <a:cxn ang="0">
                  <a:pos x="202" y="1"/>
                </a:cxn>
                <a:cxn ang="0">
                  <a:pos x="242" y="1"/>
                </a:cxn>
                <a:cxn ang="0">
                  <a:pos x="288" y="15"/>
                </a:cxn>
                <a:cxn ang="0">
                  <a:pos x="313" y="30"/>
                </a:cxn>
                <a:cxn ang="0">
                  <a:pos x="341" y="68"/>
                </a:cxn>
                <a:cxn ang="0">
                  <a:pos x="372" y="62"/>
                </a:cxn>
                <a:cxn ang="0">
                  <a:pos x="400" y="49"/>
                </a:cxn>
                <a:cxn ang="0">
                  <a:pos x="435" y="47"/>
                </a:cxn>
                <a:cxn ang="0">
                  <a:pos x="477" y="70"/>
                </a:cxn>
                <a:cxn ang="0">
                  <a:pos x="528" y="87"/>
                </a:cxn>
                <a:cxn ang="0">
                  <a:pos x="578" y="72"/>
                </a:cxn>
                <a:cxn ang="0">
                  <a:pos x="627" y="45"/>
                </a:cxn>
                <a:cxn ang="0">
                  <a:pos x="683" y="45"/>
                </a:cxn>
                <a:cxn ang="0">
                  <a:pos x="723" y="64"/>
                </a:cxn>
                <a:cxn ang="0">
                  <a:pos x="759" y="76"/>
                </a:cxn>
                <a:cxn ang="0">
                  <a:pos x="799" y="55"/>
                </a:cxn>
                <a:cxn ang="0">
                  <a:pos x="851" y="24"/>
                </a:cxn>
                <a:cxn ang="0">
                  <a:pos x="879" y="38"/>
                </a:cxn>
                <a:cxn ang="0">
                  <a:pos x="906" y="125"/>
                </a:cxn>
                <a:cxn ang="0">
                  <a:pos x="938" y="135"/>
                </a:cxn>
                <a:cxn ang="0">
                  <a:pos x="944" y="156"/>
                </a:cxn>
                <a:cxn ang="0">
                  <a:pos x="938" y="198"/>
                </a:cxn>
                <a:cxn ang="0">
                  <a:pos x="895" y="234"/>
                </a:cxn>
                <a:cxn ang="0">
                  <a:pos x="858" y="272"/>
                </a:cxn>
                <a:cxn ang="0">
                  <a:pos x="835" y="312"/>
                </a:cxn>
                <a:cxn ang="0">
                  <a:pos x="835" y="341"/>
                </a:cxn>
                <a:cxn ang="0">
                  <a:pos x="826" y="362"/>
                </a:cxn>
                <a:cxn ang="0">
                  <a:pos x="803" y="387"/>
                </a:cxn>
                <a:cxn ang="0">
                  <a:pos x="793" y="419"/>
                </a:cxn>
                <a:cxn ang="0">
                  <a:pos x="767" y="442"/>
                </a:cxn>
                <a:cxn ang="0">
                  <a:pos x="746" y="476"/>
                </a:cxn>
                <a:cxn ang="0">
                  <a:pos x="734" y="515"/>
                </a:cxn>
                <a:cxn ang="0">
                  <a:pos x="702" y="574"/>
                </a:cxn>
                <a:cxn ang="0">
                  <a:pos x="673" y="600"/>
                </a:cxn>
                <a:cxn ang="0">
                  <a:pos x="629" y="557"/>
                </a:cxn>
                <a:cxn ang="0">
                  <a:pos x="612" y="562"/>
                </a:cxn>
                <a:cxn ang="0">
                  <a:pos x="578" y="574"/>
                </a:cxn>
                <a:cxn ang="0">
                  <a:pos x="515" y="614"/>
                </a:cxn>
                <a:cxn ang="0">
                  <a:pos x="481" y="660"/>
                </a:cxn>
                <a:cxn ang="0">
                  <a:pos x="471" y="694"/>
                </a:cxn>
                <a:cxn ang="0">
                  <a:pos x="462" y="728"/>
                </a:cxn>
              </a:cxnLst>
              <a:rect l="0" t="0" r="r" b="b"/>
              <a:pathLst>
                <a:path w="944" h="763">
                  <a:moveTo>
                    <a:pt x="454" y="736"/>
                  </a:moveTo>
                  <a:lnTo>
                    <a:pt x="454" y="736"/>
                  </a:lnTo>
                  <a:lnTo>
                    <a:pt x="452" y="736"/>
                  </a:lnTo>
                  <a:lnTo>
                    <a:pt x="450" y="734"/>
                  </a:lnTo>
                  <a:lnTo>
                    <a:pt x="446" y="732"/>
                  </a:lnTo>
                  <a:lnTo>
                    <a:pt x="444" y="732"/>
                  </a:lnTo>
                  <a:lnTo>
                    <a:pt x="442" y="730"/>
                  </a:lnTo>
                  <a:lnTo>
                    <a:pt x="441" y="730"/>
                  </a:lnTo>
                  <a:lnTo>
                    <a:pt x="439" y="728"/>
                  </a:lnTo>
                  <a:lnTo>
                    <a:pt x="437" y="726"/>
                  </a:lnTo>
                  <a:lnTo>
                    <a:pt x="437" y="726"/>
                  </a:lnTo>
                  <a:lnTo>
                    <a:pt x="431" y="732"/>
                  </a:lnTo>
                  <a:lnTo>
                    <a:pt x="427" y="736"/>
                  </a:lnTo>
                  <a:lnTo>
                    <a:pt x="421" y="738"/>
                  </a:lnTo>
                  <a:lnTo>
                    <a:pt x="418" y="742"/>
                  </a:lnTo>
                  <a:lnTo>
                    <a:pt x="412" y="745"/>
                  </a:lnTo>
                  <a:lnTo>
                    <a:pt x="406" y="747"/>
                  </a:lnTo>
                  <a:lnTo>
                    <a:pt x="399" y="747"/>
                  </a:lnTo>
                  <a:lnTo>
                    <a:pt x="393" y="749"/>
                  </a:lnTo>
                  <a:lnTo>
                    <a:pt x="385" y="751"/>
                  </a:lnTo>
                  <a:lnTo>
                    <a:pt x="379" y="751"/>
                  </a:lnTo>
                  <a:lnTo>
                    <a:pt x="372" y="753"/>
                  </a:lnTo>
                  <a:lnTo>
                    <a:pt x="366" y="753"/>
                  </a:lnTo>
                  <a:lnTo>
                    <a:pt x="359" y="753"/>
                  </a:lnTo>
                  <a:lnTo>
                    <a:pt x="353" y="755"/>
                  </a:lnTo>
                  <a:lnTo>
                    <a:pt x="345" y="755"/>
                  </a:lnTo>
                  <a:lnTo>
                    <a:pt x="339" y="755"/>
                  </a:lnTo>
                  <a:lnTo>
                    <a:pt x="339" y="755"/>
                  </a:lnTo>
                  <a:lnTo>
                    <a:pt x="336" y="755"/>
                  </a:lnTo>
                  <a:lnTo>
                    <a:pt x="330" y="755"/>
                  </a:lnTo>
                  <a:lnTo>
                    <a:pt x="326" y="755"/>
                  </a:lnTo>
                  <a:lnTo>
                    <a:pt x="322" y="755"/>
                  </a:lnTo>
                  <a:lnTo>
                    <a:pt x="318" y="755"/>
                  </a:lnTo>
                  <a:lnTo>
                    <a:pt x="315" y="757"/>
                  </a:lnTo>
                  <a:lnTo>
                    <a:pt x="311" y="757"/>
                  </a:lnTo>
                  <a:lnTo>
                    <a:pt x="305" y="757"/>
                  </a:lnTo>
                  <a:lnTo>
                    <a:pt x="301" y="759"/>
                  </a:lnTo>
                  <a:lnTo>
                    <a:pt x="297" y="759"/>
                  </a:lnTo>
                  <a:lnTo>
                    <a:pt x="294" y="761"/>
                  </a:lnTo>
                  <a:lnTo>
                    <a:pt x="290" y="761"/>
                  </a:lnTo>
                  <a:lnTo>
                    <a:pt x="284" y="761"/>
                  </a:lnTo>
                  <a:lnTo>
                    <a:pt x="280" y="761"/>
                  </a:lnTo>
                  <a:lnTo>
                    <a:pt x="276" y="763"/>
                  </a:lnTo>
                  <a:lnTo>
                    <a:pt x="273" y="763"/>
                  </a:lnTo>
                  <a:lnTo>
                    <a:pt x="273" y="763"/>
                  </a:lnTo>
                  <a:lnTo>
                    <a:pt x="261" y="761"/>
                  </a:lnTo>
                  <a:lnTo>
                    <a:pt x="252" y="759"/>
                  </a:lnTo>
                  <a:lnTo>
                    <a:pt x="242" y="757"/>
                  </a:lnTo>
                  <a:lnTo>
                    <a:pt x="236" y="751"/>
                  </a:lnTo>
                  <a:lnTo>
                    <a:pt x="229" y="747"/>
                  </a:lnTo>
                  <a:lnTo>
                    <a:pt x="225" y="742"/>
                  </a:lnTo>
                  <a:lnTo>
                    <a:pt x="219" y="734"/>
                  </a:lnTo>
                  <a:lnTo>
                    <a:pt x="217" y="728"/>
                  </a:lnTo>
                  <a:lnTo>
                    <a:pt x="214" y="721"/>
                  </a:lnTo>
                  <a:lnTo>
                    <a:pt x="210" y="713"/>
                  </a:lnTo>
                  <a:lnTo>
                    <a:pt x="208" y="703"/>
                  </a:lnTo>
                  <a:lnTo>
                    <a:pt x="204" y="696"/>
                  </a:lnTo>
                  <a:lnTo>
                    <a:pt x="202" y="688"/>
                  </a:lnTo>
                  <a:lnTo>
                    <a:pt x="198" y="681"/>
                  </a:lnTo>
                  <a:lnTo>
                    <a:pt x="194" y="673"/>
                  </a:lnTo>
                  <a:lnTo>
                    <a:pt x="189" y="665"/>
                  </a:lnTo>
                  <a:lnTo>
                    <a:pt x="189" y="665"/>
                  </a:lnTo>
                  <a:lnTo>
                    <a:pt x="183" y="658"/>
                  </a:lnTo>
                  <a:lnTo>
                    <a:pt x="177" y="650"/>
                  </a:lnTo>
                  <a:lnTo>
                    <a:pt x="173" y="642"/>
                  </a:lnTo>
                  <a:lnTo>
                    <a:pt x="168" y="635"/>
                  </a:lnTo>
                  <a:lnTo>
                    <a:pt x="162" y="629"/>
                  </a:lnTo>
                  <a:lnTo>
                    <a:pt x="156" y="621"/>
                  </a:lnTo>
                  <a:lnTo>
                    <a:pt x="149" y="616"/>
                  </a:lnTo>
                  <a:lnTo>
                    <a:pt x="141" y="608"/>
                  </a:lnTo>
                  <a:lnTo>
                    <a:pt x="141" y="608"/>
                  </a:lnTo>
                  <a:lnTo>
                    <a:pt x="133" y="604"/>
                  </a:lnTo>
                  <a:lnTo>
                    <a:pt x="128" y="602"/>
                  </a:lnTo>
                  <a:lnTo>
                    <a:pt x="120" y="600"/>
                  </a:lnTo>
                  <a:lnTo>
                    <a:pt x="112" y="600"/>
                  </a:lnTo>
                  <a:lnTo>
                    <a:pt x="105" y="599"/>
                  </a:lnTo>
                  <a:lnTo>
                    <a:pt x="97" y="599"/>
                  </a:lnTo>
                  <a:lnTo>
                    <a:pt x="90" y="595"/>
                  </a:lnTo>
                  <a:lnTo>
                    <a:pt x="84" y="591"/>
                  </a:lnTo>
                  <a:lnTo>
                    <a:pt x="6" y="591"/>
                  </a:lnTo>
                  <a:lnTo>
                    <a:pt x="6" y="591"/>
                  </a:lnTo>
                  <a:lnTo>
                    <a:pt x="6" y="591"/>
                  </a:lnTo>
                  <a:lnTo>
                    <a:pt x="6" y="593"/>
                  </a:lnTo>
                  <a:lnTo>
                    <a:pt x="4" y="595"/>
                  </a:lnTo>
                  <a:lnTo>
                    <a:pt x="2" y="595"/>
                  </a:lnTo>
                  <a:lnTo>
                    <a:pt x="2" y="459"/>
                  </a:lnTo>
                  <a:lnTo>
                    <a:pt x="2" y="459"/>
                  </a:lnTo>
                  <a:lnTo>
                    <a:pt x="0" y="450"/>
                  </a:lnTo>
                  <a:lnTo>
                    <a:pt x="0" y="440"/>
                  </a:lnTo>
                  <a:lnTo>
                    <a:pt x="2" y="433"/>
                  </a:lnTo>
                  <a:lnTo>
                    <a:pt x="4" y="427"/>
                  </a:lnTo>
                  <a:lnTo>
                    <a:pt x="8" y="421"/>
                  </a:lnTo>
                  <a:lnTo>
                    <a:pt x="11" y="415"/>
                  </a:lnTo>
                  <a:lnTo>
                    <a:pt x="13" y="412"/>
                  </a:lnTo>
                  <a:lnTo>
                    <a:pt x="17" y="406"/>
                  </a:lnTo>
                  <a:lnTo>
                    <a:pt x="17" y="406"/>
                  </a:lnTo>
                  <a:lnTo>
                    <a:pt x="21" y="400"/>
                  </a:lnTo>
                  <a:lnTo>
                    <a:pt x="23" y="394"/>
                  </a:lnTo>
                  <a:lnTo>
                    <a:pt x="25" y="387"/>
                  </a:lnTo>
                  <a:lnTo>
                    <a:pt x="25" y="381"/>
                  </a:lnTo>
                  <a:lnTo>
                    <a:pt x="25" y="373"/>
                  </a:lnTo>
                  <a:lnTo>
                    <a:pt x="27" y="368"/>
                  </a:lnTo>
                  <a:lnTo>
                    <a:pt x="27" y="360"/>
                  </a:lnTo>
                  <a:lnTo>
                    <a:pt x="30" y="352"/>
                  </a:lnTo>
                  <a:lnTo>
                    <a:pt x="30" y="352"/>
                  </a:lnTo>
                  <a:lnTo>
                    <a:pt x="32" y="347"/>
                  </a:lnTo>
                  <a:lnTo>
                    <a:pt x="36" y="339"/>
                  </a:lnTo>
                  <a:lnTo>
                    <a:pt x="40" y="333"/>
                  </a:lnTo>
                  <a:lnTo>
                    <a:pt x="46" y="330"/>
                  </a:lnTo>
                  <a:lnTo>
                    <a:pt x="51" y="324"/>
                  </a:lnTo>
                  <a:lnTo>
                    <a:pt x="57" y="318"/>
                  </a:lnTo>
                  <a:lnTo>
                    <a:pt x="61" y="312"/>
                  </a:lnTo>
                  <a:lnTo>
                    <a:pt x="67" y="307"/>
                  </a:lnTo>
                  <a:lnTo>
                    <a:pt x="72" y="303"/>
                  </a:lnTo>
                  <a:lnTo>
                    <a:pt x="78" y="295"/>
                  </a:lnTo>
                  <a:lnTo>
                    <a:pt x="82" y="290"/>
                  </a:lnTo>
                  <a:lnTo>
                    <a:pt x="86" y="282"/>
                  </a:lnTo>
                  <a:lnTo>
                    <a:pt x="90" y="274"/>
                  </a:lnTo>
                  <a:lnTo>
                    <a:pt x="93" y="267"/>
                  </a:lnTo>
                  <a:lnTo>
                    <a:pt x="93" y="259"/>
                  </a:lnTo>
                  <a:lnTo>
                    <a:pt x="95" y="249"/>
                  </a:lnTo>
                  <a:lnTo>
                    <a:pt x="95" y="249"/>
                  </a:lnTo>
                  <a:lnTo>
                    <a:pt x="93" y="238"/>
                  </a:lnTo>
                  <a:lnTo>
                    <a:pt x="93" y="228"/>
                  </a:lnTo>
                  <a:lnTo>
                    <a:pt x="90" y="221"/>
                  </a:lnTo>
                  <a:lnTo>
                    <a:pt x="88" y="215"/>
                  </a:lnTo>
                  <a:lnTo>
                    <a:pt x="86" y="207"/>
                  </a:lnTo>
                  <a:lnTo>
                    <a:pt x="82" y="200"/>
                  </a:lnTo>
                  <a:lnTo>
                    <a:pt x="80" y="192"/>
                  </a:lnTo>
                  <a:lnTo>
                    <a:pt x="80" y="185"/>
                  </a:lnTo>
                  <a:lnTo>
                    <a:pt x="80" y="185"/>
                  </a:lnTo>
                  <a:lnTo>
                    <a:pt x="78" y="162"/>
                  </a:lnTo>
                  <a:lnTo>
                    <a:pt x="78" y="145"/>
                  </a:lnTo>
                  <a:lnTo>
                    <a:pt x="78" y="131"/>
                  </a:lnTo>
                  <a:lnTo>
                    <a:pt x="80" y="120"/>
                  </a:lnTo>
                  <a:lnTo>
                    <a:pt x="82" y="110"/>
                  </a:lnTo>
                  <a:lnTo>
                    <a:pt x="86" y="103"/>
                  </a:lnTo>
                  <a:lnTo>
                    <a:pt x="90" y="97"/>
                  </a:lnTo>
                  <a:lnTo>
                    <a:pt x="93" y="93"/>
                  </a:lnTo>
                  <a:lnTo>
                    <a:pt x="99" y="89"/>
                  </a:lnTo>
                  <a:lnTo>
                    <a:pt x="103" y="85"/>
                  </a:lnTo>
                  <a:lnTo>
                    <a:pt x="107" y="82"/>
                  </a:lnTo>
                  <a:lnTo>
                    <a:pt x="112" y="76"/>
                  </a:lnTo>
                  <a:lnTo>
                    <a:pt x="116" y="72"/>
                  </a:lnTo>
                  <a:lnTo>
                    <a:pt x="120" y="64"/>
                  </a:lnTo>
                  <a:lnTo>
                    <a:pt x="122" y="55"/>
                  </a:lnTo>
                  <a:lnTo>
                    <a:pt x="124" y="43"/>
                  </a:lnTo>
                  <a:lnTo>
                    <a:pt x="124" y="43"/>
                  </a:lnTo>
                  <a:lnTo>
                    <a:pt x="126" y="36"/>
                  </a:lnTo>
                  <a:lnTo>
                    <a:pt x="130" y="30"/>
                  </a:lnTo>
                  <a:lnTo>
                    <a:pt x="132" y="26"/>
                  </a:lnTo>
                  <a:lnTo>
                    <a:pt x="137" y="21"/>
                  </a:lnTo>
                  <a:lnTo>
                    <a:pt x="141" y="17"/>
                  </a:lnTo>
                  <a:lnTo>
                    <a:pt x="147" y="13"/>
                  </a:lnTo>
                  <a:lnTo>
                    <a:pt x="154" y="11"/>
                  </a:lnTo>
                  <a:lnTo>
                    <a:pt x="160" y="9"/>
                  </a:lnTo>
                  <a:lnTo>
                    <a:pt x="168" y="7"/>
                  </a:lnTo>
                  <a:lnTo>
                    <a:pt x="177" y="5"/>
                  </a:lnTo>
                  <a:lnTo>
                    <a:pt x="185" y="3"/>
                  </a:lnTo>
                  <a:lnTo>
                    <a:pt x="193" y="1"/>
                  </a:lnTo>
                  <a:lnTo>
                    <a:pt x="202" y="1"/>
                  </a:lnTo>
                  <a:lnTo>
                    <a:pt x="210" y="1"/>
                  </a:lnTo>
                  <a:lnTo>
                    <a:pt x="219" y="0"/>
                  </a:lnTo>
                  <a:lnTo>
                    <a:pt x="227" y="0"/>
                  </a:lnTo>
                  <a:lnTo>
                    <a:pt x="227" y="0"/>
                  </a:lnTo>
                  <a:lnTo>
                    <a:pt x="231" y="0"/>
                  </a:lnTo>
                  <a:lnTo>
                    <a:pt x="236" y="1"/>
                  </a:lnTo>
                  <a:lnTo>
                    <a:pt x="242" y="1"/>
                  </a:lnTo>
                  <a:lnTo>
                    <a:pt x="248" y="3"/>
                  </a:lnTo>
                  <a:lnTo>
                    <a:pt x="256" y="5"/>
                  </a:lnTo>
                  <a:lnTo>
                    <a:pt x="261" y="7"/>
                  </a:lnTo>
                  <a:lnTo>
                    <a:pt x="269" y="9"/>
                  </a:lnTo>
                  <a:lnTo>
                    <a:pt x="275" y="11"/>
                  </a:lnTo>
                  <a:lnTo>
                    <a:pt x="282" y="13"/>
                  </a:lnTo>
                  <a:lnTo>
                    <a:pt x="288" y="15"/>
                  </a:lnTo>
                  <a:lnTo>
                    <a:pt x="294" y="17"/>
                  </a:lnTo>
                  <a:lnTo>
                    <a:pt x="299" y="21"/>
                  </a:lnTo>
                  <a:lnTo>
                    <a:pt x="303" y="22"/>
                  </a:lnTo>
                  <a:lnTo>
                    <a:pt x="307" y="24"/>
                  </a:lnTo>
                  <a:lnTo>
                    <a:pt x="311" y="28"/>
                  </a:lnTo>
                  <a:lnTo>
                    <a:pt x="313" y="30"/>
                  </a:lnTo>
                  <a:lnTo>
                    <a:pt x="313" y="30"/>
                  </a:lnTo>
                  <a:lnTo>
                    <a:pt x="317" y="36"/>
                  </a:lnTo>
                  <a:lnTo>
                    <a:pt x="320" y="42"/>
                  </a:lnTo>
                  <a:lnTo>
                    <a:pt x="324" y="47"/>
                  </a:lnTo>
                  <a:lnTo>
                    <a:pt x="328" y="55"/>
                  </a:lnTo>
                  <a:lnTo>
                    <a:pt x="332" y="61"/>
                  </a:lnTo>
                  <a:lnTo>
                    <a:pt x="338" y="64"/>
                  </a:lnTo>
                  <a:lnTo>
                    <a:pt x="341" y="68"/>
                  </a:lnTo>
                  <a:lnTo>
                    <a:pt x="349" y="68"/>
                  </a:lnTo>
                  <a:lnTo>
                    <a:pt x="349" y="68"/>
                  </a:lnTo>
                  <a:lnTo>
                    <a:pt x="353" y="68"/>
                  </a:lnTo>
                  <a:lnTo>
                    <a:pt x="359" y="68"/>
                  </a:lnTo>
                  <a:lnTo>
                    <a:pt x="362" y="66"/>
                  </a:lnTo>
                  <a:lnTo>
                    <a:pt x="368" y="64"/>
                  </a:lnTo>
                  <a:lnTo>
                    <a:pt x="372" y="62"/>
                  </a:lnTo>
                  <a:lnTo>
                    <a:pt x="376" y="61"/>
                  </a:lnTo>
                  <a:lnTo>
                    <a:pt x="379" y="59"/>
                  </a:lnTo>
                  <a:lnTo>
                    <a:pt x="383" y="57"/>
                  </a:lnTo>
                  <a:lnTo>
                    <a:pt x="387" y="55"/>
                  </a:lnTo>
                  <a:lnTo>
                    <a:pt x="391" y="53"/>
                  </a:lnTo>
                  <a:lnTo>
                    <a:pt x="397" y="51"/>
                  </a:lnTo>
                  <a:lnTo>
                    <a:pt x="400" y="49"/>
                  </a:lnTo>
                  <a:lnTo>
                    <a:pt x="404" y="47"/>
                  </a:lnTo>
                  <a:lnTo>
                    <a:pt x="410" y="45"/>
                  </a:lnTo>
                  <a:lnTo>
                    <a:pt x="414" y="45"/>
                  </a:lnTo>
                  <a:lnTo>
                    <a:pt x="420" y="45"/>
                  </a:lnTo>
                  <a:lnTo>
                    <a:pt x="420" y="45"/>
                  </a:lnTo>
                  <a:lnTo>
                    <a:pt x="427" y="45"/>
                  </a:lnTo>
                  <a:lnTo>
                    <a:pt x="435" y="47"/>
                  </a:lnTo>
                  <a:lnTo>
                    <a:pt x="441" y="49"/>
                  </a:lnTo>
                  <a:lnTo>
                    <a:pt x="448" y="51"/>
                  </a:lnTo>
                  <a:lnTo>
                    <a:pt x="454" y="55"/>
                  </a:lnTo>
                  <a:lnTo>
                    <a:pt x="460" y="59"/>
                  </a:lnTo>
                  <a:lnTo>
                    <a:pt x="465" y="62"/>
                  </a:lnTo>
                  <a:lnTo>
                    <a:pt x="471" y="66"/>
                  </a:lnTo>
                  <a:lnTo>
                    <a:pt x="477" y="70"/>
                  </a:lnTo>
                  <a:lnTo>
                    <a:pt x="482" y="74"/>
                  </a:lnTo>
                  <a:lnTo>
                    <a:pt x="490" y="78"/>
                  </a:lnTo>
                  <a:lnTo>
                    <a:pt x="496" y="80"/>
                  </a:lnTo>
                  <a:lnTo>
                    <a:pt x="503" y="83"/>
                  </a:lnTo>
                  <a:lnTo>
                    <a:pt x="511" y="85"/>
                  </a:lnTo>
                  <a:lnTo>
                    <a:pt x="519" y="85"/>
                  </a:lnTo>
                  <a:lnTo>
                    <a:pt x="528" y="87"/>
                  </a:lnTo>
                  <a:lnTo>
                    <a:pt x="528" y="87"/>
                  </a:lnTo>
                  <a:lnTo>
                    <a:pt x="538" y="85"/>
                  </a:lnTo>
                  <a:lnTo>
                    <a:pt x="547" y="85"/>
                  </a:lnTo>
                  <a:lnTo>
                    <a:pt x="557" y="82"/>
                  </a:lnTo>
                  <a:lnTo>
                    <a:pt x="565" y="80"/>
                  </a:lnTo>
                  <a:lnTo>
                    <a:pt x="570" y="76"/>
                  </a:lnTo>
                  <a:lnTo>
                    <a:pt x="578" y="72"/>
                  </a:lnTo>
                  <a:lnTo>
                    <a:pt x="586" y="68"/>
                  </a:lnTo>
                  <a:lnTo>
                    <a:pt x="591" y="64"/>
                  </a:lnTo>
                  <a:lnTo>
                    <a:pt x="597" y="61"/>
                  </a:lnTo>
                  <a:lnTo>
                    <a:pt x="605" y="57"/>
                  </a:lnTo>
                  <a:lnTo>
                    <a:pt x="612" y="53"/>
                  </a:lnTo>
                  <a:lnTo>
                    <a:pt x="620" y="49"/>
                  </a:lnTo>
                  <a:lnTo>
                    <a:pt x="627" y="45"/>
                  </a:lnTo>
                  <a:lnTo>
                    <a:pt x="637" y="43"/>
                  </a:lnTo>
                  <a:lnTo>
                    <a:pt x="647" y="42"/>
                  </a:lnTo>
                  <a:lnTo>
                    <a:pt x="658" y="42"/>
                  </a:lnTo>
                  <a:lnTo>
                    <a:pt x="658" y="42"/>
                  </a:lnTo>
                  <a:lnTo>
                    <a:pt x="668" y="42"/>
                  </a:lnTo>
                  <a:lnTo>
                    <a:pt x="675" y="43"/>
                  </a:lnTo>
                  <a:lnTo>
                    <a:pt x="683" y="45"/>
                  </a:lnTo>
                  <a:lnTo>
                    <a:pt x="689" y="47"/>
                  </a:lnTo>
                  <a:lnTo>
                    <a:pt x="696" y="49"/>
                  </a:lnTo>
                  <a:lnTo>
                    <a:pt x="702" y="53"/>
                  </a:lnTo>
                  <a:lnTo>
                    <a:pt x="706" y="55"/>
                  </a:lnTo>
                  <a:lnTo>
                    <a:pt x="711" y="59"/>
                  </a:lnTo>
                  <a:lnTo>
                    <a:pt x="717" y="61"/>
                  </a:lnTo>
                  <a:lnTo>
                    <a:pt x="723" y="64"/>
                  </a:lnTo>
                  <a:lnTo>
                    <a:pt x="727" y="66"/>
                  </a:lnTo>
                  <a:lnTo>
                    <a:pt x="732" y="70"/>
                  </a:lnTo>
                  <a:lnTo>
                    <a:pt x="738" y="72"/>
                  </a:lnTo>
                  <a:lnTo>
                    <a:pt x="746" y="74"/>
                  </a:lnTo>
                  <a:lnTo>
                    <a:pt x="751" y="74"/>
                  </a:lnTo>
                  <a:lnTo>
                    <a:pt x="759" y="76"/>
                  </a:lnTo>
                  <a:lnTo>
                    <a:pt x="759" y="76"/>
                  </a:lnTo>
                  <a:lnTo>
                    <a:pt x="763" y="74"/>
                  </a:lnTo>
                  <a:lnTo>
                    <a:pt x="769" y="72"/>
                  </a:lnTo>
                  <a:lnTo>
                    <a:pt x="774" y="70"/>
                  </a:lnTo>
                  <a:lnTo>
                    <a:pt x="780" y="66"/>
                  </a:lnTo>
                  <a:lnTo>
                    <a:pt x="788" y="62"/>
                  </a:lnTo>
                  <a:lnTo>
                    <a:pt x="793" y="59"/>
                  </a:lnTo>
                  <a:lnTo>
                    <a:pt x="799" y="55"/>
                  </a:lnTo>
                  <a:lnTo>
                    <a:pt x="807" y="49"/>
                  </a:lnTo>
                  <a:lnTo>
                    <a:pt x="814" y="45"/>
                  </a:lnTo>
                  <a:lnTo>
                    <a:pt x="820" y="40"/>
                  </a:lnTo>
                  <a:lnTo>
                    <a:pt x="828" y="36"/>
                  </a:lnTo>
                  <a:lnTo>
                    <a:pt x="835" y="32"/>
                  </a:lnTo>
                  <a:lnTo>
                    <a:pt x="843" y="28"/>
                  </a:lnTo>
                  <a:lnTo>
                    <a:pt x="851" y="24"/>
                  </a:lnTo>
                  <a:lnTo>
                    <a:pt x="856" y="22"/>
                  </a:lnTo>
                  <a:lnTo>
                    <a:pt x="864" y="22"/>
                  </a:lnTo>
                  <a:lnTo>
                    <a:pt x="864" y="17"/>
                  </a:lnTo>
                  <a:lnTo>
                    <a:pt x="864" y="17"/>
                  </a:lnTo>
                  <a:lnTo>
                    <a:pt x="868" y="24"/>
                  </a:lnTo>
                  <a:lnTo>
                    <a:pt x="874" y="32"/>
                  </a:lnTo>
                  <a:lnTo>
                    <a:pt x="879" y="38"/>
                  </a:lnTo>
                  <a:lnTo>
                    <a:pt x="885" y="43"/>
                  </a:lnTo>
                  <a:lnTo>
                    <a:pt x="889" y="51"/>
                  </a:lnTo>
                  <a:lnTo>
                    <a:pt x="895" y="57"/>
                  </a:lnTo>
                  <a:lnTo>
                    <a:pt x="900" y="64"/>
                  </a:lnTo>
                  <a:lnTo>
                    <a:pt x="906" y="72"/>
                  </a:lnTo>
                  <a:lnTo>
                    <a:pt x="906" y="125"/>
                  </a:lnTo>
                  <a:lnTo>
                    <a:pt x="906" y="125"/>
                  </a:lnTo>
                  <a:lnTo>
                    <a:pt x="910" y="127"/>
                  </a:lnTo>
                  <a:lnTo>
                    <a:pt x="912" y="129"/>
                  </a:lnTo>
                  <a:lnTo>
                    <a:pt x="917" y="131"/>
                  </a:lnTo>
                  <a:lnTo>
                    <a:pt x="921" y="131"/>
                  </a:lnTo>
                  <a:lnTo>
                    <a:pt x="927" y="133"/>
                  </a:lnTo>
                  <a:lnTo>
                    <a:pt x="933" y="135"/>
                  </a:lnTo>
                  <a:lnTo>
                    <a:pt x="938" y="135"/>
                  </a:lnTo>
                  <a:lnTo>
                    <a:pt x="944" y="137"/>
                  </a:lnTo>
                  <a:lnTo>
                    <a:pt x="944" y="137"/>
                  </a:lnTo>
                  <a:lnTo>
                    <a:pt x="944" y="141"/>
                  </a:lnTo>
                  <a:lnTo>
                    <a:pt x="942" y="145"/>
                  </a:lnTo>
                  <a:lnTo>
                    <a:pt x="942" y="148"/>
                  </a:lnTo>
                  <a:lnTo>
                    <a:pt x="942" y="152"/>
                  </a:lnTo>
                  <a:lnTo>
                    <a:pt x="944" y="156"/>
                  </a:lnTo>
                  <a:lnTo>
                    <a:pt x="944" y="160"/>
                  </a:lnTo>
                  <a:lnTo>
                    <a:pt x="944" y="166"/>
                  </a:lnTo>
                  <a:lnTo>
                    <a:pt x="944" y="171"/>
                  </a:lnTo>
                  <a:lnTo>
                    <a:pt x="944" y="171"/>
                  </a:lnTo>
                  <a:lnTo>
                    <a:pt x="944" y="181"/>
                  </a:lnTo>
                  <a:lnTo>
                    <a:pt x="942" y="190"/>
                  </a:lnTo>
                  <a:lnTo>
                    <a:pt x="938" y="198"/>
                  </a:lnTo>
                  <a:lnTo>
                    <a:pt x="935" y="204"/>
                  </a:lnTo>
                  <a:lnTo>
                    <a:pt x="929" y="209"/>
                  </a:lnTo>
                  <a:lnTo>
                    <a:pt x="923" y="215"/>
                  </a:lnTo>
                  <a:lnTo>
                    <a:pt x="916" y="221"/>
                  </a:lnTo>
                  <a:lnTo>
                    <a:pt x="910" y="225"/>
                  </a:lnTo>
                  <a:lnTo>
                    <a:pt x="902" y="228"/>
                  </a:lnTo>
                  <a:lnTo>
                    <a:pt x="895" y="234"/>
                  </a:lnTo>
                  <a:lnTo>
                    <a:pt x="887" y="238"/>
                  </a:lnTo>
                  <a:lnTo>
                    <a:pt x="879" y="244"/>
                  </a:lnTo>
                  <a:lnTo>
                    <a:pt x="874" y="249"/>
                  </a:lnTo>
                  <a:lnTo>
                    <a:pt x="868" y="255"/>
                  </a:lnTo>
                  <a:lnTo>
                    <a:pt x="864" y="263"/>
                  </a:lnTo>
                  <a:lnTo>
                    <a:pt x="858" y="272"/>
                  </a:lnTo>
                  <a:lnTo>
                    <a:pt x="858" y="272"/>
                  </a:lnTo>
                  <a:lnTo>
                    <a:pt x="856" y="278"/>
                  </a:lnTo>
                  <a:lnTo>
                    <a:pt x="853" y="284"/>
                  </a:lnTo>
                  <a:lnTo>
                    <a:pt x="849" y="290"/>
                  </a:lnTo>
                  <a:lnTo>
                    <a:pt x="845" y="295"/>
                  </a:lnTo>
                  <a:lnTo>
                    <a:pt x="841" y="303"/>
                  </a:lnTo>
                  <a:lnTo>
                    <a:pt x="839" y="309"/>
                  </a:lnTo>
                  <a:lnTo>
                    <a:pt x="835" y="312"/>
                  </a:lnTo>
                  <a:lnTo>
                    <a:pt x="835" y="316"/>
                  </a:lnTo>
                  <a:lnTo>
                    <a:pt x="835" y="316"/>
                  </a:lnTo>
                  <a:lnTo>
                    <a:pt x="835" y="320"/>
                  </a:lnTo>
                  <a:lnTo>
                    <a:pt x="835" y="326"/>
                  </a:lnTo>
                  <a:lnTo>
                    <a:pt x="835" y="330"/>
                  </a:lnTo>
                  <a:lnTo>
                    <a:pt x="835" y="335"/>
                  </a:lnTo>
                  <a:lnTo>
                    <a:pt x="835" y="341"/>
                  </a:lnTo>
                  <a:lnTo>
                    <a:pt x="837" y="345"/>
                  </a:lnTo>
                  <a:lnTo>
                    <a:pt x="835" y="349"/>
                  </a:lnTo>
                  <a:lnTo>
                    <a:pt x="835" y="352"/>
                  </a:lnTo>
                  <a:lnTo>
                    <a:pt x="835" y="352"/>
                  </a:lnTo>
                  <a:lnTo>
                    <a:pt x="833" y="354"/>
                  </a:lnTo>
                  <a:lnTo>
                    <a:pt x="830" y="358"/>
                  </a:lnTo>
                  <a:lnTo>
                    <a:pt x="826" y="362"/>
                  </a:lnTo>
                  <a:lnTo>
                    <a:pt x="820" y="366"/>
                  </a:lnTo>
                  <a:lnTo>
                    <a:pt x="814" y="370"/>
                  </a:lnTo>
                  <a:lnTo>
                    <a:pt x="811" y="375"/>
                  </a:lnTo>
                  <a:lnTo>
                    <a:pt x="807" y="379"/>
                  </a:lnTo>
                  <a:lnTo>
                    <a:pt x="803" y="385"/>
                  </a:lnTo>
                  <a:lnTo>
                    <a:pt x="803" y="385"/>
                  </a:lnTo>
                  <a:lnTo>
                    <a:pt x="803" y="387"/>
                  </a:lnTo>
                  <a:lnTo>
                    <a:pt x="801" y="393"/>
                  </a:lnTo>
                  <a:lnTo>
                    <a:pt x="801" y="396"/>
                  </a:lnTo>
                  <a:lnTo>
                    <a:pt x="801" y="402"/>
                  </a:lnTo>
                  <a:lnTo>
                    <a:pt x="801" y="408"/>
                  </a:lnTo>
                  <a:lnTo>
                    <a:pt x="799" y="412"/>
                  </a:lnTo>
                  <a:lnTo>
                    <a:pt x="797" y="417"/>
                  </a:lnTo>
                  <a:lnTo>
                    <a:pt x="793" y="419"/>
                  </a:lnTo>
                  <a:lnTo>
                    <a:pt x="793" y="419"/>
                  </a:lnTo>
                  <a:lnTo>
                    <a:pt x="790" y="423"/>
                  </a:lnTo>
                  <a:lnTo>
                    <a:pt x="784" y="427"/>
                  </a:lnTo>
                  <a:lnTo>
                    <a:pt x="780" y="431"/>
                  </a:lnTo>
                  <a:lnTo>
                    <a:pt x="776" y="434"/>
                  </a:lnTo>
                  <a:lnTo>
                    <a:pt x="772" y="438"/>
                  </a:lnTo>
                  <a:lnTo>
                    <a:pt x="767" y="442"/>
                  </a:lnTo>
                  <a:lnTo>
                    <a:pt x="763" y="446"/>
                  </a:lnTo>
                  <a:lnTo>
                    <a:pt x="761" y="450"/>
                  </a:lnTo>
                  <a:lnTo>
                    <a:pt x="757" y="455"/>
                  </a:lnTo>
                  <a:lnTo>
                    <a:pt x="753" y="459"/>
                  </a:lnTo>
                  <a:lnTo>
                    <a:pt x="751" y="465"/>
                  </a:lnTo>
                  <a:lnTo>
                    <a:pt x="748" y="471"/>
                  </a:lnTo>
                  <a:lnTo>
                    <a:pt x="746" y="476"/>
                  </a:lnTo>
                  <a:lnTo>
                    <a:pt x="744" y="482"/>
                  </a:lnTo>
                  <a:lnTo>
                    <a:pt x="742" y="490"/>
                  </a:lnTo>
                  <a:lnTo>
                    <a:pt x="740" y="497"/>
                  </a:lnTo>
                  <a:lnTo>
                    <a:pt x="740" y="497"/>
                  </a:lnTo>
                  <a:lnTo>
                    <a:pt x="740" y="501"/>
                  </a:lnTo>
                  <a:lnTo>
                    <a:pt x="738" y="509"/>
                  </a:lnTo>
                  <a:lnTo>
                    <a:pt x="734" y="515"/>
                  </a:lnTo>
                  <a:lnTo>
                    <a:pt x="730" y="522"/>
                  </a:lnTo>
                  <a:lnTo>
                    <a:pt x="727" y="532"/>
                  </a:lnTo>
                  <a:lnTo>
                    <a:pt x="723" y="539"/>
                  </a:lnTo>
                  <a:lnTo>
                    <a:pt x="717" y="549"/>
                  </a:lnTo>
                  <a:lnTo>
                    <a:pt x="713" y="559"/>
                  </a:lnTo>
                  <a:lnTo>
                    <a:pt x="708" y="566"/>
                  </a:lnTo>
                  <a:lnTo>
                    <a:pt x="702" y="574"/>
                  </a:lnTo>
                  <a:lnTo>
                    <a:pt x="696" y="581"/>
                  </a:lnTo>
                  <a:lnTo>
                    <a:pt x="692" y="587"/>
                  </a:lnTo>
                  <a:lnTo>
                    <a:pt x="687" y="593"/>
                  </a:lnTo>
                  <a:lnTo>
                    <a:pt x="681" y="597"/>
                  </a:lnTo>
                  <a:lnTo>
                    <a:pt x="677" y="600"/>
                  </a:lnTo>
                  <a:lnTo>
                    <a:pt x="673" y="600"/>
                  </a:lnTo>
                  <a:lnTo>
                    <a:pt x="673" y="600"/>
                  </a:lnTo>
                  <a:lnTo>
                    <a:pt x="666" y="599"/>
                  </a:lnTo>
                  <a:lnTo>
                    <a:pt x="660" y="595"/>
                  </a:lnTo>
                  <a:lnTo>
                    <a:pt x="654" y="589"/>
                  </a:lnTo>
                  <a:lnTo>
                    <a:pt x="648" y="581"/>
                  </a:lnTo>
                  <a:lnTo>
                    <a:pt x="643" y="572"/>
                  </a:lnTo>
                  <a:lnTo>
                    <a:pt x="637" y="564"/>
                  </a:lnTo>
                  <a:lnTo>
                    <a:pt x="629" y="557"/>
                  </a:lnTo>
                  <a:lnTo>
                    <a:pt x="622" y="549"/>
                  </a:lnTo>
                  <a:lnTo>
                    <a:pt x="622" y="549"/>
                  </a:lnTo>
                  <a:lnTo>
                    <a:pt x="622" y="551"/>
                  </a:lnTo>
                  <a:lnTo>
                    <a:pt x="620" y="555"/>
                  </a:lnTo>
                  <a:lnTo>
                    <a:pt x="618" y="557"/>
                  </a:lnTo>
                  <a:lnTo>
                    <a:pt x="614" y="560"/>
                  </a:lnTo>
                  <a:lnTo>
                    <a:pt x="612" y="562"/>
                  </a:lnTo>
                  <a:lnTo>
                    <a:pt x="608" y="566"/>
                  </a:lnTo>
                  <a:lnTo>
                    <a:pt x="606" y="568"/>
                  </a:lnTo>
                  <a:lnTo>
                    <a:pt x="603" y="568"/>
                  </a:lnTo>
                  <a:lnTo>
                    <a:pt x="603" y="568"/>
                  </a:lnTo>
                  <a:lnTo>
                    <a:pt x="595" y="568"/>
                  </a:lnTo>
                  <a:lnTo>
                    <a:pt x="586" y="570"/>
                  </a:lnTo>
                  <a:lnTo>
                    <a:pt x="578" y="574"/>
                  </a:lnTo>
                  <a:lnTo>
                    <a:pt x="568" y="576"/>
                  </a:lnTo>
                  <a:lnTo>
                    <a:pt x="559" y="581"/>
                  </a:lnTo>
                  <a:lnTo>
                    <a:pt x="549" y="587"/>
                  </a:lnTo>
                  <a:lnTo>
                    <a:pt x="540" y="593"/>
                  </a:lnTo>
                  <a:lnTo>
                    <a:pt x="532" y="599"/>
                  </a:lnTo>
                  <a:lnTo>
                    <a:pt x="523" y="606"/>
                  </a:lnTo>
                  <a:lnTo>
                    <a:pt x="515" y="614"/>
                  </a:lnTo>
                  <a:lnTo>
                    <a:pt x="507" y="621"/>
                  </a:lnTo>
                  <a:lnTo>
                    <a:pt x="500" y="629"/>
                  </a:lnTo>
                  <a:lnTo>
                    <a:pt x="494" y="637"/>
                  </a:lnTo>
                  <a:lnTo>
                    <a:pt x="488" y="644"/>
                  </a:lnTo>
                  <a:lnTo>
                    <a:pt x="484" y="652"/>
                  </a:lnTo>
                  <a:lnTo>
                    <a:pt x="481" y="660"/>
                  </a:lnTo>
                  <a:lnTo>
                    <a:pt x="481" y="660"/>
                  </a:lnTo>
                  <a:lnTo>
                    <a:pt x="479" y="665"/>
                  </a:lnTo>
                  <a:lnTo>
                    <a:pt x="477" y="669"/>
                  </a:lnTo>
                  <a:lnTo>
                    <a:pt x="477" y="675"/>
                  </a:lnTo>
                  <a:lnTo>
                    <a:pt x="475" y="679"/>
                  </a:lnTo>
                  <a:lnTo>
                    <a:pt x="473" y="684"/>
                  </a:lnTo>
                  <a:lnTo>
                    <a:pt x="473" y="690"/>
                  </a:lnTo>
                  <a:lnTo>
                    <a:pt x="471" y="694"/>
                  </a:lnTo>
                  <a:lnTo>
                    <a:pt x="471" y="700"/>
                  </a:lnTo>
                  <a:lnTo>
                    <a:pt x="469" y="703"/>
                  </a:lnTo>
                  <a:lnTo>
                    <a:pt x="467" y="709"/>
                  </a:lnTo>
                  <a:lnTo>
                    <a:pt x="467" y="715"/>
                  </a:lnTo>
                  <a:lnTo>
                    <a:pt x="465" y="719"/>
                  </a:lnTo>
                  <a:lnTo>
                    <a:pt x="463" y="724"/>
                  </a:lnTo>
                  <a:lnTo>
                    <a:pt x="462" y="728"/>
                  </a:lnTo>
                  <a:lnTo>
                    <a:pt x="460" y="732"/>
                  </a:lnTo>
                  <a:lnTo>
                    <a:pt x="458" y="738"/>
                  </a:lnTo>
                  <a:lnTo>
                    <a:pt x="454" y="736"/>
                  </a:lnTo>
                </a:path>
              </a:pathLst>
            </a:custGeom>
            <a:solidFill>
              <a:schemeClr val="hlink"/>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94" name="Freeform 38"/>
            <p:cNvSpPr>
              <a:spLocks/>
            </p:cNvSpPr>
            <p:nvPr/>
          </p:nvSpPr>
          <p:spPr bwMode="gray">
            <a:xfrm>
              <a:off x="1603" y="1809"/>
              <a:ext cx="134" cy="271"/>
            </a:xfrm>
            <a:custGeom>
              <a:avLst/>
              <a:gdLst/>
              <a:ahLst/>
              <a:cxnLst>
                <a:cxn ang="0">
                  <a:pos x="147" y="485"/>
                </a:cxn>
                <a:cxn ang="0">
                  <a:pos x="143" y="489"/>
                </a:cxn>
                <a:cxn ang="0">
                  <a:pos x="141" y="344"/>
                </a:cxn>
                <a:cxn ang="0">
                  <a:pos x="145" y="321"/>
                </a:cxn>
                <a:cxn ang="0">
                  <a:pos x="154" y="306"/>
                </a:cxn>
                <a:cxn ang="0">
                  <a:pos x="162" y="294"/>
                </a:cxn>
                <a:cxn ang="0">
                  <a:pos x="166" y="275"/>
                </a:cxn>
                <a:cxn ang="0">
                  <a:pos x="168" y="254"/>
                </a:cxn>
                <a:cxn ang="0">
                  <a:pos x="173" y="241"/>
                </a:cxn>
                <a:cxn ang="0">
                  <a:pos x="187" y="224"/>
                </a:cxn>
                <a:cxn ang="0">
                  <a:pos x="202" y="206"/>
                </a:cxn>
                <a:cxn ang="0">
                  <a:pos x="219" y="189"/>
                </a:cxn>
                <a:cxn ang="0">
                  <a:pos x="231" y="168"/>
                </a:cxn>
                <a:cxn ang="0">
                  <a:pos x="236" y="143"/>
                </a:cxn>
                <a:cxn ang="0">
                  <a:pos x="232" y="122"/>
                </a:cxn>
                <a:cxn ang="0">
                  <a:pos x="225" y="101"/>
                </a:cxn>
                <a:cxn ang="0">
                  <a:pos x="221" y="79"/>
                </a:cxn>
                <a:cxn ang="0">
                  <a:pos x="221" y="71"/>
                </a:cxn>
                <a:cxn ang="0">
                  <a:pos x="221" y="61"/>
                </a:cxn>
                <a:cxn ang="0">
                  <a:pos x="221" y="50"/>
                </a:cxn>
                <a:cxn ang="0">
                  <a:pos x="217" y="52"/>
                </a:cxn>
                <a:cxn ang="0">
                  <a:pos x="194" y="25"/>
                </a:cxn>
                <a:cxn ang="0">
                  <a:pos x="168" y="2"/>
                </a:cxn>
                <a:cxn ang="0">
                  <a:pos x="158" y="2"/>
                </a:cxn>
                <a:cxn ang="0">
                  <a:pos x="137" y="14"/>
                </a:cxn>
                <a:cxn ang="0">
                  <a:pos x="122" y="25"/>
                </a:cxn>
                <a:cxn ang="0">
                  <a:pos x="120" y="37"/>
                </a:cxn>
                <a:cxn ang="0">
                  <a:pos x="110" y="61"/>
                </a:cxn>
                <a:cxn ang="0">
                  <a:pos x="87" y="77"/>
                </a:cxn>
                <a:cxn ang="0">
                  <a:pos x="68" y="79"/>
                </a:cxn>
                <a:cxn ang="0">
                  <a:pos x="47" y="80"/>
                </a:cxn>
                <a:cxn ang="0">
                  <a:pos x="28" y="90"/>
                </a:cxn>
                <a:cxn ang="0">
                  <a:pos x="13" y="103"/>
                </a:cxn>
                <a:cxn ang="0">
                  <a:pos x="4" y="122"/>
                </a:cxn>
                <a:cxn ang="0">
                  <a:pos x="0" y="145"/>
                </a:cxn>
                <a:cxn ang="0">
                  <a:pos x="2" y="166"/>
                </a:cxn>
                <a:cxn ang="0">
                  <a:pos x="15" y="191"/>
                </a:cxn>
                <a:cxn ang="0">
                  <a:pos x="32" y="214"/>
                </a:cxn>
                <a:cxn ang="0">
                  <a:pos x="49" y="237"/>
                </a:cxn>
                <a:cxn ang="0">
                  <a:pos x="61" y="262"/>
                </a:cxn>
                <a:cxn ang="0">
                  <a:pos x="65" y="283"/>
                </a:cxn>
                <a:cxn ang="0">
                  <a:pos x="63" y="315"/>
                </a:cxn>
                <a:cxn ang="0">
                  <a:pos x="57" y="348"/>
                </a:cxn>
                <a:cxn ang="0">
                  <a:pos x="51" y="378"/>
                </a:cxn>
                <a:cxn ang="0">
                  <a:pos x="46" y="411"/>
                </a:cxn>
                <a:cxn ang="0">
                  <a:pos x="44" y="447"/>
                </a:cxn>
                <a:cxn ang="0">
                  <a:pos x="44" y="464"/>
                </a:cxn>
                <a:cxn ang="0">
                  <a:pos x="51" y="481"/>
                </a:cxn>
                <a:cxn ang="0">
                  <a:pos x="61" y="493"/>
                </a:cxn>
                <a:cxn ang="0">
                  <a:pos x="68" y="494"/>
                </a:cxn>
                <a:cxn ang="0">
                  <a:pos x="84" y="493"/>
                </a:cxn>
                <a:cxn ang="0">
                  <a:pos x="97" y="491"/>
                </a:cxn>
                <a:cxn ang="0">
                  <a:pos x="112" y="489"/>
                </a:cxn>
                <a:cxn ang="0">
                  <a:pos x="128" y="485"/>
                </a:cxn>
                <a:cxn ang="0">
                  <a:pos x="143" y="483"/>
                </a:cxn>
              </a:cxnLst>
              <a:rect l="0" t="0" r="r" b="b"/>
              <a:pathLst>
                <a:path w="236" h="494">
                  <a:moveTo>
                    <a:pt x="147" y="485"/>
                  </a:moveTo>
                  <a:lnTo>
                    <a:pt x="147" y="485"/>
                  </a:lnTo>
                  <a:lnTo>
                    <a:pt x="147" y="485"/>
                  </a:lnTo>
                  <a:lnTo>
                    <a:pt x="147" y="487"/>
                  </a:lnTo>
                  <a:lnTo>
                    <a:pt x="145" y="489"/>
                  </a:lnTo>
                  <a:lnTo>
                    <a:pt x="143" y="489"/>
                  </a:lnTo>
                  <a:lnTo>
                    <a:pt x="143" y="353"/>
                  </a:lnTo>
                  <a:lnTo>
                    <a:pt x="143" y="353"/>
                  </a:lnTo>
                  <a:lnTo>
                    <a:pt x="141" y="344"/>
                  </a:lnTo>
                  <a:lnTo>
                    <a:pt x="141" y="334"/>
                  </a:lnTo>
                  <a:lnTo>
                    <a:pt x="143" y="327"/>
                  </a:lnTo>
                  <a:lnTo>
                    <a:pt x="145" y="321"/>
                  </a:lnTo>
                  <a:lnTo>
                    <a:pt x="149" y="315"/>
                  </a:lnTo>
                  <a:lnTo>
                    <a:pt x="152" y="309"/>
                  </a:lnTo>
                  <a:lnTo>
                    <a:pt x="154" y="306"/>
                  </a:lnTo>
                  <a:lnTo>
                    <a:pt x="158" y="300"/>
                  </a:lnTo>
                  <a:lnTo>
                    <a:pt x="158" y="300"/>
                  </a:lnTo>
                  <a:lnTo>
                    <a:pt x="162" y="294"/>
                  </a:lnTo>
                  <a:lnTo>
                    <a:pt x="164" y="288"/>
                  </a:lnTo>
                  <a:lnTo>
                    <a:pt x="166" y="281"/>
                  </a:lnTo>
                  <a:lnTo>
                    <a:pt x="166" y="275"/>
                  </a:lnTo>
                  <a:lnTo>
                    <a:pt x="166" y="267"/>
                  </a:lnTo>
                  <a:lnTo>
                    <a:pt x="168" y="262"/>
                  </a:lnTo>
                  <a:lnTo>
                    <a:pt x="168" y="254"/>
                  </a:lnTo>
                  <a:lnTo>
                    <a:pt x="171" y="246"/>
                  </a:lnTo>
                  <a:lnTo>
                    <a:pt x="171" y="246"/>
                  </a:lnTo>
                  <a:lnTo>
                    <a:pt x="173" y="241"/>
                  </a:lnTo>
                  <a:lnTo>
                    <a:pt x="177" y="233"/>
                  </a:lnTo>
                  <a:lnTo>
                    <a:pt x="181" y="227"/>
                  </a:lnTo>
                  <a:lnTo>
                    <a:pt x="187" y="224"/>
                  </a:lnTo>
                  <a:lnTo>
                    <a:pt x="192" y="218"/>
                  </a:lnTo>
                  <a:lnTo>
                    <a:pt x="198" y="212"/>
                  </a:lnTo>
                  <a:lnTo>
                    <a:pt x="202" y="206"/>
                  </a:lnTo>
                  <a:lnTo>
                    <a:pt x="208" y="201"/>
                  </a:lnTo>
                  <a:lnTo>
                    <a:pt x="213" y="197"/>
                  </a:lnTo>
                  <a:lnTo>
                    <a:pt x="219" y="189"/>
                  </a:lnTo>
                  <a:lnTo>
                    <a:pt x="223" y="184"/>
                  </a:lnTo>
                  <a:lnTo>
                    <a:pt x="227" y="176"/>
                  </a:lnTo>
                  <a:lnTo>
                    <a:pt x="231" y="168"/>
                  </a:lnTo>
                  <a:lnTo>
                    <a:pt x="234" y="161"/>
                  </a:lnTo>
                  <a:lnTo>
                    <a:pt x="234" y="153"/>
                  </a:lnTo>
                  <a:lnTo>
                    <a:pt x="236" y="143"/>
                  </a:lnTo>
                  <a:lnTo>
                    <a:pt x="236" y="143"/>
                  </a:lnTo>
                  <a:lnTo>
                    <a:pt x="234" y="132"/>
                  </a:lnTo>
                  <a:lnTo>
                    <a:pt x="232" y="122"/>
                  </a:lnTo>
                  <a:lnTo>
                    <a:pt x="231" y="115"/>
                  </a:lnTo>
                  <a:lnTo>
                    <a:pt x="229" y="109"/>
                  </a:lnTo>
                  <a:lnTo>
                    <a:pt x="225" y="101"/>
                  </a:lnTo>
                  <a:lnTo>
                    <a:pt x="223" y="94"/>
                  </a:lnTo>
                  <a:lnTo>
                    <a:pt x="221" y="86"/>
                  </a:lnTo>
                  <a:lnTo>
                    <a:pt x="221" y="79"/>
                  </a:lnTo>
                  <a:lnTo>
                    <a:pt x="221" y="79"/>
                  </a:lnTo>
                  <a:lnTo>
                    <a:pt x="221" y="75"/>
                  </a:lnTo>
                  <a:lnTo>
                    <a:pt x="221" y="71"/>
                  </a:lnTo>
                  <a:lnTo>
                    <a:pt x="221" y="67"/>
                  </a:lnTo>
                  <a:lnTo>
                    <a:pt x="221" y="63"/>
                  </a:lnTo>
                  <a:lnTo>
                    <a:pt x="221" y="61"/>
                  </a:lnTo>
                  <a:lnTo>
                    <a:pt x="221" y="58"/>
                  </a:lnTo>
                  <a:lnTo>
                    <a:pt x="221" y="54"/>
                  </a:lnTo>
                  <a:lnTo>
                    <a:pt x="221" y="50"/>
                  </a:lnTo>
                  <a:lnTo>
                    <a:pt x="225" y="58"/>
                  </a:lnTo>
                  <a:lnTo>
                    <a:pt x="225" y="58"/>
                  </a:lnTo>
                  <a:lnTo>
                    <a:pt x="217" y="52"/>
                  </a:lnTo>
                  <a:lnTo>
                    <a:pt x="211" y="44"/>
                  </a:lnTo>
                  <a:lnTo>
                    <a:pt x="202" y="37"/>
                  </a:lnTo>
                  <a:lnTo>
                    <a:pt x="194" y="25"/>
                  </a:lnTo>
                  <a:lnTo>
                    <a:pt x="185" y="16"/>
                  </a:lnTo>
                  <a:lnTo>
                    <a:pt x="177" y="8"/>
                  </a:lnTo>
                  <a:lnTo>
                    <a:pt x="168" y="2"/>
                  </a:lnTo>
                  <a:lnTo>
                    <a:pt x="162" y="0"/>
                  </a:lnTo>
                  <a:lnTo>
                    <a:pt x="162" y="0"/>
                  </a:lnTo>
                  <a:lnTo>
                    <a:pt x="158" y="2"/>
                  </a:lnTo>
                  <a:lnTo>
                    <a:pt x="152" y="4"/>
                  </a:lnTo>
                  <a:lnTo>
                    <a:pt x="145" y="8"/>
                  </a:lnTo>
                  <a:lnTo>
                    <a:pt x="137" y="14"/>
                  </a:lnTo>
                  <a:lnTo>
                    <a:pt x="131" y="18"/>
                  </a:lnTo>
                  <a:lnTo>
                    <a:pt x="126" y="21"/>
                  </a:lnTo>
                  <a:lnTo>
                    <a:pt x="122" y="25"/>
                  </a:lnTo>
                  <a:lnTo>
                    <a:pt x="120" y="29"/>
                  </a:lnTo>
                  <a:lnTo>
                    <a:pt x="120" y="29"/>
                  </a:lnTo>
                  <a:lnTo>
                    <a:pt x="120" y="37"/>
                  </a:lnTo>
                  <a:lnTo>
                    <a:pt x="118" y="46"/>
                  </a:lnTo>
                  <a:lnTo>
                    <a:pt x="114" y="54"/>
                  </a:lnTo>
                  <a:lnTo>
                    <a:pt x="110" y="61"/>
                  </a:lnTo>
                  <a:lnTo>
                    <a:pt x="105" y="67"/>
                  </a:lnTo>
                  <a:lnTo>
                    <a:pt x="97" y="73"/>
                  </a:lnTo>
                  <a:lnTo>
                    <a:pt x="87" y="77"/>
                  </a:lnTo>
                  <a:lnTo>
                    <a:pt x="76" y="79"/>
                  </a:lnTo>
                  <a:lnTo>
                    <a:pt x="76" y="79"/>
                  </a:lnTo>
                  <a:lnTo>
                    <a:pt x="68" y="79"/>
                  </a:lnTo>
                  <a:lnTo>
                    <a:pt x="61" y="79"/>
                  </a:lnTo>
                  <a:lnTo>
                    <a:pt x="55" y="80"/>
                  </a:lnTo>
                  <a:lnTo>
                    <a:pt x="47" y="80"/>
                  </a:lnTo>
                  <a:lnTo>
                    <a:pt x="42" y="84"/>
                  </a:lnTo>
                  <a:lnTo>
                    <a:pt x="34" y="86"/>
                  </a:lnTo>
                  <a:lnTo>
                    <a:pt x="28" y="90"/>
                  </a:lnTo>
                  <a:lnTo>
                    <a:pt x="23" y="94"/>
                  </a:lnTo>
                  <a:lnTo>
                    <a:pt x="19" y="98"/>
                  </a:lnTo>
                  <a:lnTo>
                    <a:pt x="13" y="103"/>
                  </a:lnTo>
                  <a:lnTo>
                    <a:pt x="9" y="109"/>
                  </a:lnTo>
                  <a:lnTo>
                    <a:pt x="5" y="115"/>
                  </a:lnTo>
                  <a:lnTo>
                    <a:pt x="4" y="122"/>
                  </a:lnTo>
                  <a:lnTo>
                    <a:pt x="2" y="128"/>
                  </a:lnTo>
                  <a:lnTo>
                    <a:pt x="0" y="138"/>
                  </a:lnTo>
                  <a:lnTo>
                    <a:pt x="0" y="145"/>
                  </a:lnTo>
                  <a:lnTo>
                    <a:pt x="0" y="145"/>
                  </a:lnTo>
                  <a:lnTo>
                    <a:pt x="0" y="157"/>
                  </a:lnTo>
                  <a:lnTo>
                    <a:pt x="2" y="166"/>
                  </a:lnTo>
                  <a:lnTo>
                    <a:pt x="5" y="174"/>
                  </a:lnTo>
                  <a:lnTo>
                    <a:pt x="9" y="184"/>
                  </a:lnTo>
                  <a:lnTo>
                    <a:pt x="15" y="191"/>
                  </a:lnTo>
                  <a:lnTo>
                    <a:pt x="21" y="199"/>
                  </a:lnTo>
                  <a:lnTo>
                    <a:pt x="26" y="206"/>
                  </a:lnTo>
                  <a:lnTo>
                    <a:pt x="32" y="214"/>
                  </a:lnTo>
                  <a:lnTo>
                    <a:pt x="38" y="222"/>
                  </a:lnTo>
                  <a:lnTo>
                    <a:pt x="44" y="229"/>
                  </a:lnTo>
                  <a:lnTo>
                    <a:pt x="49" y="237"/>
                  </a:lnTo>
                  <a:lnTo>
                    <a:pt x="53" y="245"/>
                  </a:lnTo>
                  <a:lnTo>
                    <a:pt x="59" y="252"/>
                  </a:lnTo>
                  <a:lnTo>
                    <a:pt x="61" y="262"/>
                  </a:lnTo>
                  <a:lnTo>
                    <a:pt x="63" y="271"/>
                  </a:lnTo>
                  <a:lnTo>
                    <a:pt x="65" y="283"/>
                  </a:lnTo>
                  <a:lnTo>
                    <a:pt x="65" y="283"/>
                  </a:lnTo>
                  <a:lnTo>
                    <a:pt x="65" y="292"/>
                  </a:lnTo>
                  <a:lnTo>
                    <a:pt x="63" y="304"/>
                  </a:lnTo>
                  <a:lnTo>
                    <a:pt x="63" y="315"/>
                  </a:lnTo>
                  <a:lnTo>
                    <a:pt x="61" y="327"/>
                  </a:lnTo>
                  <a:lnTo>
                    <a:pt x="59" y="336"/>
                  </a:lnTo>
                  <a:lnTo>
                    <a:pt x="57" y="348"/>
                  </a:lnTo>
                  <a:lnTo>
                    <a:pt x="55" y="357"/>
                  </a:lnTo>
                  <a:lnTo>
                    <a:pt x="53" y="369"/>
                  </a:lnTo>
                  <a:lnTo>
                    <a:pt x="51" y="378"/>
                  </a:lnTo>
                  <a:lnTo>
                    <a:pt x="49" y="390"/>
                  </a:lnTo>
                  <a:lnTo>
                    <a:pt x="47" y="399"/>
                  </a:lnTo>
                  <a:lnTo>
                    <a:pt x="46" y="411"/>
                  </a:lnTo>
                  <a:lnTo>
                    <a:pt x="46" y="422"/>
                  </a:lnTo>
                  <a:lnTo>
                    <a:pt x="44" y="433"/>
                  </a:lnTo>
                  <a:lnTo>
                    <a:pt x="44" y="447"/>
                  </a:lnTo>
                  <a:lnTo>
                    <a:pt x="44" y="458"/>
                  </a:lnTo>
                  <a:lnTo>
                    <a:pt x="44" y="458"/>
                  </a:lnTo>
                  <a:lnTo>
                    <a:pt x="44" y="464"/>
                  </a:lnTo>
                  <a:lnTo>
                    <a:pt x="46" y="470"/>
                  </a:lnTo>
                  <a:lnTo>
                    <a:pt x="47" y="475"/>
                  </a:lnTo>
                  <a:lnTo>
                    <a:pt x="51" y="481"/>
                  </a:lnTo>
                  <a:lnTo>
                    <a:pt x="53" y="487"/>
                  </a:lnTo>
                  <a:lnTo>
                    <a:pt x="57" y="491"/>
                  </a:lnTo>
                  <a:lnTo>
                    <a:pt x="61" y="493"/>
                  </a:lnTo>
                  <a:lnTo>
                    <a:pt x="65" y="494"/>
                  </a:lnTo>
                  <a:lnTo>
                    <a:pt x="65" y="494"/>
                  </a:lnTo>
                  <a:lnTo>
                    <a:pt x="68" y="494"/>
                  </a:lnTo>
                  <a:lnTo>
                    <a:pt x="74" y="494"/>
                  </a:lnTo>
                  <a:lnTo>
                    <a:pt x="78" y="494"/>
                  </a:lnTo>
                  <a:lnTo>
                    <a:pt x="84" y="493"/>
                  </a:lnTo>
                  <a:lnTo>
                    <a:pt x="87" y="493"/>
                  </a:lnTo>
                  <a:lnTo>
                    <a:pt x="93" y="493"/>
                  </a:lnTo>
                  <a:lnTo>
                    <a:pt x="97" y="491"/>
                  </a:lnTo>
                  <a:lnTo>
                    <a:pt x="103" y="491"/>
                  </a:lnTo>
                  <a:lnTo>
                    <a:pt x="108" y="489"/>
                  </a:lnTo>
                  <a:lnTo>
                    <a:pt x="112" y="489"/>
                  </a:lnTo>
                  <a:lnTo>
                    <a:pt x="118" y="487"/>
                  </a:lnTo>
                  <a:lnTo>
                    <a:pt x="124" y="487"/>
                  </a:lnTo>
                  <a:lnTo>
                    <a:pt x="128" y="485"/>
                  </a:lnTo>
                  <a:lnTo>
                    <a:pt x="133" y="485"/>
                  </a:lnTo>
                  <a:lnTo>
                    <a:pt x="139" y="483"/>
                  </a:lnTo>
                  <a:lnTo>
                    <a:pt x="143" y="483"/>
                  </a:lnTo>
                  <a:lnTo>
                    <a:pt x="147" y="485"/>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95" name="Freeform 39"/>
            <p:cNvSpPr>
              <a:spLocks/>
            </p:cNvSpPr>
            <p:nvPr/>
          </p:nvSpPr>
          <p:spPr bwMode="gray">
            <a:xfrm>
              <a:off x="1566" y="1864"/>
              <a:ext cx="74" cy="223"/>
            </a:xfrm>
            <a:custGeom>
              <a:avLst/>
              <a:gdLst/>
              <a:ahLst/>
              <a:cxnLst>
                <a:cxn ang="0">
                  <a:pos x="67" y="27"/>
                </a:cxn>
                <a:cxn ang="0">
                  <a:pos x="65" y="35"/>
                </a:cxn>
                <a:cxn ang="0">
                  <a:pos x="65" y="42"/>
                </a:cxn>
                <a:cxn ang="0">
                  <a:pos x="65" y="56"/>
                </a:cxn>
                <a:cxn ang="0">
                  <a:pos x="74" y="83"/>
                </a:cxn>
                <a:cxn ang="0">
                  <a:pos x="91" y="105"/>
                </a:cxn>
                <a:cxn ang="0">
                  <a:pos x="109" y="128"/>
                </a:cxn>
                <a:cxn ang="0">
                  <a:pos x="124" y="151"/>
                </a:cxn>
                <a:cxn ang="0">
                  <a:pos x="130" y="182"/>
                </a:cxn>
                <a:cxn ang="0">
                  <a:pos x="128" y="203"/>
                </a:cxn>
                <a:cxn ang="0">
                  <a:pos x="124" y="235"/>
                </a:cxn>
                <a:cxn ang="0">
                  <a:pos x="118" y="268"/>
                </a:cxn>
                <a:cxn ang="0">
                  <a:pos x="112" y="298"/>
                </a:cxn>
                <a:cxn ang="0">
                  <a:pos x="109" y="332"/>
                </a:cxn>
                <a:cxn ang="0">
                  <a:pos x="109" y="357"/>
                </a:cxn>
                <a:cxn ang="0">
                  <a:pos x="112" y="374"/>
                </a:cxn>
                <a:cxn ang="0">
                  <a:pos x="122" y="390"/>
                </a:cxn>
                <a:cxn ang="0">
                  <a:pos x="130" y="393"/>
                </a:cxn>
                <a:cxn ang="0">
                  <a:pos x="109" y="401"/>
                </a:cxn>
                <a:cxn ang="0">
                  <a:pos x="91" y="407"/>
                </a:cxn>
                <a:cxn ang="0">
                  <a:pos x="78" y="407"/>
                </a:cxn>
                <a:cxn ang="0">
                  <a:pos x="55" y="393"/>
                </a:cxn>
                <a:cxn ang="0">
                  <a:pos x="36" y="363"/>
                </a:cxn>
                <a:cxn ang="0">
                  <a:pos x="32" y="342"/>
                </a:cxn>
                <a:cxn ang="0">
                  <a:pos x="34" y="329"/>
                </a:cxn>
                <a:cxn ang="0">
                  <a:pos x="40" y="317"/>
                </a:cxn>
                <a:cxn ang="0">
                  <a:pos x="40" y="311"/>
                </a:cxn>
                <a:cxn ang="0">
                  <a:pos x="40" y="302"/>
                </a:cxn>
                <a:cxn ang="0">
                  <a:pos x="40" y="298"/>
                </a:cxn>
                <a:cxn ang="0">
                  <a:pos x="40" y="292"/>
                </a:cxn>
                <a:cxn ang="0">
                  <a:pos x="42" y="285"/>
                </a:cxn>
                <a:cxn ang="0">
                  <a:pos x="44" y="271"/>
                </a:cxn>
                <a:cxn ang="0">
                  <a:pos x="46" y="258"/>
                </a:cxn>
                <a:cxn ang="0">
                  <a:pos x="48" y="243"/>
                </a:cxn>
                <a:cxn ang="0">
                  <a:pos x="49" y="229"/>
                </a:cxn>
                <a:cxn ang="0">
                  <a:pos x="48" y="218"/>
                </a:cxn>
                <a:cxn ang="0">
                  <a:pos x="40" y="205"/>
                </a:cxn>
                <a:cxn ang="0">
                  <a:pos x="30" y="195"/>
                </a:cxn>
                <a:cxn ang="0">
                  <a:pos x="28" y="184"/>
                </a:cxn>
                <a:cxn ang="0">
                  <a:pos x="34" y="168"/>
                </a:cxn>
                <a:cxn ang="0">
                  <a:pos x="40" y="157"/>
                </a:cxn>
                <a:cxn ang="0">
                  <a:pos x="40" y="147"/>
                </a:cxn>
                <a:cxn ang="0">
                  <a:pos x="32" y="134"/>
                </a:cxn>
                <a:cxn ang="0">
                  <a:pos x="25" y="119"/>
                </a:cxn>
                <a:cxn ang="0">
                  <a:pos x="23" y="105"/>
                </a:cxn>
                <a:cxn ang="0">
                  <a:pos x="23" y="92"/>
                </a:cxn>
                <a:cxn ang="0">
                  <a:pos x="23" y="84"/>
                </a:cxn>
                <a:cxn ang="0">
                  <a:pos x="23" y="75"/>
                </a:cxn>
                <a:cxn ang="0">
                  <a:pos x="11" y="58"/>
                </a:cxn>
                <a:cxn ang="0">
                  <a:pos x="0" y="37"/>
                </a:cxn>
                <a:cxn ang="0">
                  <a:pos x="0" y="21"/>
                </a:cxn>
                <a:cxn ang="0">
                  <a:pos x="2" y="8"/>
                </a:cxn>
                <a:cxn ang="0">
                  <a:pos x="9" y="0"/>
                </a:cxn>
                <a:cxn ang="0">
                  <a:pos x="21" y="0"/>
                </a:cxn>
                <a:cxn ang="0">
                  <a:pos x="40" y="8"/>
                </a:cxn>
                <a:cxn ang="0">
                  <a:pos x="61" y="18"/>
                </a:cxn>
              </a:cxnLst>
              <a:rect l="0" t="0" r="r" b="b"/>
              <a:pathLst>
                <a:path w="130" h="407">
                  <a:moveTo>
                    <a:pt x="67" y="23"/>
                  </a:moveTo>
                  <a:lnTo>
                    <a:pt x="67" y="23"/>
                  </a:lnTo>
                  <a:lnTo>
                    <a:pt x="67" y="27"/>
                  </a:lnTo>
                  <a:lnTo>
                    <a:pt x="65" y="29"/>
                  </a:lnTo>
                  <a:lnTo>
                    <a:pt x="65" y="31"/>
                  </a:lnTo>
                  <a:lnTo>
                    <a:pt x="65" y="35"/>
                  </a:lnTo>
                  <a:lnTo>
                    <a:pt x="65" y="37"/>
                  </a:lnTo>
                  <a:lnTo>
                    <a:pt x="65" y="39"/>
                  </a:lnTo>
                  <a:lnTo>
                    <a:pt x="65" y="42"/>
                  </a:lnTo>
                  <a:lnTo>
                    <a:pt x="65" y="44"/>
                  </a:lnTo>
                  <a:lnTo>
                    <a:pt x="65" y="44"/>
                  </a:lnTo>
                  <a:lnTo>
                    <a:pt x="65" y="56"/>
                  </a:lnTo>
                  <a:lnTo>
                    <a:pt x="67" y="65"/>
                  </a:lnTo>
                  <a:lnTo>
                    <a:pt x="70" y="73"/>
                  </a:lnTo>
                  <a:lnTo>
                    <a:pt x="74" y="83"/>
                  </a:lnTo>
                  <a:lnTo>
                    <a:pt x="80" y="90"/>
                  </a:lnTo>
                  <a:lnTo>
                    <a:pt x="86" y="98"/>
                  </a:lnTo>
                  <a:lnTo>
                    <a:pt x="91" y="105"/>
                  </a:lnTo>
                  <a:lnTo>
                    <a:pt x="97" y="113"/>
                  </a:lnTo>
                  <a:lnTo>
                    <a:pt x="103" y="121"/>
                  </a:lnTo>
                  <a:lnTo>
                    <a:pt x="109" y="128"/>
                  </a:lnTo>
                  <a:lnTo>
                    <a:pt x="114" y="136"/>
                  </a:lnTo>
                  <a:lnTo>
                    <a:pt x="118" y="144"/>
                  </a:lnTo>
                  <a:lnTo>
                    <a:pt x="124" y="151"/>
                  </a:lnTo>
                  <a:lnTo>
                    <a:pt x="126" y="161"/>
                  </a:lnTo>
                  <a:lnTo>
                    <a:pt x="128" y="170"/>
                  </a:lnTo>
                  <a:lnTo>
                    <a:pt x="130" y="182"/>
                  </a:lnTo>
                  <a:lnTo>
                    <a:pt x="130" y="182"/>
                  </a:lnTo>
                  <a:lnTo>
                    <a:pt x="130" y="191"/>
                  </a:lnTo>
                  <a:lnTo>
                    <a:pt x="128" y="203"/>
                  </a:lnTo>
                  <a:lnTo>
                    <a:pt x="128" y="214"/>
                  </a:lnTo>
                  <a:lnTo>
                    <a:pt x="126" y="226"/>
                  </a:lnTo>
                  <a:lnTo>
                    <a:pt x="124" y="235"/>
                  </a:lnTo>
                  <a:lnTo>
                    <a:pt x="122" y="247"/>
                  </a:lnTo>
                  <a:lnTo>
                    <a:pt x="120" y="256"/>
                  </a:lnTo>
                  <a:lnTo>
                    <a:pt x="118" y="268"/>
                  </a:lnTo>
                  <a:lnTo>
                    <a:pt x="116" y="277"/>
                  </a:lnTo>
                  <a:lnTo>
                    <a:pt x="114" y="289"/>
                  </a:lnTo>
                  <a:lnTo>
                    <a:pt x="112" y="298"/>
                  </a:lnTo>
                  <a:lnTo>
                    <a:pt x="111" y="310"/>
                  </a:lnTo>
                  <a:lnTo>
                    <a:pt x="111" y="321"/>
                  </a:lnTo>
                  <a:lnTo>
                    <a:pt x="109" y="332"/>
                  </a:lnTo>
                  <a:lnTo>
                    <a:pt x="109" y="346"/>
                  </a:lnTo>
                  <a:lnTo>
                    <a:pt x="109" y="357"/>
                  </a:lnTo>
                  <a:lnTo>
                    <a:pt x="109" y="357"/>
                  </a:lnTo>
                  <a:lnTo>
                    <a:pt x="109" y="363"/>
                  </a:lnTo>
                  <a:lnTo>
                    <a:pt x="111" y="369"/>
                  </a:lnTo>
                  <a:lnTo>
                    <a:pt x="112" y="374"/>
                  </a:lnTo>
                  <a:lnTo>
                    <a:pt x="116" y="380"/>
                  </a:lnTo>
                  <a:lnTo>
                    <a:pt x="118" y="386"/>
                  </a:lnTo>
                  <a:lnTo>
                    <a:pt x="122" y="390"/>
                  </a:lnTo>
                  <a:lnTo>
                    <a:pt x="126" y="392"/>
                  </a:lnTo>
                  <a:lnTo>
                    <a:pt x="130" y="393"/>
                  </a:lnTo>
                  <a:lnTo>
                    <a:pt x="130" y="393"/>
                  </a:lnTo>
                  <a:lnTo>
                    <a:pt x="122" y="395"/>
                  </a:lnTo>
                  <a:lnTo>
                    <a:pt x="116" y="397"/>
                  </a:lnTo>
                  <a:lnTo>
                    <a:pt x="109" y="401"/>
                  </a:lnTo>
                  <a:lnTo>
                    <a:pt x="105" y="403"/>
                  </a:lnTo>
                  <a:lnTo>
                    <a:pt x="99" y="405"/>
                  </a:lnTo>
                  <a:lnTo>
                    <a:pt x="91" y="407"/>
                  </a:lnTo>
                  <a:lnTo>
                    <a:pt x="86" y="407"/>
                  </a:lnTo>
                  <a:lnTo>
                    <a:pt x="78" y="407"/>
                  </a:lnTo>
                  <a:lnTo>
                    <a:pt x="78" y="407"/>
                  </a:lnTo>
                  <a:lnTo>
                    <a:pt x="70" y="405"/>
                  </a:lnTo>
                  <a:lnTo>
                    <a:pt x="63" y="401"/>
                  </a:lnTo>
                  <a:lnTo>
                    <a:pt x="55" y="393"/>
                  </a:lnTo>
                  <a:lnTo>
                    <a:pt x="48" y="384"/>
                  </a:lnTo>
                  <a:lnTo>
                    <a:pt x="42" y="372"/>
                  </a:lnTo>
                  <a:lnTo>
                    <a:pt x="36" y="363"/>
                  </a:lnTo>
                  <a:lnTo>
                    <a:pt x="32" y="352"/>
                  </a:lnTo>
                  <a:lnTo>
                    <a:pt x="32" y="342"/>
                  </a:lnTo>
                  <a:lnTo>
                    <a:pt x="32" y="342"/>
                  </a:lnTo>
                  <a:lnTo>
                    <a:pt x="32" y="336"/>
                  </a:lnTo>
                  <a:lnTo>
                    <a:pt x="32" y="332"/>
                  </a:lnTo>
                  <a:lnTo>
                    <a:pt x="34" y="329"/>
                  </a:lnTo>
                  <a:lnTo>
                    <a:pt x="36" y="325"/>
                  </a:lnTo>
                  <a:lnTo>
                    <a:pt x="38" y="321"/>
                  </a:lnTo>
                  <a:lnTo>
                    <a:pt x="40" y="317"/>
                  </a:lnTo>
                  <a:lnTo>
                    <a:pt x="40" y="313"/>
                  </a:lnTo>
                  <a:lnTo>
                    <a:pt x="40" y="311"/>
                  </a:lnTo>
                  <a:lnTo>
                    <a:pt x="40" y="311"/>
                  </a:lnTo>
                  <a:lnTo>
                    <a:pt x="40" y="308"/>
                  </a:lnTo>
                  <a:lnTo>
                    <a:pt x="40" y="304"/>
                  </a:lnTo>
                  <a:lnTo>
                    <a:pt x="40" y="302"/>
                  </a:lnTo>
                  <a:lnTo>
                    <a:pt x="40" y="302"/>
                  </a:lnTo>
                  <a:lnTo>
                    <a:pt x="40" y="300"/>
                  </a:lnTo>
                  <a:lnTo>
                    <a:pt x="40" y="298"/>
                  </a:lnTo>
                  <a:lnTo>
                    <a:pt x="40" y="296"/>
                  </a:lnTo>
                  <a:lnTo>
                    <a:pt x="40" y="292"/>
                  </a:lnTo>
                  <a:lnTo>
                    <a:pt x="40" y="292"/>
                  </a:lnTo>
                  <a:lnTo>
                    <a:pt x="40" y="290"/>
                  </a:lnTo>
                  <a:lnTo>
                    <a:pt x="42" y="287"/>
                  </a:lnTo>
                  <a:lnTo>
                    <a:pt x="42" y="285"/>
                  </a:lnTo>
                  <a:lnTo>
                    <a:pt x="42" y="279"/>
                  </a:lnTo>
                  <a:lnTo>
                    <a:pt x="44" y="275"/>
                  </a:lnTo>
                  <a:lnTo>
                    <a:pt x="44" y="271"/>
                  </a:lnTo>
                  <a:lnTo>
                    <a:pt x="44" y="268"/>
                  </a:lnTo>
                  <a:lnTo>
                    <a:pt x="46" y="262"/>
                  </a:lnTo>
                  <a:lnTo>
                    <a:pt x="46" y="258"/>
                  </a:lnTo>
                  <a:lnTo>
                    <a:pt x="48" y="252"/>
                  </a:lnTo>
                  <a:lnTo>
                    <a:pt x="48" y="247"/>
                  </a:lnTo>
                  <a:lnTo>
                    <a:pt x="48" y="243"/>
                  </a:lnTo>
                  <a:lnTo>
                    <a:pt x="48" y="237"/>
                  </a:lnTo>
                  <a:lnTo>
                    <a:pt x="49" y="233"/>
                  </a:lnTo>
                  <a:lnTo>
                    <a:pt x="49" y="229"/>
                  </a:lnTo>
                  <a:lnTo>
                    <a:pt x="49" y="224"/>
                  </a:lnTo>
                  <a:lnTo>
                    <a:pt x="49" y="224"/>
                  </a:lnTo>
                  <a:lnTo>
                    <a:pt x="48" y="218"/>
                  </a:lnTo>
                  <a:lnTo>
                    <a:pt x="46" y="212"/>
                  </a:lnTo>
                  <a:lnTo>
                    <a:pt x="42" y="208"/>
                  </a:lnTo>
                  <a:lnTo>
                    <a:pt x="40" y="205"/>
                  </a:lnTo>
                  <a:lnTo>
                    <a:pt x="36" y="203"/>
                  </a:lnTo>
                  <a:lnTo>
                    <a:pt x="32" y="199"/>
                  </a:lnTo>
                  <a:lnTo>
                    <a:pt x="30" y="195"/>
                  </a:lnTo>
                  <a:lnTo>
                    <a:pt x="28" y="189"/>
                  </a:lnTo>
                  <a:lnTo>
                    <a:pt x="28" y="189"/>
                  </a:lnTo>
                  <a:lnTo>
                    <a:pt x="28" y="184"/>
                  </a:lnTo>
                  <a:lnTo>
                    <a:pt x="30" y="178"/>
                  </a:lnTo>
                  <a:lnTo>
                    <a:pt x="32" y="174"/>
                  </a:lnTo>
                  <a:lnTo>
                    <a:pt x="34" y="168"/>
                  </a:lnTo>
                  <a:lnTo>
                    <a:pt x="38" y="165"/>
                  </a:lnTo>
                  <a:lnTo>
                    <a:pt x="38" y="161"/>
                  </a:lnTo>
                  <a:lnTo>
                    <a:pt x="40" y="157"/>
                  </a:lnTo>
                  <a:lnTo>
                    <a:pt x="40" y="151"/>
                  </a:lnTo>
                  <a:lnTo>
                    <a:pt x="40" y="151"/>
                  </a:lnTo>
                  <a:lnTo>
                    <a:pt x="40" y="147"/>
                  </a:lnTo>
                  <a:lnTo>
                    <a:pt x="38" y="142"/>
                  </a:lnTo>
                  <a:lnTo>
                    <a:pt x="34" y="140"/>
                  </a:lnTo>
                  <a:lnTo>
                    <a:pt x="32" y="134"/>
                  </a:lnTo>
                  <a:lnTo>
                    <a:pt x="28" y="130"/>
                  </a:lnTo>
                  <a:lnTo>
                    <a:pt x="27" y="124"/>
                  </a:lnTo>
                  <a:lnTo>
                    <a:pt x="25" y="119"/>
                  </a:lnTo>
                  <a:lnTo>
                    <a:pt x="23" y="113"/>
                  </a:lnTo>
                  <a:lnTo>
                    <a:pt x="23" y="113"/>
                  </a:lnTo>
                  <a:lnTo>
                    <a:pt x="23" y="105"/>
                  </a:lnTo>
                  <a:lnTo>
                    <a:pt x="23" y="100"/>
                  </a:lnTo>
                  <a:lnTo>
                    <a:pt x="23" y="96"/>
                  </a:lnTo>
                  <a:lnTo>
                    <a:pt x="23" y="92"/>
                  </a:lnTo>
                  <a:lnTo>
                    <a:pt x="23" y="90"/>
                  </a:lnTo>
                  <a:lnTo>
                    <a:pt x="23" y="88"/>
                  </a:lnTo>
                  <a:lnTo>
                    <a:pt x="23" y="84"/>
                  </a:lnTo>
                  <a:lnTo>
                    <a:pt x="23" y="81"/>
                  </a:lnTo>
                  <a:lnTo>
                    <a:pt x="23" y="81"/>
                  </a:lnTo>
                  <a:lnTo>
                    <a:pt x="23" y="75"/>
                  </a:lnTo>
                  <a:lnTo>
                    <a:pt x="19" y="69"/>
                  </a:lnTo>
                  <a:lnTo>
                    <a:pt x="15" y="63"/>
                  </a:lnTo>
                  <a:lnTo>
                    <a:pt x="11" y="58"/>
                  </a:lnTo>
                  <a:lnTo>
                    <a:pt x="8" y="52"/>
                  </a:lnTo>
                  <a:lnTo>
                    <a:pt x="4" y="44"/>
                  </a:lnTo>
                  <a:lnTo>
                    <a:pt x="0" y="37"/>
                  </a:lnTo>
                  <a:lnTo>
                    <a:pt x="0" y="27"/>
                  </a:lnTo>
                  <a:lnTo>
                    <a:pt x="0" y="27"/>
                  </a:lnTo>
                  <a:lnTo>
                    <a:pt x="0" y="21"/>
                  </a:lnTo>
                  <a:lnTo>
                    <a:pt x="0" y="18"/>
                  </a:lnTo>
                  <a:lnTo>
                    <a:pt x="2" y="14"/>
                  </a:lnTo>
                  <a:lnTo>
                    <a:pt x="2" y="8"/>
                  </a:lnTo>
                  <a:lnTo>
                    <a:pt x="4" y="4"/>
                  </a:lnTo>
                  <a:lnTo>
                    <a:pt x="8" y="2"/>
                  </a:lnTo>
                  <a:lnTo>
                    <a:pt x="9" y="0"/>
                  </a:lnTo>
                  <a:lnTo>
                    <a:pt x="13" y="0"/>
                  </a:lnTo>
                  <a:lnTo>
                    <a:pt x="13" y="0"/>
                  </a:lnTo>
                  <a:lnTo>
                    <a:pt x="21" y="0"/>
                  </a:lnTo>
                  <a:lnTo>
                    <a:pt x="28" y="2"/>
                  </a:lnTo>
                  <a:lnTo>
                    <a:pt x="34" y="6"/>
                  </a:lnTo>
                  <a:lnTo>
                    <a:pt x="40" y="8"/>
                  </a:lnTo>
                  <a:lnTo>
                    <a:pt x="48" y="12"/>
                  </a:lnTo>
                  <a:lnTo>
                    <a:pt x="53" y="16"/>
                  </a:lnTo>
                  <a:lnTo>
                    <a:pt x="61" y="18"/>
                  </a:lnTo>
                  <a:lnTo>
                    <a:pt x="70" y="18"/>
                  </a:lnTo>
                  <a:lnTo>
                    <a:pt x="67" y="23"/>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96" name="Freeform 40"/>
            <p:cNvSpPr>
              <a:spLocks/>
            </p:cNvSpPr>
            <p:nvPr/>
          </p:nvSpPr>
          <p:spPr bwMode="gray">
            <a:xfrm>
              <a:off x="1419" y="1862"/>
              <a:ext cx="192" cy="281"/>
            </a:xfrm>
            <a:custGeom>
              <a:avLst/>
              <a:gdLst/>
              <a:ahLst/>
              <a:cxnLst>
                <a:cxn ang="0">
                  <a:pos x="246" y="7"/>
                </a:cxn>
                <a:cxn ang="0">
                  <a:pos x="227" y="19"/>
                </a:cxn>
                <a:cxn ang="0">
                  <a:pos x="202" y="15"/>
                </a:cxn>
                <a:cxn ang="0">
                  <a:pos x="68" y="0"/>
                </a:cxn>
                <a:cxn ang="0">
                  <a:pos x="47" y="9"/>
                </a:cxn>
                <a:cxn ang="0">
                  <a:pos x="38" y="34"/>
                </a:cxn>
                <a:cxn ang="0">
                  <a:pos x="38" y="57"/>
                </a:cxn>
                <a:cxn ang="0">
                  <a:pos x="38" y="74"/>
                </a:cxn>
                <a:cxn ang="0">
                  <a:pos x="38" y="97"/>
                </a:cxn>
                <a:cxn ang="0">
                  <a:pos x="42" y="120"/>
                </a:cxn>
                <a:cxn ang="0">
                  <a:pos x="49" y="150"/>
                </a:cxn>
                <a:cxn ang="0">
                  <a:pos x="57" y="177"/>
                </a:cxn>
                <a:cxn ang="0">
                  <a:pos x="59" y="202"/>
                </a:cxn>
                <a:cxn ang="0">
                  <a:pos x="51" y="230"/>
                </a:cxn>
                <a:cxn ang="0">
                  <a:pos x="36" y="253"/>
                </a:cxn>
                <a:cxn ang="0">
                  <a:pos x="26" y="278"/>
                </a:cxn>
                <a:cxn ang="0">
                  <a:pos x="28" y="303"/>
                </a:cxn>
                <a:cxn ang="0">
                  <a:pos x="24" y="330"/>
                </a:cxn>
                <a:cxn ang="0">
                  <a:pos x="5" y="349"/>
                </a:cxn>
                <a:cxn ang="0">
                  <a:pos x="1" y="377"/>
                </a:cxn>
                <a:cxn ang="0">
                  <a:pos x="7" y="406"/>
                </a:cxn>
                <a:cxn ang="0">
                  <a:pos x="22" y="425"/>
                </a:cxn>
                <a:cxn ang="0">
                  <a:pos x="36" y="444"/>
                </a:cxn>
                <a:cxn ang="0">
                  <a:pos x="36" y="461"/>
                </a:cxn>
                <a:cxn ang="0">
                  <a:pos x="38" y="482"/>
                </a:cxn>
                <a:cxn ang="0">
                  <a:pos x="74" y="501"/>
                </a:cxn>
                <a:cxn ang="0">
                  <a:pos x="101" y="509"/>
                </a:cxn>
                <a:cxn ang="0">
                  <a:pos x="125" y="501"/>
                </a:cxn>
                <a:cxn ang="0">
                  <a:pos x="145" y="486"/>
                </a:cxn>
                <a:cxn ang="0">
                  <a:pos x="167" y="473"/>
                </a:cxn>
                <a:cxn ang="0">
                  <a:pos x="196" y="471"/>
                </a:cxn>
                <a:cxn ang="0">
                  <a:pos x="219" y="467"/>
                </a:cxn>
                <a:cxn ang="0">
                  <a:pos x="246" y="444"/>
                </a:cxn>
                <a:cxn ang="0">
                  <a:pos x="272" y="431"/>
                </a:cxn>
                <a:cxn ang="0">
                  <a:pos x="299" y="429"/>
                </a:cxn>
                <a:cxn ang="0">
                  <a:pos x="322" y="427"/>
                </a:cxn>
                <a:cxn ang="0">
                  <a:pos x="339" y="408"/>
                </a:cxn>
                <a:cxn ang="0">
                  <a:pos x="309" y="385"/>
                </a:cxn>
                <a:cxn ang="0">
                  <a:pos x="293" y="343"/>
                </a:cxn>
                <a:cxn ang="0">
                  <a:pos x="299" y="322"/>
                </a:cxn>
                <a:cxn ang="0">
                  <a:pos x="301" y="309"/>
                </a:cxn>
                <a:cxn ang="0">
                  <a:pos x="301" y="299"/>
                </a:cxn>
                <a:cxn ang="0">
                  <a:pos x="303" y="288"/>
                </a:cxn>
                <a:cxn ang="0">
                  <a:pos x="305" y="269"/>
                </a:cxn>
                <a:cxn ang="0">
                  <a:pos x="309" y="244"/>
                </a:cxn>
                <a:cxn ang="0">
                  <a:pos x="310" y="225"/>
                </a:cxn>
                <a:cxn ang="0">
                  <a:pos x="297" y="204"/>
                </a:cxn>
                <a:cxn ang="0">
                  <a:pos x="289" y="185"/>
                </a:cxn>
                <a:cxn ang="0">
                  <a:pos x="299" y="162"/>
                </a:cxn>
                <a:cxn ang="0">
                  <a:pos x="299" y="143"/>
                </a:cxn>
                <a:cxn ang="0">
                  <a:pos x="286" y="120"/>
                </a:cxn>
                <a:cxn ang="0">
                  <a:pos x="284" y="97"/>
                </a:cxn>
                <a:cxn ang="0">
                  <a:pos x="284" y="82"/>
                </a:cxn>
                <a:cxn ang="0">
                  <a:pos x="272" y="59"/>
                </a:cxn>
                <a:cxn ang="0">
                  <a:pos x="261" y="28"/>
                </a:cxn>
                <a:cxn ang="0">
                  <a:pos x="261" y="17"/>
                </a:cxn>
              </a:cxnLst>
              <a:rect l="0" t="0" r="r" b="b"/>
              <a:pathLst>
                <a:path w="339" h="509">
                  <a:moveTo>
                    <a:pt x="267" y="13"/>
                  </a:moveTo>
                  <a:lnTo>
                    <a:pt x="267" y="13"/>
                  </a:lnTo>
                  <a:lnTo>
                    <a:pt x="259" y="7"/>
                  </a:lnTo>
                  <a:lnTo>
                    <a:pt x="251" y="5"/>
                  </a:lnTo>
                  <a:lnTo>
                    <a:pt x="246" y="7"/>
                  </a:lnTo>
                  <a:lnTo>
                    <a:pt x="240" y="9"/>
                  </a:lnTo>
                  <a:lnTo>
                    <a:pt x="236" y="13"/>
                  </a:lnTo>
                  <a:lnTo>
                    <a:pt x="232" y="15"/>
                  </a:lnTo>
                  <a:lnTo>
                    <a:pt x="228" y="19"/>
                  </a:lnTo>
                  <a:lnTo>
                    <a:pt x="227" y="19"/>
                  </a:lnTo>
                  <a:lnTo>
                    <a:pt x="227" y="19"/>
                  </a:lnTo>
                  <a:lnTo>
                    <a:pt x="221" y="19"/>
                  </a:lnTo>
                  <a:lnTo>
                    <a:pt x="215" y="19"/>
                  </a:lnTo>
                  <a:lnTo>
                    <a:pt x="209" y="17"/>
                  </a:lnTo>
                  <a:lnTo>
                    <a:pt x="202" y="15"/>
                  </a:lnTo>
                  <a:lnTo>
                    <a:pt x="196" y="15"/>
                  </a:lnTo>
                  <a:lnTo>
                    <a:pt x="188" y="13"/>
                  </a:lnTo>
                  <a:lnTo>
                    <a:pt x="179" y="13"/>
                  </a:lnTo>
                  <a:lnTo>
                    <a:pt x="167" y="13"/>
                  </a:lnTo>
                  <a:lnTo>
                    <a:pt x="68" y="0"/>
                  </a:lnTo>
                  <a:lnTo>
                    <a:pt x="68" y="0"/>
                  </a:lnTo>
                  <a:lnTo>
                    <a:pt x="62" y="0"/>
                  </a:lnTo>
                  <a:lnTo>
                    <a:pt x="57" y="3"/>
                  </a:lnTo>
                  <a:lnTo>
                    <a:pt x="51" y="5"/>
                  </a:lnTo>
                  <a:lnTo>
                    <a:pt x="47" y="9"/>
                  </a:lnTo>
                  <a:lnTo>
                    <a:pt x="43" y="15"/>
                  </a:lnTo>
                  <a:lnTo>
                    <a:pt x="42" y="21"/>
                  </a:lnTo>
                  <a:lnTo>
                    <a:pt x="40" y="26"/>
                  </a:lnTo>
                  <a:lnTo>
                    <a:pt x="38" y="34"/>
                  </a:lnTo>
                  <a:lnTo>
                    <a:pt x="38" y="34"/>
                  </a:lnTo>
                  <a:lnTo>
                    <a:pt x="38" y="40"/>
                  </a:lnTo>
                  <a:lnTo>
                    <a:pt x="38" y="45"/>
                  </a:lnTo>
                  <a:lnTo>
                    <a:pt x="38" y="49"/>
                  </a:lnTo>
                  <a:lnTo>
                    <a:pt x="38" y="53"/>
                  </a:lnTo>
                  <a:lnTo>
                    <a:pt x="38" y="57"/>
                  </a:lnTo>
                  <a:lnTo>
                    <a:pt x="38" y="61"/>
                  </a:lnTo>
                  <a:lnTo>
                    <a:pt x="38" y="64"/>
                  </a:lnTo>
                  <a:lnTo>
                    <a:pt x="38" y="68"/>
                  </a:lnTo>
                  <a:lnTo>
                    <a:pt x="38" y="70"/>
                  </a:lnTo>
                  <a:lnTo>
                    <a:pt x="38" y="74"/>
                  </a:lnTo>
                  <a:lnTo>
                    <a:pt x="38" y="78"/>
                  </a:lnTo>
                  <a:lnTo>
                    <a:pt x="38" y="82"/>
                  </a:lnTo>
                  <a:lnTo>
                    <a:pt x="38" y="85"/>
                  </a:lnTo>
                  <a:lnTo>
                    <a:pt x="38" y="91"/>
                  </a:lnTo>
                  <a:lnTo>
                    <a:pt x="38" y="97"/>
                  </a:lnTo>
                  <a:lnTo>
                    <a:pt x="38" y="103"/>
                  </a:lnTo>
                  <a:lnTo>
                    <a:pt x="38" y="103"/>
                  </a:lnTo>
                  <a:lnTo>
                    <a:pt x="40" y="108"/>
                  </a:lnTo>
                  <a:lnTo>
                    <a:pt x="40" y="114"/>
                  </a:lnTo>
                  <a:lnTo>
                    <a:pt x="42" y="120"/>
                  </a:lnTo>
                  <a:lnTo>
                    <a:pt x="42" y="127"/>
                  </a:lnTo>
                  <a:lnTo>
                    <a:pt x="43" y="133"/>
                  </a:lnTo>
                  <a:lnTo>
                    <a:pt x="45" y="139"/>
                  </a:lnTo>
                  <a:lnTo>
                    <a:pt x="47" y="143"/>
                  </a:lnTo>
                  <a:lnTo>
                    <a:pt x="49" y="150"/>
                  </a:lnTo>
                  <a:lnTo>
                    <a:pt x="51" y="154"/>
                  </a:lnTo>
                  <a:lnTo>
                    <a:pt x="53" y="160"/>
                  </a:lnTo>
                  <a:lnTo>
                    <a:pt x="55" y="166"/>
                  </a:lnTo>
                  <a:lnTo>
                    <a:pt x="57" y="171"/>
                  </a:lnTo>
                  <a:lnTo>
                    <a:pt x="57" y="177"/>
                  </a:lnTo>
                  <a:lnTo>
                    <a:pt x="59" y="185"/>
                  </a:lnTo>
                  <a:lnTo>
                    <a:pt x="59" y="190"/>
                  </a:lnTo>
                  <a:lnTo>
                    <a:pt x="59" y="196"/>
                  </a:lnTo>
                  <a:lnTo>
                    <a:pt x="59" y="196"/>
                  </a:lnTo>
                  <a:lnTo>
                    <a:pt x="59" y="202"/>
                  </a:lnTo>
                  <a:lnTo>
                    <a:pt x="59" y="209"/>
                  </a:lnTo>
                  <a:lnTo>
                    <a:pt x="57" y="215"/>
                  </a:lnTo>
                  <a:lnTo>
                    <a:pt x="55" y="221"/>
                  </a:lnTo>
                  <a:lnTo>
                    <a:pt x="53" y="225"/>
                  </a:lnTo>
                  <a:lnTo>
                    <a:pt x="51" y="230"/>
                  </a:lnTo>
                  <a:lnTo>
                    <a:pt x="47" y="236"/>
                  </a:lnTo>
                  <a:lnTo>
                    <a:pt x="45" y="240"/>
                  </a:lnTo>
                  <a:lnTo>
                    <a:pt x="42" y="246"/>
                  </a:lnTo>
                  <a:lnTo>
                    <a:pt x="40" y="249"/>
                  </a:lnTo>
                  <a:lnTo>
                    <a:pt x="36" y="253"/>
                  </a:lnTo>
                  <a:lnTo>
                    <a:pt x="34" y="259"/>
                  </a:lnTo>
                  <a:lnTo>
                    <a:pt x="32" y="263"/>
                  </a:lnTo>
                  <a:lnTo>
                    <a:pt x="30" y="269"/>
                  </a:lnTo>
                  <a:lnTo>
                    <a:pt x="28" y="274"/>
                  </a:lnTo>
                  <a:lnTo>
                    <a:pt x="26" y="278"/>
                  </a:lnTo>
                  <a:lnTo>
                    <a:pt x="26" y="278"/>
                  </a:lnTo>
                  <a:lnTo>
                    <a:pt x="26" y="284"/>
                  </a:lnTo>
                  <a:lnTo>
                    <a:pt x="26" y="290"/>
                  </a:lnTo>
                  <a:lnTo>
                    <a:pt x="26" y="297"/>
                  </a:lnTo>
                  <a:lnTo>
                    <a:pt x="28" y="303"/>
                  </a:lnTo>
                  <a:lnTo>
                    <a:pt x="28" y="311"/>
                  </a:lnTo>
                  <a:lnTo>
                    <a:pt x="28" y="318"/>
                  </a:lnTo>
                  <a:lnTo>
                    <a:pt x="26" y="324"/>
                  </a:lnTo>
                  <a:lnTo>
                    <a:pt x="24" y="330"/>
                  </a:lnTo>
                  <a:lnTo>
                    <a:pt x="24" y="330"/>
                  </a:lnTo>
                  <a:lnTo>
                    <a:pt x="21" y="335"/>
                  </a:lnTo>
                  <a:lnTo>
                    <a:pt x="17" y="339"/>
                  </a:lnTo>
                  <a:lnTo>
                    <a:pt x="13" y="343"/>
                  </a:lnTo>
                  <a:lnTo>
                    <a:pt x="9" y="345"/>
                  </a:lnTo>
                  <a:lnTo>
                    <a:pt x="5" y="349"/>
                  </a:lnTo>
                  <a:lnTo>
                    <a:pt x="3" y="354"/>
                  </a:lnTo>
                  <a:lnTo>
                    <a:pt x="1" y="360"/>
                  </a:lnTo>
                  <a:lnTo>
                    <a:pt x="0" y="372"/>
                  </a:lnTo>
                  <a:lnTo>
                    <a:pt x="0" y="372"/>
                  </a:lnTo>
                  <a:lnTo>
                    <a:pt x="1" y="377"/>
                  </a:lnTo>
                  <a:lnTo>
                    <a:pt x="1" y="385"/>
                  </a:lnTo>
                  <a:lnTo>
                    <a:pt x="3" y="391"/>
                  </a:lnTo>
                  <a:lnTo>
                    <a:pt x="3" y="396"/>
                  </a:lnTo>
                  <a:lnTo>
                    <a:pt x="5" y="402"/>
                  </a:lnTo>
                  <a:lnTo>
                    <a:pt x="7" y="406"/>
                  </a:lnTo>
                  <a:lnTo>
                    <a:pt x="11" y="410"/>
                  </a:lnTo>
                  <a:lnTo>
                    <a:pt x="13" y="414"/>
                  </a:lnTo>
                  <a:lnTo>
                    <a:pt x="17" y="417"/>
                  </a:lnTo>
                  <a:lnTo>
                    <a:pt x="19" y="421"/>
                  </a:lnTo>
                  <a:lnTo>
                    <a:pt x="22" y="425"/>
                  </a:lnTo>
                  <a:lnTo>
                    <a:pt x="24" y="429"/>
                  </a:lnTo>
                  <a:lnTo>
                    <a:pt x="28" y="433"/>
                  </a:lnTo>
                  <a:lnTo>
                    <a:pt x="30" y="436"/>
                  </a:lnTo>
                  <a:lnTo>
                    <a:pt x="34" y="440"/>
                  </a:lnTo>
                  <a:lnTo>
                    <a:pt x="36" y="444"/>
                  </a:lnTo>
                  <a:lnTo>
                    <a:pt x="36" y="444"/>
                  </a:lnTo>
                  <a:lnTo>
                    <a:pt x="36" y="446"/>
                  </a:lnTo>
                  <a:lnTo>
                    <a:pt x="36" y="450"/>
                  </a:lnTo>
                  <a:lnTo>
                    <a:pt x="36" y="456"/>
                  </a:lnTo>
                  <a:lnTo>
                    <a:pt x="36" y="461"/>
                  </a:lnTo>
                  <a:lnTo>
                    <a:pt x="36" y="467"/>
                  </a:lnTo>
                  <a:lnTo>
                    <a:pt x="36" y="473"/>
                  </a:lnTo>
                  <a:lnTo>
                    <a:pt x="38" y="478"/>
                  </a:lnTo>
                  <a:lnTo>
                    <a:pt x="38" y="482"/>
                  </a:lnTo>
                  <a:lnTo>
                    <a:pt x="38" y="482"/>
                  </a:lnTo>
                  <a:lnTo>
                    <a:pt x="42" y="484"/>
                  </a:lnTo>
                  <a:lnTo>
                    <a:pt x="47" y="488"/>
                  </a:lnTo>
                  <a:lnTo>
                    <a:pt x="55" y="492"/>
                  </a:lnTo>
                  <a:lnTo>
                    <a:pt x="64" y="497"/>
                  </a:lnTo>
                  <a:lnTo>
                    <a:pt x="74" y="501"/>
                  </a:lnTo>
                  <a:lnTo>
                    <a:pt x="83" y="505"/>
                  </a:lnTo>
                  <a:lnTo>
                    <a:pt x="91" y="507"/>
                  </a:lnTo>
                  <a:lnTo>
                    <a:pt x="95" y="509"/>
                  </a:lnTo>
                  <a:lnTo>
                    <a:pt x="95" y="509"/>
                  </a:lnTo>
                  <a:lnTo>
                    <a:pt x="101" y="509"/>
                  </a:lnTo>
                  <a:lnTo>
                    <a:pt x="106" y="507"/>
                  </a:lnTo>
                  <a:lnTo>
                    <a:pt x="112" y="507"/>
                  </a:lnTo>
                  <a:lnTo>
                    <a:pt x="116" y="505"/>
                  </a:lnTo>
                  <a:lnTo>
                    <a:pt x="122" y="503"/>
                  </a:lnTo>
                  <a:lnTo>
                    <a:pt x="125" y="501"/>
                  </a:lnTo>
                  <a:lnTo>
                    <a:pt x="129" y="497"/>
                  </a:lnTo>
                  <a:lnTo>
                    <a:pt x="133" y="496"/>
                  </a:lnTo>
                  <a:lnTo>
                    <a:pt x="137" y="492"/>
                  </a:lnTo>
                  <a:lnTo>
                    <a:pt x="141" y="488"/>
                  </a:lnTo>
                  <a:lnTo>
                    <a:pt x="145" y="486"/>
                  </a:lnTo>
                  <a:lnTo>
                    <a:pt x="148" y="482"/>
                  </a:lnTo>
                  <a:lnTo>
                    <a:pt x="154" y="480"/>
                  </a:lnTo>
                  <a:lnTo>
                    <a:pt x="158" y="478"/>
                  </a:lnTo>
                  <a:lnTo>
                    <a:pt x="164" y="477"/>
                  </a:lnTo>
                  <a:lnTo>
                    <a:pt x="167" y="473"/>
                  </a:lnTo>
                  <a:lnTo>
                    <a:pt x="167" y="473"/>
                  </a:lnTo>
                  <a:lnTo>
                    <a:pt x="177" y="471"/>
                  </a:lnTo>
                  <a:lnTo>
                    <a:pt x="183" y="471"/>
                  </a:lnTo>
                  <a:lnTo>
                    <a:pt x="190" y="471"/>
                  </a:lnTo>
                  <a:lnTo>
                    <a:pt x="196" y="471"/>
                  </a:lnTo>
                  <a:lnTo>
                    <a:pt x="202" y="473"/>
                  </a:lnTo>
                  <a:lnTo>
                    <a:pt x="207" y="471"/>
                  </a:lnTo>
                  <a:lnTo>
                    <a:pt x="213" y="471"/>
                  </a:lnTo>
                  <a:lnTo>
                    <a:pt x="219" y="467"/>
                  </a:lnTo>
                  <a:lnTo>
                    <a:pt x="219" y="467"/>
                  </a:lnTo>
                  <a:lnTo>
                    <a:pt x="225" y="463"/>
                  </a:lnTo>
                  <a:lnTo>
                    <a:pt x="230" y="459"/>
                  </a:lnTo>
                  <a:lnTo>
                    <a:pt x="234" y="456"/>
                  </a:lnTo>
                  <a:lnTo>
                    <a:pt x="240" y="450"/>
                  </a:lnTo>
                  <a:lnTo>
                    <a:pt x="246" y="444"/>
                  </a:lnTo>
                  <a:lnTo>
                    <a:pt x="251" y="440"/>
                  </a:lnTo>
                  <a:lnTo>
                    <a:pt x="259" y="436"/>
                  </a:lnTo>
                  <a:lnTo>
                    <a:pt x="267" y="433"/>
                  </a:lnTo>
                  <a:lnTo>
                    <a:pt x="267" y="433"/>
                  </a:lnTo>
                  <a:lnTo>
                    <a:pt x="272" y="431"/>
                  </a:lnTo>
                  <a:lnTo>
                    <a:pt x="278" y="429"/>
                  </a:lnTo>
                  <a:lnTo>
                    <a:pt x="284" y="429"/>
                  </a:lnTo>
                  <a:lnTo>
                    <a:pt x="289" y="429"/>
                  </a:lnTo>
                  <a:lnTo>
                    <a:pt x="295" y="429"/>
                  </a:lnTo>
                  <a:lnTo>
                    <a:pt x="299" y="429"/>
                  </a:lnTo>
                  <a:lnTo>
                    <a:pt x="305" y="429"/>
                  </a:lnTo>
                  <a:lnTo>
                    <a:pt x="309" y="429"/>
                  </a:lnTo>
                  <a:lnTo>
                    <a:pt x="314" y="429"/>
                  </a:lnTo>
                  <a:lnTo>
                    <a:pt x="318" y="429"/>
                  </a:lnTo>
                  <a:lnTo>
                    <a:pt x="322" y="427"/>
                  </a:lnTo>
                  <a:lnTo>
                    <a:pt x="326" y="427"/>
                  </a:lnTo>
                  <a:lnTo>
                    <a:pt x="330" y="423"/>
                  </a:lnTo>
                  <a:lnTo>
                    <a:pt x="333" y="419"/>
                  </a:lnTo>
                  <a:lnTo>
                    <a:pt x="335" y="415"/>
                  </a:lnTo>
                  <a:lnTo>
                    <a:pt x="339" y="408"/>
                  </a:lnTo>
                  <a:lnTo>
                    <a:pt x="339" y="408"/>
                  </a:lnTo>
                  <a:lnTo>
                    <a:pt x="331" y="406"/>
                  </a:lnTo>
                  <a:lnTo>
                    <a:pt x="324" y="402"/>
                  </a:lnTo>
                  <a:lnTo>
                    <a:pt x="316" y="394"/>
                  </a:lnTo>
                  <a:lnTo>
                    <a:pt x="309" y="385"/>
                  </a:lnTo>
                  <a:lnTo>
                    <a:pt x="303" y="373"/>
                  </a:lnTo>
                  <a:lnTo>
                    <a:pt x="297" y="364"/>
                  </a:lnTo>
                  <a:lnTo>
                    <a:pt x="293" y="353"/>
                  </a:lnTo>
                  <a:lnTo>
                    <a:pt x="293" y="343"/>
                  </a:lnTo>
                  <a:lnTo>
                    <a:pt x="293" y="343"/>
                  </a:lnTo>
                  <a:lnTo>
                    <a:pt x="293" y="337"/>
                  </a:lnTo>
                  <a:lnTo>
                    <a:pt x="293" y="333"/>
                  </a:lnTo>
                  <a:lnTo>
                    <a:pt x="295" y="330"/>
                  </a:lnTo>
                  <a:lnTo>
                    <a:pt x="297" y="326"/>
                  </a:lnTo>
                  <a:lnTo>
                    <a:pt x="299" y="322"/>
                  </a:lnTo>
                  <a:lnTo>
                    <a:pt x="301" y="318"/>
                  </a:lnTo>
                  <a:lnTo>
                    <a:pt x="301" y="314"/>
                  </a:lnTo>
                  <a:lnTo>
                    <a:pt x="301" y="312"/>
                  </a:lnTo>
                  <a:lnTo>
                    <a:pt x="301" y="312"/>
                  </a:lnTo>
                  <a:lnTo>
                    <a:pt x="301" y="309"/>
                  </a:lnTo>
                  <a:lnTo>
                    <a:pt x="301" y="305"/>
                  </a:lnTo>
                  <a:lnTo>
                    <a:pt x="301" y="303"/>
                  </a:lnTo>
                  <a:lnTo>
                    <a:pt x="301" y="303"/>
                  </a:lnTo>
                  <a:lnTo>
                    <a:pt x="301" y="301"/>
                  </a:lnTo>
                  <a:lnTo>
                    <a:pt x="301" y="299"/>
                  </a:lnTo>
                  <a:lnTo>
                    <a:pt x="301" y="297"/>
                  </a:lnTo>
                  <a:lnTo>
                    <a:pt x="301" y="293"/>
                  </a:lnTo>
                  <a:lnTo>
                    <a:pt x="301" y="293"/>
                  </a:lnTo>
                  <a:lnTo>
                    <a:pt x="301" y="291"/>
                  </a:lnTo>
                  <a:lnTo>
                    <a:pt x="303" y="288"/>
                  </a:lnTo>
                  <a:lnTo>
                    <a:pt x="303" y="286"/>
                  </a:lnTo>
                  <a:lnTo>
                    <a:pt x="303" y="280"/>
                  </a:lnTo>
                  <a:lnTo>
                    <a:pt x="305" y="276"/>
                  </a:lnTo>
                  <a:lnTo>
                    <a:pt x="305" y="272"/>
                  </a:lnTo>
                  <a:lnTo>
                    <a:pt x="305" y="269"/>
                  </a:lnTo>
                  <a:lnTo>
                    <a:pt x="307" y="263"/>
                  </a:lnTo>
                  <a:lnTo>
                    <a:pt x="307" y="259"/>
                  </a:lnTo>
                  <a:lnTo>
                    <a:pt x="309" y="253"/>
                  </a:lnTo>
                  <a:lnTo>
                    <a:pt x="309" y="248"/>
                  </a:lnTo>
                  <a:lnTo>
                    <a:pt x="309" y="244"/>
                  </a:lnTo>
                  <a:lnTo>
                    <a:pt x="309" y="238"/>
                  </a:lnTo>
                  <a:lnTo>
                    <a:pt x="310" y="234"/>
                  </a:lnTo>
                  <a:lnTo>
                    <a:pt x="310" y="230"/>
                  </a:lnTo>
                  <a:lnTo>
                    <a:pt x="310" y="225"/>
                  </a:lnTo>
                  <a:lnTo>
                    <a:pt x="310" y="225"/>
                  </a:lnTo>
                  <a:lnTo>
                    <a:pt x="309" y="219"/>
                  </a:lnTo>
                  <a:lnTo>
                    <a:pt x="307" y="213"/>
                  </a:lnTo>
                  <a:lnTo>
                    <a:pt x="303" y="209"/>
                  </a:lnTo>
                  <a:lnTo>
                    <a:pt x="301" y="206"/>
                  </a:lnTo>
                  <a:lnTo>
                    <a:pt x="297" y="204"/>
                  </a:lnTo>
                  <a:lnTo>
                    <a:pt x="293" y="200"/>
                  </a:lnTo>
                  <a:lnTo>
                    <a:pt x="291" y="196"/>
                  </a:lnTo>
                  <a:lnTo>
                    <a:pt x="289" y="190"/>
                  </a:lnTo>
                  <a:lnTo>
                    <a:pt x="289" y="190"/>
                  </a:lnTo>
                  <a:lnTo>
                    <a:pt x="289" y="185"/>
                  </a:lnTo>
                  <a:lnTo>
                    <a:pt x="291" y="179"/>
                  </a:lnTo>
                  <a:lnTo>
                    <a:pt x="293" y="175"/>
                  </a:lnTo>
                  <a:lnTo>
                    <a:pt x="295" y="169"/>
                  </a:lnTo>
                  <a:lnTo>
                    <a:pt x="299" y="166"/>
                  </a:lnTo>
                  <a:lnTo>
                    <a:pt x="299" y="162"/>
                  </a:lnTo>
                  <a:lnTo>
                    <a:pt x="301" y="158"/>
                  </a:lnTo>
                  <a:lnTo>
                    <a:pt x="301" y="152"/>
                  </a:lnTo>
                  <a:lnTo>
                    <a:pt x="301" y="152"/>
                  </a:lnTo>
                  <a:lnTo>
                    <a:pt x="301" y="148"/>
                  </a:lnTo>
                  <a:lnTo>
                    <a:pt x="299" y="143"/>
                  </a:lnTo>
                  <a:lnTo>
                    <a:pt x="295" y="141"/>
                  </a:lnTo>
                  <a:lnTo>
                    <a:pt x="293" y="135"/>
                  </a:lnTo>
                  <a:lnTo>
                    <a:pt x="289" y="131"/>
                  </a:lnTo>
                  <a:lnTo>
                    <a:pt x="288" y="125"/>
                  </a:lnTo>
                  <a:lnTo>
                    <a:pt x="286" y="120"/>
                  </a:lnTo>
                  <a:lnTo>
                    <a:pt x="284" y="114"/>
                  </a:lnTo>
                  <a:lnTo>
                    <a:pt x="284" y="114"/>
                  </a:lnTo>
                  <a:lnTo>
                    <a:pt x="284" y="106"/>
                  </a:lnTo>
                  <a:lnTo>
                    <a:pt x="284" y="101"/>
                  </a:lnTo>
                  <a:lnTo>
                    <a:pt x="284" y="97"/>
                  </a:lnTo>
                  <a:lnTo>
                    <a:pt x="284" y="93"/>
                  </a:lnTo>
                  <a:lnTo>
                    <a:pt x="284" y="91"/>
                  </a:lnTo>
                  <a:lnTo>
                    <a:pt x="284" y="89"/>
                  </a:lnTo>
                  <a:lnTo>
                    <a:pt x="284" y="85"/>
                  </a:lnTo>
                  <a:lnTo>
                    <a:pt x="284" y="82"/>
                  </a:lnTo>
                  <a:lnTo>
                    <a:pt x="284" y="82"/>
                  </a:lnTo>
                  <a:lnTo>
                    <a:pt x="284" y="76"/>
                  </a:lnTo>
                  <a:lnTo>
                    <a:pt x="280" y="70"/>
                  </a:lnTo>
                  <a:lnTo>
                    <a:pt x="276" y="64"/>
                  </a:lnTo>
                  <a:lnTo>
                    <a:pt x="272" y="59"/>
                  </a:lnTo>
                  <a:lnTo>
                    <a:pt x="269" y="53"/>
                  </a:lnTo>
                  <a:lnTo>
                    <a:pt x="265" y="45"/>
                  </a:lnTo>
                  <a:lnTo>
                    <a:pt x="261" y="38"/>
                  </a:lnTo>
                  <a:lnTo>
                    <a:pt x="261" y="28"/>
                  </a:lnTo>
                  <a:lnTo>
                    <a:pt x="261" y="28"/>
                  </a:lnTo>
                  <a:lnTo>
                    <a:pt x="261" y="26"/>
                  </a:lnTo>
                  <a:lnTo>
                    <a:pt x="261" y="24"/>
                  </a:lnTo>
                  <a:lnTo>
                    <a:pt x="261" y="21"/>
                  </a:lnTo>
                  <a:lnTo>
                    <a:pt x="261" y="19"/>
                  </a:lnTo>
                  <a:lnTo>
                    <a:pt x="261" y="17"/>
                  </a:lnTo>
                  <a:lnTo>
                    <a:pt x="263" y="15"/>
                  </a:lnTo>
                  <a:lnTo>
                    <a:pt x="263" y="13"/>
                  </a:lnTo>
                  <a:lnTo>
                    <a:pt x="263" y="11"/>
                  </a:lnTo>
                  <a:lnTo>
                    <a:pt x="267" y="13"/>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97" name="Freeform 41"/>
            <p:cNvSpPr>
              <a:spLocks/>
            </p:cNvSpPr>
            <p:nvPr/>
          </p:nvSpPr>
          <p:spPr bwMode="gray">
            <a:xfrm>
              <a:off x="1176" y="1877"/>
              <a:ext cx="276" cy="278"/>
            </a:xfrm>
            <a:custGeom>
              <a:avLst/>
              <a:gdLst/>
              <a:ahLst/>
              <a:cxnLst>
                <a:cxn ang="0">
                  <a:pos x="470" y="96"/>
                </a:cxn>
                <a:cxn ang="0">
                  <a:pos x="479" y="130"/>
                </a:cxn>
                <a:cxn ang="0">
                  <a:pos x="487" y="166"/>
                </a:cxn>
                <a:cxn ang="0">
                  <a:pos x="483" y="197"/>
                </a:cxn>
                <a:cxn ang="0">
                  <a:pos x="468" y="225"/>
                </a:cxn>
                <a:cxn ang="0">
                  <a:pos x="454" y="254"/>
                </a:cxn>
                <a:cxn ang="0">
                  <a:pos x="456" y="287"/>
                </a:cxn>
                <a:cxn ang="0">
                  <a:pos x="445" y="315"/>
                </a:cxn>
                <a:cxn ang="0">
                  <a:pos x="428" y="348"/>
                </a:cxn>
                <a:cxn ang="0">
                  <a:pos x="433" y="378"/>
                </a:cxn>
                <a:cxn ang="0">
                  <a:pos x="450" y="401"/>
                </a:cxn>
                <a:cxn ang="0">
                  <a:pos x="464" y="420"/>
                </a:cxn>
                <a:cxn ang="0">
                  <a:pos x="464" y="449"/>
                </a:cxn>
                <a:cxn ang="0">
                  <a:pos x="460" y="460"/>
                </a:cxn>
                <a:cxn ang="0">
                  <a:pos x="449" y="458"/>
                </a:cxn>
                <a:cxn ang="0">
                  <a:pos x="418" y="456"/>
                </a:cxn>
                <a:cxn ang="0">
                  <a:pos x="380" y="451"/>
                </a:cxn>
                <a:cxn ang="0">
                  <a:pos x="353" y="449"/>
                </a:cxn>
                <a:cxn ang="0">
                  <a:pos x="321" y="449"/>
                </a:cxn>
                <a:cxn ang="0">
                  <a:pos x="294" y="449"/>
                </a:cxn>
                <a:cxn ang="0">
                  <a:pos x="265" y="451"/>
                </a:cxn>
                <a:cxn ang="0">
                  <a:pos x="223" y="454"/>
                </a:cxn>
                <a:cxn ang="0">
                  <a:pos x="187" y="464"/>
                </a:cxn>
                <a:cxn ang="0">
                  <a:pos x="157" y="475"/>
                </a:cxn>
                <a:cxn ang="0">
                  <a:pos x="122" y="496"/>
                </a:cxn>
                <a:cxn ang="0">
                  <a:pos x="86" y="508"/>
                </a:cxn>
                <a:cxn ang="0">
                  <a:pos x="73" y="494"/>
                </a:cxn>
                <a:cxn ang="0">
                  <a:pos x="71" y="464"/>
                </a:cxn>
                <a:cxn ang="0">
                  <a:pos x="84" y="433"/>
                </a:cxn>
                <a:cxn ang="0">
                  <a:pos x="71" y="393"/>
                </a:cxn>
                <a:cxn ang="0">
                  <a:pos x="56" y="370"/>
                </a:cxn>
                <a:cxn ang="0">
                  <a:pos x="16" y="357"/>
                </a:cxn>
                <a:cxn ang="0">
                  <a:pos x="2" y="353"/>
                </a:cxn>
                <a:cxn ang="0">
                  <a:pos x="2" y="340"/>
                </a:cxn>
                <a:cxn ang="0">
                  <a:pos x="4" y="330"/>
                </a:cxn>
                <a:cxn ang="0">
                  <a:pos x="23" y="300"/>
                </a:cxn>
                <a:cxn ang="0">
                  <a:pos x="19" y="267"/>
                </a:cxn>
                <a:cxn ang="0">
                  <a:pos x="23" y="243"/>
                </a:cxn>
                <a:cxn ang="0">
                  <a:pos x="50" y="212"/>
                </a:cxn>
                <a:cxn ang="0">
                  <a:pos x="40" y="195"/>
                </a:cxn>
                <a:cxn ang="0">
                  <a:pos x="37" y="178"/>
                </a:cxn>
                <a:cxn ang="0">
                  <a:pos x="50" y="166"/>
                </a:cxn>
                <a:cxn ang="0">
                  <a:pos x="67" y="172"/>
                </a:cxn>
                <a:cxn ang="0">
                  <a:pos x="77" y="166"/>
                </a:cxn>
                <a:cxn ang="0">
                  <a:pos x="63" y="142"/>
                </a:cxn>
                <a:cxn ang="0">
                  <a:pos x="61" y="122"/>
                </a:cxn>
                <a:cxn ang="0">
                  <a:pos x="61" y="113"/>
                </a:cxn>
                <a:cxn ang="0">
                  <a:pos x="54" y="84"/>
                </a:cxn>
                <a:cxn ang="0">
                  <a:pos x="69" y="37"/>
                </a:cxn>
                <a:cxn ang="0">
                  <a:pos x="107" y="19"/>
                </a:cxn>
                <a:cxn ang="0">
                  <a:pos x="134" y="33"/>
                </a:cxn>
                <a:cxn ang="0">
                  <a:pos x="164" y="21"/>
                </a:cxn>
                <a:cxn ang="0">
                  <a:pos x="178" y="2"/>
                </a:cxn>
                <a:cxn ang="0">
                  <a:pos x="204" y="0"/>
                </a:cxn>
                <a:cxn ang="0">
                  <a:pos x="210" y="23"/>
                </a:cxn>
                <a:cxn ang="0">
                  <a:pos x="227" y="35"/>
                </a:cxn>
                <a:cxn ang="0">
                  <a:pos x="262" y="19"/>
                </a:cxn>
                <a:cxn ang="0">
                  <a:pos x="292" y="27"/>
                </a:cxn>
                <a:cxn ang="0">
                  <a:pos x="313" y="58"/>
                </a:cxn>
                <a:cxn ang="0">
                  <a:pos x="347" y="75"/>
                </a:cxn>
                <a:cxn ang="0">
                  <a:pos x="387" y="65"/>
                </a:cxn>
                <a:cxn ang="0">
                  <a:pos x="433" y="65"/>
                </a:cxn>
                <a:cxn ang="0">
                  <a:pos x="470" y="101"/>
                </a:cxn>
              </a:cxnLst>
              <a:rect l="0" t="0" r="r" b="b"/>
              <a:pathLst>
                <a:path w="487" h="508">
                  <a:moveTo>
                    <a:pt x="466" y="79"/>
                  </a:moveTo>
                  <a:lnTo>
                    <a:pt x="466" y="79"/>
                  </a:lnTo>
                  <a:lnTo>
                    <a:pt x="466" y="79"/>
                  </a:lnTo>
                  <a:lnTo>
                    <a:pt x="468" y="84"/>
                  </a:lnTo>
                  <a:lnTo>
                    <a:pt x="468" y="90"/>
                  </a:lnTo>
                  <a:lnTo>
                    <a:pt x="470" y="96"/>
                  </a:lnTo>
                  <a:lnTo>
                    <a:pt x="470" y="103"/>
                  </a:lnTo>
                  <a:lnTo>
                    <a:pt x="471" y="109"/>
                  </a:lnTo>
                  <a:lnTo>
                    <a:pt x="473" y="115"/>
                  </a:lnTo>
                  <a:lnTo>
                    <a:pt x="475" y="119"/>
                  </a:lnTo>
                  <a:lnTo>
                    <a:pt x="477" y="126"/>
                  </a:lnTo>
                  <a:lnTo>
                    <a:pt x="479" y="130"/>
                  </a:lnTo>
                  <a:lnTo>
                    <a:pt x="481" y="136"/>
                  </a:lnTo>
                  <a:lnTo>
                    <a:pt x="483" y="142"/>
                  </a:lnTo>
                  <a:lnTo>
                    <a:pt x="485" y="147"/>
                  </a:lnTo>
                  <a:lnTo>
                    <a:pt x="485" y="153"/>
                  </a:lnTo>
                  <a:lnTo>
                    <a:pt x="487" y="161"/>
                  </a:lnTo>
                  <a:lnTo>
                    <a:pt x="487" y="166"/>
                  </a:lnTo>
                  <a:lnTo>
                    <a:pt x="487" y="172"/>
                  </a:lnTo>
                  <a:lnTo>
                    <a:pt x="487" y="172"/>
                  </a:lnTo>
                  <a:lnTo>
                    <a:pt x="487" y="178"/>
                  </a:lnTo>
                  <a:lnTo>
                    <a:pt x="487" y="185"/>
                  </a:lnTo>
                  <a:lnTo>
                    <a:pt x="485" y="191"/>
                  </a:lnTo>
                  <a:lnTo>
                    <a:pt x="483" y="197"/>
                  </a:lnTo>
                  <a:lnTo>
                    <a:pt x="481" y="201"/>
                  </a:lnTo>
                  <a:lnTo>
                    <a:pt x="479" y="206"/>
                  </a:lnTo>
                  <a:lnTo>
                    <a:pt x="475" y="212"/>
                  </a:lnTo>
                  <a:lnTo>
                    <a:pt x="473" y="216"/>
                  </a:lnTo>
                  <a:lnTo>
                    <a:pt x="470" y="222"/>
                  </a:lnTo>
                  <a:lnTo>
                    <a:pt x="468" y="225"/>
                  </a:lnTo>
                  <a:lnTo>
                    <a:pt x="464" y="229"/>
                  </a:lnTo>
                  <a:lnTo>
                    <a:pt x="462" y="235"/>
                  </a:lnTo>
                  <a:lnTo>
                    <a:pt x="460" y="239"/>
                  </a:lnTo>
                  <a:lnTo>
                    <a:pt x="458" y="245"/>
                  </a:lnTo>
                  <a:lnTo>
                    <a:pt x="456" y="250"/>
                  </a:lnTo>
                  <a:lnTo>
                    <a:pt x="454" y="254"/>
                  </a:lnTo>
                  <a:lnTo>
                    <a:pt x="454" y="254"/>
                  </a:lnTo>
                  <a:lnTo>
                    <a:pt x="454" y="260"/>
                  </a:lnTo>
                  <a:lnTo>
                    <a:pt x="454" y="266"/>
                  </a:lnTo>
                  <a:lnTo>
                    <a:pt x="454" y="273"/>
                  </a:lnTo>
                  <a:lnTo>
                    <a:pt x="456" y="279"/>
                  </a:lnTo>
                  <a:lnTo>
                    <a:pt x="456" y="287"/>
                  </a:lnTo>
                  <a:lnTo>
                    <a:pt x="456" y="294"/>
                  </a:lnTo>
                  <a:lnTo>
                    <a:pt x="454" y="300"/>
                  </a:lnTo>
                  <a:lnTo>
                    <a:pt x="452" y="306"/>
                  </a:lnTo>
                  <a:lnTo>
                    <a:pt x="452" y="306"/>
                  </a:lnTo>
                  <a:lnTo>
                    <a:pt x="449" y="311"/>
                  </a:lnTo>
                  <a:lnTo>
                    <a:pt x="445" y="315"/>
                  </a:lnTo>
                  <a:lnTo>
                    <a:pt x="441" y="319"/>
                  </a:lnTo>
                  <a:lnTo>
                    <a:pt x="437" y="321"/>
                  </a:lnTo>
                  <a:lnTo>
                    <a:pt x="433" y="325"/>
                  </a:lnTo>
                  <a:lnTo>
                    <a:pt x="431" y="330"/>
                  </a:lnTo>
                  <a:lnTo>
                    <a:pt x="429" y="336"/>
                  </a:lnTo>
                  <a:lnTo>
                    <a:pt x="428" y="348"/>
                  </a:lnTo>
                  <a:lnTo>
                    <a:pt x="428" y="348"/>
                  </a:lnTo>
                  <a:lnTo>
                    <a:pt x="429" y="353"/>
                  </a:lnTo>
                  <a:lnTo>
                    <a:pt x="429" y="361"/>
                  </a:lnTo>
                  <a:lnTo>
                    <a:pt x="431" y="367"/>
                  </a:lnTo>
                  <a:lnTo>
                    <a:pt x="431" y="372"/>
                  </a:lnTo>
                  <a:lnTo>
                    <a:pt x="433" y="378"/>
                  </a:lnTo>
                  <a:lnTo>
                    <a:pt x="435" y="382"/>
                  </a:lnTo>
                  <a:lnTo>
                    <a:pt x="439" y="386"/>
                  </a:lnTo>
                  <a:lnTo>
                    <a:pt x="441" y="390"/>
                  </a:lnTo>
                  <a:lnTo>
                    <a:pt x="445" y="393"/>
                  </a:lnTo>
                  <a:lnTo>
                    <a:pt x="447" y="397"/>
                  </a:lnTo>
                  <a:lnTo>
                    <a:pt x="450" y="401"/>
                  </a:lnTo>
                  <a:lnTo>
                    <a:pt x="452" y="405"/>
                  </a:lnTo>
                  <a:lnTo>
                    <a:pt x="456" y="409"/>
                  </a:lnTo>
                  <a:lnTo>
                    <a:pt x="458" y="412"/>
                  </a:lnTo>
                  <a:lnTo>
                    <a:pt x="462" y="416"/>
                  </a:lnTo>
                  <a:lnTo>
                    <a:pt x="464" y="420"/>
                  </a:lnTo>
                  <a:lnTo>
                    <a:pt x="464" y="420"/>
                  </a:lnTo>
                  <a:lnTo>
                    <a:pt x="464" y="422"/>
                  </a:lnTo>
                  <a:lnTo>
                    <a:pt x="464" y="426"/>
                  </a:lnTo>
                  <a:lnTo>
                    <a:pt x="464" y="432"/>
                  </a:lnTo>
                  <a:lnTo>
                    <a:pt x="464" y="437"/>
                  </a:lnTo>
                  <a:lnTo>
                    <a:pt x="464" y="443"/>
                  </a:lnTo>
                  <a:lnTo>
                    <a:pt x="464" y="449"/>
                  </a:lnTo>
                  <a:lnTo>
                    <a:pt x="466" y="454"/>
                  </a:lnTo>
                  <a:lnTo>
                    <a:pt x="466" y="458"/>
                  </a:lnTo>
                  <a:lnTo>
                    <a:pt x="466" y="458"/>
                  </a:lnTo>
                  <a:lnTo>
                    <a:pt x="464" y="460"/>
                  </a:lnTo>
                  <a:lnTo>
                    <a:pt x="462" y="460"/>
                  </a:lnTo>
                  <a:lnTo>
                    <a:pt x="460" y="460"/>
                  </a:lnTo>
                  <a:lnTo>
                    <a:pt x="458" y="460"/>
                  </a:lnTo>
                  <a:lnTo>
                    <a:pt x="456" y="460"/>
                  </a:lnTo>
                  <a:lnTo>
                    <a:pt x="452" y="458"/>
                  </a:lnTo>
                  <a:lnTo>
                    <a:pt x="450" y="458"/>
                  </a:lnTo>
                  <a:lnTo>
                    <a:pt x="449" y="458"/>
                  </a:lnTo>
                  <a:lnTo>
                    <a:pt x="449" y="458"/>
                  </a:lnTo>
                  <a:lnTo>
                    <a:pt x="445" y="458"/>
                  </a:lnTo>
                  <a:lnTo>
                    <a:pt x="441" y="458"/>
                  </a:lnTo>
                  <a:lnTo>
                    <a:pt x="435" y="458"/>
                  </a:lnTo>
                  <a:lnTo>
                    <a:pt x="429" y="458"/>
                  </a:lnTo>
                  <a:lnTo>
                    <a:pt x="426" y="456"/>
                  </a:lnTo>
                  <a:lnTo>
                    <a:pt x="418" y="456"/>
                  </a:lnTo>
                  <a:lnTo>
                    <a:pt x="412" y="456"/>
                  </a:lnTo>
                  <a:lnTo>
                    <a:pt x="407" y="454"/>
                  </a:lnTo>
                  <a:lnTo>
                    <a:pt x="401" y="453"/>
                  </a:lnTo>
                  <a:lnTo>
                    <a:pt x="393" y="453"/>
                  </a:lnTo>
                  <a:lnTo>
                    <a:pt x="387" y="453"/>
                  </a:lnTo>
                  <a:lnTo>
                    <a:pt x="380" y="451"/>
                  </a:lnTo>
                  <a:lnTo>
                    <a:pt x="374" y="451"/>
                  </a:lnTo>
                  <a:lnTo>
                    <a:pt x="368" y="451"/>
                  </a:lnTo>
                  <a:lnTo>
                    <a:pt x="363" y="449"/>
                  </a:lnTo>
                  <a:lnTo>
                    <a:pt x="357" y="449"/>
                  </a:lnTo>
                  <a:lnTo>
                    <a:pt x="357" y="449"/>
                  </a:lnTo>
                  <a:lnTo>
                    <a:pt x="353" y="449"/>
                  </a:lnTo>
                  <a:lnTo>
                    <a:pt x="347" y="449"/>
                  </a:lnTo>
                  <a:lnTo>
                    <a:pt x="342" y="449"/>
                  </a:lnTo>
                  <a:lnTo>
                    <a:pt x="336" y="449"/>
                  </a:lnTo>
                  <a:lnTo>
                    <a:pt x="332" y="449"/>
                  </a:lnTo>
                  <a:lnTo>
                    <a:pt x="326" y="449"/>
                  </a:lnTo>
                  <a:lnTo>
                    <a:pt x="321" y="449"/>
                  </a:lnTo>
                  <a:lnTo>
                    <a:pt x="317" y="449"/>
                  </a:lnTo>
                  <a:lnTo>
                    <a:pt x="311" y="449"/>
                  </a:lnTo>
                  <a:lnTo>
                    <a:pt x="307" y="449"/>
                  </a:lnTo>
                  <a:lnTo>
                    <a:pt x="304" y="449"/>
                  </a:lnTo>
                  <a:lnTo>
                    <a:pt x="298" y="449"/>
                  </a:lnTo>
                  <a:lnTo>
                    <a:pt x="294" y="449"/>
                  </a:lnTo>
                  <a:lnTo>
                    <a:pt x="290" y="449"/>
                  </a:lnTo>
                  <a:lnTo>
                    <a:pt x="284" y="449"/>
                  </a:lnTo>
                  <a:lnTo>
                    <a:pt x="281" y="449"/>
                  </a:lnTo>
                  <a:lnTo>
                    <a:pt x="281" y="449"/>
                  </a:lnTo>
                  <a:lnTo>
                    <a:pt x="273" y="449"/>
                  </a:lnTo>
                  <a:lnTo>
                    <a:pt x="265" y="451"/>
                  </a:lnTo>
                  <a:lnTo>
                    <a:pt x="258" y="451"/>
                  </a:lnTo>
                  <a:lnTo>
                    <a:pt x="250" y="451"/>
                  </a:lnTo>
                  <a:lnTo>
                    <a:pt x="243" y="451"/>
                  </a:lnTo>
                  <a:lnTo>
                    <a:pt x="237" y="453"/>
                  </a:lnTo>
                  <a:lnTo>
                    <a:pt x="229" y="453"/>
                  </a:lnTo>
                  <a:lnTo>
                    <a:pt x="223" y="454"/>
                  </a:lnTo>
                  <a:lnTo>
                    <a:pt x="218" y="456"/>
                  </a:lnTo>
                  <a:lnTo>
                    <a:pt x="210" y="456"/>
                  </a:lnTo>
                  <a:lnTo>
                    <a:pt x="204" y="458"/>
                  </a:lnTo>
                  <a:lnTo>
                    <a:pt x="199" y="460"/>
                  </a:lnTo>
                  <a:lnTo>
                    <a:pt x="193" y="462"/>
                  </a:lnTo>
                  <a:lnTo>
                    <a:pt x="187" y="464"/>
                  </a:lnTo>
                  <a:lnTo>
                    <a:pt x="180" y="466"/>
                  </a:lnTo>
                  <a:lnTo>
                    <a:pt x="174" y="468"/>
                  </a:lnTo>
                  <a:lnTo>
                    <a:pt x="174" y="468"/>
                  </a:lnTo>
                  <a:lnTo>
                    <a:pt x="168" y="470"/>
                  </a:lnTo>
                  <a:lnTo>
                    <a:pt x="162" y="473"/>
                  </a:lnTo>
                  <a:lnTo>
                    <a:pt x="157" y="475"/>
                  </a:lnTo>
                  <a:lnTo>
                    <a:pt x="151" y="479"/>
                  </a:lnTo>
                  <a:lnTo>
                    <a:pt x="145" y="483"/>
                  </a:lnTo>
                  <a:lnTo>
                    <a:pt x="140" y="485"/>
                  </a:lnTo>
                  <a:lnTo>
                    <a:pt x="134" y="489"/>
                  </a:lnTo>
                  <a:lnTo>
                    <a:pt x="128" y="493"/>
                  </a:lnTo>
                  <a:lnTo>
                    <a:pt x="122" y="496"/>
                  </a:lnTo>
                  <a:lnTo>
                    <a:pt x="117" y="498"/>
                  </a:lnTo>
                  <a:lnTo>
                    <a:pt x="111" y="502"/>
                  </a:lnTo>
                  <a:lnTo>
                    <a:pt x="105" y="504"/>
                  </a:lnTo>
                  <a:lnTo>
                    <a:pt x="99" y="506"/>
                  </a:lnTo>
                  <a:lnTo>
                    <a:pt x="94" y="508"/>
                  </a:lnTo>
                  <a:lnTo>
                    <a:pt x="86" y="508"/>
                  </a:lnTo>
                  <a:lnTo>
                    <a:pt x="80" y="508"/>
                  </a:lnTo>
                  <a:lnTo>
                    <a:pt x="80" y="508"/>
                  </a:lnTo>
                  <a:lnTo>
                    <a:pt x="77" y="508"/>
                  </a:lnTo>
                  <a:lnTo>
                    <a:pt x="75" y="504"/>
                  </a:lnTo>
                  <a:lnTo>
                    <a:pt x="75" y="500"/>
                  </a:lnTo>
                  <a:lnTo>
                    <a:pt x="73" y="494"/>
                  </a:lnTo>
                  <a:lnTo>
                    <a:pt x="71" y="487"/>
                  </a:lnTo>
                  <a:lnTo>
                    <a:pt x="71" y="481"/>
                  </a:lnTo>
                  <a:lnTo>
                    <a:pt x="71" y="475"/>
                  </a:lnTo>
                  <a:lnTo>
                    <a:pt x="71" y="472"/>
                  </a:lnTo>
                  <a:lnTo>
                    <a:pt x="71" y="472"/>
                  </a:lnTo>
                  <a:lnTo>
                    <a:pt x="71" y="464"/>
                  </a:lnTo>
                  <a:lnTo>
                    <a:pt x="73" y="458"/>
                  </a:lnTo>
                  <a:lnTo>
                    <a:pt x="75" y="453"/>
                  </a:lnTo>
                  <a:lnTo>
                    <a:pt x="77" y="447"/>
                  </a:lnTo>
                  <a:lnTo>
                    <a:pt x="78" y="441"/>
                  </a:lnTo>
                  <a:lnTo>
                    <a:pt x="82" y="437"/>
                  </a:lnTo>
                  <a:lnTo>
                    <a:pt x="84" y="433"/>
                  </a:lnTo>
                  <a:lnTo>
                    <a:pt x="86" y="430"/>
                  </a:lnTo>
                  <a:lnTo>
                    <a:pt x="86" y="403"/>
                  </a:lnTo>
                  <a:lnTo>
                    <a:pt x="86" y="403"/>
                  </a:lnTo>
                  <a:lnTo>
                    <a:pt x="80" y="399"/>
                  </a:lnTo>
                  <a:lnTo>
                    <a:pt x="75" y="397"/>
                  </a:lnTo>
                  <a:lnTo>
                    <a:pt x="71" y="393"/>
                  </a:lnTo>
                  <a:lnTo>
                    <a:pt x="69" y="388"/>
                  </a:lnTo>
                  <a:lnTo>
                    <a:pt x="67" y="384"/>
                  </a:lnTo>
                  <a:lnTo>
                    <a:pt x="63" y="378"/>
                  </a:lnTo>
                  <a:lnTo>
                    <a:pt x="61" y="374"/>
                  </a:lnTo>
                  <a:lnTo>
                    <a:pt x="56" y="370"/>
                  </a:lnTo>
                  <a:lnTo>
                    <a:pt x="56" y="370"/>
                  </a:lnTo>
                  <a:lnTo>
                    <a:pt x="48" y="365"/>
                  </a:lnTo>
                  <a:lnTo>
                    <a:pt x="40" y="361"/>
                  </a:lnTo>
                  <a:lnTo>
                    <a:pt x="35" y="359"/>
                  </a:lnTo>
                  <a:lnTo>
                    <a:pt x="29" y="357"/>
                  </a:lnTo>
                  <a:lnTo>
                    <a:pt x="23" y="357"/>
                  </a:lnTo>
                  <a:lnTo>
                    <a:pt x="16" y="357"/>
                  </a:lnTo>
                  <a:lnTo>
                    <a:pt x="8" y="355"/>
                  </a:lnTo>
                  <a:lnTo>
                    <a:pt x="0" y="353"/>
                  </a:lnTo>
                  <a:lnTo>
                    <a:pt x="0" y="353"/>
                  </a:lnTo>
                  <a:lnTo>
                    <a:pt x="2" y="353"/>
                  </a:lnTo>
                  <a:lnTo>
                    <a:pt x="2" y="353"/>
                  </a:lnTo>
                  <a:lnTo>
                    <a:pt x="2" y="353"/>
                  </a:lnTo>
                  <a:lnTo>
                    <a:pt x="4" y="353"/>
                  </a:lnTo>
                  <a:lnTo>
                    <a:pt x="4" y="353"/>
                  </a:lnTo>
                  <a:lnTo>
                    <a:pt x="2" y="349"/>
                  </a:lnTo>
                  <a:lnTo>
                    <a:pt x="2" y="346"/>
                  </a:lnTo>
                  <a:lnTo>
                    <a:pt x="2" y="344"/>
                  </a:lnTo>
                  <a:lnTo>
                    <a:pt x="2" y="340"/>
                  </a:lnTo>
                  <a:lnTo>
                    <a:pt x="2" y="338"/>
                  </a:lnTo>
                  <a:lnTo>
                    <a:pt x="4" y="338"/>
                  </a:lnTo>
                  <a:lnTo>
                    <a:pt x="4" y="336"/>
                  </a:lnTo>
                  <a:lnTo>
                    <a:pt x="4" y="334"/>
                  </a:lnTo>
                  <a:lnTo>
                    <a:pt x="4" y="334"/>
                  </a:lnTo>
                  <a:lnTo>
                    <a:pt x="4" y="330"/>
                  </a:lnTo>
                  <a:lnTo>
                    <a:pt x="6" y="327"/>
                  </a:lnTo>
                  <a:lnTo>
                    <a:pt x="10" y="321"/>
                  </a:lnTo>
                  <a:lnTo>
                    <a:pt x="14" y="315"/>
                  </a:lnTo>
                  <a:lnTo>
                    <a:pt x="17" y="309"/>
                  </a:lnTo>
                  <a:lnTo>
                    <a:pt x="21" y="304"/>
                  </a:lnTo>
                  <a:lnTo>
                    <a:pt x="23" y="300"/>
                  </a:lnTo>
                  <a:lnTo>
                    <a:pt x="23" y="294"/>
                  </a:lnTo>
                  <a:lnTo>
                    <a:pt x="23" y="294"/>
                  </a:lnTo>
                  <a:lnTo>
                    <a:pt x="23" y="287"/>
                  </a:lnTo>
                  <a:lnTo>
                    <a:pt x="21" y="281"/>
                  </a:lnTo>
                  <a:lnTo>
                    <a:pt x="21" y="273"/>
                  </a:lnTo>
                  <a:lnTo>
                    <a:pt x="19" y="267"/>
                  </a:lnTo>
                  <a:lnTo>
                    <a:pt x="17" y="262"/>
                  </a:lnTo>
                  <a:lnTo>
                    <a:pt x="17" y="256"/>
                  </a:lnTo>
                  <a:lnTo>
                    <a:pt x="16" y="248"/>
                  </a:lnTo>
                  <a:lnTo>
                    <a:pt x="16" y="243"/>
                  </a:lnTo>
                  <a:lnTo>
                    <a:pt x="16" y="243"/>
                  </a:lnTo>
                  <a:lnTo>
                    <a:pt x="23" y="243"/>
                  </a:lnTo>
                  <a:lnTo>
                    <a:pt x="31" y="239"/>
                  </a:lnTo>
                  <a:lnTo>
                    <a:pt x="37" y="235"/>
                  </a:lnTo>
                  <a:lnTo>
                    <a:pt x="40" y="231"/>
                  </a:lnTo>
                  <a:lnTo>
                    <a:pt x="44" y="225"/>
                  </a:lnTo>
                  <a:lnTo>
                    <a:pt x="48" y="218"/>
                  </a:lnTo>
                  <a:lnTo>
                    <a:pt x="50" y="212"/>
                  </a:lnTo>
                  <a:lnTo>
                    <a:pt x="54" y="204"/>
                  </a:lnTo>
                  <a:lnTo>
                    <a:pt x="54" y="204"/>
                  </a:lnTo>
                  <a:lnTo>
                    <a:pt x="50" y="203"/>
                  </a:lnTo>
                  <a:lnTo>
                    <a:pt x="46" y="201"/>
                  </a:lnTo>
                  <a:lnTo>
                    <a:pt x="42" y="199"/>
                  </a:lnTo>
                  <a:lnTo>
                    <a:pt x="40" y="195"/>
                  </a:lnTo>
                  <a:lnTo>
                    <a:pt x="38" y="193"/>
                  </a:lnTo>
                  <a:lnTo>
                    <a:pt x="37" y="189"/>
                  </a:lnTo>
                  <a:lnTo>
                    <a:pt x="37" y="185"/>
                  </a:lnTo>
                  <a:lnTo>
                    <a:pt x="35" y="182"/>
                  </a:lnTo>
                  <a:lnTo>
                    <a:pt x="35" y="182"/>
                  </a:lnTo>
                  <a:lnTo>
                    <a:pt x="37" y="178"/>
                  </a:lnTo>
                  <a:lnTo>
                    <a:pt x="37" y="174"/>
                  </a:lnTo>
                  <a:lnTo>
                    <a:pt x="38" y="172"/>
                  </a:lnTo>
                  <a:lnTo>
                    <a:pt x="42" y="170"/>
                  </a:lnTo>
                  <a:lnTo>
                    <a:pt x="44" y="168"/>
                  </a:lnTo>
                  <a:lnTo>
                    <a:pt x="48" y="166"/>
                  </a:lnTo>
                  <a:lnTo>
                    <a:pt x="50" y="166"/>
                  </a:lnTo>
                  <a:lnTo>
                    <a:pt x="54" y="166"/>
                  </a:lnTo>
                  <a:lnTo>
                    <a:pt x="54" y="166"/>
                  </a:lnTo>
                  <a:lnTo>
                    <a:pt x="59" y="166"/>
                  </a:lnTo>
                  <a:lnTo>
                    <a:pt x="63" y="168"/>
                  </a:lnTo>
                  <a:lnTo>
                    <a:pt x="65" y="170"/>
                  </a:lnTo>
                  <a:lnTo>
                    <a:pt x="67" y="172"/>
                  </a:lnTo>
                  <a:lnTo>
                    <a:pt x="69" y="172"/>
                  </a:lnTo>
                  <a:lnTo>
                    <a:pt x="71" y="172"/>
                  </a:lnTo>
                  <a:lnTo>
                    <a:pt x="75" y="172"/>
                  </a:lnTo>
                  <a:lnTo>
                    <a:pt x="80" y="170"/>
                  </a:lnTo>
                  <a:lnTo>
                    <a:pt x="80" y="170"/>
                  </a:lnTo>
                  <a:lnTo>
                    <a:pt x="77" y="166"/>
                  </a:lnTo>
                  <a:lnTo>
                    <a:pt x="73" y="163"/>
                  </a:lnTo>
                  <a:lnTo>
                    <a:pt x="71" y="159"/>
                  </a:lnTo>
                  <a:lnTo>
                    <a:pt x="67" y="155"/>
                  </a:lnTo>
                  <a:lnTo>
                    <a:pt x="65" y="151"/>
                  </a:lnTo>
                  <a:lnTo>
                    <a:pt x="63" y="147"/>
                  </a:lnTo>
                  <a:lnTo>
                    <a:pt x="63" y="142"/>
                  </a:lnTo>
                  <a:lnTo>
                    <a:pt x="61" y="136"/>
                  </a:lnTo>
                  <a:lnTo>
                    <a:pt x="61" y="136"/>
                  </a:lnTo>
                  <a:lnTo>
                    <a:pt x="61" y="132"/>
                  </a:lnTo>
                  <a:lnTo>
                    <a:pt x="61" y="130"/>
                  </a:lnTo>
                  <a:lnTo>
                    <a:pt x="61" y="126"/>
                  </a:lnTo>
                  <a:lnTo>
                    <a:pt x="61" y="122"/>
                  </a:lnTo>
                  <a:lnTo>
                    <a:pt x="61" y="121"/>
                  </a:lnTo>
                  <a:lnTo>
                    <a:pt x="61" y="119"/>
                  </a:lnTo>
                  <a:lnTo>
                    <a:pt x="61" y="117"/>
                  </a:lnTo>
                  <a:lnTo>
                    <a:pt x="61" y="117"/>
                  </a:lnTo>
                  <a:lnTo>
                    <a:pt x="61" y="117"/>
                  </a:lnTo>
                  <a:lnTo>
                    <a:pt x="61" y="113"/>
                  </a:lnTo>
                  <a:lnTo>
                    <a:pt x="61" y="109"/>
                  </a:lnTo>
                  <a:lnTo>
                    <a:pt x="59" y="103"/>
                  </a:lnTo>
                  <a:lnTo>
                    <a:pt x="57" y="100"/>
                  </a:lnTo>
                  <a:lnTo>
                    <a:pt x="56" y="94"/>
                  </a:lnTo>
                  <a:lnTo>
                    <a:pt x="54" y="90"/>
                  </a:lnTo>
                  <a:lnTo>
                    <a:pt x="54" y="84"/>
                  </a:lnTo>
                  <a:lnTo>
                    <a:pt x="54" y="79"/>
                  </a:lnTo>
                  <a:lnTo>
                    <a:pt x="54" y="79"/>
                  </a:lnTo>
                  <a:lnTo>
                    <a:pt x="54" y="67"/>
                  </a:lnTo>
                  <a:lnTo>
                    <a:pt x="57" y="56"/>
                  </a:lnTo>
                  <a:lnTo>
                    <a:pt x="61" y="46"/>
                  </a:lnTo>
                  <a:lnTo>
                    <a:pt x="69" y="37"/>
                  </a:lnTo>
                  <a:lnTo>
                    <a:pt x="77" y="29"/>
                  </a:lnTo>
                  <a:lnTo>
                    <a:pt x="84" y="23"/>
                  </a:lnTo>
                  <a:lnTo>
                    <a:pt x="94" y="19"/>
                  </a:lnTo>
                  <a:lnTo>
                    <a:pt x="103" y="19"/>
                  </a:lnTo>
                  <a:lnTo>
                    <a:pt x="103" y="19"/>
                  </a:lnTo>
                  <a:lnTo>
                    <a:pt x="107" y="19"/>
                  </a:lnTo>
                  <a:lnTo>
                    <a:pt x="111" y="21"/>
                  </a:lnTo>
                  <a:lnTo>
                    <a:pt x="115" y="23"/>
                  </a:lnTo>
                  <a:lnTo>
                    <a:pt x="119" y="25"/>
                  </a:lnTo>
                  <a:lnTo>
                    <a:pt x="122" y="29"/>
                  </a:lnTo>
                  <a:lnTo>
                    <a:pt x="128" y="31"/>
                  </a:lnTo>
                  <a:lnTo>
                    <a:pt x="134" y="33"/>
                  </a:lnTo>
                  <a:lnTo>
                    <a:pt x="140" y="35"/>
                  </a:lnTo>
                  <a:lnTo>
                    <a:pt x="140" y="35"/>
                  </a:lnTo>
                  <a:lnTo>
                    <a:pt x="149" y="33"/>
                  </a:lnTo>
                  <a:lnTo>
                    <a:pt x="155" y="31"/>
                  </a:lnTo>
                  <a:lnTo>
                    <a:pt x="160" y="27"/>
                  </a:lnTo>
                  <a:lnTo>
                    <a:pt x="164" y="21"/>
                  </a:lnTo>
                  <a:lnTo>
                    <a:pt x="166" y="18"/>
                  </a:lnTo>
                  <a:lnTo>
                    <a:pt x="168" y="12"/>
                  </a:lnTo>
                  <a:lnTo>
                    <a:pt x="172" y="8"/>
                  </a:lnTo>
                  <a:lnTo>
                    <a:pt x="174" y="4"/>
                  </a:lnTo>
                  <a:lnTo>
                    <a:pt x="174" y="4"/>
                  </a:lnTo>
                  <a:lnTo>
                    <a:pt x="178" y="2"/>
                  </a:lnTo>
                  <a:lnTo>
                    <a:pt x="181" y="2"/>
                  </a:lnTo>
                  <a:lnTo>
                    <a:pt x="187" y="0"/>
                  </a:lnTo>
                  <a:lnTo>
                    <a:pt x="193" y="0"/>
                  </a:lnTo>
                  <a:lnTo>
                    <a:pt x="197" y="0"/>
                  </a:lnTo>
                  <a:lnTo>
                    <a:pt x="202" y="0"/>
                  </a:lnTo>
                  <a:lnTo>
                    <a:pt x="204" y="0"/>
                  </a:lnTo>
                  <a:lnTo>
                    <a:pt x="208" y="0"/>
                  </a:lnTo>
                  <a:lnTo>
                    <a:pt x="208" y="0"/>
                  </a:lnTo>
                  <a:lnTo>
                    <a:pt x="208" y="6"/>
                  </a:lnTo>
                  <a:lnTo>
                    <a:pt x="210" y="12"/>
                  </a:lnTo>
                  <a:lnTo>
                    <a:pt x="210" y="18"/>
                  </a:lnTo>
                  <a:lnTo>
                    <a:pt x="210" y="23"/>
                  </a:lnTo>
                  <a:lnTo>
                    <a:pt x="212" y="29"/>
                  </a:lnTo>
                  <a:lnTo>
                    <a:pt x="214" y="33"/>
                  </a:lnTo>
                  <a:lnTo>
                    <a:pt x="218" y="35"/>
                  </a:lnTo>
                  <a:lnTo>
                    <a:pt x="222" y="37"/>
                  </a:lnTo>
                  <a:lnTo>
                    <a:pt x="222" y="37"/>
                  </a:lnTo>
                  <a:lnTo>
                    <a:pt x="227" y="35"/>
                  </a:lnTo>
                  <a:lnTo>
                    <a:pt x="233" y="33"/>
                  </a:lnTo>
                  <a:lnTo>
                    <a:pt x="239" y="31"/>
                  </a:lnTo>
                  <a:lnTo>
                    <a:pt x="244" y="27"/>
                  </a:lnTo>
                  <a:lnTo>
                    <a:pt x="250" y="25"/>
                  </a:lnTo>
                  <a:lnTo>
                    <a:pt x="256" y="21"/>
                  </a:lnTo>
                  <a:lnTo>
                    <a:pt x="262" y="19"/>
                  </a:lnTo>
                  <a:lnTo>
                    <a:pt x="269" y="19"/>
                  </a:lnTo>
                  <a:lnTo>
                    <a:pt x="269" y="19"/>
                  </a:lnTo>
                  <a:lnTo>
                    <a:pt x="277" y="19"/>
                  </a:lnTo>
                  <a:lnTo>
                    <a:pt x="283" y="21"/>
                  </a:lnTo>
                  <a:lnTo>
                    <a:pt x="288" y="23"/>
                  </a:lnTo>
                  <a:lnTo>
                    <a:pt x="292" y="27"/>
                  </a:lnTo>
                  <a:lnTo>
                    <a:pt x="296" y="33"/>
                  </a:lnTo>
                  <a:lnTo>
                    <a:pt x="300" y="37"/>
                  </a:lnTo>
                  <a:lnTo>
                    <a:pt x="304" y="42"/>
                  </a:lnTo>
                  <a:lnTo>
                    <a:pt x="307" y="46"/>
                  </a:lnTo>
                  <a:lnTo>
                    <a:pt x="311" y="52"/>
                  </a:lnTo>
                  <a:lnTo>
                    <a:pt x="313" y="58"/>
                  </a:lnTo>
                  <a:lnTo>
                    <a:pt x="317" y="61"/>
                  </a:lnTo>
                  <a:lnTo>
                    <a:pt x="323" y="67"/>
                  </a:lnTo>
                  <a:lnTo>
                    <a:pt x="326" y="69"/>
                  </a:lnTo>
                  <a:lnTo>
                    <a:pt x="332" y="73"/>
                  </a:lnTo>
                  <a:lnTo>
                    <a:pt x="340" y="75"/>
                  </a:lnTo>
                  <a:lnTo>
                    <a:pt x="347" y="75"/>
                  </a:lnTo>
                  <a:lnTo>
                    <a:pt x="347" y="75"/>
                  </a:lnTo>
                  <a:lnTo>
                    <a:pt x="359" y="75"/>
                  </a:lnTo>
                  <a:lnTo>
                    <a:pt x="367" y="73"/>
                  </a:lnTo>
                  <a:lnTo>
                    <a:pt x="374" y="71"/>
                  </a:lnTo>
                  <a:lnTo>
                    <a:pt x="382" y="67"/>
                  </a:lnTo>
                  <a:lnTo>
                    <a:pt x="387" y="65"/>
                  </a:lnTo>
                  <a:lnTo>
                    <a:pt x="395" y="63"/>
                  </a:lnTo>
                  <a:lnTo>
                    <a:pt x="403" y="61"/>
                  </a:lnTo>
                  <a:lnTo>
                    <a:pt x="410" y="60"/>
                  </a:lnTo>
                  <a:lnTo>
                    <a:pt x="410" y="60"/>
                  </a:lnTo>
                  <a:lnTo>
                    <a:pt x="422" y="61"/>
                  </a:lnTo>
                  <a:lnTo>
                    <a:pt x="433" y="65"/>
                  </a:lnTo>
                  <a:lnTo>
                    <a:pt x="441" y="69"/>
                  </a:lnTo>
                  <a:lnTo>
                    <a:pt x="447" y="75"/>
                  </a:lnTo>
                  <a:lnTo>
                    <a:pt x="452" y="82"/>
                  </a:lnTo>
                  <a:lnTo>
                    <a:pt x="458" y="88"/>
                  </a:lnTo>
                  <a:lnTo>
                    <a:pt x="464" y="96"/>
                  </a:lnTo>
                  <a:lnTo>
                    <a:pt x="470" y="101"/>
                  </a:lnTo>
                  <a:lnTo>
                    <a:pt x="466" y="7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98" name="Freeform 42"/>
            <p:cNvSpPr>
              <a:spLocks/>
            </p:cNvSpPr>
            <p:nvPr/>
          </p:nvSpPr>
          <p:spPr bwMode="gray">
            <a:xfrm>
              <a:off x="1059" y="1967"/>
              <a:ext cx="166" cy="188"/>
            </a:xfrm>
            <a:custGeom>
              <a:avLst/>
              <a:gdLst/>
              <a:ahLst/>
              <a:cxnLst>
                <a:cxn ang="0">
                  <a:pos x="224" y="71"/>
                </a:cxn>
                <a:cxn ang="0">
                  <a:pos x="218" y="73"/>
                </a:cxn>
                <a:cxn ang="0">
                  <a:pos x="210" y="79"/>
                </a:cxn>
                <a:cxn ang="0">
                  <a:pos x="199" y="100"/>
                </a:cxn>
                <a:cxn ang="0">
                  <a:pos x="182" y="105"/>
                </a:cxn>
                <a:cxn ang="0">
                  <a:pos x="164" y="98"/>
                </a:cxn>
                <a:cxn ang="0">
                  <a:pos x="155" y="84"/>
                </a:cxn>
                <a:cxn ang="0">
                  <a:pos x="157" y="81"/>
                </a:cxn>
                <a:cxn ang="0">
                  <a:pos x="164" y="71"/>
                </a:cxn>
                <a:cxn ang="0">
                  <a:pos x="164" y="54"/>
                </a:cxn>
                <a:cxn ang="0">
                  <a:pos x="159" y="31"/>
                </a:cxn>
                <a:cxn ang="0">
                  <a:pos x="147" y="12"/>
                </a:cxn>
                <a:cxn ang="0">
                  <a:pos x="126" y="0"/>
                </a:cxn>
                <a:cxn ang="0">
                  <a:pos x="96" y="0"/>
                </a:cxn>
                <a:cxn ang="0">
                  <a:pos x="71" y="29"/>
                </a:cxn>
                <a:cxn ang="0">
                  <a:pos x="59" y="61"/>
                </a:cxn>
                <a:cxn ang="0">
                  <a:pos x="33" y="94"/>
                </a:cxn>
                <a:cxn ang="0">
                  <a:pos x="0" y="126"/>
                </a:cxn>
                <a:cxn ang="0">
                  <a:pos x="18" y="149"/>
                </a:cxn>
                <a:cxn ang="0">
                  <a:pos x="42" y="168"/>
                </a:cxn>
                <a:cxn ang="0">
                  <a:pos x="69" y="182"/>
                </a:cxn>
                <a:cxn ang="0">
                  <a:pos x="98" y="197"/>
                </a:cxn>
                <a:cxn ang="0">
                  <a:pos x="115" y="212"/>
                </a:cxn>
                <a:cxn ang="0">
                  <a:pos x="130" y="231"/>
                </a:cxn>
                <a:cxn ang="0">
                  <a:pos x="145" y="254"/>
                </a:cxn>
                <a:cxn ang="0">
                  <a:pos x="161" y="273"/>
                </a:cxn>
                <a:cxn ang="0">
                  <a:pos x="180" y="289"/>
                </a:cxn>
                <a:cxn ang="0">
                  <a:pos x="206" y="304"/>
                </a:cxn>
                <a:cxn ang="0">
                  <a:pos x="233" y="319"/>
                </a:cxn>
                <a:cxn ang="0">
                  <a:pos x="264" y="332"/>
                </a:cxn>
                <a:cxn ang="0">
                  <a:pos x="288" y="344"/>
                </a:cxn>
                <a:cxn ang="0">
                  <a:pos x="281" y="330"/>
                </a:cxn>
                <a:cxn ang="0">
                  <a:pos x="279" y="308"/>
                </a:cxn>
                <a:cxn ang="0">
                  <a:pos x="283" y="289"/>
                </a:cxn>
                <a:cxn ang="0">
                  <a:pos x="292" y="269"/>
                </a:cxn>
                <a:cxn ang="0">
                  <a:pos x="288" y="235"/>
                </a:cxn>
                <a:cxn ang="0">
                  <a:pos x="275" y="220"/>
                </a:cxn>
                <a:cxn ang="0">
                  <a:pos x="264" y="206"/>
                </a:cxn>
                <a:cxn ang="0">
                  <a:pos x="237" y="193"/>
                </a:cxn>
                <a:cxn ang="0">
                  <a:pos x="208" y="189"/>
                </a:cxn>
                <a:cxn ang="0">
                  <a:pos x="210" y="189"/>
                </a:cxn>
                <a:cxn ang="0">
                  <a:pos x="210" y="182"/>
                </a:cxn>
                <a:cxn ang="0">
                  <a:pos x="212" y="174"/>
                </a:cxn>
                <a:cxn ang="0">
                  <a:pos x="212" y="166"/>
                </a:cxn>
                <a:cxn ang="0">
                  <a:pos x="225" y="145"/>
                </a:cxn>
                <a:cxn ang="0">
                  <a:pos x="231" y="130"/>
                </a:cxn>
                <a:cxn ang="0">
                  <a:pos x="227" y="103"/>
                </a:cxn>
                <a:cxn ang="0">
                  <a:pos x="224" y="79"/>
                </a:cxn>
              </a:cxnLst>
              <a:rect l="0" t="0" r="r" b="b"/>
              <a:pathLst>
                <a:path w="294" h="344">
                  <a:moveTo>
                    <a:pt x="225" y="71"/>
                  </a:moveTo>
                  <a:lnTo>
                    <a:pt x="225" y="71"/>
                  </a:lnTo>
                  <a:lnTo>
                    <a:pt x="224" y="71"/>
                  </a:lnTo>
                  <a:lnTo>
                    <a:pt x="224" y="71"/>
                  </a:lnTo>
                  <a:lnTo>
                    <a:pt x="222" y="71"/>
                  </a:lnTo>
                  <a:lnTo>
                    <a:pt x="222" y="73"/>
                  </a:lnTo>
                  <a:lnTo>
                    <a:pt x="220" y="73"/>
                  </a:lnTo>
                  <a:lnTo>
                    <a:pt x="218" y="73"/>
                  </a:lnTo>
                  <a:lnTo>
                    <a:pt x="214" y="73"/>
                  </a:lnTo>
                  <a:lnTo>
                    <a:pt x="212" y="71"/>
                  </a:lnTo>
                  <a:lnTo>
                    <a:pt x="212" y="71"/>
                  </a:lnTo>
                  <a:lnTo>
                    <a:pt x="210" y="79"/>
                  </a:lnTo>
                  <a:lnTo>
                    <a:pt x="208" y="84"/>
                  </a:lnTo>
                  <a:lnTo>
                    <a:pt x="206" y="90"/>
                  </a:lnTo>
                  <a:lnTo>
                    <a:pt x="203" y="96"/>
                  </a:lnTo>
                  <a:lnTo>
                    <a:pt x="199" y="100"/>
                  </a:lnTo>
                  <a:lnTo>
                    <a:pt x="193" y="103"/>
                  </a:lnTo>
                  <a:lnTo>
                    <a:pt x="187" y="105"/>
                  </a:lnTo>
                  <a:lnTo>
                    <a:pt x="182" y="105"/>
                  </a:lnTo>
                  <a:lnTo>
                    <a:pt x="182" y="105"/>
                  </a:lnTo>
                  <a:lnTo>
                    <a:pt x="178" y="105"/>
                  </a:lnTo>
                  <a:lnTo>
                    <a:pt x="174" y="103"/>
                  </a:lnTo>
                  <a:lnTo>
                    <a:pt x="168" y="102"/>
                  </a:lnTo>
                  <a:lnTo>
                    <a:pt x="164" y="98"/>
                  </a:lnTo>
                  <a:lnTo>
                    <a:pt x="161" y="96"/>
                  </a:lnTo>
                  <a:lnTo>
                    <a:pt x="157" y="92"/>
                  </a:lnTo>
                  <a:lnTo>
                    <a:pt x="155" y="88"/>
                  </a:lnTo>
                  <a:lnTo>
                    <a:pt x="155" y="84"/>
                  </a:lnTo>
                  <a:lnTo>
                    <a:pt x="155" y="84"/>
                  </a:lnTo>
                  <a:lnTo>
                    <a:pt x="155" y="82"/>
                  </a:lnTo>
                  <a:lnTo>
                    <a:pt x="157" y="81"/>
                  </a:lnTo>
                  <a:lnTo>
                    <a:pt x="157" y="81"/>
                  </a:lnTo>
                  <a:lnTo>
                    <a:pt x="159" y="79"/>
                  </a:lnTo>
                  <a:lnTo>
                    <a:pt x="161" y="77"/>
                  </a:lnTo>
                  <a:lnTo>
                    <a:pt x="162" y="73"/>
                  </a:lnTo>
                  <a:lnTo>
                    <a:pt x="164" y="71"/>
                  </a:lnTo>
                  <a:lnTo>
                    <a:pt x="164" y="67"/>
                  </a:lnTo>
                  <a:lnTo>
                    <a:pt x="164" y="67"/>
                  </a:lnTo>
                  <a:lnTo>
                    <a:pt x="164" y="61"/>
                  </a:lnTo>
                  <a:lnTo>
                    <a:pt x="164" y="54"/>
                  </a:lnTo>
                  <a:lnTo>
                    <a:pt x="162" y="48"/>
                  </a:lnTo>
                  <a:lnTo>
                    <a:pt x="162" y="42"/>
                  </a:lnTo>
                  <a:lnTo>
                    <a:pt x="161" y="37"/>
                  </a:lnTo>
                  <a:lnTo>
                    <a:pt x="159" y="31"/>
                  </a:lnTo>
                  <a:lnTo>
                    <a:pt x="157" y="25"/>
                  </a:lnTo>
                  <a:lnTo>
                    <a:pt x="155" y="20"/>
                  </a:lnTo>
                  <a:lnTo>
                    <a:pt x="151" y="16"/>
                  </a:lnTo>
                  <a:lnTo>
                    <a:pt x="147" y="12"/>
                  </a:lnTo>
                  <a:lnTo>
                    <a:pt x="143" y="8"/>
                  </a:lnTo>
                  <a:lnTo>
                    <a:pt x="138" y="4"/>
                  </a:lnTo>
                  <a:lnTo>
                    <a:pt x="134" y="2"/>
                  </a:lnTo>
                  <a:lnTo>
                    <a:pt x="126" y="0"/>
                  </a:lnTo>
                  <a:lnTo>
                    <a:pt x="121" y="0"/>
                  </a:lnTo>
                  <a:lnTo>
                    <a:pt x="113" y="0"/>
                  </a:lnTo>
                  <a:lnTo>
                    <a:pt x="113" y="0"/>
                  </a:lnTo>
                  <a:lnTo>
                    <a:pt x="96" y="0"/>
                  </a:lnTo>
                  <a:lnTo>
                    <a:pt x="84" y="4"/>
                  </a:lnTo>
                  <a:lnTo>
                    <a:pt x="77" y="12"/>
                  </a:lnTo>
                  <a:lnTo>
                    <a:pt x="73" y="20"/>
                  </a:lnTo>
                  <a:lnTo>
                    <a:pt x="71" y="29"/>
                  </a:lnTo>
                  <a:lnTo>
                    <a:pt x="67" y="39"/>
                  </a:lnTo>
                  <a:lnTo>
                    <a:pt x="65" y="50"/>
                  </a:lnTo>
                  <a:lnTo>
                    <a:pt x="59" y="61"/>
                  </a:lnTo>
                  <a:lnTo>
                    <a:pt x="59" y="61"/>
                  </a:lnTo>
                  <a:lnTo>
                    <a:pt x="58" y="65"/>
                  </a:lnTo>
                  <a:lnTo>
                    <a:pt x="52" y="73"/>
                  </a:lnTo>
                  <a:lnTo>
                    <a:pt x="42" y="82"/>
                  </a:lnTo>
                  <a:lnTo>
                    <a:pt x="33" y="94"/>
                  </a:lnTo>
                  <a:lnTo>
                    <a:pt x="21" y="105"/>
                  </a:lnTo>
                  <a:lnTo>
                    <a:pt x="12" y="115"/>
                  </a:lnTo>
                  <a:lnTo>
                    <a:pt x="4" y="123"/>
                  </a:lnTo>
                  <a:lnTo>
                    <a:pt x="0" y="126"/>
                  </a:lnTo>
                  <a:lnTo>
                    <a:pt x="0" y="126"/>
                  </a:lnTo>
                  <a:lnTo>
                    <a:pt x="6" y="136"/>
                  </a:lnTo>
                  <a:lnTo>
                    <a:pt x="12" y="142"/>
                  </a:lnTo>
                  <a:lnTo>
                    <a:pt x="18" y="149"/>
                  </a:lnTo>
                  <a:lnTo>
                    <a:pt x="25" y="155"/>
                  </a:lnTo>
                  <a:lnTo>
                    <a:pt x="31" y="161"/>
                  </a:lnTo>
                  <a:lnTo>
                    <a:pt x="37" y="165"/>
                  </a:lnTo>
                  <a:lnTo>
                    <a:pt x="42" y="168"/>
                  </a:lnTo>
                  <a:lnTo>
                    <a:pt x="48" y="172"/>
                  </a:lnTo>
                  <a:lnTo>
                    <a:pt x="56" y="176"/>
                  </a:lnTo>
                  <a:lnTo>
                    <a:pt x="61" y="178"/>
                  </a:lnTo>
                  <a:lnTo>
                    <a:pt x="69" y="182"/>
                  </a:lnTo>
                  <a:lnTo>
                    <a:pt x="75" y="185"/>
                  </a:lnTo>
                  <a:lnTo>
                    <a:pt x="82" y="189"/>
                  </a:lnTo>
                  <a:lnTo>
                    <a:pt x="90" y="193"/>
                  </a:lnTo>
                  <a:lnTo>
                    <a:pt x="98" y="197"/>
                  </a:lnTo>
                  <a:lnTo>
                    <a:pt x="105" y="203"/>
                  </a:lnTo>
                  <a:lnTo>
                    <a:pt x="105" y="203"/>
                  </a:lnTo>
                  <a:lnTo>
                    <a:pt x="109" y="206"/>
                  </a:lnTo>
                  <a:lnTo>
                    <a:pt x="115" y="212"/>
                  </a:lnTo>
                  <a:lnTo>
                    <a:pt x="119" y="216"/>
                  </a:lnTo>
                  <a:lnTo>
                    <a:pt x="122" y="222"/>
                  </a:lnTo>
                  <a:lnTo>
                    <a:pt x="126" y="226"/>
                  </a:lnTo>
                  <a:lnTo>
                    <a:pt x="130" y="231"/>
                  </a:lnTo>
                  <a:lnTo>
                    <a:pt x="134" y="237"/>
                  </a:lnTo>
                  <a:lnTo>
                    <a:pt x="138" y="243"/>
                  </a:lnTo>
                  <a:lnTo>
                    <a:pt x="141" y="248"/>
                  </a:lnTo>
                  <a:lnTo>
                    <a:pt x="145" y="254"/>
                  </a:lnTo>
                  <a:lnTo>
                    <a:pt x="149" y="258"/>
                  </a:lnTo>
                  <a:lnTo>
                    <a:pt x="153" y="264"/>
                  </a:lnTo>
                  <a:lnTo>
                    <a:pt x="157" y="269"/>
                  </a:lnTo>
                  <a:lnTo>
                    <a:pt x="161" y="273"/>
                  </a:lnTo>
                  <a:lnTo>
                    <a:pt x="166" y="279"/>
                  </a:lnTo>
                  <a:lnTo>
                    <a:pt x="172" y="283"/>
                  </a:lnTo>
                  <a:lnTo>
                    <a:pt x="172" y="283"/>
                  </a:lnTo>
                  <a:lnTo>
                    <a:pt x="180" y="289"/>
                  </a:lnTo>
                  <a:lnTo>
                    <a:pt x="185" y="292"/>
                  </a:lnTo>
                  <a:lnTo>
                    <a:pt x="193" y="296"/>
                  </a:lnTo>
                  <a:lnTo>
                    <a:pt x="199" y="300"/>
                  </a:lnTo>
                  <a:lnTo>
                    <a:pt x="206" y="304"/>
                  </a:lnTo>
                  <a:lnTo>
                    <a:pt x="212" y="308"/>
                  </a:lnTo>
                  <a:lnTo>
                    <a:pt x="220" y="311"/>
                  </a:lnTo>
                  <a:lnTo>
                    <a:pt x="227" y="315"/>
                  </a:lnTo>
                  <a:lnTo>
                    <a:pt x="233" y="319"/>
                  </a:lnTo>
                  <a:lnTo>
                    <a:pt x="241" y="323"/>
                  </a:lnTo>
                  <a:lnTo>
                    <a:pt x="248" y="327"/>
                  </a:lnTo>
                  <a:lnTo>
                    <a:pt x="256" y="329"/>
                  </a:lnTo>
                  <a:lnTo>
                    <a:pt x="264" y="332"/>
                  </a:lnTo>
                  <a:lnTo>
                    <a:pt x="271" y="336"/>
                  </a:lnTo>
                  <a:lnTo>
                    <a:pt x="279" y="340"/>
                  </a:lnTo>
                  <a:lnTo>
                    <a:pt x="288" y="344"/>
                  </a:lnTo>
                  <a:lnTo>
                    <a:pt x="288" y="344"/>
                  </a:lnTo>
                  <a:lnTo>
                    <a:pt x="285" y="344"/>
                  </a:lnTo>
                  <a:lnTo>
                    <a:pt x="283" y="340"/>
                  </a:lnTo>
                  <a:lnTo>
                    <a:pt x="283" y="336"/>
                  </a:lnTo>
                  <a:lnTo>
                    <a:pt x="281" y="330"/>
                  </a:lnTo>
                  <a:lnTo>
                    <a:pt x="279" y="323"/>
                  </a:lnTo>
                  <a:lnTo>
                    <a:pt x="279" y="317"/>
                  </a:lnTo>
                  <a:lnTo>
                    <a:pt x="279" y="311"/>
                  </a:lnTo>
                  <a:lnTo>
                    <a:pt x="279" y="308"/>
                  </a:lnTo>
                  <a:lnTo>
                    <a:pt x="279" y="308"/>
                  </a:lnTo>
                  <a:lnTo>
                    <a:pt x="279" y="300"/>
                  </a:lnTo>
                  <a:lnTo>
                    <a:pt x="281" y="294"/>
                  </a:lnTo>
                  <a:lnTo>
                    <a:pt x="283" y="289"/>
                  </a:lnTo>
                  <a:lnTo>
                    <a:pt x="285" y="283"/>
                  </a:lnTo>
                  <a:lnTo>
                    <a:pt x="286" y="277"/>
                  </a:lnTo>
                  <a:lnTo>
                    <a:pt x="290" y="273"/>
                  </a:lnTo>
                  <a:lnTo>
                    <a:pt x="292" y="269"/>
                  </a:lnTo>
                  <a:lnTo>
                    <a:pt x="294" y="266"/>
                  </a:lnTo>
                  <a:lnTo>
                    <a:pt x="294" y="239"/>
                  </a:lnTo>
                  <a:lnTo>
                    <a:pt x="294" y="239"/>
                  </a:lnTo>
                  <a:lnTo>
                    <a:pt x="288" y="235"/>
                  </a:lnTo>
                  <a:lnTo>
                    <a:pt x="283" y="233"/>
                  </a:lnTo>
                  <a:lnTo>
                    <a:pt x="279" y="229"/>
                  </a:lnTo>
                  <a:lnTo>
                    <a:pt x="277" y="224"/>
                  </a:lnTo>
                  <a:lnTo>
                    <a:pt x="275" y="220"/>
                  </a:lnTo>
                  <a:lnTo>
                    <a:pt x="271" y="214"/>
                  </a:lnTo>
                  <a:lnTo>
                    <a:pt x="269" y="210"/>
                  </a:lnTo>
                  <a:lnTo>
                    <a:pt x="264" y="206"/>
                  </a:lnTo>
                  <a:lnTo>
                    <a:pt x="264" y="206"/>
                  </a:lnTo>
                  <a:lnTo>
                    <a:pt x="256" y="201"/>
                  </a:lnTo>
                  <a:lnTo>
                    <a:pt x="248" y="197"/>
                  </a:lnTo>
                  <a:lnTo>
                    <a:pt x="243" y="195"/>
                  </a:lnTo>
                  <a:lnTo>
                    <a:pt x="237" y="193"/>
                  </a:lnTo>
                  <a:lnTo>
                    <a:pt x="231" y="193"/>
                  </a:lnTo>
                  <a:lnTo>
                    <a:pt x="224" y="193"/>
                  </a:lnTo>
                  <a:lnTo>
                    <a:pt x="216" y="191"/>
                  </a:lnTo>
                  <a:lnTo>
                    <a:pt x="208" y="189"/>
                  </a:lnTo>
                  <a:lnTo>
                    <a:pt x="208" y="189"/>
                  </a:lnTo>
                  <a:lnTo>
                    <a:pt x="210" y="189"/>
                  </a:lnTo>
                  <a:lnTo>
                    <a:pt x="210" y="189"/>
                  </a:lnTo>
                  <a:lnTo>
                    <a:pt x="210" y="189"/>
                  </a:lnTo>
                  <a:lnTo>
                    <a:pt x="212" y="189"/>
                  </a:lnTo>
                  <a:lnTo>
                    <a:pt x="212" y="189"/>
                  </a:lnTo>
                  <a:lnTo>
                    <a:pt x="210" y="185"/>
                  </a:lnTo>
                  <a:lnTo>
                    <a:pt x="210" y="182"/>
                  </a:lnTo>
                  <a:lnTo>
                    <a:pt x="210" y="180"/>
                  </a:lnTo>
                  <a:lnTo>
                    <a:pt x="210" y="176"/>
                  </a:lnTo>
                  <a:lnTo>
                    <a:pt x="210" y="174"/>
                  </a:lnTo>
                  <a:lnTo>
                    <a:pt x="212" y="174"/>
                  </a:lnTo>
                  <a:lnTo>
                    <a:pt x="212" y="172"/>
                  </a:lnTo>
                  <a:lnTo>
                    <a:pt x="212" y="170"/>
                  </a:lnTo>
                  <a:lnTo>
                    <a:pt x="212" y="170"/>
                  </a:lnTo>
                  <a:lnTo>
                    <a:pt x="212" y="166"/>
                  </a:lnTo>
                  <a:lnTo>
                    <a:pt x="214" y="163"/>
                  </a:lnTo>
                  <a:lnTo>
                    <a:pt x="218" y="157"/>
                  </a:lnTo>
                  <a:lnTo>
                    <a:pt x="222" y="151"/>
                  </a:lnTo>
                  <a:lnTo>
                    <a:pt x="225" y="145"/>
                  </a:lnTo>
                  <a:lnTo>
                    <a:pt x="229" y="140"/>
                  </a:lnTo>
                  <a:lnTo>
                    <a:pt x="231" y="136"/>
                  </a:lnTo>
                  <a:lnTo>
                    <a:pt x="231" y="130"/>
                  </a:lnTo>
                  <a:lnTo>
                    <a:pt x="231" y="130"/>
                  </a:lnTo>
                  <a:lnTo>
                    <a:pt x="231" y="123"/>
                  </a:lnTo>
                  <a:lnTo>
                    <a:pt x="229" y="117"/>
                  </a:lnTo>
                  <a:lnTo>
                    <a:pt x="229" y="109"/>
                  </a:lnTo>
                  <a:lnTo>
                    <a:pt x="227" y="103"/>
                  </a:lnTo>
                  <a:lnTo>
                    <a:pt x="225" y="98"/>
                  </a:lnTo>
                  <a:lnTo>
                    <a:pt x="225" y="92"/>
                  </a:lnTo>
                  <a:lnTo>
                    <a:pt x="224" y="84"/>
                  </a:lnTo>
                  <a:lnTo>
                    <a:pt x="224" y="79"/>
                  </a:lnTo>
                  <a:lnTo>
                    <a:pt x="225" y="71"/>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299" name="Freeform 43"/>
            <p:cNvSpPr>
              <a:spLocks/>
            </p:cNvSpPr>
            <p:nvPr/>
          </p:nvSpPr>
          <p:spPr bwMode="gray">
            <a:xfrm>
              <a:off x="987" y="1897"/>
              <a:ext cx="126" cy="139"/>
            </a:xfrm>
            <a:custGeom>
              <a:avLst/>
              <a:gdLst/>
              <a:ahLst/>
              <a:cxnLst>
                <a:cxn ang="0">
                  <a:pos x="222" y="129"/>
                </a:cxn>
                <a:cxn ang="0">
                  <a:pos x="205" y="137"/>
                </a:cxn>
                <a:cxn ang="0">
                  <a:pos x="197" y="150"/>
                </a:cxn>
                <a:cxn ang="0">
                  <a:pos x="193" y="169"/>
                </a:cxn>
                <a:cxn ang="0">
                  <a:pos x="185" y="188"/>
                </a:cxn>
                <a:cxn ang="0">
                  <a:pos x="184" y="192"/>
                </a:cxn>
                <a:cxn ang="0">
                  <a:pos x="168" y="209"/>
                </a:cxn>
                <a:cxn ang="0">
                  <a:pos x="147" y="232"/>
                </a:cxn>
                <a:cxn ang="0">
                  <a:pos x="130" y="250"/>
                </a:cxn>
                <a:cxn ang="0">
                  <a:pos x="126" y="253"/>
                </a:cxn>
                <a:cxn ang="0">
                  <a:pos x="115" y="248"/>
                </a:cxn>
                <a:cxn ang="0">
                  <a:pos x="105" y="240"/>
                </a:cxn>
                <a:cxn ang="0">
                  <a:pos x="96" y="234"/>
                </a:cxn>
                <a:cxn ang="0">
                  <a:pos x="88" y="229"/>
                </a:cxn>
                <a:cxn ang="0">
                  <a:pos x="81" y="223"/>
                </a:cxn>
                <a:cxn ang="0">
                  <a:pos x="73" y="217"/>
                </a:cxn>
                <a:cxn ang="0">
                  <a:pos x="63" y="209"/>
                </a:cxn>
                <a:cxn ang="0">
                  <a:pos x="54" y="204"/>
                </a:cxn>
                <a:cxn ang="0">
                  <a:pos x="50" y="202"/>
                </a:cxn>
                <a:cxn ang="0">
                  <a:pos x="41" y="198"/>
                </a:cxn>
                <a:cxn ang="0">
                  <a:pos x="31" y="192"/>
                </a:cxn>
                <a:cxn ang="0">
                  <a:pos x="23" y="185"/>
                </a:cxn>
                <a:cxn ang="0">
                  <a:pos x="21" y="181"/>
                </a:cxn>
                <a:cxn ang="0">
                  <a:pos x="20" y="169"/>
                </a:cxn>
                <a:cxn ang="0">
                  <a:pos x="20" y="160"/>
                </a:cxn>
                <a:cxn ang="0">
                  <a:pos x="20" y="150"/>
                </a:cxn>
                <a:cxn ang="0">
                  <a:pos x="18" y="141"/>
                </a:cxn>
                <a:cxn ang="0">
                  <a:pos x="16" y="137"/>
                </a:cxn>
                <a:cxn ang="0">
                  <a:pos x="10" y="131"/>
                </a:cxn>
                <a:cxn ang="0">
                  <a:pos x="4" y="124"/>
                </a:cxn>
                <a:cxn ang="0">
                  <a:pos x="0" y="112"/>
                </a:cxn>
                <a:cxn ang="0">
                  <a:pos x="0" y="103"/>
                </a:cxn>
                <a:cxn ang="0">
                  <a:pos x="2" y="84"/>
                </a:cxn>
                <a:cxn ang="0">
                  <a:pos x="8" y="64"/>
                </a:cxn>
                <a:cxn ang="0">
                  <a:pos x="18" y="47"/>
                </a:cxn>
                <a:cxn ang="0">
                  <a:pos x="29" y="32"/>
                </a:cxn>
                <a:cxn ang="0">
                  <a:pos x="42" y="19"/>
                </a:cxn>
                <a:cxn ang="0">
                  <a:pos x="58" y="7"/>
                </a:cxn>
                <a:cxn ang="0">
                  <a:pos x="73" y="2"/>
                </a:cxn>
                <a:cxn ang="0">
                  <a:pos x="90" y="0"/>
                </a:cxn>
                <a:cxn ang="0">
                  <a:pos x="96" y="0"/>
                </a:cxn>
                <a:cxn ang="0">
                  <a:pos x="107" y="0"/>
                </a:cxn>
                <a:cxn ang="0">
                  <a:pos x="119" y="0"/>
                </a:cxn>
                <a:cxn ang="0">
                  <a:pos x="126" y="0"/>
                </a:cxn>
                <a:cxn ang="0">
                  <a:pos x="126" y="0"/>
                </a:cxn>
                <a:cxn ang="0">
                  <a:pos x="144" y="2"/>
                </a:cxn>
                <a:cxn ang="0">
                  <a:pos x="159" y="9"/>
                </a:cxn>
                <a:cxn ang="0">
                  <a:pos x="172" y="19"/>
                </a:cxn>
                <a:cxn ang="0">
                  <a:pos x="184" y="32"/>
                </a:cxn>
                <a:cxn ang="0">
                  <a:pos x="193" y="49"/>
                </a:cxn>
                <a:cxn ang="0">
                  <a:pos x="201" y="68"/>
                </a:cxn>
                <a:cxn ang="0">
                  <a:pos x="206" y="89"/>
                </a:cxn>
                <a:cxn ang="0">
                  <a:pos x="206" y="112"/>
                </a:cxn>
                <a:cxn ang="0">
                  <a:pos x="206" y="114"/>
                </a:cxn>
                <a:cxn ang="0">
                  <a:pos x="205" y="120"/>
                </a:cxn>
                <a:cxn ang="0">
                  <a:pos x="201" y="124"/>
                </a:cxn>
                <a:cxn ang="0">
                  <a:pos x="197" y="126"/>
                </a:cxn>
                <a:cxn ang="0">
                  <a:pos x="195" y="127"/>
                </a:cxn>
                <a:cxn ang="0">
                  <a:pos x="201" y="129"/>
                </a:cxn>
                <a:cxn ang="0">
                  <a:pos x="205" y="129"/>
                </a:cxn>
                <a:cxn ang="0">
                  <a:pos x="208" y="129"/>
                </a:cxn>
                <a:cxn ang="0">
                  <a:pos x="214" y="127"/>
                </a:cxn>
              </a:cxnLst>
              <a:rect l="0" t="0" r="r" b="b"/>
              <a:pathLst>
                <a:path w="222" h="253">
                  <a:moveTo>
                    <a:pt x="222" y="129"/>
                  </a:moveTo>
                  <a:lnTo>
                    <a:pt x="222" y="129"/>
                  </a:lnTo>
                  <a:lnTo>
                    <a:pt x="210" y="131"/>
                  </a:lnTo>
                  <a:lnTo>
                    <a:pt x="205" y="137"/>
                  </a:lnTo>
                  <a:lnTo>
                    <a:pt x="201" y="143"/>
                  </a:lnTo>
                  <a:lnTo>
                    <a:pt x="197" y="150"/>
                  </a:lnTo>
                  <a:lnTo>
                    <a:pt x="195" y="160"/>
                  </a:lnTo>
                  <a:lnTo>
                    <a:pt x="193" y="169"/>
                  </a:lnTo>
                  <a:lnTo>
                    <a:pt x="191" y="179"/>
                  </a:lnTo>
                  <a:lnTo>
                    <a:pt x="185" y="188"/>
                  </a:lnTo>
                  <a:lnTo>
                    <a:pt x="185" y="188"/>
                  </a:lnTo>
                  <a:lnTo>
                    <a:pt x="184" y="192"/>
                  </a:lnTo>
                  <a:lnTo>
                    <a:pt x="178" y="200"/>
                  </a:lnTo>
                  <a:lnTo>
                    <a:pt x="168" y="209"/>
                  </a:lnTo>
                  <a:lnTo>
                    <a:pt x="159" y="221"/>
                  </a:lnTo>
                  <a:lnTo>
                    <a:pt x="147" y="232"/>
                  </a:lnTo>
                  <a:lnTo>
                    <a:pt x="138" y="242"/>
                  </a:lnTo>
                  <a:lnTo>
                    <a:pt x="130" y="250"/>
                  </a:lnTo>
                  <a:lnTo>
                    <a:pt x="126" y="253"/>
                  </a:lnTo>
                  <a:lnTo>
                    <a:pt x="126" y="253"/>
                  </a:lnTo>
                  <a:lnTo>
                    <a:pt x="121" y="250"/>
                  </a:lnTo>
                  <a:lnTo>
                    <a:pt x="115" y="248"/>
                  </a:lnTo>
                  <a:lnTo>
                    <a:pt x="109" y="244"/>
                  </a:lnTo>
                  <a:lnTo>
                    <a:pt x="105" y="240"/>
                  </a:lnTo>
                  <a:lnTo>
                    <a:pt x="100" y="238"/>
                  </a:lnTo>
                  <a:lnTo>
                    <a:pt x="96" y="234"/>
                  </a:lnTo>
                  <a:lnTo>
                    <a:pt x="92" y="232"/>
                  </a:lnTo>
                  <a:lnTo>
                    <a:pt x="88" y="229"/>
                  </a:lnTo>
                  <a:lnTo>
                    <a:pt x="84" y="225"/>
                  </a:lnTo>
                  <a:lnTo>
                    <a:pt x="81" y="223"/>
                  </a:lnTo>
                  <a:lnTo>
                    <a:pt x="77" y="219"/>
                  </a:lnTo>
                  <a:lnTo>
                    <a:pt x="73" y="217"/>
                  </a:lnTo>
                  <a:lnTo>
                    <a:pt x="69" y="213"/>
                  </a:lnTo>
                  <a:lnTo>
                    <a:pt x="63" y="209"/>
                  </a:lnTo>
                  <a:lnTo>
                    <a:pt x="60" y="208"/>
                  </a:lnTo>
                  <a:lnTo>
                    <a:pt x="54" y="204"/>
                  </a:lnTo>
                  <a:lnTo>
                    <a:pt x="54" y="204"/>
                  </a:lnTo>
                  <a:lnTo>
                    <a:pt x="50" y="202"/>
                  </a:lnTo>
                  <a:lnTo>
                    <a:pt x="44" y="200"/>
                  </a:lnTo>
                  <a:lnTo>
                    <a:pt x="41" y="198"/>
                  </a:lnTo>
                  <a:lnTo>
                    <a:pt x="35" y="194"/>
                  </a:lnTo>
                  <a:lnTo>
                    <a:pt x="31" y="192"/>
                  </a:lnTo>
                  <a:lnTo>
                    <a:pt x="27" y="188"/>
                  </a:lnTo>
                  <a:lnTo>
                    <a:pt x="23" y="185"/>
                  </a:lnTo>
                  <a:lnTo>
                    <a:pt x="21" y="181"/>
                  </a:lnTo>
                  <a:lnTo>
                    <a:pt x="21" y="181"/>
                  </a:lnTo>
                  <a:lnTo>
                    <a:pt x="20" y="175"/>
                  </a:lnTo>
                  <a:lnTo>
                    <a:pt x="20" y="169"/>
                  </a:lnTo>
                  <a:lnTo>
                    <a:pt x="20" y="166"/>
                  </a:lnTo>
                  <a:lnTo>
                    <a:pt x="20" y="160"/>
                  </a:lnTo>
                  <a:lnTo>
                    <a:pt x="20" y="156"/>
                  </a:lnTo>
                  <a:lnTo>
                    <a:pt x="20" y="150"/>
                  </a:lnTo>
                  <a:lnTo>
                    <a:pt x="20" y="147"/>
                  </a:lnTo>
                  <a:lnTo>
                    <a:pt x="18" y="141"/>
                  </a:lnTo>
                  <a:lnTo>
                    <a:pt x="18" y="141"/>
                  </a:lnTo>
                  <a:lnTo>
                    <a:pt x="16" y="137"/>
                  </a:lnTo>
                  <a:lnTo>
                    <a:pt x="14" y="133"/>
                  </a:lnTo>
                  <a:lnTo>
                    <a:pt x="10" y="131"/>
                  </a:lnTo>
                  <a:lnTo>
                    <a:pt x="8" y="127"/>
                  </a:lnTo>
                  <a:lnTo>
                    <a:pt x="4" y="124"/>
                  </a:lnTo>
                  <a:lnTo>
                    <a:pt x="2" y="118"/>
                  </a:lnTo>
                  <a:lnTo>
                    <a:pt x="0" y="112"/>
                  </a:lnTo>
                  <a:lnTo>
                    <a:pt x="0" y="103"/>
                  </a:lnTo>
                  <a:lnTo>
                    <a:pt x="0" y="103"/>
                  </a:lnTo>
                  <a:lnTo>
                    <a:pt x="0" y="93"/>
                  </a:lnTo>
                  <a:lnTo>
                    <a:pt x="2" y="84"/>
                  </a:lnTo>
                  <a:lnTo>
                    <a:pt x="4" y="74"/>
                  </a:lnTo>
                  <a:lnTo>
                    <a:pt x="8" y="64"/>
                  </a:lnTo>
                  <a:lnTo>
                    <a:pt x="12" y="57"/>
                  </a:lnTo>
                  <a:lnTo>
                    <a:pt x="18" y="47"/>
                  </a:lnTo>
                  <a:lnTo>
                    <a:pt x="23" y="40"/>
                  </a:lnTo>
                  <a:lnTo>
                    <a:pt x="29" y="32"/>
                  </a:lnTo>
                  <a:lnTo>
                    <a:pt x="35" y="24"/>
                  </a:lnTo>
                  <a:lnTo>
                    <a:pt x="42" y="19"/>
                  </a:lnTo>
                  <a:lnTo>
                    <a:pt x="50" y="13"/>
                  </a:lnTo>
                  <a:lnTo>
                    <a:pt x="58" y="7"/>
                  </a:lnTo>
                  <a:lnTo>
                    <a:pt x="65" y="3"/>
                  </a:lnTo>
                  <a:lnTo>
                    <a:pt x="73" y="2"/>
                  </a:lnTo>
                  <a:lnTo>
                    <a:pt x="82" y="0"/>
                  </a:lnTo>
                  <a:lnTo>
                    <a:pt x="90" y="0"/>
                  </a:lnTo>
                  <a:lnTo>
                    <a:pt x="90" y="0"/>
                  </a:lnTo>
                  <a:lnTo>
                    <a:pt x="96" y="0"/>
                  </a:lnTo>
                  <a:lnTo>
                    <a:pt x="102" y="0"/>
                  </a:lnTo>
                  <a:lnTo>
                    <a:pt x="107" y="0"/>
                  </a:lnTo>
                  <a:lnTo>
                    <a:pt x="113" y="0"/>
                  </a:lnTo>
                  <a:lnTo>
                    <a:pt x="119" y="0"/>
                  </a:lnTo>
                  <a:lnTo>
                    <a:pt x="123" y="0"/>
                  </a:lnTo>
                  <a:lnTo>
                    <a:pt x="126" y="0"/>
                  </a:lnTo>
                  <a:lnTo>
                    <a:pt x="126" y="0"/>
                  </a:lnTo>
                  <a:lnTo>
                    <a:pt x="126" y="0"/>
                  </a:lnTo>
                  <a:lnTo>
                    <a:pt x="136" y="0"/>
                  </a:lnTo>
                  <a:lnTo>
                    <a:pt x="144" y="2"/>
                  </a:lnTo>
                  <a:lnTo>
                    <a:pt x="151" y="3"/>
                  </a:lnTo>
                  <a:lnTo>
                    <a:pt x="159" y="9"/>
                  </a:lnTo>
                  <a:lnTo>
                    <a:pt x="166" y="13"/>
                  </a:lnTo>
                  <a:lnTo>
                    <a:pt x="172" y="19"/>
                  </a:lnTo>
                  <a:lnTo>
                    <a:pt x="178" y="26"/>
                  </a:lnTo>
                  <a:lnTo>
                    <a:pt x="184" y="32"/>
                  </a:lnTo>
                  <a:lnTo>
                    <a:pt x="189" y="42"/>
                  </a:lnTo>
                  <a:lnTo>
                    <a:pt x="193" y="49"/>
                  </a:lnTo>
                  <a:lnTo>
                    <a:pt x="197" y="59"/>
                  </a:lnTo>
                  <a:lnTo>
                    <a:pt x="201" y="68"/>
                  </a:lnTo>
                  <a:lnTo>
                    <a:pt x="203" y="80"/>
                  </a:lnTo>
                  <a:lnTo>
                    <a:pt x="206" y="89"/>
                  </a:lnTo>
                  <a:lnTo>
                    <a:pt x="206" y="101"/>
                  </a:lnTo>
                  <a:lnTo>
                    <a:pt x="206" y="112"/>
                  </a:lnTo>
                  <a:lnTo>
                    <a:pt x="206" y="112"/>
                  </a:lnTo>
                  <a:lnTo>
                    <a:pt x="206" y="114"/>
                  </a:lnTo>
                  <a:lnTo>
                    <a:pt x="206" y="118"/>
                  </a:lnTo>
                  <a:lnTo>
                    <a:pt x="205" y="120"/>
                  </a:lnTo>
                  <a:lnTo>
                    <a:pt x="203" y="122"/>
                  </a:lnTo>
                  <a:lnTo>
                    <a:pt x="201" y="124"/>
                  </a:lnTo>
                  <a:lnTo>
                    <a:pt x="199" y="126"/>
                  </a:lnTo>
                  <a:lnTo>
                    <a:pt x="197" y="126"/>
                  </a:lnTo>
                  <a:lnTo>
                    <a:pt x="195" y="127"/>
                  </a:lnTo>
                  <a:lnTo>
                    <a:pt x="195" y="127"/>
                  </a:lnTo>
                  <a:lnTo>
                    <a:pt x="197" y="127"/>
                  </a:lnTo>
                  <a:lnTo>
                    <a:pt x="201" y="129"/>
                  </a:lnTo>
                  <a:lnTo>
                    <a:pt x="203" y="129"/>
                  </a:lnTo>
                  <a:lnTo>
                    <a:pt x="205" y="129"/>
                  </a:lnTo>
                  <a:lnTo>
                    <a:pt x="206" y="129"/>
                  </a:lnTo>
                  <a:lnTo>
                    <a:pt x="208" y="129"/>
                  </a:lnTo>
                  <a:lnTo>
                    <a:pt x="212" y="127"/>
                  </a:lnTo>
                  <a:lnTo>
                    <a:pt x="214" y="127"/>
                  </a:lnTo>
                  <a:lnTo>
                    <a:pt x="222" y="12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0" name="Freeform 44"/>
            <p:cNvSpPr>
              <a:spLocks/>
            </p:cNvSpPr>
            <p:nvPr/>
          </p:nvSpPr>
          <p:spPr bwMode="gray">
            <a:xfrm>
              <a:off x="922" y="1768"/>
              <a:ext cx="300" cy="256"/>
            </a:xfrm>
            <a:custGeom>
              <a:avLst/>
              <a:gdLst/>
              <a:ahLst/>
              <a:cxnLst>
                <a:cxn ang="0">
                  <a:pos x="380" y="364"/>
                </a:cxn>
                <a:cxn ang="0">
                  <a:pos x="401" y="391"/>
                </a:cxn>
                <a:cxn ang="0">
                  <a:pos x="406" y="427"/>
                </a:cxn>
                <a:cxn ang="0">
                  <a:pos x="399" y="441"/>
                </a:cxn>
                <a:cxn ang="0">
                  <a:pos x="399" y="452"/>
                </a:cxn>
                <a:cxn ang="0">
                  <a:pos x="424" y="465"/>
                </a:cxn>
                <a:cxn ang="0">
                  <a:pos x="448" y="450"/>
                </a:cxn>
                <a:cxn ang="0">
                  <a:pos x="460" y="433"/>
                </a:cxn>
                <a:cxn ang="0">
                  <a:pos x="467" y="431"/>
                </a:cxn>
                <a:cxn ang="0">
                  <a:pos x="490" y="427"/>
                </a:cxn>
                <a:cxn ang="0">
                  <a:pos x="500" y="399"/>
                </a:cxn>
                <a:cxn ang="0">
                  <a:pos x="487" y="381"/>
                </a:cxn>
                <a:cxn ang="0">
                  <a:pos x="492" y="366"/>
                </a:cxn>
                <a:cxn ang="0">
                  <a:pos x="509" y="362"/>
                </a:cxn>
                <a:cxn ang="0">
                  <a:pos x="525" y="368"/>
                </a:cxn>
                <a:cxn ang="0">
                  <a:pos x="517" y="351"/>
                </a:cxn>
                <a:cxn ang="0">
                  <a:pos x="511" y="328"/>
                </a:cxn>
                <a:cxn ang="0">
                  <a:pos x="511" y="313"/>
                </a:cxn>
                <a:cxn ang="0">
                  <a:pos x="507" y="296"/>
                </a:cxn>
                <a:cxn ang="0">
                  <a:pos x="504" y="267"/>
                </a:cxn>
                <a:cxn ang="0">
                  <a:pos x="519" y="231"/>
                </a:cxn>
                <a:cxn ang="0">
                  <a:pos x="515" y="210"/>
                </a:cxn>
                <a:cxn ang="0">
                  <a:pos x="504" y="181"/>
                </a:cxn>
                <a:cxn ang="0">
                  <a:pos x="479" y="158"/>
                </a:cxn>
                <a:cxn ang="0">
                  <a:pos x="492" y="151"/>
                </a:cxn>
                <a:cxn ang="0">
                  <a:pos x="492" y="137"/>
                </a:cxn>
                <a:cxn ang="0">
                  <a:pos x="471" y="90"/>
                </a:cxn>
                <a:cxn ang="0">
                  <a:pos x="448" y="42"/>
                </a:cxn>
                <a:cxn ang="0">
                  <a:pos x="427" y="48"/>
                </a:cxn>
                <a:cxn ang="0">
                  <a:pos x="395" y="72"/>
                </a:cxn>
                <a:cxn ang="0">
                  <a:pos x="370" y="61"/>
                </a:cxn>
                <a:cxn ang="0">
                  <a:pos x="351" y="65"/>
                </a:cxn>
                <a:cxn ang="0">
                  <a:pos x="336" y="76"/>
                </a:cxn>
                <a:cxn ang="0">
                  <a:pos x="313" y="63"/>
                </a:cxn>
                <a:cxn ang="0">
                  <a:pos x="300" y="59"/>
                </a:cxn>
                <a:cxn ang="0">
                  <a:pos x="284" y="65"/>
                </a:cxn>
                <a:cxn ang="0">
                  <a:pos x="271" y="53"/>
                </a:cxn>
                <a:cxn ang="0">
                  <a:pos x="269" y="46"/>
                </a:cxn>
                <a:cxn ang="0">
                  <a:pos x="271" y="36"/>
                </a:cxn>
                <a:cxn ang="0">
                  <a:pos x="225" y="38"/>
                </a:cxn>
                <a:cxn ang="0">
                  <a:pos x="183" y="32"/>
                </a:cxn>
                <a:cxn ang="0">
                  <a:pos x="155" y="21"/>
                </a:cxn>
                <a:cxn ang="0">
                  <a:pos x="128" y="0"/>
                </a:cxn>
                <a:cxn ang="0">
                  <a:pos x="105" y="11"/>
                </a:cxn>
                <a:cxn ang="0">
                  <a:pos x="82" y="34"/>
                </a:cxn>
                <a:cxn ang="0">
                  <a:pos x="95" y="61"/>
                </a:cxn>
                <a:cxn ang="0">
                  <a:pos x="86" y="84"/>
                </a:cxn>
                <a:cxn ang="0">
                  <a:pos x="42" y="84"/>
                </a:cxn>
                <a:cxn ang="0">
                  <a:pos x="6" y="111"/>
                </a:cxn>
                <a:cxn ang="0">
                  <a:pos x="10" y="162"/>
                </a:cxn>
                <a:cxn ang="0">
                  <a:pos x="61" y="225"/>
                </a:cxn>
                <a:cxn ang="0">
                  <a:pos x="118" y="286"/>
                </a:cxn>
                <a:cxn ang="0">
                  <a:pos x="139" y="271"/>
                </a:cxn>
                <a:cxn ang="0">
                  <a:pos x="170" y="244"/>
                </a:cxn>
                <a:cxn ang="0">
                  <a:pos x="206" y="233"/>
                </a:cxn>
                <a:cxn ang="0">
                  <a:pos x="235" y="233"/>
                </a:cxn>
                <a:cxn ang="0">
                  <a:pos x="260" y="235"/>
                </a:cxn>
                <a:cxn ang="0">
                  <a:pos x="300" y="265"/>
                </a:cxn>
                <a:cxn ang="0">
                  <a:pos x="322" y="322"/>
                </a:cxn>
                <a:cxn ang="0">
                  <a:pos x="321" y="351"/>
                </a:cxn>
                <a:cxn ang="0">
                  <a:pos x="355" y="360"/>
                </a:cxn>
              </a:cxnLst>
              <a:rect l="0" t="0" r="r" b="b"/>
              <a:pathLst>
                <a:path w="530" h="465">
                  <a:moveTo>
                    <a:pt x="355" y="360"/>
                  </a:moveTo>
                  <a:lnTo>
                    <a:pt x="355" y="360"/>
                  </a:lnTo>
                  <a:lnTo>
                    <a:pt x="363" y="360"/>
                  </a:lnTo>
                  <a:lnTo>
                    <a:pt x="368" y="360"/>
                  </a:lnTo>
                  <a:lnTo>
                    <a:pt x="376" y="362"/>
                  </a:lnTo>
                  <a:lnTo>
                    <a:pt x="380" y="364"/>
                  </a:lnTo>
                  <a:lnTo>
                    <a:pt x="385" y="368"/>
                  </a:lnTo>
                  <a:lnTo>
                    <a:pt x="389" y="372"/>
                  </a:lnTo>
                  <a:lnTo>
                    <a:pt x="393" y="376"/>
                  </a:lnTo>
                  <a:lnTo>
                    <a:pt x="397" y="380"/>
                  </a:lnTo>
                  <a:lnTo>
                    <a:pt x="399" y="385"/>
                  </a:lnTo>
                  <a:lnTo>
                    <a:pt x="401" y="391"/>
                  </a:lnTo>
                  <a:lnTo>
                    <a:pt x="403" y="397"/>
                  </a:lnTo>
                  <a:lnTo>
                    <a:pt x="404" y="402"/>
                  </a:lnTo>
                  <a:lnTo>
                    <a:pt x="404" y="408"/>
                  </a:lnTo>
                  <a:lnTo>
                    <a:pt x="406" y="414"/>
                  </a:lnTo>
                  <a:lnTo>
                    <a:pt x="406" y="421"/>
                  </a:lnTo>
                  <a:lnTo>
                    <a:pt x="406" y="427"/>
                  </a:lnTo>
                  <a:lnTo>
                    <a:pt x="406" y="427"/>
                  </a:lnTo>
                  <a:lnTo>
                    <a:pt x="406" y="431"/>
                  </a:lnTo>
                  <a:lnTo>
                    <a:pt x="404" y="433"/>
                  </a:lnTo>
                  <a:lnTo>
                    <a:pt x="403" y="437"/>
                  </a:lnTo>
                  <a:lnTo>
                    <a:pt x="401" y="439"/>
                  </a:lnTo>
                  <a:lnTo>
                    <a:pt x="399" y="441"/>
                  </a:lnTo>
                  <a:lnTo>
                    <a:pt x="399" y="441"/>
                  </a:lnTo>
                  <a:lnTo>
                    <a:pt x="397" y="442"/>
                  </a:lnTo>
                  <a:lnTo>
                    <a:pt x="397" y="444"/>
                  </a:lnTo>
                  <a:lnTo>
                    <a:pt x="397" y="444"/>
                  </a:lnTo>
                  <a:lnTo>
                    <a:pt x="397" y="448"/>
                  </a:lnTo>
                  <a:lnTo>
                    <a:pt x="399" y="452"/>
                  </a:lnTo>
                  <a:lnTo>
                    <a:pt x="403" y="456"/>
                  </a:lnTo>
                  <a:lnTo>
                    <a:pt x="406" y="458"/>
                  </a:lnTo>
                  <a:lnTo>
                    <a:pt x="410" y="462"/>
                  </a:lnTo>
                  <a:lnTo>
                    <a:pt x="416" y="463"/>
                  </a:lnTo>
                  <a:lnTo>
                    <a:pt x="420" y="465"/>
                  </a:lnTo>
                  <a:lnTo>
                    <a:pt x="424" y="465"/>
                  </a:lnTo>
                  <a:lnTo>
                    <a:pt x="424" y="465"/>
                  </a:lnTo>
                  <a:lnTo>
                    <a:pt x="429" y="465"/>
                  </a:lnTo>
                  <a:lnTo>
                    <a:pt x="435" y="463"/>
                  </a:lnTo>
                  <a:lnTo>
                    <a:pt x="441" y="460"/>
                  </a:lnTo>
                  <a:lnTo>
                    <a:pt x="445" y="456"/>
                  </a:lnTo>
                  <a:lnTo>
                    <a:pt x="448" y="450"/>
                  </a:lnTo>
                  <a:lnTo>
                    <a:pt x="450" y="444"/>
                  </a:lnTo>
                  <a:lnTo>
                    <a:pt x="452" y="439"/>
                  </a:lnTo>
                  <a:lnTo>
                    <a:pt x="454" y="431"/>
                  </a:lnTo>
                  <a:lnTo>
                    <a:pt x="454" y="431"/>
                  </a:lnTo>
                  <a:lnTo>
                    <a:pt x="456" y="433"/>
                  </a:lnTo>
                  <a:lnTo>
                    <a:pt x="460" y="433"/>
                  </a:lnTo>
                  <a:lnTo>
                    <a:pt x="462" y="433"/>
                  </a:lnTo>
                  <a:lnTo>
                    <a:pt x="464" y="433"/>
                  </a:lnTo>
                  <a:lnTo>
                    <a:pt x="464" y="431"/>
                  </a:lnTo>
                  <a:lnTo>
                    <a:pt x="466" y="431"/>
                  </a:lnTo>
                  <a:lnTo>
                    <a:pt x="466" y="431"/>
                  </a:lnTo>
                  <a:lnTo>
                    <a:pt x="467" y="431"/>
                  </a:lnTo>
                  <a:lnTo>
                    <a:pt x="466" y="439"/>
                  </a:lnTo>
                  <a:lnTo>
                    <a:pt x="466" y="439"/>
                  </a:lnTo>
                  <a:lnTo>
                    <a:pt x="473" y="439"/>
                  </a:lnTo>
                  <a:lnTo>
                    <a:pt x="481" y="435"/>
                  </a:lnTo>
                  <a:lnTo>
                    <a:pt x="487" y="431"/>
                  </a:lnTo>
                  <a:lnTo>
                    <a:pt x="490" y="427"/>
                  </a:lnTo>
                  <a:lnTo>
                    <a:pt x="494" y="421"/>
                  </a:lnTo>
                  <a:lnTo>
                    <a:pt x="498" y="414"/>
                  </a:lnTo>
                  <a:lnTo>
                    <a:pt x="500" y="408"/>
                  </a:lnTo>
                  <a:lnTo>
                    <a:pt x="504" y="400"/>
                  </a:lnTo>
                  <a:lnTo>
                    <a:pt x="504" y="400"/>
                  </a:lnTo>
                  <a:lnTo>
                    <a:pt x="500" y="399"/>
                  </a:lnTo>
                  <a:lnTo>
                    <a:pt x="496" y="397"/>
                  </a:lnTo>
                  <a:lnTo>
                    <a:pt x="492" y="395"/>
                  </a:lnTo>
                  <a:lnTo>
                    <a:pt x="490" y="391"/>
                  </a:lnTo>
                  <a:lnTo>
                    <a:pt x="488" y="389"/>
                  </a:lnTo>
                  <a:lnTo>
                    <a:pt x="487" y="385"/>
                  </a:lnTo>
                  <a:lnTo>
                    <a:pt x="487" y="381"/>
                  </a:lnTo>
                  <a:lnTo>
                    <a:pt x="485" y="378"/>
                  </a:lnTo>
                  <a:lnTo>
                    <a:pt x="485" y="378"/>
                  </a:lnTo>
                  <a:lnTo>
                    <a:pt x="487" y="374"/>
                  </a:lnTo>
                  <a:lnTo>
                    <a:pt x="487" y="370"/>
                  </a:lnTo>
                  <a:lnTo>
                    <a:pt x="488" y="368"/>
                  </a:lnTo>
                  <a:lnTo>
                    <a:pt x="492" y="366"/>
                  </a:lnTo>
                  <a:lnTo>
                    <a:pt x="494" y="364"/>
                  </a:lnTo>
                  <a:lnTo>
                    <a:pt x="498" y="362"/>
                  </a:lnTo>
                  <a:lnTo>
                    <a:pt x="500" y="362"/>
                  </a:lnTo>
                  <a:lnTo>
                    <a:pt x="504" y="362"/>
                  </a:lnTo>
                  <a:lnTo>
                    <a:pt x="504" y="362"/>
                  </a:lnTo>
                  <a:lnTo>
                    <a:pt x="509" y="362"/>
                  </a:lnTo>
                  <a:lnTo>
                    <a:pt x="513" y="364"/>
                  </a:lnTo>
                  <a:lnTo>
                    <a:pt x="515" y="366"/>
                  </a:lnTo>
                  <a:lnTo>
                    <a:pt x="517" y="368"/>
                  </a:lnTo>
                  <a:lnTo>
                    <a:pt x="519" y="368"/>
                  </a:lnTo>
                  <a:lnTo>
                    <a:pt x="521" y="368"/>
                  </a:lnTo>
                  <a:lnTo>
                    <a:pt x="525" y="368"/>
                  </a:lnTo>
                  <a:lnTo>
                    <a:pt x="530" y="366"/>
                  </a:lnTo>
                  <a:lnTo>
                    <a:pt x="530" y="366"/>
                  </a:lnTo>
                  <a:lnTo>
                    <a:pt x="527" y="362"/>
                  </a:lnTo>
                  <a:lnTo>
                    <a:pt x="523" y="359"/>
                  </a:lnTo>
                  <a:lnTo>
                    <a:pt x="521" y="355"/>
                  </a:lnTo>
                  <a:lnTo>
                    <a:pt x="517" y="351"/>
                  </a:lnTo>
                  <a:lnTo>
                    <a:pt x="515" y="347"/>
                  </a:lnTo>
                  <a:lnTo>
                    <a:pt x="513" y="343"/>
                  </a:lnTo>
                  <a:lnTo>
                    <a:pt x="513" y="338"/>
                  </a:lnTo>
                  <a:lnTo>
                    <a:pt x="511" y="332"/>
                  </a:lnTo>
                  <a:lnTo>
                    <a:pt x="511" y="332"/>
                  </a:lnTo>
                  <a:lnTo>
                    <a:pt x="511" y="328"/>
                  </a:lnTo>
                  <a:lnTo>
                    <a:pt x="511" y="326"/>
                  </a:lnTo>
                  <a:lnTo>
                    <a:pt x="511" y="322"/>
                  </a:lnTo>
                  <a:lnTo>
                    <a:pt x="511" y="318"/>
                  </a:lnTo>
                  <a:lnTo>
                    <a:pt x="511" y="317"/>
                  </a:lnTo>
                  <a:lnTo>
                    <a:pt x="511" y="315"/>
                  </a:lnTo>
                  <a:lnTo>
                    <a:pt x="511" y="313"/>
                  </a:lnTo>
                  <a:lnTo>
                    <a:pt x="511" y="313"/>
                  </a:lnTo>
                  <a:lnTo>
                    <a:pt x="511" y="313"/>
                  </a:lnTo>
                  <a:lnTo>
                    <a:pt x="511" y="309"/>
                  </a:lnTo>
                  <a:lnTo>
                    <a:pt x="511" y="305"/>
                  </a:lnTo>
                  <a:lnTo>
                    <a:pt x="509" y="299"/>
                  </a:lnTo>
                  <a:lnTo>
                    <a:pt x="507" y="296"/>
                  </a:lnTo>
                  <a:lnTo>
                    <a:pt x="506" y="290"/>
                  </a:lnTo>
                  <a:lnTo>
                    <a:pt x="504" y="286"/>
                  </a:lnTo>
                  <a:lnTo>
                    <a:pt x="504" y="280"/>
                  </a:lnTo>
                  <a:lnTo>
                    <a:pt x="504" y="275"/>
                  </a:lnTo>
                  <a:lnTo>
                    <a:pt x="504" y="275"/>
                  </a:lnTo>
                  <a:lnTo>
                    <a:pt x="504" y="267"/>
                  </a:lnTo>
                  <a:lnTo>
                    <a:pt x="506" y="261"/>
                  </a:lnTo>
                  <a:lnTo>
                    <a:pt x="506" y="254"/>
                  </a:lnTo>
                  <a:lnTo>
                    <a:pt x="509" y="248"/>
                  </a:lnTo>
                  <a:lnTo>
                    <a:pt x="511" y="242"/>
                  </a:lnTo>
                  <a:lnTo>
                    <a:pt x="515" y="236"/>
                  </a:lnTo>
                  <a:lnTo>
                    <a:pt x="519" y="231"/>
                  </a:lnTo>
                  <a:lnTo>
                    <a:pt x="525" y="227"/>
                  </a:lnTo>
                  <a:lnTo>
                    <a:pt x="525" y="227"/>
                  </a:lnTo>
                  <a:lnTo>
                    <a:pt x="521" y="223"/>
                  </a:lnTo>
                  <a:lnTo>
                    <a:pt x="519" y="219"/>
                  </a:lnTo>
                  <a:lnTo>
                    <a:pt x="517" y="214"/>
                  </a:lnTo>
                  <a:lnTo>
                    <a:pt x="515" y="210"/>
                  </a:lnTo>
                  <a:lnTo>
                    <a:pt x="513" y="204"/>
                  </a:lnTo>
                  <a:lnTo>
                    <a:pt x="511" y="200"/>
                  </a:lnTo>
                  <a:lnTo>
                    <a:pt x="509" y="194"/>
                  </a:lnTo>
                  <a:lnTo>
                    <a:pt x="507" y="191"/>
                  </a:lnTo>
                  <a:lnTo>
                    <a:pt x="506" y="185"/>
                  </a:lnTo>
                  <a:lnTo>
                    <a:pt x="504" y="181"/>
                  </a:lnTo>
                  <a:lnTo>
                    <a:pt x="500" y="175"/>
                  </a:lnTo>
                  <a:lnTo>
                    <a:pt x="498" y="172"/>
                  </a:lnTo>
                  <a:lnTo>
                    <a:pt x="494" y="168"/>
                  </a:lnTo>
                  <a:lnTo>
                    <a:pt x="490" y="164"/>
                  </a:lnTo>
                  <a:lnTo>
                    <a:pt x="485" y="160"/>
                  </a:lnTo>
                  <a:lnTo>
                    <a:pt x="479" y="158"/>
                  </a:lnTo>
                  <a:lnTo>
                    <a:pt x="479" y="158"/>
                  </a:lnTo>
                  <a:lnTo>
                    <a:pt x="481" y="156"/>
                  </a:lnTo>
                  <a:lnTo>
                    <a:pt x="485" y="154"/>
                  </a:lnTo>
                  <a:lnTo>
                    <a:pt x="487" y="152"/>
                  </a:lnTo>
                  <a:lnTo>
                    <a:pt x="490" y="152"/>
                  </a:lnTo>
                  <a:lnTo>
                    <a:pt x="492" y="151"/>
                  </a:lnTo>
                  <a:lnTo>
                    <a:pt x="492" y="149"/>
                  </a:lnTo>
                  <a:lnTo>
                    <a:pt x="494" y="145"/>
                  </a:lnTo>
                  <a:lnTo>
                    <a:pt x="494" y="141"/>
                  </a:lnTo>
                  <a:lnTo>
                    <a:pt x="494" y="141"/>
                  </a:lnTo>
                  <a:lnTo>
                    <a:pt x="494" y="141"/>
                  </a:lnTo>
                  <a:lnTo>
                    <a:pt x="492" y="137"/>
                  </a:lnTo>
                  <a:lnTo>
                    <a:pt x="490" y="132"/>
                  </a:lnTo>
                  <a:lnTo>
                    <a:pt x="488" y="126"/>
                  </a:lnTo>
                  <a:lnTo>
                    <a:pt x="485" y="118"/>
                  </a:lnTo>
                  <a:lnTo>
                    <a:pt x="481" y="109"/>
                  </a:lnTo>
                  <a:lnTo>
                    <a:pt x="477" y="99"/>
                  </a:lnTo>
                  <a:lnTo>
                    <a:pt x="471" y="90"/>
                  </a:lnTo>
                  <a:lnTo>
                    <a:pt x="467" y="80"/>
                  </a:lnTo>
                  <a:lnTo>
                    <a:pt x="464" y="70"/>
                  </a:lnTo>
                  <a:lnTo>
                    <a:pt x="460" y="61"/>
                  </a:lnTo>
                  <a:lnTo>
                    <a:pt x="454" y="53"/>
                  </a:lnTo>
                  <a:lnTo>
                    <a:pt x="452" y="48"/>
                  </a:lnTo>
                  <a:lnTo>
                    <a:pt x="448" y="42"/>
                  </a:lnTo>
                  <a:lnTo>
                    <a:pt x="446" y="38"/>
                  </a:lnTo>
                  <a:lnTo>
                    <a:pt x="445" y="38"/>
                  </a:lnTo>
                  <a:lnTo>
                    <a:pt x="445" y="38"/>
                  </a:lnTo>
                  <a:lnTo>
                    <a:pt x="439" y="38"/>
                  </a:lnTo>
                  <a:lnTo>
                    <a:pt x="433" y="42"/>
                  </a:lnTo>
                  <a:lnTo>
                    <a:pt x="427" y="48"/>
                  </a:lnTo>
                  <a:lnTo>
                    <a:pt x="424" y="55"/>
                  </a:lnTo>
                  <a:lnTo>
                    <a:pt x="418" y="61"/>
                  </a:lnTo>
                  <a:lnTo>
                    <a:pt x="410" y="67"/>
                  </a:lnTo>
                  <a:lnTo>
                    <a:pt x="403" y="70"/>
                  </a:lnTo>
                  <a:lnTo>
                    <a:pt x="395" y="72"/>
                  </a:lnTo>
                  <a:lnTo>
                    <a:pt x="395" y="72"/>
                  </a:lnTo>
                  <a:lnTo>
                    <a:pt x="389" y="72"/>
                  </a:lnTo>
                  <a:lnTo>
                    <a:pt x="385" y="70"/>
                  </a:lnTo>
                  <a:lnTo>
                    <a:pt x="382" y="69"/>
                  </a:lnTo>
                  <a:lnTo>
                    <a:pt x="378" y="67"/>
                  </a:lnTo>
                  <a:lnTo>
                    <a:pt x="374" y="63"/>
                  </a:lnTo>
                  <a:lnTo>
                    <a:pt x="370" y="61"/>
                  </a:lnTo>
                  <a:lnTo>
                    <a:pt x="366" y="59"/>
                  </a:lnTo>
                  <a:lnTo>
                    <a:pt x="361" y="59"/>
                  </a:lnTo>
                  <a:lnTo>
                    <a:pt x="361" y="59"/>
                  </a:lnTo>
                  <a:lnTo>
                    <a:pt x="357" y="59"/>
                  </a:lnTo>
                  <a:lnTo>
                    <a:pt x="355" y="61"/>
                  </a:lnTo>
                  <a:lnTo>
                    <a:pt x="351" y="65"/>
                  </a:lnTo>
                  <a:lnTo>
                    <a:pt x="349" y="67"/>
                  </a:lnTo>
                  <a:lnTo>
                    <a:pt x="347" y="70"/>
                  </a:lnTo>
                  <a:lnTo>
                    <a:pt x="343" y="72"/>
                  </a:lnTo>
                  <a:lnTo>
                    <a:pt x="340" y="76"/>
                  </a:lnTo>
                  <a:lnTo>
                    <a:pt x="336" y="76"/>
                  </a:lnTo>
                  <a:lnTo>
                    <a:pt x="336" y="76"/>
                  </a:lnTo>
                  <a:lnTo>
                    <a:pt x="332" y="76"/>
                  </a:lnTo>
                  <a:lnTo>
                    <a:pt x="328" y="74"/>
                  </a:lnTo>
                  <a:lnTo>
                    <a:pt x="322" y="72"/>
                  </a:lnTo>
                  <a:lnTo>
                    <a:pt x="321" y="69"/>
                  </a:lnTo>
                  <a:lnTo>
                    <a:pt x="317" y="67"/>
                  </a:lnTo>
                  <a:lnTo>
                    <a:pt x="313" y="63"/>
                  </a:lnTo>
                  <a:lnTo>
                    <a:pt x="311" y="59"/>
                  </a:lnTo>
                  <a:lnTo>
                    <a:pt x="307" y="55"/>
                  </a:lnTo>
                  <a:lnTo>
                    <a:pt x="307" y="55"/>
                  </a:lnTo>
                  <a:lnTo>
                    <a:pt x="305" y="57"/>
                  </a:lnTo>
                  <a:lnTo>
                    <a:pt x="301" y="59"/>
                  </a:lnTo>
                  <a:lnTo>
                    <a:pt x="300" y="59"/>
                  </a:lnTo>
                  <a:lnTo>
                    <a:pt x="298" y="61"/>
                  </a:lnTo>
                  <a:lnTo>
                    <a:pt x="294" y="63"/>
                  </a:lnTo>
                  <a:lnTo>
                    <a:pt x="292" y="63"/>
                  </a:lnTo>
                  <a:lnTo>
                    <a:pt x="288" y="65"/>
                  </a:lnTo>
                  <a:lnTo>
                    <a:pt x="284" y="65"/>
                  </a:lnTo>
                  <a:lnTo>
                    <a:pt x="284" y="65"/>
                  </a:lnTo>
                  <a:lnTo>
                    <a:pt x="280" y="65"/>
                  </a:lnTo>
                  <a:lnTo>
                    <a:pt x="277" y="63"/>
                  </a:lnTo>
                  <a:lnTo>
                    <a:pt x="275" y="61"/>
                  </a:lnTo>
                  <a:lnTo>
                    <a:pt x="273" y="57"/>
                  </a:lnTo>
                  <a:lnTo>
                    <a:pt x="271" y="55"/>
                  </a:lnTo>
                  <a:lnTo>
                    <a:pt x="271" y="53"/>
                  </a:lnTo>
                  <a:lnTo>
                    <a:pt x="271" y="51"/>
                  </a:lnTo>
                  <a:lnTo>
                    <a:pt x="271" y="49"/>
                  </a:lnTo>
                  <a:lnTo>
                    <a:pt x="271" y="49"/>
                  </a:lnTo>
                  <a:lnTo>
                    <a:pt x="269" y="48"/>
                  </a:lnTo>
                  <a:lnTo>
                    <a:pt x="269" y="48"/>
                  </a:lnTo>
                  <a:lnTo>
                    <a:pt x="269" y="46"/>
                  </a:lnTo>
                  <a:lnTo>
                    <a:pt x="267" y="44"/>
                  </a:lnTo>
                  <a:lnTo>
                    <a:pt x="267" y="44"/>
                  </a:lnTo>
                  <a:lnTo>
                    <a:pt x="267" y="42"/>
                  </a:lnTo>
                  <a:lnTo>
                    <a:pt x="269" y="40"/>
                  </a:lnTo>
                  <a:lnTo>
                    <a:pt x="271" y="36"/>
                  </a:lnTo>
                  <a:lnTo>
                    <a:pt x="271" y="36"/>
                  </a:lnTo>
                  <a:lnTo>
                    <a:pt x="263" y="36"/>
                  </a:lnTo>
                  <a:lnTo>
                    <a:pt x="256" y="38"/>
                  </a:lnTo>
                  <a:lnTo>
                    <a:pt x="248" y="38"/>
                  </a:lnTo>
                  <a:lnTo>
                    <a:pt x="240" y="38"/>
                  </a:lnTo>
                  <a:lnTo>
                    <a:pt x="233" y="38"/>
                  </a:lnTo>
                  <a:lnTo>
                    <a:pt x="225" y="38"/>
                  </a:lnTo>
                  <a:lnTo>
                    <a:pt x="219" y="38"/>
                  </a:lnTo>
                  <a:lnTo>
                    <a:pt x="212" y="38"/>
                  </a:lnTo>
                  <a:lnTo>
                    <a:pt x="204" y="36"/>
                  </a:lnTo>
                  <a:lnTo>
                    <a:pt x="197" y="36"/>
                  </a:lnTo>
                  <a:lnTo>
                    <a:pt x="189" y="34"/>
                  </a:lnTo>
                  <a:lnTo>
                    <a:pt x="183" y="32"/>
                  </a:lnTo>
                  <a:lnTo>
                    <a:pt x="176" y="30"/>
                  </a:lnTo>
                  <a:lnTo>
                    <a:pt x="170" y="28"/>
                  </a:lnTo>
                  <a:lnTo>
                    <a:pt x="164" y="27"/>
                  </a:lnTo>
                  <a:lnTo>
                    <a:pt x="158" y="23"/>
                  </a:lnTo>
                  <a:lnTo>
                    <a:pt x="158" y="23"/>
                  </a:lnTo>
                  <a:lnTo>
                    <a:pt x="155" y="21"/>
                  </a:lnTo>
                  <a:lnTo>
                    <a:pt x="151" y="17"/>
                  </a:lnTo>
                  <a:lnTo>
                    <a:pt x="147" y="13"/>
                  </a:lnTo>
                  <a:lnTo>
                    <a:pt x="143" y="9"/>
                  </a:lnTo>
                  <a:lnTo>
                    <a:pt x="139" y="6"/>
                  </a:lnTo>
                  <a:lnTo>
                    <a:pt x="136" y="2"/>
                  </a:lnTo>
                  <a:lnTo>
                    <a:pt x="128" y="0"/>
                  </a:lnTo>
                  <a:lnTo>
                    <a:pt x="118" y="0"/>
                  </a:lnTo>
                  <a:lnTo>
                    <a:pt x="118" y="0"/>
                  </a:lnTo>
                  <a:lnTo>
                    <a:pt x="115" y="0"/>
                  </a:lnTo>
                  <a:lnTo>
                    <a:pt x="111" y="4"/>
                  </a:lnTo>
                  <a:lnTo>
                    <a:pt x="107" y="8"/>
                  </a:lnTo>
                  <a:lnTo>
                    <a:pt x="105" y="11"/>
                  </a:lnTo>
                  <a:lnTo>
                    <a:pt x="103" y="17"/>
                  </a:lnTo>
                  <a:lnTo>
                    <a:pt x="101" y="23"/>
                  </a:lnTo>
                  <a:lnTo>
                    <a:pt x="99" y="28"/>
                  </a:lnTo>
                  <a:lnTo>
                    <a:pt x="99" y="34"/>
                  </a:lnTo>
                  <a:lnTo>
                    <a:pt x="82" y="34"/>
                  </a:lnTo>
                  <a:lnTo>
                    <a:pt x="82" y="34"/>
                  </a:lnTo>
                  <a:lnTo>
                    <a:pt x="82" y="40"/>
                  </a:lnTo>
                  <a:lnTo>
                    <a:pt x="84" y="44"/>
                  </a:lnTo>
                  <a:lnTo>
                    <a:pt x="88" y="49"/>
                  </a:lnTo>
                  <a:lnTo>
                    <a:pt x="90" y="53"/>
                  </a:lnTo>
                  <a:lnTo>
                    <a:pt x="94" y="57"/>
                  </a:lnTo>
                  <a:lnTo>
                    <a:pt x="95" y="61"/>
                  </a:lnTo>
                  <a:lnTo>
                    <a:pt x="99" y="65"/>
                  </a:lnTo>
                  <a:lnTo>
                    <a:pt x="99" y="70"/>
                  </a:lnTo>
                  <a:lnTo>
                    <a:pt x="99" y="70"/>
                  </a:lnTo>
                  <a:lnTo>
                    <a:pt x="97" y="78"/>
                  </a:lnTo>
                  <a:lnTo>
                    <a:pt x="94" y="82"/>
                  </a:lnTo>
                  <a:lnTo>
                    <a:pt x="86" y="84"/>
                  </a:lnTo>
                  <a:lnTo>
                    <a:pt x="78" y="84"/>
                  </a:lnTo>
                  <a:lnTo>
                    <a:pt x="71" y="84"/>
                  </a:lnTo>
                  <a:lnTo>
                    <a:pt x="61" y="82"/>
                  </a:lnTo>
                  <a:lnTo>
                    <a:pt x="52" y="82"/>
                  </a:lnTo>
                  <a:lnTo>
                    <a:pt x="42" y="84"/>
                  </a:lnTo>
                  <a:lnTo>
                    <a:pt x="42" y="84"/>
                  </a:lnTo>
                  <a:lnTo>
                    <a:pt x="36" y="86"/>
                  </a:lnTo>
                  <a:lnTo>
                    <a:pt x="31" y="90"/>
                  </a:lnTo>
                  <a:lnTo>
                    <a:pt x="23" y="93"/>
                  </a:lnTo>
                  <a:lnTo>
                    <a:pt x="17" y="99"/>
                  </a:lnTo>
                  <a:lnTo>
                    <a:pt x="12" y="105"/>
                  </a:lnTo>
                  <a:lnTo>
                    <a:pt x="6" y="111"/>
                  </a:lnTo>
                  <a:lnTo>
                    <a:pt x="2" y="116"/>
                  </a:lnTo>
                  <a:lnTo>
                    <a:pt x="0" y="124"/>
                  </a:lnTo>
                  <a:lnTo>
                    <a:pt x="0" y="124"/>
                  </a:lnTo>
                  <a:lnTo>
                    <a:pt x="2" y="137"/>
                  </a:lnTo>
                  <a:lnTo>
                    <a:pt x="6" y="151"/>
                  </a:lnTo>
                  <a:lnTo>
                    <a:pt x="10" y="162"/>
                  </a:lnTo>
                  <a:lnTo>
                    <a:pt x="15" y="173"/>
                  </a:lnTo>
                  <a:lnTo>
                    <a:pt x="23" y="185"/>
                  </a:lnTo>
                  <a:lnTo>
                    <a:pt x="33" y="196"/>
                  </a:lnTo>
                  <a:lnTo>
                    <a:pt x="40" y="206"/>
                  </a:lnTo>
                  <a:lnTo>
                    <a:pt x="52" y="215"/>
                  </a:lnTo>
                  <a:lnTo>
                    <a:pt x="61" y="225"/>
                  </a:lnTo>
                  <a:lnTo>
                    <a:pt x="71" y="235"/>
                  </a:lnTo>
                  <a:lnTo>
                    <a:pt x="82" y="244"/>
                  </a:lnTo>
                  <a:lnTo>
                    <a:pt x="92" y="254"/>
                  </a:lnTo>
                  <a:lnTo>
                    <a:pt x="101" y="265"/>
                  </a:lnTo>
                  <a:lnTo>
                    <a:pt x="111" y="275"/>
                  </a:lnTo>
                  <a:lnTo>
                    <a:pt x="118" y="286"/>
                  </a:lnTo>
                  <a:lnTo>
                    <a:pt x="124" y="297"/>
                  </a:lnTo>
                  <a:lnTo>
                    <a:pt x="124" y="297"/>
                  </a:lnTo>
                  <a:lnTo>
                    <a:pt x="128" y="290"/>
                  </a:lnTo>
                  <a:lnTo>
                    <a:pt x="132" y="284"/>
                  </a:lnTo>
                  <a:lnTo>
                    <a:pt x="136" y="278"/>
                  </a:lnTo>
                  <a:lnTo>
                    <a:pt x="139" y="271"/>
                  </a:lnTo>
                  <a:lnTo>
                    <a:pt x="143" y="267"/>
                  </a:lnTo>
                  <a:lnTo>
                    <a:pt x="149" y="261"/>
                  </a:lnTo>
                  <a:lnTo>
                    <a:pt x="155" y="256"/>
                  </a:lnTo>
                  <a:lnTo>
                    <a:pt x="158" y="252"/>
                  </a:lnTo>
                  <a:lnTo>
                    <a:pt x="164" y="246"/>
                  </a:lnTo>
                  <a:lnTo>
                    <a:pt x="170" y="244"/>
                  </a:lnTo>
                  <a:lnTo>
                    <a:pt x="176" y="240"/>
                  </a:lnTo>
                  <a:lnTo>
                    <a:pt x="181" y="236"/>
                  </a:lnTo>
                  <a:lnTo>
                    <a:pt x="187" y="235"/>
                  </a:lnTo>
                  <a:lnTo>
                    <a:pt x="193" y="235"/>
                  </a:lnTo>
                  <a:lnTo>
                    <a:pt x="200" y="233"/>
                  </a:lnTo>
                  <a:lnTo>
                    <a:pt x="206" y="233"/>
                  </a:lnTo>
                  <a:lnTo>
                    <a:pt x="206" y="233"/>
                  </a:lnTo>
                  <a:lnTo>
                    <a:pt x="212" y="233"/>
                  </a:lnTo>
                  <a:lnTo>
                    <a:pt x="218" y="233"/>
                  </a:lnTo>
                  <a:lnTo>
                    <a:pt x="223" y="233"/>
                  </a:lnTo>
                  <a:lnTo>
                    <a:pt x="229" y="233"/>
                  </a:lnTo>
                  <a:lnTo>
                    <a:pt x="235" y="233"/>
                  </a:lnTo>
                  <a:lnTo>
                    <a:pt x="239" y="233"/>
                  </a:lnTo>
                  <a:lnTo>
                    <a:pt x="242" y="233"/>
                  </a:lnTo>
                  <a:lnTo>
                    <a:pt x="242" y="233"/>
                  </a:lnTo>
                  <a:lnTo>
                    <a:pt x="242" y="233"/>
                  </a:lnTo>
                  <a:lnTo>
                    <a:pt x="252" y="233"/>
                  </a:lnTo>
                  <a:lnTo>
                    <a:pt x="260" y="235"/>
                  </a:lnTo>
                  <a:lnTo>
                    <a:pt x="267" y="236"/>
                  </a:lnTo>
                  <a:lnTo>
                    <a:pt x="275" y="242"/>
                  </a:lnTo>
                  <a:lnTo>
                    <a:pt x="282" y="246"/>
                  </a:lnTo>
                  <a:lnTo>
                    <a:pt x="288" y="252"/>
                  </a:lnTo>
                  <a:lnTo>
                    <a:pt x="294" y="259"/>
                  </a:lnTo>
                  <a:lnTo>
                    <a:pt x="300" y="265"/>
                  </a:lnTo>
                  <a:lnTo>
                    <a:pt x="305" y="275"/>
                  </a:lnTo>
                  <a:lnTo>
                    <a:pt x="309" y="282"/>
                  </a:lnTo>
                  <a:lnTo>
                    <a:pt x="313" y="292"/>
                  </a:lnTo>
                  <a:lnTo>
                    <a:pt x="317" y="301"/>
                  </a:lnTo>
                  <a:lnTo>
                    <a:pt x="319" y="313"/>
                  </a:lnTo>
                  <a:lnTo>
                    <a:pt x="322" y="322"/>
                  </a:lnTo>
                  <a:lnTo>
                    <a:pt x="322" y="334"/>
                  </a:lnTo>
                  <a:lnTo>
                    <a:pt x="322" y="345"/>
                  </a:lnTo>
                  <a:lnTo>
                    <a:pt x="322" y="345"/>
                  </a:lnTo>
                  <a:lnTo>
                    <a:pt x="322" y="347"/>
                  </a:lnTo>
                  <a:lnTo>
                    <a:pt x="322" y="349"/>
                  </a:lnTo>
                  <a:lnTo>
                    <a:pt x="321" y="351"/>
                  </a:lnTo>
                  <a:lnTo>
                    <a:pt x="319" y="355"/>
                  </a:lnTo>
                  <a:lnTo>
                    <a:pt x="317" y="357"/>
                  </a:lnTo>
                  <a:lnTo>
                    <a:pt x="315" y="359"/>
                  </a:lnTo>
                  <a:lnTo>
                    <a:pt x="313" y="360"/>
                  </a:lnTo>
                  <a:lnTo>
                    <a:pt x="311" y="362"/>
                  </a:lnTo>
                  <a:lnTo>
                    <a:pt x="355" y="36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1" name="Freeform 45"/>
            <p:cNvSpPr>
              <a:spLocks/>
            </p:cNvSpPr>
            <p:nvPr/>
          </p:nvSpPr>
          <p:spPr bwMode="gray">
            <a:xfrm>
              <a:off x="863" y="1766"/>
              <a:ext cx="125" cy="70"/>
            </a:xfrm>
            <a:custGeom>
              <a:avLst/>
              <a:gdLst/>
              <a:ahLst/>
              <a:cxnLst>
                <a:cxn ang="0">
                  <a:pos x="223" y="6"/>
                </a:cxn>
                <a:cxn ang="0">
                  <a:pos x="216" y="10"/>
                </a:cxn>
                <a:cxn ang="0">
                  <a:pos x="210" y="17"/>
                </a:cxn>
                <a:cxn ang="0">
                  <a:pos x="206" y="29"/>
                </a:cxn>
                <a:cxn ang="0">
                  <a:pos x="204" y="40"/>
                </a:cxn>
                <a:cxn ang="0">
                  <a:pos x="187" y="40"/>
                </a:cxn>
                <a:cxn ang="0">
                  <a:pos x="189" y="50"/>
                </a:cxn>
                <a:cxn ang="0">
                  <a:pos x="195" y="59"/>
                </a:cxn>
                <a:cxn ang="0">
                  <a:pos x="200" y="67"/>
                </a:cxn>
                <a:cxn ang="0">
                  <a:pos x="204" y="76"/>
                </a:cxn>
                <a:cxn ang="0">
                  <a:pos x="202" y="84"/>
                </a:cxn>
                <a:cxn ang="0">
                  <a:pos x="191" y="90"/>
                </a:cxn>
                <a:cxn ang="0">
                  <a:pos x="176" y="90"/>
                </a:cxn>
                <a:cxn ang="0">
                  <a:pos x="157" y="88"/>
                </a:cxn>
                <a:cxn ang="0">
                  <a:pos x="147" y="90"/>
                </a:cxn>
                <a:cxn ang="0">
                  <a:pos x="136" y="96"/>
                </a:cxn>
                <a:cxn ang="0">
                  <a:pos x="122" y="105"/>
                </a:cxn>
                <a:cxn ang="0">
                  <a:pos x="111" y="117"/>
                </a:cxn>
                <a:cxn ang="0">
                  <a:pos x="105" y="130"/>
                </a:cxn>
                <a:cxn ang="0">
                  <a:pos x="99" y="128"/>
                </a:cxn>
                <a:cxn ang="0">
                  <a:pos x="88" y="124"/>
                </a:cxn>
                <a:cxn ang="0">
                  <a:pos x="76" y="118"/>
                </a:cxn>
                <a:cxn ang="0">
                  <a:pos x="71" y="109"/>
                </a:cxn>
                <a:cxn ang="0">
                  <a:pos x="71" y="103"/>
                </a:cxn>
                <a:cxn ang="0">
                  <a:pos x="71" y="94"/>
                </a:cxn>
                <a:cxn ang="0">
                  <a:pos x="69" y="84"/>
                </a:cxn>
                <a:cxn ang="0">
                  <a:pos x="69" y="75"/>
                </a:cxn>
                <a:cxn ang="0">
                  <a:pos x="71" y="61"/>
                </a:cxn>
                <a:cxn ang="0">
                  <a:pos x="67" y="61"/>
                </a:cxn>
                <a:cxn ang="0">
                  <a:pos x="57" y="61"/>
                </a:cxn>
                <a:cxn ang="0">
                  <a:pos x="52" y="61"/>
                </a:cxn>
                <a:cxn ang="0">
                  <a:pos x="42" y="61"/>
                </a:cxn>
                <a:cxn ang="0">
                  <a:pos x="38" y="61"/>
                </a:cxn>
                <a:cxn ang="0">
                  <a:pos x="23" y="57"/>
                </a:cxn>
                <a:cxn ang="0">
                  <a:pos x="12" y="46"/>
                </a:cxn>
                <a:cxn ang="0">
                  <a:pos x="4" y="33"/>
                </a:cxn>
                <a:cxn ang="0">
                  <a:pos x="0" y="23"/>
                </a:cxn>
                <a:cxn ang="0">
                  <a:pos x="8" y="19"/>
                </a:cxn>
                <a:cxn ang="0">
                  <a:pos x="21" y="15"/>
                </a:cxn>
                <a:cxn ang="0">
                  <a:pos x="36" y="12"/>
                </a:cxn>
                <a:cxn ang="0">
                  <a:pos x="50" y="8"/>
                </a:cxn>
                <a:cxn ang="0">
                  <a:pos x="63" y="6"/>
                </a:cxn>
                <a:cxn ang="0">
                  <a:pos x="78" y="2"/>
                </a:cxn>
                <a:cxn ang="0">
                  <a:pos x="92" y="0"/>
                </a:cxn>
                <a:cxn ang="0">
                  <a:pos x="107" y="0"/>
                </a:cxn>
                <a:cxn ang="0">
                  <a:pos x="218" y="8"/>
                </a:cxn>
              </a:cxnLst>
              <a:rect l="0" t="0" r="r" b="b"/>
              <a:pathLst>
                <a:path w="223" h="130">
                  <a:moveTo>
                    <a:pt x="223" y="6"/>
                  </a:moveTo>
                  <a:lnTo>
                    <a:pt x="223" y="6"/>
                  </a:lnTo>
                  <a:lnTo>
                    <a:pt x="220" y="6"/>
                  </a:lnTo>
                  <a:lnTo>
                    <a:pt x="216" y="10"/>
                  </a:lnTo>
                  <a:lnTo>
                    <a:pt x="212" y="14"/>
                  </a:lnTo>
                  <a:lnTo>
                    <a:pt x="210" y="17"/>
                  </a:lnTo>
                  <a:lnTo>
                    <a:pt x="208" y="23"/>
                  </a:lnTo>
                  <a:lnTo>
                    <a:pt x="206" y="29"/>
                  </a:lnTo>
                  <a:lnTo>
                    <a:pt x="204" y="34"/>
                  </a:lnTo>
                  <a:lnTo>
                    <a:pt x="204" y="40"/>
                  </a:lnTo>
                  <a:lnTo>
                    <a:pt x="187" y="40"/>
                  </a:lnTo>
                  <a:lnTo>
                    <a:pt x="187" y="40"/>
                  </a:lnTo>
                  <a:lnTo>
                    <a:pt x="187" y="46"/>
                  </a:lnTo>
                  <a:lnTo>
                    <a:pt x="189" y="50"/>
                  </a:lnTo>
                  <a:lnTo>
                    <a:pt x="193" y="55"/>
                  </a:lnTo>
                  <a:lnTo>
                    <a:pt x="195" y="59"/>
                  </a:lnTo>
                  <a:lnTo>
                    <a:pt x="199" y="63"/>
                  </a:lnTo>
                  <a:lnTo>
                    <a:pt x="200" y="67"/>
                  </a:lnTo>
                  <a:lnTo>
                    <a:pt x="204" y="71"/>
                  </a:lnTo>
                  <a:lnTo>
                    <a:pt x="204" y="76"/>
                  </a:lnTo>
                  <a:lnTo>
                    <a:pt x="204" y="76"/>
                  </a:lnTo>
                  <a:lnTo>
                    <a:pt x="202" y="84"/>
                  </a:lnTo>
                  <a:lnTo>
                    <a:pt x="199" y="88"/>
                  </a:lnTo>
                  <a:lnTo>
                    <a:pt x="191" y="90"/>
                  </a:lnTo>
                  <a:lnTo>
                    <a:pt x="183" y="90"/>
                  </a:lnTo>
                  <a:lnTo>
                    <a:pt x="176" y="90"/>
                  </a:lnTo>
                  <a:lnTo>
                    <a:pt x="166" y="88"/>
                  </a:lnTo>
                  <a:lnTo>
                    <a:pt x="157" y="88"/>
                  </a:lnTo>
                  <a:lnTo>
                    <a:pt x="147" y="90"/>
                  </a:lnTo>
                  <a:lnTo>
                    <a:pt x="147" y="90"/>
                  </a:lnTo>
                  <a:lnTo>
                    <a:pt x="141" y="92"/>
                  </a:lnTo>
                  <a:lnTo>
                    <a:pt x="136" y="96"/>
                  </a:lnTo>
                  <a:lnTo>
                    <a:pt x="128" y="99"/>
                  </a:lnTo>
                  <a:lnTo>
                    <a:pt x="122" y="105"/>
                  </a:lnTo>
                  <a:lnTo>
                    <a:pt x="117" y="111"/>
                  </a:lnTo>
                  <a:lnTo>
                    <a:pt x="111" y="117"/>
                  </a:lnTo>
                  <a:lnTo>
                    <a:pt x="107" y="122"/>
                  </a:lnTo>
                  <a:lnTo>
                    <a:pt x="105" y="130"/>
                  </a:lnTo>
                  <a:lnTo>
                    <a:pt x="105" y="130"/>
                  </a:lnTo>
                  <a:lnTo>
                    <a:pt x="99" y="128"/>
                  </a:lnTo>
                  <a:lnTo>
                    <a:pt x="94" y="128"/>
                  </a:lnTo>
                  <a:lnTo>
                    <a:pt x="88" y="124"/>
                  </a:lnTo>
                  <a:lnTo>
                    <a:pt x="82" y="122"/>
                  </a:lnTo>
                  <a:lnTo>
                    <a:pt x="76" y="118"/>
                  </a:lnTo>
                  <a:lnTo>
                    <a:pt x="75" y="113"/>
                  </a:lnTo>
                  <a:lnTo>
                    <a:pt x="71" y="109"/>
                  </a:lnTo>
                  <a:lnTo>
                    <a:pt x="71" y="103"/>
                  </a:lnTo>
                  <a:lnTo>
                    <a:pt x="71" y="103"/>
                  </a:lnTo>
                  <a:lnTo>
                    <a:pt x="71" y="97"/>
                  </a:lnTo>
                  <a:lnTo>
                    <a:pt x="71" y="94"/>
                  </a:lnTo>
                  <a:lnTo>
                    <a:pt x="69" y="90"/>
                  </a:lnTo>
                  <a:lnTo>
                    <a:pt x="69" y="84"/>
                  </a:lnTo>
                  <a:lnTo>
                    <a:pt x="69" y="78"/>
                  </a:lnTo>
                  <a:lnTo>
                    <a:pt x="69" y="75"/>
                  </a:lnTo>
                  <a:lnTo>
                    <a:pt x="69" y="67"/>
                  </a:lnTo>
                  <a:lnTo>
                    <a:pt x="71" y="61"/>
                  </a:lnTo>
                  <a:lnTo>
                    <a:pt x="71" y="61"/>
                  </a:lnTo>
                  <a:lnTo>
                    <a:pt x="67" y="61"/>
                  </a:lnTo>
                  <a:lnTo>
                    <a:pt x="63" y="61"/>
                  </a:lnTo>
                  <a:lnTo>
                    <a:pt x="57" y="61"/>
                  </a:lnTo>
                  <a:lnTo>
                    <a:pt x="54" y="61"/>
                  </a:lnTo>
                  <a:lnTo>
                    <a:pt x="52" y="61"/>
                  </a:lnTo>
                  <a:lnTo>
                    <a:pt x="48" y="61"/>
                  </a:lnTo>
                  <a:lnTo>
                    <a:pt x="42" y="61"/>
                  </a:lnTo>
                  <a:lnTo>
                    <a:pt x="38" y="61"/>
                  </a:lnTo>
                  <a:lnTo>
                    <a:pt x="38" y="61"/>
                  </a:lnTo>
                  <a:lnTo>
                    <a:pt x="31" y="59"/>
                  </a:lnTo>
                  <a:lnTo>
                    <a:pt x="23" y="57"/>
                  </a:lnTo>
                  <a:lnTo>
                    <a:pt x="17" y="52"/>
                  </a:lnTo>
                  <a:lnTo>
                    <a:pt x="12" y="46"/>
                  </a:lnTo>
                  <a:lnTo>
                    <a:pt x="8" y="40"/>
                  </a:lnTo>
                  <a:lnTo>
                    <a:pt x="4" y="33"/>
                  </a:lnTo>
                  <a:lnTo>
                    <a:pt x="2" y="27"/>
                  </a:lnTo>
                  <a:lnTo>
                    <a:pt x="0" y="23"/>
                  </a:lnTo>
                  <a:lnTo>
                    <a:pt x="0" y="23"/>
                  </a:lnTo>
                  <a:lnTo>
                    <a:pt x="8" y="19"/>
                  </a:lnTo>
                  <a:lnTo>
                    <a:pt x="14" y="17"/>
                  </a:lnTo>
                  <a:lnTo>
                    <a:pt x="21" y="15"/>
                  </a:lnTo>
                  <a:lnTo>
                    <a:pt x="29" y="14"/>
                  </a:lnTo>
                  <a:lnTo>
                    <a:pt x="36" y="12"/>
                  </a:lnTo>
                  <a:lnTo>
                    <a:pt x="42" y="10"/>
                  </a:lnTo>
                  <a:lnTo>
                    <a:pt x="50" y="8"/>
                  </a:lnTo>
                  <a:lnTo>
                    <a:pt x="57" y="6"/>
                  </a:lnTo>
                  <a:lnTo>
                    <a:pt x="63" y="6"/>
                  </a:lnTo>
                  <a:lnTo>
                    <a:pt x="71" y="4"/>
                  </a:lnTo>
                  <a:lnTo>
                    <a:pt x="78" y="2"/>
                  </a:lnTo>
                  <a:lnTo>
                    <a:pt x="84" y="2"/>
                  </a:lnTo>
                  <a:lnTo>
                    <a:pt x="92" y="0"/>
                  </a:lnTo>
                  <a:lnTo>
                    <a:pt x="99" y="0"/>
                  </a:lnTo>
                  <a:lnTo>
                    <a:pt x="107" y="0"/>
                  </a:lnTo>
                  <a:lnTo>
                    <a:pt x="115" y="0"/>
                  </a:lnTo>
                  <a:lnTo>
                    <a:pt x="218" y="8"/>
                  </a:lnTo>
                  <a:lnTo>
                    <a:pt x="223" y="6"/>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2" name="Freeform 46"/>
            <p:cNvSpPr>
              <a:spLocks/>
            </p:cNvSpPr>
            <p:nvPr/>
          </p:nvSpPr>
          <p:spPr bwMode="gray">
            <a:xfrm>
              <a:off x="839" y="1584"/>
              <a:ext cx="240" cy="206"/>
            </a:xfrm>
            <a:custGeom>
              <a:avLst/>
              <a:gdLst/>
              <a:ahLst/>
              <a:cxnLst>
                <a:cxn ang="0">
                  <a:pos x="386" y="374"/>
                </a:cxn>
                <a:cxn ang="0">
                  <a:pos x="342" y="370"/>
                </a:cxn>
                <a:cxn ang="0">
                  <a:pos x="305" y="359"/>
                </a:cxn>
                <a:cxn ang="0">
                  <a:pos x="286" y="342"/>
                </a:cxn>
                <a:cxn ang="0">
                  <a:pos x="149" y="330"/>
                </a:cxn>
                <a:cxn ang="0">
                  <a:pos x="105" y="336"/>
                </a:cxn>
                <a:cxn ang="0">
                  <a:pos x="63" y="345"/>
                </a:cxn>
                <a:cxn ang="0">
                  <a:pos x="36" y="347"/>
                </a:cxn>
                <a:cxn ang="0">
                  <a:pos x="27" y="330"/>
                </a:cxn>
                <a:cxn ang="0">
                  <a:pos x="29" y="300"/>
                </a:cxn>
                <a:cxn ang="0">
                  <a:pos x="56" y="284"/>
                </a:cxn>
                <a:cxn ang="0">
                  <a:pos x="75" y="290"/>
                </a:cxn>
                <a:cxn ang="0">
                  <a:pos x="96" y="286"/>
                </a:cxn>
                <a:cxn ang="0">
                  <a:pos x="122" y="273"/>
                </a:cxn>
                <a:cxn ang="0">
                  <a:pos x="151" y="265"/>
                </a:cxn>
                <a:cxn ang="0">
                  <a:pos x="187" y="282"/>
                </a:cxn>
                <a:cxn ang="0">
                  <a:pos x="225" y="290"/>
                </a:cxn>
                <a:cxn ang="0">
                  <a:pos x="248" y="290"/>
                </a:cxn>
                <a:cxn ang="0">
                  <a:pos x="239" y="265"/>
                </a:cxn>
                <a:cxn ang="0">
                  <a:pos x="227" y="261"/>
                </a:cxn>
                <a:cxn ang="0">
                  <a:pos x="210" y="261"/>
                </a:cxn>
                <a:cxn ang="0">
                  <a:pos x="185" y="248"/>
                </a:cxn>
                <a:cxn ang="0">
                  <a:pos x="145" y="235"/>
                </a:cxn>
                <a:cxn ang="0">
                  <a:pos x="113" y="242"/>
                </a:cxn>
                <a:cxn ang="0">
                  <a:pos x="80" y="254"/>
                </a:cxn>
                <a:cxn ang="0">
                  <a:pos x="56" y="256"/>
                </a:cxn>
                <a:cxn ang="0">
                  <a:pos x="36" y="256"/>
                </a:cxn>
                <a:cxn ang="0">
                  <a:pos x="40" y="242"/>
                </a:cxn>
                <a:cxn ang="0">
                  <a:pos x="27" y="200"/>
                </a:cxn>
                <a:cxn ang="0">
                  <a:pos x="6" y="160"/>
                </a:cxn>
                <a:cxn ang="0">
                  <a:pos x="2" y="141"/>
                </a:cxn>
                <a:cxn ang="0">
                  <a:pos x="31" y="116"/>
                </a:cxn>
                <a:cxn ang="0">
                  <a:pos x="52" y="92"/>
                </a:cxn>
                <a:cxn ang="0">
                  <a:pos x="69" y="61"/>
                </a:cxn>
                <a:cxn ang="0">
                  <a:pos x="96" y="12"/>
                </a:cxn>
                <a:cxn ang="0">
                  <a:pos x="118" y="10"/>
                </a:cxn>
                <a:cxn ang="0">
                  <a:pos x="136" y="10"/>
                </a:cxn>
                <a:cxn ang="0">
                  <a:pos x="181" y="2"/>
                </a:cxn>
                <a:cxn ang="0">
                  <a:pos x="216" y="6"/>
                </a:cxn>
                <a:cxn ang="0">
                  <a:pos x="239" y="23"/>
                </a:cxn>
                <a:cxn ang="0">
                  <a:pos x="258" y="46"/>
                </a:cxn>
                <a:cxn ang="0">
                  <a:pos x="283" y="57"/>
                </a:cxn>
                <a:cxn ang="0">
                  <a:pos x="305" y="71"/>
                </a:cxn>
                <a:cxn ang="0">
                  <a:pos x="307" y="95"/>
                </a:cxn>
                <a:cxn ang="0">
                  <a:pos x="330" y="128"/>
                </a:cxn>
                <a:cxn ang="0">
                  <a:pos x="355" y="166"/>
                </a:cxn>
                <a:cxn ang="0">
                  <a:pos x="372" y="208"/>
                </a:cxn>
                <a:cxn ang="0">
                  <a:pos x="386" y="227"/>
                </a:cxn>
                <a:cxn ang="0">
                  <a:pos x="386" y="248"/>
                </a:cxn>
                <a:cxn ang="0">
                  <a:pos x="378" y="267"/>
                </a:cxn>
                <a:cxn ang="0">
                  <a:pos x="393" y="292"/>
                </a:cxn>
                <a:cxn ang="0">
                  <a:pos x="418" y="315"/>
                </a:cxn>
                <a:cxn ang="0">
                  <a:pos x="426" y="344"/>
                </a:cxn>
                <a:cxn ang="0">
                  <a:pos x="416" y="368"/>
                </a:cxn>
              </a:cxnLst>
              <a:rect l="0" t="0" r="r" b="b"/>
              <a:pathLst>
                <a:path w="426" h="374">
                  <a:moveTo>
                    <a:pt x="414" y="372"/>
                  </a:moveTo>
                  <a:lnTo>
                    <a:pt x="414" y="372"/>
                  </a:lnTo>
                  <a:lnTo>
                    <a:pt x="407" y="372"/>
                  </a:lnTo>
                  <a:lnTo>
                    <a:pt x="401" y="374"/>
                  </a:lnTo>
                  <a:lnTo>
                    <a:pt x="393" y="374"/>
                  </a:lnTo>
                  <a:lnTo>
                    <a:pt x="386" y="374"/>
                  </a:lnTo>
                  <a:lnTo>
                    <a:pt x="378" y="374"/>
                  </a:lnTo>
                  <a:lnTo>
                    <a:pt x="370" y="374"/>
                  </a:lnTo>
                  <a:lnTo>
                    <a:pt x="363" y="374"/>
                  </a:lnTo>
                  <a:lnTo>
                    <a:pt x="357" y="372"/>
                  </a:lnTo>
                  <a:lnTo>
                    <a:pt x="349" y="372"/>
                  </a:lnTo>
                  <a:lnTo>
                    <a:pt x="342" y="370"/>
                  </a:lnTo>
                  <a:lnTo>
                    <a:pt x="336" y="370"/>
                  </a:lnTo>
                  <a:lnTo>
                    <a:pt x="328" y="368"/>
                  </a:lnTo>
                  <a:lnTo>
                    <a:pt x="323" y="366"/>
                  </a:lnTo>
                  <a:lnTo>
                    <a:pt x="317" y="364"/>
                  </a:lnTo>
                  <a:lnTo>
                    <a:pt x="311" y="363"/>
                  </a:lnTo>
                  <a:lnTo>
                    <a:pt x="305" y="359"/>
                  </a:lnTo>
                  <a:lnTo>
                    <a:pt x="305" y="359"/>
                  </a:lnTo>
                  <a:lnTo>
                    <a:pt x="302" y="357"/>
                  </a:lnTo>
                  <a:lnTo>
                    <a:pt x="298" y="353"/>
                  </a:lnTo>
                  <a:lnTo>
                    <a:pt x="294" y="349"/>
                  </a:lnTo>
                  <a:lnTo>
                    <a:pt x="290" y="345"/>
                  </a:lnTo>
                  <a:lnTo>
                    <a:pt x="286" y="342"/>
                  </a:lnTo>
                  <a:lnTo>
                    <a:pt x="283" y="338"/>
                  </a:lnTo>
                  <a:lnTo>
                    <a:pt x="275" y="336"/>
                  </a:lnTo>
                  <a:lnTo>
                    <a:pt x="265" y="336"/>
                  </a:lnTo>
                  <a:lnTo>
                    <a:pt x="157" y="330"/>
                  </a:lnTo>
                  <a:lnTo>
                    <a:pt x="157" y="330"/>
                  </a:lnTo>
                  <a:lnTo>
                    <a:pt x="149" y="330"/>
                  </a:lnTo>
                  <a:lnTo>
                    <a:pt x="141" y="330"/>
                  </a:lnTo>
                  <a:lnTo>
                    <a:pt x="134" y="330"/>
                  </a:lnTo>
                  <a:lnTo>
                    <a:pt x="126" y="332"/>
                  </a:lnTo>
                  <a:lnTo>
                    <a:pt x="120" y="332"/>
                  </a:lnTo>
                  <a:lnTo>
                    <a:pt x="113" y="334"/>
                  </a:lnTo>
                  <a:lnTo>
                    <a:pt x="105" y="336"/>
                  </a:lnTo>
                  <a:lnTo>
                    <a:pt x="99" y="336"/>
                  </a:lnTo>
                  <a:lnTo>
                    <a:pt x="92" y="338"/>
                  </a:lnTo>
                  <a:lnTo>
                    <a:pt x="84" y="340"/>
                  </a:lnTo>
                  <a:lnTo>
                    <a:pt x="78" y="342"/>
                  </a:lnTo>
                  <a:lnTo>
                    <a:pt x="71" y="344"/>
                  </a:lnTo>
                  <a:lnTo>
                    <a:pt x="63" y="345"/>
                  </a:lnTo>
                  <a:lnTo>
                    <a:pt x="56" y="347"/>
                  </a:lnTo>
                  <a:lnTo>
                    <a:pt x="50" y="349"/>
                  </a:lnTo>
                  <a:lnTo>
                    <a:pt x="42" y="353"/>
                  </a:lnTo>
                  <a:lnTo>
                    <a:pt x="42" y="353"/>
                  </a:lnTo>
                  <a:lnTo>
                    <a:pt x="38" y="349"/>
                  </a:lnTo>
                  <a:lnTo>
                    <a:pt x="36" y="347"/>
                  </a:lnTo>
                  <a:lnTo>
                    <a:pt x="35" y="345"/>
                  </a:lnTo>
                  <a:lnTo>
                    <a:pt x="33" y="344"/>
                  </a:lnTo>
                  <a:lnTo>
                    <a:pt x="31" y="340"/>
                  </a:lnTo>
                  <a:lnTo>
                    <a:pt x="29" y="336"/>
                  </a:lnTo>
                  <a:lnTo>
                    <a:pt x="29" y="332"/>
                  </a:lnTo>
                  <a:lnTo>
                    <a:pt x="27" y="330"/>
                  </a:lnTo>
                  <a:lnTo>
                    <a:pt x="27" y="330"/>
                  </a:lnTo>
                  <a:lnTo>
                    <a:pt x="27" y="323"/>
                  </a:lnTo>
                  <a:lnTo>
                    <a:pt x="29" y="317"/>
                  </a:lnTo>
                  <a:lnTo>
                    <a:pt x="29" y="311"/>
                  </a:lnTo>
                  <a:lnTo>
                    <a:pt x="29" y="305"/>
                  </a:lnTo>
                  <a:lnTo>
                    <a:pt x="29" y="300"/>
                  </a:lnTo>
                  <a:lnTo>
                    <a:pt x="29" y="294"/>
                  </a:lnTo>
                  <a:lnTo>
                    <a:pt x="29" y="288"/>
                  </a:lnTo>
                  <a:lnTo>
                    <a:pt x="27" y="282"/>
                  </a:lnTo>
                  <a:lnTo>
                    <a:pt x="54" y="282"/>
                  </a:lnTo>
                  <a:lnTo>
                    <a:pt x="54" y="282"/>
                  </a:lnTo>
                  <a:lnTo>
                    <a:pt x="56" y="284"/>
                  </a:lnTo>
                  <a:lnTo>
                    <a:pt x="59" y="286"/>
                  </a:lnTo>
                  <a:lnTo>
                    <a:pt x="61" y="288"/>
                  </a:lnTo>
                  <a:lnTo>
                    <a:pt x="65" y="288"/>
                  </a:lnTo>
                  <a:lnTo>
                    <a:pt x="67" y="290"/>
                  </a:lnTo>
                  <a:lnTo>
                    <a:pt x="71" y="290"/>
                  </a:lnTo>
                  <a:lnTo>
                    <a:pt x="75" y="290"/>
                  </a:lnTo>
                  <a:lnTo>
                    <a:pt x="77" y="290"/>
                  </a:lnTo>
                  <a:lnTo>
                    <a:pt x="77" y="290"/>
                  </a:lnTo>
                  <a:lnTo>
                    <a:pt x="82" y="290"/>
                  </a:lnTo>
                  <a:lnTo>
                    <a:pt x="86" y="290"/>
                  </a:lnTo>
                  <a:lnTo>
                    <a:pt x="92" y="288"/>
                  </a:lnTo>
                  <a:lnTo>
                    <a:pt x="96" y="286"/>
                  </a:lnTo>
                  <a:lnTo>
                    <a:pt x="101" y="284"/>
                  </a:lnTo>
                  <a:lnTo>
                    <a:pt x="105" y="282"/>
                  </a:lnTo>
                  <a:lnTo>
                    <a:pt x="109" y="281"/>
                  </a:lnTo>
                  <a:lnTo>
                    <a:pt x="115" y="277"/>
                  </a:lnTo>
                  <a:lnTo>
                    <a:pt x="118" y="275"/>
                  </a:lnTo>
                  <a:lnTo>
                    <a:pt x="122" y="273"/>
                  </a:lnTo>
                  <a:lnTo>
                    <a:pt x="128" y="271"/>
                  </a:lnTo>
                  <a:lnTo>
                    <a:pt x="132" y="269"/>
                  </a:lnTo>
                  <a:lnTo>
                    <a:pt x="136" y="267"/>
                  </a:lnTo>
                  <a:lnTo>
                    <a:pt x="141" y="265"/>
                  </a:lnTo>
                  <a:lnTo>
                    <a:pt x="145" y="265"/>
                  </a:lnTo>
                  <a:lnTo>
                    <a:pt x="151" y="265"/>
                  </a:lnTo>
                  <a:lnTo>
                    <a:pt x="151" y="265"/>
                  </a:lnTo>
                  <a:lnTo>
                    <a:pt x="159" y="265"/>
                  </a:lnTo>
                  <a:lnTo>
                    <a:pt x="166" y="269"/>
                  </a:lnTo>
                  <a:lnTo>
                    <a:pt x="174" y="273"/>
                  </a:lnTo>
                  <a:lnTo>
                    <a:pt x="180" y="277"/>
                  </a:lnTo>
                  <a:lnTo>
                    <a:pt x="187" y="282"/>
                  </a:lnTo>
                  <a:lnTo>
                    <a:pt x="197" y="286"/>
                  </a:lnTo>
                  <a:lnTo>
                    <a:pt x="204" y="290"/>
                  </a:lnTo>
                  <a:lnTo>
                    <a:pt x="214" y="290"/>
                  </a:lnTo>
                  <a:lnTo>
                    <a:pt x="214" y="290"/>
                  </a:lnTo>
                  <a:lnTo>
                    <a:pt x="220" y="290"/>
                  </a:lnTo>
                  <a:lnTo>
                    <a:pt x="225" y="290"/>
                  </a:lnTo>
                  <a:lnTo>
                    <a:pt x="229" y="290"/>
                  </a:lnTo>
                  <a:lnTo>
                    <a:pt x="235" y="290"/>
                  </a:lnTo>
                  <a:lnTo>
                    <a:pt x="239" y="288"/>
                  </a:lnTo>
                  <a:lnTo>
                    <a:pt x="241" y="290"/>
                  </a:lnTo>
                  <a:lnTo>
                    <a:pt x="244" y="290"/>
                  </a:lnTo>
                  <a:lnTo>
                    <a:pt x="248" y="290"/>
                  </a:lnTo>
                  <a:lnTo>
                    <a:pt x="248" y="271"/>
                  </a:lnTo>
                  <a:lnTo>
                    <a:pt x="248" y="271"/>
                  </a:lnTo>
                  <a:lnTo>
                    <a:pt x="246" y="269"/>
                  </a:lnTo>
                  <a:lnTo>
                    <a:pt x="244" y="267"/>
                  </a:lnTo>
                  <a:lnTo>
                    <a:pt x="242" y="265"/>
                  </a:lnTo>
                  <a:lnTo>
                    <a:pt x="239" y="265"/>
                  </a:lnTo>
                  <a:lnTo>
                    <a:pt x="237" y="263"/>
                  </a:lnTo>
                  <a:lnTo>
                    <a:pt x="235" y="261"/>
                  </a:lnTo>
                  <a:lnTo>
                    <a:pt x="233" y="261"/>
                  </a:lnTo>
                  <a:lnTo>
                    <a:pt x="231" y="261"/>
                  </a:lnTo>
                  <a:lnTo>
                    <a:pt x="231" y="261"/>
                  </a:lnTo>
                  <a:lnTo>
                    <a:pt x="227" y="261"/>
                  </a:lnTo>
                  <a:lnTo>
                    <a:pt x="223" y="261"/>
                  </a:lnTo>
                  <a:lnTo>
                    <a:pt x="221" y="261"/>
                  </a:lnTo>
                  <a:lnTo>
                    <a:pt x="220" y="261"/>
                  </a:lnTo>
                  <a:lnTo>
                    <a:pt x="216" y="261"/>
                  </a:lnTo>
                  <a:lnTo>
                    <a:pt x="214" y="261"/>
                  </a:lnTo>
                  <a:lnTo>
                    <a:pt x="210" y="261"/>
                  </a:lnTo>
                  <a:lnTo>
                    <a:pt x="206" y="261"/>
                  </a:lnTo>
                  <a:lnTo>
                    <a:pt x="206" y="261"/>
                  </a:lnTo>
                  <a:lnTo>
                    <a:pt x="202" y="260"/>
                  </a:lnTo>
                  <a:lnTo>
                    <a:pt x="197" y="258"/>
                  </a:lnTo>
                  <a:lnTo>
                    <a:pt x="191" y="252"/>
                  </a:lnTo>
                  <a:lnTo>
                    <a:pt x="185" y="248"/>
                  </a:lnTo>
                  <a:lnTo>
                    <a:pt x="178" y="242"/>
                  </a:lnTo>
                  <a:lnTo>
                    <a:pt x="170" y="239"/>
                  </a:lnTo>
                  <a:lnTo>
                    <a:pt x="160" y="237"/>
                  </a:lnTo>
                  <a:lnTo>
                    <a:pt x="151" y="235"/>
                  </a:lnTo>
                  <a:lnTo>
                    <a:pt x="151" y="235"/>
                  </a:lnTo>
                  <a:lnTo>
                    <a:pt x="145" y="235"/>
                  </a:lnTo>
                  <a:lnTo>
                    <a:pt x="139" y="237"/>
                  </a:lnTo>
                  <a:lnTo>
                    <a:pt x="134" y="237"/>
                  </a:lnTo>
                  <a:lnTo>
                    <a:pt x="130" y="239"/>
                  </a:lnTo>
                  <a:lnTo>
                    <a:pt x="124" y="240"/>
                  </a:lnTo>
                  <a:lnTo>
                    <a:pt x="118" y="240"/>
                  </a:lnTo>
                  <a:lnTo>
                    <a:pt x="113" y="242"/>
                  </a:lnTo>
                  <a:lnTo>
                    <a:pt x="107" y="244"/>
                  </a:lnTo>
                  <a:lnTo>
                    <a:pt x="103" y="246"/>
                  </a:lnTo>
                  <a:lnTo>
                    <a:pt x="97" y="248"/>
                  </a:lnTo>
                  <a:lnTo>
                    <a:pt x="92" y="250"/>
                  </a:lnTo>
                  <a:lnTo>
                    <a:pt x="86" y="252"/>
                  </a:lnTo>
                  <a:lnTo>
                    <a:pt x="80" y="254"/>
                  </a:lnTo>
                  <a:lnTo>
                    <a:pt x="75" y="254"/>
                  </a:lnTo>
                  <a:lnTo>
                    <a:pt x="69" y="254"/>
                  </a:lnTo>
                  <a:lnTo>
                    <a:pt x="63" y="256"/>
                  </a:lnTo>
                  <a:lnTo>
                    <a:pt x="63" y="256"/>
                  </a:lnTo>
                  <a:lnTo>
                    <a:pt x="59" y="256"/>
                  </a:lnTo>
                  <a:lnTo>
                    <a:pt x="56" y="256"/>
                  </a:lnTo>
                  <a:lnTo>
                    <a:pt x="52" y="254"/>
                  </a:lnTo>
                  <a:lnTo>
                    <a:pt x="48" y="254"/>
                  </a:lnTo>
                  <a:lnTo>
                    <a:pt x="44" y="254"/>
                  </a:lnTo>
                  <a:lnTo>
                    <a:pt x="42" y="254"/>
                  </a:lnTo>
                  <a:lnTo>
                    <a:pt x="38" y="254"/>
                  </a:lnTo>
                  <a:lnTo>
                    <a:pt x="36" y="256"/>
                  </a:lnTo>
                  <a:lnTo>
                    <a:pt x="36" y="256"/>
                  </a:lnTo>
                  <a:lnTo>
                    <a:pt x="36" y="252"/>
                  </a:lnTo>
                  <a:lnTo>
                    <a:pt x="38" y="250"/>
                  </a:lnTo>
                  <a:lnTo>
                    <a:pt x="38" y="246"/>
                  </a:lnTo>
                  <a:lnTo>
                    <a:pt x="40" y="242"/>
                  </a:lnTo>
                  <a:lnTo>
                    <a:pt x="40" y="242"/>
                  </a:lnTo>
                  <a:lnTo>
                    <a:pt x="38" y="237"/>
                  </a:lnTo>
                  <a:lnTo>
                    <a:pt x="38" y="229"/>
                  </a:lnTo>
                  <a:lnTo>
                    <a:pt x="36" y="223"/>
                  </a:lnTo>
                  <a:lnTo>
                    <a:pt x="33" y="216"/>
                  </a:lnTo>
                  <a:lnTo>
                    <a:pt x="31" y="208"/>
                  </a:lnTo>
                  <a:lnTo>
                    <a:pt x="27" y="200"/>
                  </a:lnTo>
                  <a:lnTo>
                    <a:pt x="23" y="195"/>
                  </a:lnTo>
                  <a:lnTo>
                    <a:pt x="19" y="187"/>
                  </a:lnTo>
                  <a:lnTo>
                    <a:pt x="15" y="179"/>
                  </a:lnTo>
                  <a:lnTo>
                    <a:pt x="12" y="174"/>
                  </a:lnTo>
                  <a:lnTo>
                    <a:pt x="10" y="168"/>
                  </a:lnTo>
                  <a:lnTo>
                    <a:pt x="6" y="160"/>
                  </a:lnTo>
                  <a:lnTo>
                    <a:pt x="4" y="157"/>
                  </a:lnTo>
                  <a:lnTo>
                    <a:pt x="2" y="151"/>
                  </a:lnTo>
                  <a:lnTo>
                    <a:pt x="0" y="147"/>
                  </a:lnTo>
                  <a:lnTo>
                    <a:pt x="0" y="143"/>
                  </a:lnTo>
                  <a:lnTo>
                    <a:pt x="0" y="143"/>
                  </a:lnTo>
                  <a:lnTo>
                    <a:pt x="2" y="141"/>
                  </a:lnTo>
                  <a:lnTo>
                    <a:pt x="4" y="137"/>
                  </a:lnTo>
                  <a:lnTo>
                    <a:pt x="10" y="134"/>
                  </a:lnTo>
                  <a:lnTo>
                    <a:pt x="15" y="128"/>
                  </a:lnTo>
                  <a:lnTo>
                    <a:pt x="21" y="124"/>
                  </a:lnTo>
                  <a:lnTo>
                    <a:pt x="27" y="120"/>
                  </a:lnTo>
                  <a:lnTo>
                    <a:pt x="31" y="116"/>
                  </a:lnTo>
                  <a:lnTo>
                    <a:pt x="33" y="113"/>
                  </a:lnTo>
                  <a:lnTo>
                    <a:pt x="33" y="113"/>
                  </a:lnTo>
                  <a:lnTo>
                    <a:pt x="36" y="109"/>
                  </a:lnTo>
                  <a:lnTo>
                    <a:pt x="42" y="103"/>
                  </a:lnTo>
                  <a:lnTo>
                    <a:pt x="46" y="97"/>
                  </a:lnTo>
                  <a:lnTo>
                    <a:pt x="52" y="92"/>
                  </a:lnTo>
                  <a:lnTo>
                    <a:pt x="56" y="88"/>
                  </a:lnTo>
                  <a:lnTo>
                    <a:pt x="59" y="82"/>
                  </a:lnTo>
                  <a:lnTo>
                    <a:pt x="63" y="76"/>
                  </a:lnTo>
                  <a:lnTo>
                    <a:pt x="65" y="73"/>
                  </a:lnTo>
                  <a:lnTo>
                    <a:pt x="65" y="73"/>
                  </a:lnTo>
                  <a:lnTo>
                    <a:pt x="69" y="61"/>
                  </a:lnTo>
                  <a:lnTo>
                    <a:pt x="71" y="50"/>
                  </a:lnTo>
                  <a:lnTo>
                    <a:pt x="75" y="38"/>
                  </a:lnTo>
                  <a:lnTo>
                    <a:pt x="78" y="29"/>
                  </a:lnTo>
                  <a:lnTo>
                    <a:pt x="82" y="21"/>
                  </a:lnTo>
                  <a:lnTo>
                    <a:pt x="90" y="15"/>
                  </a:lnTo>
                  <a:lnTo>
                    <a:pt x="96" y="12"/>
                  </a:lnTo>
                  <a:lnTo>
                    <a:pt x="107" y="10"/>
                  </a:lnTo>
                  <a:lnTo>
                    <a:pt x="107" y="10"/>
                  </a:lnTo>
                  <a:lnTo>
                    <a:pt x="111" y="10"/>
                  </a:lnTo>
                  <a:lnTo>
                    <a:pt x="115" y="10"/>
                  </a:lnTo>
                  <a:lnTo>
                    <a:pt x="117" y="10"/>
                  </a:lnTo>
                  <a:lnTo>
                    <a:pt x="118" y="10"/>
                  </a:lnTo>
                  <a:lnTo>
                    <a:pt x="122" y="10"/>
                  </a:lnTo>
                  <a:lnTo>
                    <a:pt x="124" y="10"/>
                  </a:lnTo>
                  <a:lnTo>
                    <a:pt x="128" y="10"/>
                  </a:lnTo>
                  <a:lnTo>
                    <a:pt x="130" y="10"/>
                  </a:lnTo>
                  <a:lnTo>
                    <a:pt x="130" y="10"/>
                  </a:lnTo>
                  <a:lnTo>
                    <a:pt x="136" y="10"/>
                  </a:lnTo>
                  <a:lnTo>
                    <a:pt x="143" y="10"/>
                  </a:lnTo>
                  <a:lnTo>
                    <a:pt x="149" y="8"/>
                  </a:lnTo>
                  <a:lnTo>
                    <a:pt x="159" y="6"/>
                  </a:lnTo>
                  <a:lnTo>
                    <a:pt x="166" y="4"/>
                  </a:lnTo>
                  <a:lnTo>
                    <a:pt x="174" y="2"/>
                  </a:lnTo>
                  <a:lnTo>
                    <a:pt x="181" y="2"/>
                  </a:lnTo>
                  <a:lnTo>
                    <a:pt x="189" y="0"/>
                  </a:lnTo>
                  <a:lnTo>
                    <a:pt x="189" y="0"/>
                  </a:lnTo>
                  <a:lnTo>
                    <a:pt x="197" y="2"/>
                  </a:lnTo>
                  <a:lnTo>
                    <a:pt x="204" y="2"/>
                  </a:lnTo>
                  <a:lnTo>
                    <a:pt x="210" y="4"/>
                  </a:lnTo>
                  <a:lnTo>
                    <a:pt x="216" y="6"/>
                  </a:lnTo>
                  <a:lnTo>
                    <a:pt x="221" y="8"/>
                  </a:lnTo>
                  <a:lnTo>
                    <a:pt x="225" y="10"/>
                  </a:lnTo>
                  <a:lnTo>
                    <a:pt x="229" y="13"/>
                  </a:lnTo>
                  <a:lnTo>
                    <a:pt x="233" y="15"/>
                  </a:lnTo>
                  <a:lnTo>
                    <a:pt x="237" y="19"/>
                  </a:lnTo>
                  <a:lnTo>
                    <a:pt x="239" y="23"/>
                  </a:lnTo>
                  <a:lnTo>
                    <a:pt x="242" y="27"/>
                  </a:lnTo>
                  <a:lnTo>
                    <a:pt x="244" y="31"/>
                  </a:lnTo>
                  <a:lnTo>
                    <a:pt x="248" y="34"/>
                  </a:lnTo>
                  <a:lnTo>
                    <a:pt x="252" y="38"/>
                  </a:lnTo>
                  <a:lnTo>
                    <a:pt x="254" y="42"/>
                  </a:lnTo>
                  <a:lnTo>
                    <a:pt x="258" y="46"/>
                  </a:lnTo>
                  <a:lnTo>
                    <a:pt x="258" y="46"/>
                  </a:lnTo>
                  <a:lnTo>
                    <a:pt x="263" y="50"/>
                  </a:lnTo>
                  <a:lnTo>
                    <a:pt x="267" y="54"/>
                  </a:lnTo>
                  <a:lnTo>
                    <a:pt x="273" y="55"/>
                  </a:lnTo>
                  <a:lnTo>
                    <a:pt x="277" y="55"/>
                  </a:lnTo>
                  <a:lnTo>
                    <a:pt x="283" y="57"/>
                  </a:lnTo>
                  <a:lnTo>
                    <a:pt x="288" y="59"/>
                  </a:lnTo>
                  <a:lnTo>
                    <a:pt x="294" y="61"/>
                  </a:lnTo>
                  <a:lnTo>
                    <a:pt x="300" y="63"/>
                  </a:lnTo>
                  <a:lnTo>
                    <a:pt x="300" y="63"/>
                  </a:lnTo>
                  <a:lnTo>
                    <a:pt x="302" y="67"/>
                  </a:lnTo>
                  <a:lnTo>
                    <a:pt x="305" y="71"/>
                  </a:lnTo>
                  <a:lnTo>
                    <a:pt x="305" y="75"/>
                  </a:lnTo>
                  <a:lnTo>
                    <a:pt x="305" y="78"/>
                  </a:lnTo>
                  <a:lnTo>
                    <a:pt x="305" y="82"/>
                  </a:lnTo>
                  <a:lnTo>
                    <a:pt x="305" y="86"/>
                  </a:lnTo>
                  <a:lnTo>
                    <a:pt x="305" y="92"/>
                  </a:lnTo>
                  <a:lnTo>
                    <a:pt x="307" y="95"/>
                  </a:lnTo>
                  <a:lnTo>
                    <a:pt x="307" y="95"/>
                  </a:lnTo>
                  <a:lnTo>
                    <a:pt x="311" y="103"/>
                  </a:lnTo>
                  <a:lnTo>
                    <a:pt x="317" y="109"/>
                  </a:lnTo>
                  <a:lnTo>
                    <a:pt x="321" y="116"/>
                  </a:lnTo>
                  <a:lnTo>
                    <a:pt x="324" y="122"/>
                  </a:lnTo>
                  <a:lnTo>
                    <a:pt x="330" y="128"/>
                  </a:lnTo>
                  <a:lnTo>
                    <a:pt x="334" y="134"/>
                  </a:lnTo>
                  <a:lnTo>
                    <a:pt x="338" y="141"/>
                  </a:lnTo>
                  <a:lnTo>
                    <a:pt x="344" y="147"/>
                  </a:lnTo>
                  <a:lnTo>
                    <a:pt x="347" y="153"/>
                  </a:lnTo>
                  <a:lnTo>
                    <a:pt x="351" y="158"/>
                  </a:lnTo>
                  <a:lnTo>
                    <a:pt x="355" y="166"/>
                  </a:lnTo>
                  <a:lnTo>
                    <a:pt x="359" y="174"/>
                  </a:lnTo>
                  <a:lnTo>
                    <a:pt x="363" y="181"/>
                  </a:lnTo>
                  <a:lnTo>
                    <a:pt x="366" y="189"/>
                  </a:lnTo>
                  <a:lnTo>
                    <a:pt x="370" y="199"/>
                  </a:lnTo>
                  <a:lnTo>
                    <a:pt x="372" y="208"/>
                  </a:lnTo>
                  <a:lnTo>
                    <a:pt x="372" y="208"/>
                  </a:lnTo>
                  <a:lnTo>
                    <a:pt x="374" y="212"/>
                  </a:lnTo>
                  <a:lnTo>
                    <a:pt x="376" y="216"/>
                  </a:lnTo>
                  <a:lnTo>
                    <a:pt x="378" y="218"/>
                  </a:lnTo>
                  <a:lnTo>
                    <a:pt x="382" y="221"/>
                  </a:lnTo>
                  <a:lnTo>
                    <a:pt x="384" y="225"/>
                  </a:lnTo>
                  <a:lnTo>
                    <a:pt x="386" y="227"/>
                  </a:lnTo>
                  <a:lnTo>
                    <a:pt x="387" y="231"/>
                  </a:lnTo>
                  <a:lnTo>
                    <a:pt x="387" y="235"/>
                  </a:lnTo>
                  <a:lnTo>
                    <a:pt x="387" y="235"/>
                  </a:lnTo>
                  <a:lnTo>
                    <a:pt x="387" y="239"/>
                  </a:lnTo>
                  <a:lnTo>
                    <a:pt x="386" y="242"/>
                  </a:lnTo>
                  <a:lnTo>
                    <a:pt x="386" y="248"/>
                  </a:lnTo>
                  <a:lnTo>
                    <a:pt x="384" y="252"/>
                  </a:lnTo>
                  <a:lnTo>
                    <a:pt x="382" y="258"/>
                  </a:lnTo>
                  <a:lnTo>
                    <a:pt x="380" y="261"/>
                  </a:lnTo>
                  <a:lnTo>
                    <a:pt x="380" y="265"/>
                  </a:lnTo>
                  <a:lnTo>
                    <a:pt x="378" y="267"/>
                  </a:lnTo>
                  <a:lnTo>
                    <a:pt x="378" y="267"/>
                  </a:lnTo>
                  <a:lnTo>
                    <a:pt x="380" y="271"/>
                  </a:lnTo>
                  <a:lnTo>
                    <a:pt x="380" y="275"/>
                  </a:lnTo>
                  <a:lnTo>
                    <a:pt x="384" y="281"/>
                  </a:lnTo>
                  <a:lnTo>
                    <a:pt x="386" y="284"/>
                  </a:lnTo>
                  <a:lnTo>
                    <a:pt x="389" y="288"/>
                  </a:lnTo>
                  <a:lnTo>
                    <a:pt x="393" y="292"/>
                  </a:lnTo>
                  <a:lnTo>
                    <a:pt x="397" y="296"/>
                  </a:lnTo>
                  <a:lnTo>
                    <a:pt x="403" y="300"/>
                  </a:lnTo>
                  <a:lnTo>
                    <a:pt x="407" y="303"/>
                  </a:lnTo>
                  <a:lnTo>
                    <a:pt x="410" y="307"/>
                  </a:lnTo>
                  <a:lnTo>
                    <a:pt x="414" y="311"/>
                  </a:lnTo>
                  <a:lnTo>
                    <a:pt x="418" y="315"/>
                  </a:lnTo>
                  <a:lnTo>
                    <a:pt x="422" y="321"/>
                  </a:lnTo>
                  <a:lnTo>
                    <a:pt x="424" y="326"/>
                  </a:lnTo>
                  <a:lnTo>
                    <a:pt x="426" y="332"/>
                  </a:lnTo>
                  <a:lnTo>
                    <a:pt x="426" y="338"/>
                  </a:lnTo>
                  <a:lnTo>
                    <a:pt x="426" y="338"/>
                  </a:lnTo>
                  <a:lnTo>
                    <a:pt x="426" y="344"/>
                  </a:lnTo>
                  <a:lnTo>
                    <a:pt x="424" y="347"/>
                  </a:lnTo>
                  <a:lnTo>
                    <a:pt x="422" y="353"/>
                  </a:lnTo>
                  <a:lnTo>
                    <a:pt x="420" y="357"/>
                  </a:lnTo>
                  <a:lnTo>
                    <a:pt x="416" y="361"/>
                  </a:lnTo>
                  <a:lnTo>
                    <a:pt x="416" y="364"/>
                  </a:lnTo>
                  <a:lnTo>
                    <a:pt x="416" y="368"/>
                  </a:lnTo>
                  <a:lnTo>
                    <a:pt x="418" y="374"/>
                  </a:lnTo>
                  <a:lnTo>
                    <a:pt x="420" y="374"/>
                  </a:lnTo>
                  <a:lnTo>
                    <a:pt x="414" y="372"/>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3" name="Freeform 47"/>
            <p:cNvSpPr>
              <a:spLocks/>
            </p:cNvSpPr>
            <p:nvPr/>
          </p:nvSpPr>
          <p:spPr bwMode="gray">
            <a:xfrm>
              <a:off x="884" y="1131"/>
              <a:ext cx="535" cy="550"/>
            </a:xfrm>
            <a:custGeom>
              <a:avLst/>
              <a:gdLst/>
              <a:ahLst/>
              <a:cxnLst>
                <a:cxn ang="0">
                  <a:pos x="300" y="998"/>
                </a:cxn>
                <a:cxn ang="0">
                  <a:pos x="328" y="980"/>
                </a:cxn>
                <a:cxn ang="0">
                  <a:pos x="336" y="946"/>
                </a:cxn>
                <a:cxn ang="0">
                  <a:pos x="361" y="929"/>
                </a:cxn>
                <a:cxn ang="0">
                  <a:pos x="388" y="952"/>
                </a:cxn>
                <a:cxn ang="0">
                  <a:pos x="405" y="965"/>
                </a:cxn>
                <a:cxn ang="0">
                  <a:pos x="420" y="952"/>
                </a:cxn>
                <a:cxn ang="0">
                  <a:pos x="441" y="952"/>
                </a:cxn>
                <a:cxn ang="0">
                  <a:pos x="468" y="959"/>
                </a:cxn>
                <a:cxn ang="0">
                  <a:pos x="496" y="959"/>
                </a:cxn>
                <a:cxn ang="0">
                  <a:pos x="517" y="938"/>
                </a:cxn>
                <a:cxn ang="0">
                  <a:pos x="523" y="944"/>
                </a:cxn>
                <a:cxn ang="0">
                  <a:pos x="809" y="965"/>
                </a:cxn>
                <a:cxn ang="0">
                  <a:pos x="702" y="0"/>
                </a:cxn>
                <a:cxn ang="0">
                  <a:pos x="405" y="294"/>
                </a:cxn>
                <a:cxn ang="0">
                  <a:pos x="376" y="305"/>
                </a:cxn>
                <a:cxn ang="0">
                  <a:pos x="351" y="318"/>
                </a:cxn>
                <a:cxn ang="0">
                  <a:pos x="328" y="334"/>
                </a:cxn>
                <a:cxn ang="0">
                  <a:pos x="21" y="442"/>
                </a:cxn>
                <a:cxn ang="0">
                  <a:pos x="10" y="458"/>
                </a:cxn>
                <a:cxn ang="0">
                  <a:pos x="16" y="456"/>
                </a:cxn>
                <a:cxn ang="0">
                  <a:pos x="31" y="448"/>
                </a:cxn>
                <a:cxn ang="0">
                  <a:pos x="52" y="479"/>
                </a:cxn>
                <a:cxn ang="0">
                  <a:pos x="67" y="509"/>
                </a:cxn>
                <a:cxn ang="0">
                  <a:pos x="59" y="536"/>
                </a:cxn>
                <a:cxn ang="0">
                  <a:pos x="46" y="559"/>
                </a:cxn>
                <a:cxn ang="0">
                  <a:pos x="37" y="584"/>
                </a:cxn>
                <a:cxn ang="0">
                  <a:pos x="40" y="607"/>
                </a:cxn>
                <a:cxn ang="0">
                  <a:pos x="50" y="631"/>
                </a:cxn>
                <a:cxn ang="0">
                  <a:pos x="50" y="650"/>
                </a:cxn>
                <a:cxn ang="0">
                  <a:pos x="50" y="673"/>
                </a:cxn>
                <a:cxn ang="0">
                  <a:pos x="50" y="706"/>
                </a:cxn>
                <a:cxn ang="0">
                  <a:pos x="44" y="734"/>
                </a:cxn>
                <a:cxn ang="0">
                  <a:pos x="23" y="769"/>
                </a:cxn>
                <a:cxn ang="0">
                  <a:pos x="8" y="807"/>
                </a:cxn>
                <a:cxn ang="0">
                  <a:pos x="2" y="830"/>
                </a:cxn>
                <a:cxn ang="0">
                  <a:pos x="2" y="841"/>
                </a:cxn>
                <a:cxn ang="0">
                  <a:pos x="2" y="845"/>
                </a:cxn>
                <a:cxn ang="0">
                  <a:pos x="17" y="834"/>
                </a:cxn>
                <a:cxn ang="0">
                  <a:pos x="35" y="832"/>
                </a:cxn>
                <a:cxn ang="0">
                  <a:pos x="48" y="832"/>
                </a:cxn>
                <a:cxn ang="0">
                  <a:pos x="69" y="830"/>
                </a:cxn>
                <a:cxn ang="0">
                  <a:pos x="109" y="822"/>
                </a:cxn>
                <a:cxn ang="0">
                  <a:pos x="136" y="828"/>
                </a:cxn>
                <a:cxn ang="0">
                  <a:pos x="157" y="841"/>
                </a:cxn>
                <a:cxn ang="0">
                  <a:pos x="172" y="860"/>
                </a:cxn>
                <a:cxn ang="0">
                  <a:pos x="187" y="876"/>
                </a:cxn>
                <a:cxn ang="0">
                  <a:pos x="214" y="883"/>
                </a:cxn>
                <a:cxn ang="0">
                  <a:pos x="225" y="897"/>
                </a:cxn>
                <a:cxn ang="0">
                  <a:pos x="227" y="917"/>
                </a:cxn>
                <a:cxn ang="0">
                  <a:pos x="241" y="938"/>
                </a:cxn>
                <a:cxn ang="0">
                  <a:pos x="260" y="963"/>
                </a:cxn>
                <a:cxn ang="0">
                  <a:pos x="275" y="988"/>
                </a:cxn>
              </a:cxnLst>
              <a:rect l="0" t="0" r="r" b="b"/>
              <a:pathLst>
                <a:path w="945" h="1000">
                  <a:moveTo>
                    <a:pt x="281" y="1000"/>
                  </a:moveTo>
                  <a:lnTo>
                    <a:pt x="281" y="1000"/>
                  </a:lnTo>
                  <a:lnTo>
                    <a:pt x="286" y="1000"/>
                  </a:lnTo>
                  <a:lnTo>
                    <a:pt x="292" y="1000"/>
                  </a:lnTo>
                  <a:lnTo>
                    <a:pt x="300" y="998"/>
                  </a:lnTo>
                  <a:lnTo>
                    <a:pt x="307" y="996"/>
                  </a:lnTo>
                  <a:lnTo>
                    <a:pt x="315" y="994"/>
                  </a:lnTo>
                  <a:lnTo>
                    <a:pt x="321" y="990"/>
                  </a:lnTo>
                  <a:lnTo>
                    <a:pt x="325" y="986"/>
                  </a:lnTo>
                  <a:lnTo>
                    <a:pt x="328" y="980"/>
                  </a:lnTo>
                  <a:lnTo>
                    <a:pt x="328" y="980"/>
                  </a:lnTo>
                  <a:lnTo>
                    <a:pt x="330" y="973"/>
                  </a:lnTo>
                  <a:lnTo>
                    <a:pt x="330" y="963"/>
                  </a:lnTo>
                  <a:lnTo>
                    <a:pt x="332" y="956"/>
                  </a:lnTo>
                  <a:lnTo>
                    <a:pt x="336" y="946"/>
                  </a:lnTo>
                  <a:lnTo>
                    <a:pt x="338" y="940"/>
                  </a:lnTo>
                  <a:lnTo>
                    <a:pt x="344" y="935"/>
                  </a:lnTo>
                  <a:lnTo>
                    <a:pt x="351" y="931"/>
                  </a:lnTo>
                  <a:lnTo>
                    <a:pt x="361" y="929"/>
                  </a:lnTo>
                  <a:lnTo>
                    <a:pt x="361" y="929"/>
                  </a:lnTo>
                  <a:lnTo>
                    <a:pt x="368" y="931"/>
                  </a:lnTo>
                  <a:lnTo>
                    <a:pt x="374" y="935"/>
                  </a:lnTo>
                  <a:lnTo>
                    <a:pt x="378" y="938"/>
                  </a:lnTo>
                  <a:lnTo>
                    <a:pt x="384" y="946"/>
                  </a:lnTo>
                  <a:lnTo>
                    <a:pt x="388" y="952"/>
                  </a:lnTo>
                  <a:lnTo>
                    <a:pt x="391" y="958"/>
                  </a:lnTo>
                  <a:lnTo>
                    <a:pt x="397" y="963"/>
                  </a:lnTo>
                  <a:lnTo>
                    <a:pt x="403" y="969"/>
                  </a:lnTo>
                  <a:lnTo>
                    <a:pt x="403" y="969"/>
                  </a:lnTo>
                  <a:lnTo>
                    <a:pt x="405" y="965"/>
                  </a:lnTo>
                  <a:lnTo>
                    <a:pt x="407" y="963"/>
                  </a:lnTo>
                  <a:lnTo>
                    <a:pt x="410" y="959"/>
                  </a:lnTo>
                  <a:lnTo>
                    <a:pt x="412" y="958"/>
                  </a:lnTo>
                  <a:lnTo>
                    <a:pt x="416" y="954"/>
                  </a:lnTo>
                  <a:lnTo>
                    <a:pt x="420" y="952"/>
                  </a:lnTo>
                  <a:lnTo>
                    <a:pt x="424" y="952"/>
                  </a:lnTo>
                  <a:lnTo>
                    <a:pt x="428" y="950"/>
                  </a:lnTo>
                  <a:lnTo>
                    <a:pt x="428" y="950"/>
                  </a:lnTo>
                  <a:lnTo>
                    <a:pt x="435" y="952"/>
                  </a:lnTo>
                  <a:lnTo>
                    <a:pt x="441" y="952"/>
                  </a:lnTo>
                  <a:lnTo>
                    <a:pt x="445" y="954"/>
                  </a:lnTo>
                  <a:lnTo>
                    <a:pt x="450" y="956"/>
                  </a:lnTo>
                  <a:lnTo>
                    <a:pt x="456" y="956"/>
                  </a:lnTo>
                  <a:lnTo>
                    <a:pt x="462" y="958"/>
                  </a:lnTo>
                  <a:lnTo>
                    <a:pt x="468" y="959"/>
                  </a:lnTo>
                  <a:lnTo>
                    <a:pt x="475" y="959"/>
                  </a:lnTo>
                  <a:lnTo>
                    <a:pt x="475" y="959"/>
                  </a:lnTo>
                  <a:lnTo>
                    <a:pt x="483" y="959"/>
                  </a:lnTo>
                  <a:lnTo>
                    <a:pt x="491" y="959"/>
                  </a:lnTo>
                  <a:lnTo>
                    <a:pt x="496" y="959"/>
                  </a:lnTo>
                  <a:lnTo>
                    <a:pt x="502" y="958"/>
                  </a:lnTo>
                  <a:lnTo>
                    <a:pt x="508" y="956"/>
                  </a:lnTo>
                  <a:lnTo>
                    <a:pt x="512" y="952"/>
                  </a:lnTo>
                  <a:lnTo>
                    <a:pt x="515" y="946"/>
                  </a:lnTo>
                  <a:lnTo>
                    <a:pt x="517" y="938"/>
                  </a:lnTo>
                  <a:lnTo>
                    <a:pt x="517" y="938"/>
                  </a:lnTo>
                  <a:lnTo>
                    <a:pt x="519" y="938"/>
                  </a:lnTo>
                  <a:lnTo>
                    <a:pt x="519" y="940"/>
                  </a:lnTo>
                  <a:lnTo>
                    <a:pt x="521" y="942"/>
                  </a:lnTo>
                  <a:lnTo>
                    <a:pt x="523" y="944"/>
                  </a:lnTo>
                  <a:lnTo>
                    <a:pt x="525" y="946"/>
                  </a:lnTo>
                  <a:lnTo>
                    <a:pt x="527" y="946"/>
                  </a:lnTo>
                  <a:lnTo>
                    <a:pt x="527" y="950"/>
                  </a:lnTo>
                  <a:lnTo>
                    <a:pt x="529" y="950"/>
                  </a:lnTo>
                  <a:lnTo>
                    <a:pt x="809" y="965"/>
                  </a:lnTo>
                  <a:lnTo>
                    <a:pt x="828" y="900"/>
                  </a:lnTo>
                  <a:lnTo>
                    <a:pt x="805" y="879"/>
                  </a:lnTo>
                  <a:lnTo>
                    <a:pt x="815" y="200"/>
                  </a:lnTo>
                  <a:lnTo>
                    <a:pt x="945" y="200"/>
                  </a:lnTo>
                  <a:lnTo>
                    <a:pt x="702" y="0"/>
                  </a:lnTo>
                  <a:lnTo>
                    <a:pt x="681" y="109"/>
                  </a:lnTo>
                  <a:lnTo>
                    <a:pt x="449" y="93"/>
                  </a:lnTo>
                  <a:lnTo>
                    <a:pt x="410" y="292"/>
                  </a:lnTo>
                  <a:lnTo>
                    <a:pt x="410" y="292"/>
                  </a:lnTo>
                  <a:lnTo>
                    <a:pt x="405" y="294"/>
                  </a:lnTo>
                  <a:lnTo>
                    <a:pt x="399" y="296"/>
                  </a:lnTo>
                  <a:lnTo>
                    <a:pt x="391" y="297"/>
                  </a:lnTo>
                  <a:lnTo>
                    <a:pt x="388" y="301"/>
                  </a:lnTo>
                  <a:lnTo>
                    <a:pt x="382" y="303"/>
                  </a:lnTo>
                  <a:lnTo>
                    <a:pt x="376" y="305"/>
                  </a:lnTo>
                  <a:lnTo>
                    <a:pt x="370" y="309"/>
                  </a:lnTo>
                  <a:lnTo>
                    <a:pt x="367" y="311"/>
                  </a:lnTo>
                  <a:lnTo>
                    <a:pt x="361" y="313"/>
                  </a:lnTo>
                  <a:lnTo>
                    <a:pt x="357" y="317"/>
                  </a:lnTo>
                  <a:lnTo>
                    <a:pt x="351" y="318"/>
                  </a:lnTo>
                  <a:lnTo>
                    <a:pt x="347" y="320"/>
                  </a:lnTo>
                  <a:lnTo>
                    <a:pt x="342" y="324"/>
                  </a:lnTo>
                  <a:lnTo>
                    <a:pt x="338" y="328"/>
                  </a:lnTo>
                  <a:lnTo>
                    <a:pt x="332" y="330"/>
                  </a:lnTo>
                  <a:lnTo>
                    <a:pt x="328" y="334"/>
                  </a:lnTo>
                  <a:lnTo>
                    <a:pt x="313" y="460"/>
                  </a:lnTo>
                  <a:lnTo>
                    <a:pt x="27" y="437"/>
                  </a:lnTo>
                  <a:lnTo>
                    <a:pt x="27" y="437"/>
                  </a:lnTo>
                  <a:lnTo>
                    <a:pt x="23" y="439"/>
                  </a:lnTo>
                  <a:lnTo>
                    <a:pt x="21" y="442"/>
                  </a:lnTo>
                  <a:lnTo>
                    <a:pt x="19" y="444"/>
                  </a:lnTo>
                  <a:lnTo>
                    <a:pt x="16" y="446"/>
                  </a:lnTo>
                  <a:lnTo>
                    <a:pt x="14" y="450"/>
                  </a:lnTo>
                  <a:lnTo>
                    <a:pt x="12" y="454"/>
                  </a:lnTo>
                  <a:lnTo>
                    <a:pt x="10" y="458"/>
                  </a:lnTo>
                  <a:lnTo>
                    <a:pt x="10" y="462"/>
                  </a:lnTo>
                  <a:lnTo>
                    <a:pt x="10" y="462"/>
                  </a:lnTo>
                  <a:lnTo>
                    <a:pt x="10" y="460"/>
                  </a:lnTo>
                  <a:lnTo>
                    <a:pt x="14" y="458"/>
                  </a:lnTo>
                  <a:lnTo>
                    <a:pt x="16" y="456"/>
                  </a:lnTo>
                  <a:lnTo>
                    <a:pt x="17" y="454"/>
                  </a:lnTo>
                  <a:lnTo>
                    <a:pt x="19" y="452"/>
                  </a:lnTo>
                  <a:lnTo>
                    <a:pt x="23" y="450"/>
                  </a:lnTo>
                  <a:lnTo>
                    <a:pt x="27" y="448"/>
                  </a:lnTo>
                  <a:lnTo>
                    <a:pt x="31" y="448"/>
                  </a:lnTo>
                  <a:lnTo>
                    <a:pt x="31" y="448"/>
                  </a:lnTo>
                  <a:lnTo>
                    <a:pt x="35" y="452"/>
                  </a:lnTo>
                  <a:lnTo>
                    <a:pt x="38" y="460"/>
                  </a:lnTo>
                  <a:lnTo>
                    <a:pt x="44" y="469"/>
                  </a:lnTo>
                  <a:lnTo>
                    <a:pt x="52" y="479"/>
                  </a:lnTo>
                  <a:lnTo>
                    <a:pt x="58" y="490"/>
                  </a:lnTo>
                  <a:lnTo>
                    <a:pt x="63" y="498"/>
                  </a:lnTo>
                  <a:lnTo>
                    <a:pt x="67" y="505"/>
                  </a:lnTo>
                  <a:lnTo>
                    <a:pt x="67" y="509"/>
                  </a:lnTo>
                  <a:lnTo>
                    <a:pt x="67" y="509"/>
                  </a:lnTo>
                  <a:lnTo>
                    <a:pt x="67" y="517"/>
                  </a:lnTo>
                  <a:lnTo>
                    <a:pt x="67" y="523"/>
                  </a:lnTo>
                  <a:lnTo>
                    <a:pt x="65" y="526"/>
                  </a:lnTo>
                  <a:lnTo>
                    <a:pt x="63" y="532"/>
                  </a:lnTo>
                  <a:lnTo>
                    <a:pt x="59" y="536"/>
                  </a:lnTo>
                  <a:lnTo>
                    <a:pt x="58" y="542"/>
                  </a:lnTo>
                  <a:lnTo>
                    <a:pt x="56" y="545"/>
                  </a:lnTo>
                  <a:lnTo>
                    <a:pt x="52" y="549"/>
                  </a:lnTo>
                  <a:lnTo>
                    <a:pt x="48" y="555"/>
                  </a:lnTo>
                  <a:lnTo>
                    <a:pt x="46" y="559"/>
                  </a:lnTo>
                  <a:lnTo>
                    <a:pt x="44" y="563"/>
                  </a:lnTo>
                  <a:lnTo>
                    <a:pt x="40" y="566"/>
                  </a:lnTo>
                  <a:lnTo>
                    <a:pt x="38" y="572"/>
                  </a:lnTo>
                  <a:lnTo>
                    <a:pt x="37" y="578"/>
                  </a:lnTo>
                  <a:lnTo>
                    <a:pt x="37" y="584"/>
                  </a:lnTo>
                  <a:lnTo>
                    <a:pt x="37" y="589"/>
                  </a:lnTo>
                  <a:lnTo>
                    <a:pt x="37" y="589"/>
                  </a:lnTo>
                  <a:lnTo>
                    <a:pt x="37" y="595"/>
                  </a:lnTo>
                  <a:lnTo>
                    <a:pt x="38" y="601"/>
                  </a:lnTo>
                  <a:lnTo>
                    <a:pt x="40" y="607"/>
                  </a:lnTo>
                  <a:lnTo>
                    <a:pt x="44" y="610"/>
                  </a:lnTo>
                  <a:lnTo>
                    <a:pt x="46" y="616"/>
                  </a:lnTo>
                  <a:lnTo>
                    <a:pt x="48" y="620"/>
                  </a:lnTo>
                  <a:lnTo>
                    <a:pt x="50" y="626"/>
                  </a:lnTo>
                  <a:lnTo>
                    <a:pt x="50" y="631"/>
                  </a:lnTo>
                  <a:lnTo>
                    <a:pt x="50" y="631"/>
                  </a:lnTo>
                  <a:lnTo>
                    <a:pt x="50" y="637"/>
                  </a:lnTo>
                  <a:lnTo>
                    <a:pt x="50" y="641"/>
                  </a:lnTo>
                  <a:lnTo>
                    <a:pt x="50" y="647"/>
                  </a:lnTo>
                  <a:lnTo>
                    <a:pt x="50" y="650"/>
                  </a:lnTo>
                  <a:lnTo>
                    <a:pt x="50" y="654"/>
                  </a:lnTo>
                  <a:lnTo>
                    <a:pt x="50" y="658"/>
                  </a:lnTo>
                  <a:lnTo>
                    <a:pt x="50" y="664"/>
                  </a:lnTo>
                  <a:lnTo>
                    <a:pt x="50" y="668"/>
                  </a:lnTo>
                  <a:lnTo>
                    <a:pt x="50" y="673"/>
                  </a:lnTo>
                  <a:lnTo>
                    <a:pt x="50" y="677"/>
                  </a:lnTo>
                  <a:lnTo>
                    <a:pt x="50" y="683"/>
                  </a:lnTo>
                  <a:lnTo>
                    <a:pt x="50" y="690"/>
                  </a:lnTo>
                  <a:lnTo>
                    <a:pt x="50" y="698"/>
                  </a:lnTo>
                  <a:lnTo>
                    <a:pt x="50" y="706"/>
                  </a:lnTo>
                  <a:lnTo>
                    <a:pt x="50" y="715"/>
                  </a:lnTo>
                  <a:lnTo>
                    <a:pt x="50" y="727"/>
                  </a:lnTo>
                  <a:lnTo>
                    <a:pt x="50" y="727"/>
                  </a:lnTo>
                  <a:lnTo>
                    <a:pt x="48" y="731"/>
                  </a:lnTo>
                  <a:lnTo>
                    <a:pt x="44" y="734"/>
                  </a:lnTo>
                  <a:lnTo>
                    <a:pt x="38" y="740"/>
                  </a:lnTo>
                  <a:lnTo>
                    <a:pt x="35" y="748"/>
                  </a:lnTo>
                  <a:lnTo>
                    <a:pt x="31" y="753"/>
                  </a:lnTo>
                  <a:lnTo>
                    <a:pt x="27" y="761"/>
                  </a:lnTo>
                  <a:lnTo>
                    <a:pt x="23" y="769"/>
                  </a:lnTo>
                  <a:lnTo>
                    <a:pt x="19" y="776"/>
                  </a:lnTo>
                  <a:lnTo>
                    <a:pt x="16" y="784"/>
                  </a:lnTo>
                  <a:lnTo>
                    <a:pt x="14" y="792"/>
                  </a:lnTo>
                  <a:lnTo>
                    <a:pt x="10" y="799"/>
                  </a:lnTo>
                  <a:lnTo>
                    <a:pt x="8" y="807"/>
                  </a:lnTo>
                  <a:lnTo>
                    <a:pt x="6" y="813"/>
                  </a:lnTo>
                  <a:lnTo>
                    <a:pt x="4" y="820"/>
                  </a:lnTo>
                  <a:lnTo>
                    <a:pt x="4" y="824"/>
                  </a:lnTo>
                  <a:lnTo>
                    <a:pt x="2" y="830"/>
                  </a:lnTo>
                  <a:lnTo>
                    <a:pt x="2" y="830"/>
                  </a:lnTo>
                  <a:lnTo>
                    <a:pt x="2" y="832"/>
                  </a:lnTo>
                  <a:lnTo>
                    <a:pt x="2" y="834"/>
                  </a:lnTo>
                  <a:lnTo>
                    <a:pt x="2" y="835"/>
                  </a:lnTo>
                  <a:lnTo>
                    <a:pt x="2" y="837"/>
                  </a:lnTo>
                  <a:lnTo>
                    <a:pt x="2" y="841"/>
                  </a:lnTo>
                  <a:lnTo>
                    <a:pt x="0" y="843"/>
                  </a:lnTo>
                  <a:lnTo>
                    <a:pt x="0" y="845"/>
                  </a:lnTo>
                  <a:lnTo>
                    <a:pt x="0" y="847"/>
                  </a:lnTo>
                  <a:lnTo>
                    <a:pt x="0" y="847"/>
                  </a:lnTo>
                  <a:lnTo>
                    <a:pt x="2" y="845"/>
                  </a:lnTo>
                  <a:lnTo>
                    <a:pt x="6" y="841"/>
                  </a:lnTo>
                  <a:lnTo>
                    <a:pt x="8" y="839"/>
                  </a:lnTo>
                  <a:lnTo>
                    <a:pt x="12" y="837"/>
                  </a:lnTo>
                  <a:lnTo>
                    <a:pt x="14" y="835"/>
                  </a:lnTo>
                  <a:lnTo>
                    <a:pt x="17" y="834"/>
                  </a:lnTo>
                  <a:lnTo>
                    <a:pt x="21" y="834"/>
                  </a:lnTo>
                  <a:lnTo>
                    <a:pt x="27" y="832"/>
                  </a:lnTo>
                  <a:lnTo>
                    <a:pt x="27" y="832"/>
                  </a:lnTo>
                  <a:lnTo>
                    <a:pt x="31" y="832"/>
                  </a:lnTo>
                  <a:lnTo>
                    <a:pt x="35" y="832"/>
                  </a:lnTo>
                  <a:lnTo>
                    <a:pt x="37" y="832"/>
                  </a:lnTo>
                  <a:lnTo>
                    <a:pt x="38" y="832"/>
                  </a:lnTo>
                  <a:lnTo>
                    <a:pt x="42" y="832"/>
                  </a:lnTo>
                  <a:lnTo>
                    <a:pt x="44" y="832"/>
                  </a:lnTo>
                  <a:lnTo>
                    <a:pt x="48" y="832"/>
                  </a:lnTo>
                  <a:lnTo>
                    <a:pt x="50" y="832"/>
                  </a:lnTo>
                  <a:lnTo>
                    <a:pt x="50" y="832"/>
                  </a:lnTo>
                  <a:lnTo>
                    <a:pt x="56" y="832"/>
                  </a:lnTo>
                  <a:lnTo>
                    <a:pt x="63" y="832"/>
                  </a:lnTo>
                  <a:lnTo>
                    <a:pt x="69" y="830"/>
                  </a:lnTo>
                  <a:lnTo>
                    <a:pt x="79" y="828"/>
                  </a:lnTo>
                  <a:lnTo>
                    <a:pt x="86" y="826"/>
                  </a:lnTo>
                  <a:lnTo>
                    <a:pt x="94" y="824"/>
                  </a:lnTo>
                  <a:lnTo>
                    <a:pt x="101" y="824"/>
                  </a:lnTo>
                  <a:lnTo>
                    <a:pt x="109" y="822"/>
                  </a:lnTo>
                  <a:lnTo>
                    <a:pt x="109" y="822"/>
                  </a:lnTo>
                  <a:lnTo>
                    <a:pt x="117" y="824"/>
                  </a:lnTo>
                  <a:lnTo>
                    <a:pt x="124" y="824"/>
                  </a:lnTo>
                  <a:lnTo>
                    <a:pt x="130" y="826"/>
                  </a:lnTo>
                  <a:lnTo>
                    <a:pt x="136" y="828"/>
                  </a:lnTo>
                  <a:lnTo>
                    <a:pt x="141" y="830"/>
                  </a:lnTo>
                  <a:lnTo>
                    <a:pt x="145" y="832"/>
                  </a:lnTo>
                  <a:lnTo>
                    <a:pt x="149" y="835"/>
                  </a:lnTo>
                  <a:lnTo>
                    <a:pt x="153" y="837"/>
                  </a:lnTo>
                  <a:lnTo>
                    <a:pt x="157" y="841"/>
                  </a:lnTo>
                  <a:lnTo>
                    <a:pt x="159" y="845"/>
                  </a:lnTo>
                  <a:lnTo>
                    <a:pt x="162" y="849"/>
                  </a:lnTo>
                  <a:lnTo>
                    <a:pt x="164" y="853"/>
                  </a:lnTo>
                  <a:lnTo>
                    <a:pt x="168" y="856"/>
                  </a:lnTo>
                  <a:lnTo>
                    <a:pt x="172" y="860"/>
                  </a:lnTo>
                  <a:lnTo>
                    <a:pt x="174" y="864"/>
                  </a:lnTo>
                  <a:lnTo>
                    <a:pt x="178" y="868"/>
                  </a:lnTo>
                  <a:lnTo>
                    <a:pt x="178" y="868"/>
                  </a:lnTo>
                  <a:lnTo>
                    <a:pt x="183" y="872"/>
                  </a:lnTo>
                  <a:lnTo>
                    <a:pt x="187" y="876"/>
                  </a:lnTo>
                  <a:lnTo>
                    <a:pt x="193" y="877"/>
                  </a:lnTo>
                  <a:lnTo>
                    <a:pt x="197" y="877"/>
                  </a:lnTo>
                  <a:lnTo>
                    <a:pt x="203" y="879"/>
                  </a:lnTo>
                  <a:lnTo>
                    <a:pt x="208" y="881"/>
                  </a:lnTo>
                  <a:lnTo>
                    <a:pt x="214" y="883"/>
                  </a:lnTo>
                  <a:lnTo>
                    <a:pt x="220" y="885"/>
                  </a:lnTo>
                  <a:lnTo>
                    <a:pt x="220" y="885"/>
                  </a:lnTo>
                  <a:lnTo>
                    <a:pt x="222" y="889"/>
                  </a:lnTo>
                  <a:lnTo>
                    <a:pt x="225" y="893"/>
                  </a:lnTo>
                  <a:lnTo>
                    <a:pt x="225" y="897"/>
                  </a:lnTo>
                  <a:lnTo>
                    <a:pt x="225" y="900"/>
                  </a:lnTo>
                  <a:lnTo>
                    <a:pt x="225" y="904"/>
                  </a:lnTo>
                  <a:lnTo>
                    <a:pt x="225" y="908"/>
                  </a:lnTo>
                  <a:lnTo>
                    <a:pt x="225" y="914"/>
                  </a:lnTo>
                  <a:lnTo>
                    <a:pt x="227" y="917"/>
                  </a:lnTo>
                  <a:lnTo>
                    <a:pt x="227" y="917"/>
                  </a:lnTo>
                  <a:lnTo>
                    <a:pt x="231" y="923"/>
                  </a:lnTo>
                  <a:lnTo>
                    <a:pt x="235" y="929"/>
                  </a:lnTo>
                  <a:lnTo>
                    <a:pt x="239" y="935"/>
                  </a:lnTo>
                  <a:lnTo>
                    <a:pt x="241" y="938"/>
                  </a:lnTo>
                  <a:lnTo>
                    <a:pt x="244" y="944"/>
                  </a:lnTo>
                  <a:lnTo>
                    <a:pt x="248" y="950"/>
                  </a:lnTo>
                  <a:lnTo>
                    <a:pt x="252" y="954"/>
                  </a:lnTo>
                  <a:lnTo>
                    <a:pt x="256" y="959"/>
                  </a:lnTo>
                  <a:lnTo>
                    <a:pt x="260" y="963"/>
                  </a:lnTo>
                  <a:lnTo>
                    <a:pt x="262" y="969"/>
                  </a:lnTo>
                  <a:lnTo>
                    <a:pt x="265" y="973"/>
                  </a:lnTo>
                  <a:lnTo>
                    <a:pt x="269" y="979"/>
                  </a:lnTo>
                  <a:lnTo>
                    <a:pt x="273" y="982"/>
                  </a:lnTo>
                  <a:lnTo>
                    <a:pt x="275" y="988"/>
                  </a:lnTo>
                  <a:lnTo>
                    <a:pt x="279" y="994"/>
                  </a:lnTo>
                  <a:lnTo>
                    <a:pt x="281" y="1000"/>
                  </a:lnTo>
                  <a:lnTo>
                    <a:pt x="281" y="100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4" name="Freeform 48"/>
            <p:cNvSpPr>
              <a:spLocks/>
            </p:cNvSpPr>
            <p:nvPr/>
          </p:nvSpPr>
          <p:spPr bwMode="gray">
            <a:xfrm>
              <a:off x="899" y="1099"/>
              <a:ext cx="385" cy="285"/>
            </a:xfrm>
            <a:custGeom>
              <a:avLst/>
              <a:gdLst/>
              <a:ahLst/>
              <a:cxnLst>
                <a:cxn ang="0">
                  <a:pos x="0" y="492"/>
                </a:cxn>
                <a:cxn ang="0">
                  <a:pos x="15" y="458"/>
                </a:cxn>
                <a:cxn ang="0">
                  <a:pos x="32" y="421"/>
                </a:cxn>
                <a:cxn ang="0">
                  <a:pos x="55" y="385"/>
                </a:cxn>
                <a:cxn ang="0">
                  <a:pos x="78" y="351"/>
                </a:cxn>
                <a:cxn ang="0">
                  <a:pos x="103" y="316"/>
                </a:cxn>
                <a:cxn ang="0">
                  <a:pos x="130" y="288"/>
                </a:cxn>
                <a:cxn ang="0">
                  <a:pos x="158" y="261"/>
                </a:cxn>
                <a:cxn ang="0">
                  <a:pos x="187" y="242"/>
                </a:cxn>
                <a:cxn ang="0">
                  <a:pos x="191" y="238"/>
                </a:cxn>
                <a:cxn ang="0">
                  <a:pos x="198" y="227"/>
                </a:cxn>
                <a:cxn ang="0">
                  <a:pos x="202" y="215"/>
                </a:cxn>
                <a:cxn ang="0">
                  <a:pos x="206" y="202"/>
                </a:cxn>
                <a:cxn ang="0">
                  <a:pos x="206" y="196"/>
                </a:cxn>
                <a:cxn ang="0">
                  <a:pos x="208" y="189"/>
                </a:cxn>
                <a:cxn ang="0">
                  <a:pos x="214" y="177"/>
                </a:cxn>
                <a:cxn ang="0">
                  <a:pos x="219" y="166"/>
                </a:cxn>
                <a:cxn ang="0">
                  <a:pos x="227" y="152"/>
                </a:cxn>
                <a:cxn ang="0">
                  <a:pos x="235" y="139"/>
                </a:cxn>
                <a:cxn ang="0">
                  <a:pos x="242" y="126"/>
                </a:cxn>
                <a:cxn ang="0">
                  <a:pos x="250" y="116"/>
                </a:cxn>
                <a:cxn ang="0">
                  <a:pos x="258" y="108"/>
                </a:cxn>
                <a:cxn ang="0">
                  <a:pos x="261" y="105"/>
                </a:cxn>
                <a:cxn ang="0">
                  <a:pos x="275" y="99"/>
                </a:cxn>
                <a:cxn ang="0">
                  <a:pos x="288" y="95"/>
                </a:cxn>
                <a:cxn ang="0">
                  <a:pos x="301" y="91"/>
                </a:cxn>
                <a:cxn ang="0">
                  <a:pos x="307" y="87"/>
                </a:cxn>
                <a:cxn ang="0">
                  <a:pos x="317" y="78"/>
                </a:cxn>
                <a:cxn ang="0">
                  <a:pos x="326" y="68"/>
                </a:cxn>
                <a:cxn ang="0">
                  <a:pos x="334" y="57"/>
                </a:cxn>
                <a:cxn ang="0">
                  <a:pos x="341" y="44"/>
                </a:cxn>
                <a:cxn ang="0">
                  <a:pos x="349" y="32"/>
                </a:cxn>
                <a:cxn ang="0">
                  <a:pos x="355" y="21"/>
                </a:cxn>
                <a:cxn ang="0">
                  <a:pos x="362" y="9"/>
                </a:cxn>
                <a:cxn ang="0">
                  <a:pos x="370" y="0"/>
                </a:cxn>
                <a:cxn ang="0">
                  <a:pos x="675" y="59"/>
                </a:cxn>
                <a:cxn ang="0">
                  <a:pos x="422" y="152"/>
                </a:cxn>
                <a:cxn ang="0">
                  <a:pos x="383" y="351"/>
                </a:cxn>
                <a:cxn ang="0">
                  <a:pos x="372" y="355"/>
                </a:cxn>
                <a:cxn ang="0">
                  <a:pos x="361" y="360"/>
                </a:cxn>
                <a:cxn ang="0">
                  <a:pos x="349" y="364"/>
                </a:cxn>
                <a:cxn ang="0">
                  <a:pos x="340" y="370"/>
                </a:cxn>
                <a:cxn ang="0">
                  <a:pos x="330" y="376"/>
                </a:cxn>
                <a:cxn ang="0">
                  <a:pos x="320" y="379"/>
                </a:cxn>
                <a:cxn ang="0">
                  <a:pos x="311" y="387"/>
                </a:cxn>
                <a:cxn ang="0">
                  <a:pos x="301" y="393"/>
                </a:cxn>
                <a:cxn ang="0">
                  <a:pos x="0" y="496"/>
                </a:cxn>
              </a:cxnLst>
              <a:rect l="0" t="0" r="r" b="b"/>
              <a:pathLst>
                <a:path w="679" h="519">
                  <a:moveTo>
                    <a:pt x="0" y="492"/>
                  </a:moveTo>
                  <a:lnTo>
                    <a:pt x="0" y="492"/>
                  </a:lnTo>
                  <a:lnTo>
                    <a:pt x="6" y="475"/>
                  </a:lnTo>
                  <a:lnTo>
                    <a:pt x="15" y="458"/>
                  </a:lnTo>
                  <a:lnTo>
                    <a:pt x="23" y="440"/>
                  </a:lnTo>
                  <a:lnTo>
                    <a:pt x="32" y="421"/>
                  </a:lnTo>
                  <a:lnTo>
                    <a:pt x="44" y="404"/>
                  </a:lnTo>
                  <a:lnTo>
                    <a:pt x="55" y="385"/>
                  </a:lnTo>
                  <a:lnTo>
                    <a:pt x="65" y="368"/>
                  </a:lnTo>
                  <a:lnTo>
                    <a:pt x="78" y="351"/>
                  </a:lnTo>
                  <a:lnTo>
                    <a:pt x="90" y="334"/>
                  </a:lnTo>
                  <a:lnTo>
                    <a:pt x="103" y="316"/>
                  </a:lnTo>
                  <a:lnTo>
                    <a:pt x="116" y="301"/>
                  </a:lnTo>
                  <a:lnTo>
                    <a:pt x="130" y="288"/>
                  </a:lnTo>
                  <a:lnTo>
                    <a:pt x="145" y="274"/>
                  </a:lnTo>
                  <a:lnTo>
                    <a:pt x="158" y="261"/>
                  </a:lnTo>
                  <a:lnTo>
                    <a:pt x="172" y="252"/>
                  </a:lnTo>
                  <a:lnTo>
                    <a:pt x="187" y="242"/>
                  </a:lnTo>
                  <a:lnTo>
                    <a:pt x="187" y="242"/>
                  </a:lnTo>
                  <a:lnTo>
                    <a:pt x="191" y="238"/>
                  </a:lnTo>
                  <a:lnTo>
                    <a:pt x="195" y="232"/>
                  </a:lnTo>
                  <a:lnTo>
                    <a:pt x="198" y="227"/>
                  </a:lnTo>
                  <a:lnTo>
                    <a:pt x="200" y="221"/>
                  </a:lnTo>
                  <a:lnTo>
                    <a:pt x="202" y="215"/>
                  </a:lnTo>
                  <a:lnTo>
                    <a:pt x="204" y="210"/>
                  </a:lnTo>
                  <a:lnTo>
                    <a:pt x="206" y="202"/>
                  </a:lnTo>
                  <a:lnTo>
                    <a:pt x="206" y="196"/>
                  </a:lnTo>
                  <a:lnTo>
                    <a:pt x="206" y="196"/>
                  </a:lnTo>
                  <a:lnTo>
                    <a:pt x="206" y="192"/>
                  </a:lnTo>
                  <a:lnTo>
                    <a:pt x="208" y="189"/>
                  </a:lnTo>
                  <a:lnTo>
                    <a:pt x="212" y="183"/>
                  </a:lnTo>
                  <a:lnTo>
                    <a:pt x="214" y="177"/>
                  </a:lnTo>
                  <a:lnTo>
                    <a:pt x="216" y="171"/>
                  </a:lnTo>
                  <a:lnTo>
                    <a:pt x="219" y="166"/>
                  </a:lnTo>
                  <a:lnTo>
                    <a:pt x="223" y="158"/>
                  </a:lnTo>
                  <a:lnTo>
                    <a:pt x="227" y="152"/>
                  </a:lnTo>
                  <a:lnTo>
                    <a:pt x="231" y="145"/>
                  </a:lnTo>
                  <a:lnTo>
                    <a:pt x="235" y="139"/>
                  </a:lnTo>
                  <a:lnTo>
                    <a:pt x="238" y="131"/>
                  </a:lnTo>
                  <a:lnTo>
                    <a:pt x="242" y="126"/>
                  </a:lnTo>
                  <a:lnTo>
                    <a:pt x="248" y="120"/>
                  </a:lnTo>
                  <a:lnTo>
                    <a:pt x="250" y="116"/>
                  </a:lnTo>
                  <a:lnTo>
                    <a:pt x="254" y="112"/>
                  </a:lnTo>
                  <a:lnTo>
                    <a:pt x="258" y="108"/>
                  </a:lnTo>
                  <a:lnTo>
                    <a:pt x="258" y="108"/>
                  </a:lnTo>
                  <a:lnTo>
                    <a:pt x="261" y="105"/>
                  </a:lnTo>
                  <a:lnTo>
                    <a:pt x="269" y="101"/>
                  </a:lnTo>
                  <a:lnTo>
                    <a:pt x="275" y="99"/>
                  </a:lnTo>
                  <a:lnTo>
                    <a:pt x="280" y="97"/>
                  </a:lnTo>
                  <a:lnTo>
                    <a:pt x="288" y="95"/>
                  </a:lnTo>
                  <a:lnTo>
                    <a:pt x="296" y="93"/>
                  </a:lnTo>
                  <a:lnTo>
                    <a:pt x="301" y="91"/>
                  </a:lnTo>
                  <a:lnTo>
                    <a:pt x="307" y="87"/>
                  </a:lnTo>
                  <a:lnTo>
                    <a:pt x="307" y="87"/>
                  </a:lnTo>
                  <a:lnTo>
                    <a:pt x="313" y="84"/>
                  </a:lnTo>
                  <a:lnTo>
                    <a:pt x="317" y="78"/>
                  </a:lnTo>
                  <a:lnTo>
                    <a:pt x="320" y="74"/>
                  </a:lnTo>
                  <a:lnTo>
                    <a:pt x="326" y="68"/>
                  </a:lnTo>
                  <a:lnTo>
                    <a:pt x="330" y="63"/>
                  </a:lnTo>
                  <a:lnTo>
                    <a:pt x="334" y="57"/>
                  </a:lnTo>
                  <a:lnTo>
                    <a:pt x="338" y="51"/>
                  </a:lnTo>
                  <a:lnTo>
                    <a:pt x="341" y="44"/>
                  </a:lnTo>
                  <a:lnTo>
                    <a:pt x="345" y="38"/>
                  </a:lnTo>
                  <a:lnTo>
                    <a:pt x="349" y="32"/>
                  </a:lnTo>
                  <a:lnTo>
                    <a:pt x="351" y="26"/>
                  </a:lnTo>
                  <a:lnTo>
                    <a:pt x="355" y="21"/>
                  </a:lnTo>
                  <a:lnTo>
                    <a:pt x="359" y="15"/>
                  </a:lnTo>
                  <a:lnTo>
                    <a:pt x="362" y="9"/>
                  </a:lnTo>
                  <a:lnTo>
                    <a:pt x="366" y="4"/>
                  </a:lnTo>
                  <a:lnTo>
                    <a:pt x="370" y="0"/>
                  </a:lnTo>
                  <a:lnTo>
                    <a:pt x="679" y="25"/>
                  </a:lnTo>
                  <a:lnTo>
                    <a:pt x="675" y="59"/>
                  </a:lnTo>
                  <a:lnTo>
                    <a:pt x="654" y="168"/>
                  </a:lnTo>
                  <a:lnTo>
                    <a:pt x="422" y="152"/>
                  </a:lnTo>
                  <a:lnTo>
                    <a:pt x="383" y="351"/>
                  </a:lnTo>
                  <a:lnTo>
                    <a:pt x="383" y="351"/>
                  </a:lnTo>
                  <a:lnTo>
                    <a:pt x="378" y="353"/>
                  </a:lnTo>
                  <a:lnTo>
                    <a:pt x="372" y="355"/>
                  </a:lnTo>
                  <a:lnTo>
                    <a:pt x="364" y="356"/>
                  </a:lnTo>
                  <a:lnTo>
                    <a:pt x="361" y="360"/>
                  </a:lnTo>
                  <a:lnTo>
                    <a:pt x="355" y="362"/>
                  </a:lnTo>
                  <a:lnTo>
                    <a:pt x="349" y="364"/>
                  </a:lnTo>
                  <a:lnTo>
                    <a:pt x="343" y="368"/>
                  </a:lnTo>
                  <a:lnTo>
                    <a:pt x="340" y="370"/>
                  </a:lnTo>
                  <a:lnTo>
                    <a:pt x="334" y="372"/>
                  </a:lnTo>
                  <a:lnTo>
                    <a:pt x="330" y="376"/>
                  </a:lnTo>
                  <a:lnTo>
                    <a:pt x="324" y="377"/>
                  </a:lnTo>
                  <a:lnTo>
                    <a:pt x="320" y="379"/>
                  </a:lnTo>
                  <a:lnTo>
                    <a:pt x="315" y="383"/>
                  </a:lnTo>
                  <a:lnTo>
                    <a:pt x="311" y="387"/>
                  </a:lnTo>
                  <a:lnTo>
                    <a:pt x="305" y="389"/>
                  </a:lnTo>
                  <a:lnTo>
                    <a:pt x="301" y="393"/>
                  </a:lnTo>
                  <a:lnTo>
                    <a:pt x="286" y="519"/>
                  </a:lnTo>
                  <a:lnTo>
                    <a:pt x="0" y="496"/>
                  </a:lnTo>
                  <a:lnTo>
                    <a:pt x="0" y="492"/>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5" name="Freeform 49"/>
            <p:cNvSpPr>
              <a:spLocks/>
            </p:cNvSpPr>
            <p:nvPr/>
          </p:nvSpPr>
          <p:spPr bwMode="gray">
            <a:xfrm>
              <a:off x="1109" y="769"/>
              <a:ext cx="501" cy="344"/>
            </a:xfrm>
            <a:custGeom>
              <a:avLst/>
              <a:gdLst/>
              <a:ahLst/>
              <a:cxnLst>
                <a:cxn ang="0">
                  <a:pos x="305" y="587"/>
                </a:cxn>
                <a:cxn ang="0">
                  <a:pos x="309" y="557"/>
                </a:cxn>
                <a:cxn ang="0">
                  <a:pos x="336" y="538"/>
                </a:cxn>
                <a:cxn ang="0">
                  <a:pos x="374" y="511"/>
                </a:cxn>
                <a:cxn ang="0">
                  <a:pos x="418" y="492"/>
                </a:cxn>
                <a:cxn ang="0">
                  <a:pos x="443" y="488"/>
                </a:cxn>
                <a:cxn ang="0">
                  <a:pos x="452" y="488"/>
                </a:cxn>
                <a:cxn ang="0">
                  <a:pos x="464" y="488"/>
                </a:cxn>
                <a:cxn ang="0">
                  <a:pos x="506" y="481"/>
                </a:cxn>
                <a:cxn ang="0">
                  <a:pos x="555" y="467"/>
                </a:cxn>
                <a:cxn ang="0">
                  <a:pos x="578" y="461"/>
                </a:cxn>
                <a:cxn ang="0">
                  <a:pos x="595" y="437"/>
                </a:cxn>
                <a:cxn ang="0">
                  <a:pos x="614" y="423"/>
                </a:cxn>
                <a:cxn ang="0">
                  <a:pos x="639" y="418"/>
                </a:cxn>
                <a:cxn ang="0">
                  <a:pos x="662" y="412"/>
                </a:cxn>
                <a:cxn ang="0">
                  <a:pos x="681" y="397"/>
                </a:cxn>
                <a:cxn ang="0">
                  <a:pos x="683" y="374"/>
                </a:cxn>
                <a:cxn ang="0">
                  <a:pos x="744" y="334"/>
                </a:cxn>
                <a:cxn ang="0">
                  <a:pos x="776" y="311"/>
                </a:cxn>
                <a:cxn ang="0">
                  <a:pos x="797" y="313"/>
                </a:cxn>
                <a:cxn ang="0">
                  <a:pos x="815" y="315"/>
                </a:cxn>
                <a:cxn ang="0">
                  <a:pos x="834" y="318"/>
                </a:cxn>
                <a:cxn ang="0">
                  <a:pos x="855" y="318"/>
                </a:cxn>
                <a:cxn ang="0">
                  <a:pos x="870" y="313"/>
                </a:cxn>
                <a:cxn ang="0">
                  <a:pos x="881" y="294"/>
                </a:cxn>
                <a:cxn ang="0">
                  <a:pos x="872" y="269"/>
                </a:cxn>
                <a:cxn ang="0">
                  <a:pos x="858" y="225"/>
                </a:cxn>
                <a:cxn ang="0">
                  <a:pos x="858" y="206"/>
                </a:cxn>
                <a:cxn ang="0">
                  <a:pos x="864" y="185"/>
                </a:cxn>
                <a:cxn ang="0">
                  <a:pos x="866" y="162"/>
                </a:cxn>
                <a:cxn ang="0">
                  <a:pos x="866" y="131"/>
                </a:cxn>
                <a:cxn ang="0">
                  <a:pos x="845" y="97"/>
                </a:cxn>
                <a:cxn ang="0">
                  <a:pos x="818" y="74"/>
                </a:cxn>
                <a:cxn ang="0">
                  <a:pos x="799" y="57"/>
                </a:cxn>
                <a:cxn ang="0">
                  <a:pos x="788" y="63"/>
                </a:cxn>
                <a:cxn ang="0">
                  <a:pos x="773" y="65"/>
                </a:cxn>
                <a:cxn ang="0">
                  <a:pos x="748" y="53"/>
                </a:cxn>
                <a:cxn ang="0">
                  <a:pos x="717" y="42"/>
                </a:cxn>
                <a:cxn ang="0">
                  <a:pos x="679" y="38"/>
                </a:cxn>
                <a:cxn ang="0">
                  <a:pos x="654" y="28"/>
                </a:cxn>
                <a:cxn ang="0">
                  <a:pos x="641" y="0"/>
                </a:cxn>
                <a:cxn ang="0">
                  <a:pos x="599" y="32"/>
                </a:cxn>
                <a:cxn ang="0">
                  <a:pos x="572" y="78"/>
                </a:cxn>
                <a:cxn ang="0">
                  <a:pos x="532" y="130"/>
                </a:cxn>
                <a:cxn ang="0">
                  <a:pos x="477" y="158"/>
                </a:cxn>
                <a:cxn ang="0">
                  <a:pos x="403" y="183"/>
                </a:cxn>
                <a:cxn ang="0">
                  <a:pos x="376" y="202"/>
                </a:cxn>
                <a:cxn ang="0">
                  <a:pos x="351" y="236"/>
                </a:cxn>
                <a:cxn ang="0">
                  <a:pos x="330" y="275"/>
                </a:cxn>
                <a:cxn ang="0">
                  <a:pos x="313" y="295"/>
                </a:cxn>
                <a:cxn ang="0">
                  <a:pos x="294" y="324"/>
                </a:cxn>
                <a:cxn ang="0">
                  <a:pos x="277" y="355"/>
                </a:cxn>
                <a:cxn ang="0">
                  <a:pos x="271" y="383"/>
                </a:cxn>
                <a:cxn ang="0">
                  <a:pos x="277" y="395"/>
                </a:cxn>
                <a:cxn ang="0">
                  <a:pos x="279" y="418"/>
                </a:cxn>
                <a:cxn ang="0">
                  <a:pos x="248" y="456"/>
                </a:cxn>
                <a:cxn ang="0">
                  <a:pos x="214" y="481"/>
                </a:cxn>
                <a:cxn ang="0">
                  <a:pos x="164" y="511"/>
                </a:cxn>
                <a:cxn ang="0">
                  <a:pos x="113" y="536"/>
                </a:cxn>
                <a:cxn ang="0">
                  <a:pos x="71" y="547"/>
                </a:cxn>
                <a:cxn ang="0">
                  <a:pos x="40" y="555"/>
                </a:cxn>
                <a:cxn ang="0">
                  <a:pos x="17" y="570"/>
                </a:cxn>
                <a:cxn ang="0">
                  <a:pos x="2" y="595"/>
                </a:cxn>
              </a:cxnLst>
              <a:rect l="0" t="0" r="r" b="b"/>
              <a:pathLst>
                <a:path w="885" h="626">
                  <a:moveTo>
                    <a:pt x="303" y="626"/>
                  </a:moveTo>
                  <a:lnTo>
                    <a:pt x="303" y="601"/>
                  </a:lnTo>
                  <a:lnTo>
                    <a:pt x="303" y="601"/>
                  </a:lnTo>
                  <a:lnTo>
                    <a:pt x="305" y="595"/>
                  </a:lnTo>
                  <a:lnTo>
                    <a:pt x="305" y="587"/>
                  </a:lnTo>
                  <a:lnTo>
                    <a:pt x="305" y="582"/>
                  </a:lnTo>
                  <a:lnTo>
                    <a:pt x="305" y="576"/>
                  </a:lnTo>
                  <a:lnTo>
                    <a:pt x="305" y="568"/>
                  </a:lnTo>
                  <a:lnTo>
                    <a:pt x="307" y="563"/>
                  </a:lnTo>
                  <a:lnTo>
                    <a:pt x="309" y="557"/>
                  </a:lnTo>
                  <a:lnTo>
                    <a:pt x="315" y="553"/>
                  </a:lnTo>
                  <a:lnTo>
                    <a:pt x="315" y="553"/>
                  </a:lnTo>
                  <a:lnTo>
                    <a:pt x="321" y="547"/>
                  </a:lnTo>
                  <a:lnTo>
                    <a:pt x="328" y="544"/>
                  </a:lnTo>
                  <a:lnTo>
                    <a:pt x="336" y="538"/>
                  </a:lnTo>
                  <a:lnTo>
                    <a:pt x="343" y="532"/>
                  </a:lnTo>
                  <a:lnTo>
                    <a:pt x="351" y="526"/>
                  </a:lnTo>
                  <a:lnTo>
                    <a:pt x="359" y="523"/>
                  </a:lnTo>
                  <a:lnTo>
                    <a:pt x="366" y="517"/>
                  </a:lnTo>
                  <a:lnTo>
                    <a:pt x="374" y="511"/>
                  </a:lnTo>
                  <a:lnTo>
                    <a:pt x="384" y="507"/>
                  </a:lnTo>
                  <a:lnTo>
                    <a:pt x="393" y="502"/>
                  </a:lnTo>
                  <a:lnTo>
                    <a:pt x="401" y="498"/>
                  </a:lnTo>
                  <a:lnTo>
                    <a:pt x="408" y="496"/>
                  </a:lnTo>
                  <a:lnTo>
                    <a:pt x="418" y="492"/>
                  </a:lnTo>
                  <a:lnTo>
                    <a:pt x="425" y="490"/>
                  </a:lnTo>
                  <a:lnTo>
                    <a:pt x="435" y="488"/>
                  </a:lnTo>
                  <a:lnTo>
                    <a:pt x="443" y="488"/>
                  </a:lnTo>
                  <a:lnTo>
                    <a:pt x="443" y="488"/>
                  </a:lnTo>
                  <a:lnTo>
                    <a:pt x="443" y="488"/>
                  </a:lnTo>
                  <a:lnTo>
                    <a:pt x="445" y="488"/>
                  </a:lnTo>
                  <a:lnTo>
                    <a:pt x="446" y="488"/>
                  </a:lnTo>
                  <a:lnTo>
                    <a:pt x="448" y="488"/>
                  </a:lnTo>
                  <a:lnTo>
                    <a:pt x="450" y="488"/>
                  </a:lnTo>
                  <a:lnTo>
                    <a:pt x="452" y="488"/>
                  </a:lnTo>
                  <a:lnTo>
                    <a:pt x="456" y="488"/>
                  </a:lnTo>
                  <a:lnTo>
                    <a:pt x="460" y="488"/>
                  </a:lnTo>
                  <a:lnTo>
                    <a:pt x="460" y="488"/>
                  </a:lnTo>
                  <a:lnTo>
                    <a:pt x="462" y="488"/>
                  </a:lnTo>
                  <a:lnTo>
                    <a:pt x="464" y="488"/>
                  </a:lnTo>
                  <a:lnTo>
                    <a:pt x="469" y="486"/>
                  </a:lnTo>
                  <a:lnTo>
                    <a:pt x="477" y="484"/>
                  </a:lnTo>
                  <a:lnTo>
                    <a:pt x="485" y="482"/>
                  </a:lnTo>
                  <a:lnTo>
                    <a:pt x="494" y="482"/>
                  </a:lnTo>
                  <a:lnTo>
                    <a:pt x="506" y="481"/>
                  </a:lnTo>
                  <a:lnTo>
                    <a:pt x="515" y="477"/>
                  </a:lnTo>
                  <a:lnTo>
                    <a:pt x="527" y="475"/>
                  </a:lnTo>
                  <a:lnTo>
                    <a:pt x="536" y="473"/>
                  </a:lnTo>
                  <a:lnTo>
                    <a:pt x="546" y="471"/>
                  </a:lnTo>
                  <a:lnTo>
                    <a:pt x="555" y="467"/>
                  </a:lnTo>
                  <a:lnTo>
                    <a:pt x="563" y="465"/>
                  </a:lnTo>
                  <a:lnTo>
                    <a:pt x="570" y="463"/>
                  </a:lnTo>
                  <a:lnTo>
                    <a:pt x="576" y="463"/>
                  </a:lnTo>
                  <a:lnTo>
                    <a:pt x="578" y="461"/>
                  </a:lnTo>
                  <a:lnTo>
                    <a:pt x="578" y="461"/>
                  </a:lnTo>
                  <a:lnTo>
                    <a:pt x="582" y="458"/>
                  </a:lnTo>
                  <a:lnTo>
                    <a:pt x="586" y="452"/>
                  </a:lnTo>
                  <a:lnTo>
                    <a:pt x="590" y="446"/>
                  </a:lnTo>
                  <a:lnTo>
                    <a:pt x="593" y="442"/>
                  </a:lnTo>
                  <a:lnTo>
                    <a:pt x="595" y="437"/>
                  </a:lnTo>
                  <a:lnTo>
                    <a:pt x="599" y="433"/>
                  </a:lnTo>
                  <a:lnTo>
                    <a:pt x="605" y="429"/>
                  </a:lnTo>
                  <a:lnTo>
                    <a:pt x="610" y="425"/>
                  </a:lnTo>
                  <a:lnTo>
                    <a:pt x="610" y="425"/>
                  </a:lnTo>
                  <a:lnTo>
                    <a:pt x="614" y="423"/>
                  </a:lnTo>
                  <a:lnTo>
                    <a:pt x="620" y="423"/>
                  </a:lnTo>
                  <a:lnTo>
                    <a:pt x="624" y="421"/>
                  </a:lnTo>
                  <a:lnTo>
                    <a:pt x="630" y="419"/>
                  </a:lnTo>
                  <a:lnTo>
                    <a:pt x="633" y="419"/>
                  </a:lnTo>
                  <a:lnTo>
                    <a:pt x="639" y="418"/>
                  </a:lnTo>
                  <a:lnTo>
                    <a:pt x="643" y="418"/>
                  </a:lnTo>
                  <a:lnTo>
                    <a:pt x="649" y="416"/>
                  </a:lnTo>
                  <a:lnTo>
                    <a:pt x="652" y="414"/>
                  </a:lnTo>
                  <a:lnTo>
                    <a:pt x="656" y="414"/>
                  </a:lnTo>
                  <a:lnTo>
                    <a:pt x="662" y="412"/>
                  </a:lnTo>
                  <a:lnTo>
                    <a:pt x="666" y="410"/>
                  </a:lnTo>
                  <a:lnTo>
                    <a:pt x="670" y="406"/>
                  </a:lnTo>
                  <a:lnTo>
                    <a:pt x="673" y="404"/>
                  </a:lnTo>
                  <a:lnTo>
                    <a:pt x="677" y="400"/>
                  </a:lnTo>
                  <a:lnTo>
                    <a:pt x="681" y="397"/>
                  </a:lnTo>
                  <a:lnTo>
                    <a:pt x="681" y="397"/>
                  </a:lnTo>
                  <a:lnTo>
                    <a:pt x="683" y="391"/>
                  </a:lnTo>
                  <a:lnTo>
                    <a:pt x="685" y="385"/>
                  </a:lnTo>
                  <a:lnTo>
                    <a:pt x="685" y="379"/>
                  </a:lnTo>
                  <a:lnTo>
                    <a:pt x="683" y="374"/>
                  </a:lnTo>
                  <a:lnTo>
                    <a:pt x="683" y="368"/>
                  </a:lnTo>
                  <a:lnTo>
                    <a:pt x="683" y="362"/>
                  </a:lnTo>
                  <a:lnTo>
                    <a:pt x="683" y="355"/>
                  </a:lnTo>
                  <a:lnTo>
                    <a:pt x="687" y="349"/>
                  </a:lnTo>
                  <a:lnTo>
                    <a:pt x="744" y="334"/>
                  </a:lnTo>
                  <a:lnTo>
                    <a:pt x="763" y="313"/>
                  </a:lnTo>
                  <a:lnTo>
                    <a:pt x="763" y="313"/>
                  </a:lnTo>
                  <a:lnTo>
                    <a:pt x="769" y="313"/>
                  </a:lnTo>
                  <a:lnTo>
                    <a:pt x="773" y="311"/>
                  </a:lnTo>
                  <a:lnTo>
                    <a:pt x="776" y="311"/>
                  </a:lnTo>
                  <a:lnTo>
                    <a:pt x="780" y="313"/>
                  </a:lnTo>
                  <a:lnTo>
                    <a:pt x="784" y="313"/>
                  </a:lnTo>
                  <a:lnTo>
                    <a:pt x="788" y="313"/>
                  </a:lnTo>
                  <a:lnTo>
                    <a:pt x="792" y="313"/>
                  </a:lnTo>
                  <a:lnTo>
                    <a:pt x="797" y="313"/>
                  </a:lnTo>
                  <a:lnTo>
                    <a:pt x="797" y="313"/>
                  </a:lnTo>
                  <a:lnTo>
                    <a:pt x="801" y="313"/>
                  </a:lnTo>
                  <a:lnTo>
                    <a:pt x="807" y="315"/>
                  </a:lnTo>
                  <a:lnTo>
                    <a:pt x="811" y="315"/>
                  </a:lnTo>
                  <a:lnTo>
                    <a:pt x="815" y="315"/>
                  </a:lnTo>
                  <a:lnTo>
                    <a:pt x="818" y="316"/>
                  </a:lnTo>
                  <a:lnTo>
                    <a:pt x="822" y="316"/>
                  </a:lnTo>
                  <a:lnTo>
                    <a:pt x="826" y="318"/>
                  </a:lnTo>
                  <a:lnTo>
                    <a:pt x="830" y="318"/>
                  </a:lnTo>
                  <a:lnTo>
                    <a:pt x="834" y="318"/>
                  </a:lnTo>
                  <a:lnTo>
                    <a:pt x="837" y="318"/>
                  </a:lnTo>
                  <a:lnTo>
                    <a:pt x="841" y="320"/>
                  </a:lnTo>
                  <a:lnTo>
                    <a:pt x="847" y="320"/>
                  </a:lnTo>
                  <a:lnTo>
                    <a:pt x="851" y="320"/>
                  </a:lnTo>
                  <a:lnTo>
                    <a:pt x="855" y="318"/>
                  </a:lnTo>
                  <a:lnTo>
                    <a:pt x="858" y="318"/>
                  </a:lnTo>
                  <a:lnTo>
                    <a:pt x="864" y="316"/>
                  </a:lnTo>
                  <a:lnTo>
                    <a:pt x="864" y="316"/>
                  </a:lnTo>
                  <a:lnTo>
                    <a:pt x="866" y="315"/>
                  </a:lnTo>
                  <a:lnTo>
                    <a:pt x="870" y="313"/>
                  </a:lnTo>
                  <a:lnTo>
                    <a:pt x="872" y="309"/>
                  </a:lnTo>
                  <a:lnTo>
                    <a:pt x="874" y="305"/>
                  </a:lnTo>
                  <a:lnTo>
                    <a:pt x="876" y="301"/>
                  </a:lnTo>
                  <a:lnTo>
                    <a:pt x="878" y="297"/>
                  </a:lnTo>
                  <a:lnTo>
                    <a:pt x="881" y="294"/>
                  </a:lnTo>
                  <a:lnTo>
                    <a:pt x="885" y="290"/>
                  </a:lnTo>
                  <a:lnTo>
                    <a:pt x="885" y="290"/>
                  </a:lnTo>
                  <a:lnTo>
                    <a:pt x="881" y="284"/>
                  </a:lnTo>
                  <a:lnTo>
                    <a:pt x="878" y="276"/>
                  </a:lnTo>
                  <a:lnTo>
                    <a:pt x="872" y="269"/>
                  </a:lnTo>
                  <a:lnTo>
                    <a:pt x="868" y="261"/>
                  </a:lnTo>
                  <a:lnTo>
                    <a:pt x="864" y="254"/>
                  </a:lnTo>
                  <a:lnTo>
                    <a:pt x="860" y="246"/>
                  </a:lnTo>
                  <a:lnTo>
                    <a:pt x="858" y="234"/>
                  </a:lnTo>
                  <a:lnTo>
                    <a:pt x="858" y="225"/>
                  </a:lnTo>
                  <a:lnTo>
                    <a:pt x="858" y="225"/>
                  </a:lnTo>
                  <a:lnTo>
                    <a:pt x="858" y="219"/>
                  </a:lnTo>
                  <a:lnTo>
                    <a:pt x="858" y="215"/>
                  </a:lnTo>
                  <a:lnTo>
                    <a:pt x="858" y="212"/>
                  </a:lnTo>
                  <a:lnTo>
                    <a:pt x="858" y="206"/>
                  </a:lnTo>
                  <a:lnTo>
                    <a:pt x="860" y="202"/>
                  </a:lnTo>
                  <a:lnTo>
                    <a:pt x="860" y="198"/>
                  </a:lnTo>
                  <a:lnTo>
                    <a:pt x="862" y="192"/>
                  </a:lnTo>
                  <a:lnTo>
                    <a:pt x="862" y="189"/>
                  </a:lnTo>
                  <a:lnTo>
                    <a:pt x="864" y="185"/>
                  </a:lnTo>
                  <a:lnTo>
                    <a:pt x="864" y="181"/>
                  </a:lnTo>
                  <a:lnTo>
                    <a:pt x="866" y="175"/>
                  </a:lnTo>
                  <a:lnTo>
                    <a:pt x="866" y="171"/>
                  </a:lnTo>
                  <a:lnTo>
                    <a:pt x="866" y="166"/>
                  </a:lnTo>
                  <a:lnTo>
                    <a:pt x="866" y="162"/>
                  </a:lnTo>
                  <a:lnTo>
                    <a:pt x="868" y="156"/>
                  </a:lnTo>
                  <a:lnTo>
                    <a:pt x="868" y="152"/>
                  </a:lnTo>
                  <a:lnTo>
                    <a:pt x="868" y="152"/>
                  </a:lnTo>
                  <a:lnTo>
                    <a:pt x="866" y="141"/>
                  </a:lnTo>
                  <a:lnTo>
                    <a:pt x="866" y="131"/>
                  </a:lnTo>
                  <a:lnTo>
                    <a:pt x="862" y="122"/>
                  </a:lnTo>
                  <a:lnTo>
                    <a:pt x="858" y="116"/>
                  </a:lnTo>
                  <a:lnTo>
                    <a:pt x="855" y="109"/>
                  </a:lnTo>
                  <a:lnTo>
                    <a:pt x="851" y="103"/>
                  </a:lnTo>
                  <a:lnTo>
                    <a:pt x="845" y="97"/>
                  </a:lnTo>
                  <a:lnTo>
                    <a:pt x="841" y="91"/>
                  </a:lnTo>
                  <a:lnTo>
                    <a:pt x="836" y="88"/>
                  </a:lnTo>
                  <a:lnTo>
                    <a:pt x="830" y="84"/>
                  </a:lnTo>
                  <a:lnTo>
                    <a:pt x="824" y="78"/>
                  </a:lnTo>
                  <a:lnTo>
                    <a:pt x="818" y="74"/>
                  </a:lnTo>
                  <a:lnTo>
                    <a:pt x="813" y="70"/>
                  </a:lnTo>
                  <a:lnTo>
                    <a:pt x="807" y="67"/>
                  </a:lnTo>
                  <a:lnTo>
                    <a:pt x="803" y="63"/>
                  </a:lnTo>
                  <a:lnTo>
                    <a:pt x="799" y="57"/>
                  </a:lnTo>
                  <a:lnTo>
                    <a:pt x="799" y="57"/>
                  </a:lnTo>
                  <a:lnTo>
                    <a:pt x="797" y="59"/>
                  </a:lnTo>
                  <a:lnTo>
                    <a:pt x="794" y="59"/>
                  </a:lnTo>
                  <a:lnTo>
                    <a:pt x="792" y="61"/>
                  </a:lnTo>
                  <a:lnTo>
                    <a:pt x="790" y="63"/>
                  </a:lnTo>
                  <a:lnTo>
                    <a:pt x="788" y="63"/>
                  </a:lnTo>
                  <a:lnTo>
                    <a:pt x="784" y="65"/>
                  </a:lnTo>
                  <a:lnTo>
                    <a:pt x="782" y="65"/>
                  </a:lnTo>
                  <a:lnTo>
                    <a:pt x="778" y="65"/>
                  </a:lnTo>
                  <a:lnTo>
                    <a:pt x="778" y="65"/>
                  </a:lnTo>
                  <a:lnTo>
                    <a:pt x="773" y="65"/>
                  </a:lnTo>
                  <a:lnTo>
                    <a:pt x="767" y="63"/>
                  </a:lnTo>
                  <a:lnTo>
                    <a:pt x="763" y="61"/>
                  </a:lnTo>
                  <a:lnTo>
                    <a:pt x="757" y="59"/>
                  </a:lnTo>
                  <a:lnTo>
                    <a:pt x="754" y="55"/>
                  </a:lnTo>
                  <a:lnTo>
                    <a:pt x="748" y="53"/>
                  </a:lnTo>
                  <a:lnTo>
                    <a:pt x="744" y="49"/>
                  </a:lnTo>
                  <a:lnTo>
                    <a:pt x="738" y="47"/>
                  </a:lnTo>
                  <a:lnTo>
                    <a:pt x="738" y="47"/>
                  </a:lnTo>
                  <a:lnTo>
                    <a:pt x="727" y="44"/>
                  </a:lnTo>
                  <a:lnTo>
                    <a:pt x="717" y="42"/>
                  </a:lnTo>
                  <a:lnTo>
                    <a:pt x="710" y="40"/>
                  </a:lnTo>
                  <a:lnTo>
                    <a:pt x="700" y="40"/>
                  </a:lnTo>
                  <a:lnTo>
                    <a:pt x="693" y="38"/>
                  </a:lnTo>
                  <a:lnTo>
                    <a:pt x="687" y="38"/>
                  </a:lnTo>
                  <a:lnTo>
                    <a:pt x="679" y="38"/>
                  </a:lnTo>
                  <a:lnTo>
                    <a:pt x="673" y="38"/>
                  </a:lnTo>
                  <a:lnTo>
                    <a:pt x="668" y="36"/>
                  </a:lnTo>
                  <a:lnTo>
                    <a:pt x="664" y="34"/>
                  </a:lnTo>
                  <a:lnTo>
                    <a:pt x="658" y="32"/>
                  </a:lnTo>
                  <a:lnTo>
                    <a:pt x="654" y="28"/>
                  </a:lnTo>
                  <a:lnTo>
                    <a:pt x="651" y="25"/>
                  </a:lnTo>
                  <a:lnTo>
                    <a:pt x="647" y="19"/>
                  </a:lnTo>
                  <a:lnTo>
                    <a:pt x="643" y="9"/>
                  </a:lnTo>
                  <a:lnTo>
                    <a:pt x="641" y="0"/>
                  </a:lnTo>
                  <a:lnTo>
                    <a:pt x="641" y="0"/>
                  </a:lnTo>
                  <a:lnTo>
                    <a:pt x="630" y="4"/>
                  </a:lnTo>
                  <a:lnTo>
                    <a:pt x="620" y="9"/>
                  </a:lnTo>
                  <a:lnTo>
                    <a:pt x="610" y="17"/>
                  </a:lnTo>
                  <a:lnTo>
                    <a:pt x="605" y="25"/>
                  </a:lnTo>
                  <a:lnTo>
                    <a:pt x="599" y="32"/>
                  </a:lnTo>
                  <a:lnTo>
                    <a:pt x="591" y="42"/>
                  </a:lnTo>
                  <a:lnTo>
                    <a:pt x="586" y="53"/>
                  </a:lnTo>
                  <a:lnTo>
                    <a:pt x="578" y="63"/>
                  </a:lnTo>
                  <a:lnTo>
                    <a:pt x="578" y="63"/>
                  </a:lnTo>
                  <a:lnTo>
                    <a:pt x="572" y="78"/>
                  </a:lnTo>
                  <a:lnTo>
                    <a:pt x="567" y="91"/>
                  </a:lnTo>
                  <a:lnTo>
                    <a:pt x="559" y="103"/>
                  </a:lnTo>
                  <a:lnTo>
                    <a:pt x="551" y="112"/>
                  </a:lnTo>
                  <a:lnTo>
                    <a:pt x="542" y="122"/>
                  </a:lnTo>
                  <a:lnTo>
                    <a:pt x="532" y="130"/>
                  </a:lnTo>
                  <a:lnTo>
                    <a:pt x="523" y="135"/>
                  </a:lnTo>
                  <a:lnTo>
                    <a:pt x="513" y="143"/>
                  </a:lnTo>
                  <a:lnTo>
                    <a:pt x="502" y="149"/>
                  </a:lnTo>
                  <a:lnTo>
                    <a:pt x="488" y="152"/>
                  </a:lnTo>
                  <a:lnTo>
                    <a:pt x="477" y="158"/>
                  </a:lnTo>
                  <a:lnTo>
                    <a:pt x="462" y="162"/>
                  </a:lnTo>
                  <a:lnTo>
                    <a:pt x="448" y="168"/>
                  </a:lnTo>
                  <a:lnTo>
                    <a:pt x="433" y="171"/>
                  </a:lnTo>
                  <a:lnTo>
                    <a:pt x="420" y="177"/>
                  </a:lnTo>
                  <a:lnTo>
                    <a:pt x="403" y="183"/>
                  </a:lnTo>
                  <a:lnTo>
                    <a:pt x="403" y="183"/>
                  </a:lnTo>
                  <a:lnTo>
                    <a:pt x="395" y="187"/>
                  </a:lnTo>
                  <a:lnTo>
                    <a:pt x="389" y="191"/>
                  </a:lnTo>
                  <a:lnTo>
                    <a:pt x="382" y="196"/>
                  </a:lnTo>
                  <a:lnTo>
                    <a:pt x="376" y="202"/>
                  </a:lnTo>
                  <a:lnTo>
                    <a:pt x="370" y="208"/>
                  </a:lnTo>
                  <a:lnTo>
                    <a:pt x="364" y="215"/>
                  </a:lnTo>
                  <a:lnTo>
                    <a:pt x="361" y="221"/>
                  </a:lnTo>
                  <a:lnTo>
                    <a:pt x="355" y="229"/>
                  </a:lnTo>
                  <a:lnTo>
                    <a:pt x="351" y="236"/>
                  </a:lnTo>
                  <a:lnTo>
                    <a:pt x="347" y="244"/>
                  </a:lnTo>
                  <a:lnTo>
                    <a:pt x="343" y="252"/>
                  </a:lnTo>
                  <a:lnTo>
                    <a:pt x="340" y="259"/>
                  </a:lnTo>
                  <a:lnTo>
                    <a:pt x="334" y="267"/>
                  </a:lnTo>
                  <a:lnTo>
                    <a:pt x="330" y="275"/>
                  </a:lnTo>
                  <a:lnTo>
                    <a:pt x="326" y="280"/>
                  </a:lnTo>
                  <a:lnTo>
                    <a:pt x="321" y="288"/>
                  </a:lnTo>
                  <a:lnTo>
                    <a:pt x="321" y="288"/>
                  </a:lnTo>
                  <a:lnTo>
                    <a:pt x="317" y="292"/>
                  </a:lnTo>
                  <a:lnTo>
                    <a:pt x="313" y="295"/>
                  </a:lnTo>
                  <a:lnTo>
                    <a:pt x="309" y="301"/>
                  </a:lnTo>
                  <a:lnTo>
                    <a:pt x="305" y="307"/>
                  </a:lnTo>
                  <a:lnTo>
                    <a:pt x="301" y="311"/>
                  </a:lnTo>
                  <a:lnTo>
                    <a:pt x="298" y="318"/>
                  </a:lnTo>
                  <a:lnTo>
                    <a:pt x="294" y="324"/>
                  </a:lnTo>
                  <a:lnTo>
                    <a:pt x="290" y="330"/>
                  </a:lnTo>
                  <a:lnTo>
                    <a:pt x="286" y="336"/>
                  </a:lnTo>
                  <a:lnTo>
                    <a:pt x="282" y="343"/>
                  </a:lnTo>
                  <a:lnTo>
                    <a:pt x="279" y="349"/>
                  </a:lnTo>
                  <a:lnTo>
                    <a:pt x="277" y="355"/>
                  </a:lnTo>
                  <a:lnTo>
                    <a:pt x="275" y="362"/>
                  </a:lnTo>
                  <a:lnTo>
                    <a:pt x="273" y="370"/>
                  </a:lnTo>
                  <a:lnTo>
                    <a:pt x="271" y="378"/>
                  </a:lnTo>
                  <a:lnTo>
                    <a:pt x="271" y="383"/>
                  </a:lnTo>
                  <a:lnTo>
                    <a:pt x="271" y="383"/>
                  </a:lnTo>
                  <a:lnTo>
                    <a:pt x="271" y="387"/>
                  </a:lnTo>
                  <a:lnTo>
                    <a:pt x="273" y="389"/>
                  </a:lnTo>
                  <a:lnTo>
                    <a:pt x="273" y="391"/>
                  </a:lnTo>
                  <a:lnTo>
                    <a:pt x="275" y="393"/>
                  </a:lnTo>
                  <a:lnTo>
                    <a:pt x="277" y="395"/>
                  </a:lnTo>
                  <a:lnTo>
                    <a:pt x="279" y="399"/>
                  </a:lnTo>
                  <a:lnTo>
                    <a:pt x="279" y="402"/>
                  </a:lnTo>
                  <a:lnTo>
                    <a:pt x="279" y="406"/>
                  </a:lnTo>
                  <a:lnTo>
                    <a:pt x="279" y="406"/>
                  </a:lnTo>
                  <a:lnTo>
                    <a:pt x="279" y="418"/>
                  </a:lnTo>
                  <a:lnTo>
                    <a:pt x="275" y="427"/>
                  </a:lnTo>
                  <a:lnTo>
                    <a:pt x="269" y="437"/>
                  </a:lnTo>
                  <a:lnTo>
                    <a:pt x="263" y="442"/>
                  </a:lnTo>
                  <a:lnTo>
                    <a:pt x="256" y="450"/>
                  </a:lnTo>
                  <a:lnTo>
                    <a:pt x="248" y="456"/>
                  </a:lnTo>
                  <a:lnTo>
                    <a:pt x="240" y="461"/>
                  </a:lnTo>
                  <a:lnTo>
                    <a:pt x="231" y="467"/>
                  </a:lnTo>
                  <a:lnTo>
                    <a:pt x="231" y="467"/>
                  </a:lnTo>
                  <a:lnTo>
                    <a:pt x="223" y="473"/>
                  </a:lnTo>
                  <a:lnTo>
                    <a:pt x="214" y="481"/>
                  </a:lnTo>
                  <a:lnTo>
                    <a:pt x="204" y="486"/>
                  </a:lnTo>
                  <a:lnTo>
                    <a:pt x="195" y="492"/>
                  </a:lnTo>
                  <a:lnTo>
                    <a:pt x="185" y="500"/>
                  </a:lnTo>
                  <a:lnTo>
                    <a:pt x="176" y="505"/>
                  </a:lnTo>
                  <a:lnTo>
                    <a:pt x="164" y="511"/>
                  </a:lnTo>
                  <a:lnTo>
                    <a:pt x="155" y="517"/>
                  </a:lnTo>
                  <a:lnTo>
                    <a:pt x="143" y="523"/>
                  </a:lnTo>
                  <a:lnTo>
                    <a:pt x="134" y="526"/>
                  </a:lnTo>
                  <a:lnTo>
                    <a:pt x="122" y="532"/>
                  </a:lnTo>
                  <a:lnTo>
                    <a:pt x="113" y="536"/>
                  </a:lnTo>
                  <a:lnTo>
                    <a:pt x="101" y="540"/>
                  </a:lnTo>
                  <a:lnTo>
                    <a:pt x="92" y="542"/>
                  </a:lnTo>
                  <a:lnTo>
                    <a:pt x="80" y="545"/>
                  </a:lnTo>
                  <a:lnTo>
                    <a:pt x="71" y="547"/>
                  </a:lnTo>
                  <a:lnTo>
                    <a:pt x="71" y="547"/>
                  </a:lnTo>
                  <a:lnTo>
                    <a:pt x="63" y="549"/>
                  </a:lnTo>
                  <a:lnTo>
                    <a:pt x="57" y="549"/>
                  </a:lnTo>
                  <a:lnTo>
                    <a:pt x="52" y="551"/>
                  </a:lnTo>
                  <a:lnTo>
                    <a:pt x="46" y="553"/>
                  </a:lnTo>
                  <a:lnTo>
                    <a:pt x="40" y="555"/>
                  </a:lnTo>
                  <a:lnTo>
                    <a:pt x="34" y="557"/>
                  </a:lnTo>
                  <a:lnTo>
                    <a:pt x="29" y="561"/>
                  </a:lnTo>
                  <a:lnTo>
                    <a:pt x="25" y="563"/>
                  </a:lnTo>
                  <a:lnTo>
                    <a:pt x="21" y="566"/>
                  </a:lnTo>
                  <a:lnTo>
                    <a:pt x="17" y="570"/>
                  </a:lnTo>
                  <a:lnTo>
                    <a:pt x="13" y="574"/>
                  </a:lnTo>
                  <a:lnTo>
                    <a:pt x="10" y="578"/>
                  </a:lnTo>
                  <a:lnTo>
                    <a:pt x="6" y="584"/>
                  </a:lnTo>
                  <a:lnTo>
                    <a:pt x="4" y="589"/>
                  </a:lnTo>
                  <a:lnTo>
                    <a:pt x="2" y="595"/>
                  </a:lnTo>
                  <a:lnTo>
                    <a:pt x="0" y="601"/>
                  </a:lnTo>
                  <a:lnTo>
                    <a:pt x="309" y="626"/>
                  </a:lnTo>
                  <a:lnTo>
                    <a:pt x="303" y="626"/>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6" name="Freeform 50"/>
            <p:cNvSpPr>
              <a:spLocks/>
            </p:cNvSpPr>
            <p:nvPr/>
          </p:nvSpPr>
          <p:spPr bwMode="gray">
            <a:xfrm>
              <a:off x="1281" y="748"/>
              <a:ext cx="835" cy="778"/>
            </a:xfrm>
            <a:custGeom>
              <a:avLst/>
              <a:gdLst/>
              <a:ahLst/>
              <a:cxnLst>
                <a:cxn ang="0">
                  <a:pos x="639" y="1230"/>
                </a:cxn>
                <a:cxn ang="0">
                  <a:pos x="649" y="1266"/>
                </a:cxn>
                <a:cxn ang="0">
                  <a:pos x="670" y="1278"/>
                </a:cxn>
                <a:cxn ang="0">
                  <a:pos x="718" y="1318"/>
                </a:cxn>
                <a:cxn ang="0">
                  <a:pos x="794" y="1366"/>
                </a:cxn>
                <a:cxn ang="0">
                  <a:pos x="786" y="1394"/>
                </a:cxn>
                <a:cxn ang="0">
                  <a:pos x="796" y="1411"/>
                </a:cxn>
                <a:cxn ang="0">
                  <a:pos x="1469" y="1051"/>
                </a:cxn>
                <a:cxn ang="0">
                  <a:pos x="1442" y="1015"/>
                </a:cxn>
                <a:cxn ang="0">
                  <a:pos x="1401" y="982"/>
                </a:cxn>
                <a:cxn ang="0">
                  <a:pos x="1364" y="978"/>
                </a:cxn>
                <a:cxn ang="0">
                  <a:pos x="1347" y="959"/>
                </a:cxn>
                <a:cxn ang="0">
                  <a:pos x="1326" y="919"/>
                </a:cxn>
                <a:cxn ang="0">
                  <a:pos x="1292" y="854"/>
                </a:cxn>
                <a:cxn ang="0">
                  <a:pos x="1324" y="818"/>
                </a:cxn>
                <a:cxn ang="0">
                  <a:pos x="1324" y="776"/>
                </a:cxn>
                <a:cxn ang="0">
                  <a:pos x="1334" y="736"/>
                </a:cxn>
                <a:cxn ang="0">
                  <a:pos x="1334" y="698"/>
                </a:cxn>
                <a:cxn ang="0">
                  <a:pos x="1334" y="652"/>
                </a:cxn>
                <a:cxn ang="0">
                  <a:pos x="1322" y="585"/>
                </a:cxn>
                <a:cxn ang="0">
                  <a:pos x="1294" y="520"/>
                </a:cxn>
                <a:cxn ang="0">
                  <a:pos x="1277" y="442"/>
                </a:cxn>
                <a:cxn ang="0">
                  <a:pos x="1250" y="381"/>
                </a:cxn>
                <a:cxn ang="0">
                  <a:pos x="1198" y="314"/>
                </a:cxn>
                <a:cxn ang="0">
                  <a:pos x="1175" y="248"/>
                </a:cxn>
                <a:cxn ang="0">
                  <a:pos x="1221" y="190"/>
                </a:cxn>
                <a:cxn ang="0">
                  <a:pos x="1248" y="131"/>
                </a:cxn>
                <a:cxn ang="0">
                  <a:pos x="1257" y="47"/>
                </a:cxn>
                <a:cxn ang="0">
                  <a:pos x="1267" y="11"/>
                </a:cxn>
                <a:cxn ang="0">
                  <a:pos x="1223" y="2"/>
                </a:cxn>
                <a:cxn ang="0">
                  <a:pos x="1193" y="5"/>
                </a:cxn>
                <a:cxn ang="0">
                  <a:pos x="1156" y="13"/>
                </a:cxn>
                <a:cxn ang="0">
                  <a:pos x="1124" y="5"/>
                </a:cxn>
                <a:cxn ang="0">
                  <a:pos x="1088" y="30"/>
                </a:cxn>
                <a:cxn ang="0">
                  <a:pos x="1034" y="28"/>
                </a:cxn>
                <a:cxn ang="0">
                  <a:pos x="876" y="17"/>
                </a:cxn>
                <a:cxn ang="0">
                  <a:pos x="758" y="38"/>
                </a:cxn>
                <a:cxn ang="0">
                  <a:pos x="702" y="61"/>
                </a:cxn>
                <a:cxn ang="0">
                  <a:pos x="678" y="68"/>
                </a:cxn>
                <a:cxn ang="0">
                  <a:pos x="634" y="76"/>
                </a:cxn>
                <a:cxn ang="0">
                  <a:pos x="573" y="114"/>
                </a:cxn>
                <a:cxn ang="0">
                  <a:pos x="534" y="118"/>
                </a:cxn>
                <a:cxn ang="0">
                  <a:pos x="540" y="131"/>
                </a:cxn>
                <a:cxn ang="0">
                  <a:pos x="563" y="175"/>
                </a:cxn>
                <a:cxn ang="0">
                  <a:pos x="561" y="219"/>
                </a:cxn>
                <a:cxn ang="0">
                  <a:pos x="555" y="257"/>
                </a:cxn>
                <a:cxn ang="0">
                  <a:pos x="578" y="322"/>
                </a:cxn>
                <a:cxn ang="0">
                  <a:pos x="563" y="353"/>
                </a:cxn>
                <a:cxn ang="0">
                  <a:pos x="531" y="356"/>
                </a:cxn>
                <a:cxn ang="0">
                  <a:pos x="494" y="351"/>
                </a:cxn>
                <a:cxn ang="0">
                  <a:pos x="460" y="351"/>
                </a:cxn>
                <a:cxn ang="0">
                  <a:pos x="382" y="423"/>
                </a:cxn>
                <a:cxn ang="0">
                  <a:pos x="353" y="452"/>
                </a:cxn>
                <a:cxn ang="0">
                  <a:pos x="311" y="461"/>
                </a:cxn>
                <a:cxn ang="0">
                  <a:pos x="279" y="496"/>
                </a:cxn>
                <a:cxn ang="0">
                  <a:pos x="224" y="513"/>
                </a:cxn>
                <a:cxn ang="0">
                  <a:pos x="157" y="526"/>
                </a:cxn>
                <a:cxn ang="0">
                  <a:pos x="140" y="526"/>
                </a:cxn>
                <a:cxn ang="0">
                  <a:pos x="71" y="549"/>
                </a:cxn>
                <a:cxn ang="0">
                  <a:pos x="12" y="591"/>
                </a:cxn>
                <a:cxn ang="0">
                  <a:pos x="6" y="664"/>
                </a:cxn>
              </a:cxnLst>
              <a:rect l="0" t="0" r="r" b="b"/>
              <a:pathLst>
                <a:path w="1477" h="1415">
                  <a:moveTo>
                    <a:pt x="239" y="898"/>
                  </a:moveTo>
                  <a:lnTo>
                    <a:pt x="615" y="1213"/>
                  </a:lnTo>
                  <a:lnTo>
                    <a:pt x="615" y="1213"/>
                  </a:lnTo>
                  <a:lnTo>
                    <a:pt x="617" y="1219"/>
                  </a:lnTo>
                  <a:lnTo>
                    <a:pt x="620" y="1223"/>
                  </a:lnTo>
                  <a:lnTo>
                    <a:pt x="624" y="1224"/>
                  </a:lnTo>
                  <a:lnTo>
                    <a:pt x="630" y="1226"/>
                  </a:lnTo>
                  <a:lnTo>
                    <a:pt x="634" y="1228"/>
                  </a:lnTo>
                  <a:lnTo>
                    <a:pt x="639" y="1230"/>
                  </a:lnTo>
                  <a:lnTo>
                    <a:pt x="643" y="1232"/>
                  </a:lnTo>
                  <a:lnTo>
                    <a:pt x="647" y="1238"/>
                  </a:lnTo>
                  <a:lnTo>
                    <a:pt x="647" y="1238"/>
                  </a:lnTo>
                  <a:lnTo>
                    <a:pt x="649" y="1243"/>
                  </a:lnTo>
                  <a:lnTo>
                    <a:pt x="649" y="1247"/>
                  </a:lnTo>
                  <a:lnTo>
                    <a:pt x="649" y="1253"/>
                  </a:lnTo>
                  <a:lnTo>
                    <a:pt x="649" y="1257"/>
                  </a:lnTo>
                  <a:lnTo>
                    <a:pt x="647" y="1261"/>
                  </a:lnTo>
                  <a:lnTo>
                    <a:pt x="649" y="1266"/>
                  </a:lnTo>
                  <a:lnTo>
                    <a:pt x="649" y="1270"/>
                  </a:lnTo>
                  <a:lnTo>
                    <a:pt x="653" y="1272"/>
                  </a:lnTo>
                  <a:lnTo>
                    <a:pt x="653" y="1272"/>
                  </a:lnTo>
                  <a:lnTo>
                    <a:pt x="655" y="1274"/>
                  </a:lnTo>
                  <a:lnTo>
                    <a:pt x="657" y="1276"/>
                  </a:lnTo>
                  <a:lnTo>
                    <a:pt x="660" y="1276"/>
                  </a:lnTo>
                  <a:lnTo>
                    <a:pt x="662" y="1278"/>
                  </a:lnTo>
                  <a:lnTo>
                    <a:pt x="666" y="1278"/>
                  </a:lnTo>
                  <a:lnTo>
                    <a:pt x="670" y="1278"/>
                  </a:lnTo>
                  <a:lnTo>
                    <a:pt x="674" y="1280"/>
                  </a:lnTo>
                  <a:lnTo>
                    <a:pt x="678" y="1280"/>
                  </a:lnTo>
                  <a:lnTo>
                    <a:pt x="678" y="1280"/>
                  </a:lnTo>
                  <a:lnTo>
                    <a:pt x="679" y="1289"/>
                  </a:lnTo>
                  <a:lnTo>
                    <a:pt x="683" y="1297"/>
                  </a:lnTo>
                  <a:lnTo>
                    <a:pt x="691" y="1305"/>
                  </a:lnTo>
                  <a:lnTo>
                    <a:pt x="699" y="1310"/>
                  </a:lnTo>
                  <a:lnTo>
                    <a:pt x="708" y="1314"/>
                  </a:lnTo>
                  <a:lnTo>
                    <a:pt x="718" y="1318"/>
                  </a:lnTo>
                  <a:lnTo>
                    <a:pt x="729" y="1322"/>
                  </a:lnTo>
                  <a:lnTo>
                    <a:pt x="739" y="1324"/>
                  </a:lnTo>
                  <a:lnTo>
                    <a:pt x="750" y="1327"/>
                  </a:lnTo>
                  <a:lnTo>
                    <a:pt x="760" y="1331"/>
                  </a:lnTo>
                  <a:lnTo>
                    <a:pt x="769" y="1335"/>
                  </a:lnTo>
                  <a:lnTo>
                    <a:pt x="777" y="1341"/>
                  </a:lnTo>
                  <a:lnTo>
                    <a:pt x="784" y="1347"/>
                  </a:lnTo>
                  <a:lnTo>
                    <a:pt x="790" y="1356"/>
                  </a:lnTo>
                  <a:lnTo>
                    <a:pt x="794" y="1366"/>
                  </a:lnTo>
                  <a:lnTo>
                    <a:pt x="796" y="1379"/>
                  </a:lnTo>
                  <a:lnTo>
                    <a:pt x="796" y="1379"/>
                  </a:lnTo>
                  <a:lnTo>
                    <a:pt x="794" y="1383"/>
                  </a:lnTo>
                  <a:lnTo>
                    <a:pt x="794" y="1385"/>
                  </a:lnTo>
                  <a:lnTo>
                    <a:pt x="792" y="1387"/>
                  </a:lnTo>
                  <a:lnTo>
                    <a:pt x="790" y="1387"/>
                  </a:lnTo>
                  <a:lnTo>
                    <a:pt x="788" y="1388"/>
                  </a:lnTo>
                  <a:lnTo>
                    <a:pt x="786" y="1390"/>
                  </a:lnTo>
                  <a:lnTo>
                    <a:pt x="786" y="1394"/>
                  </a:lnTo>
                  <a:lnTo>
                    <a:pt x="786" y="1396"/>
                  </a:lnTo>
                  <a:lnTo>
                    <a:pt x="786" y="1396"/>
                  </a:lnTo>
                  <a:lnTo>
                    <a:pt x="786" y="1400"/>
                  </a:lnTo>
                  <a:lnTo>
                    <a:pt x="786" y="1402"/>
                  </a:lnTo>
                  <a:lnTo>
                    <a:pt x="788" y="1404"/>
                  </a:lnTo>
                  <a:lnTo>
                    <a:pt x="790" y="1406"/>
                  </a:lnTo>
                  <a:lnTo>
                    <a:pt x="792" y="1408"/>
                  </a:lnTo>
                  <a:lnTo>
                    <a:pt x="794" y="1409"/>
                  </a:lnTo>
                  <a:lnTo>
                    <a:pt x="796" y="1411"/>
                  </a:lnTo>
                  <a:lnTo>
                    <a:pt x="798" y="1415"/>
                  </a:lnTo>
                  <a:lnTo>
                    <a:pt x="996" y="1379"/>
                  </a:lnTo>
                  <a:lnTo>
                    <a:pt x="1133" y="1264"/>
                  </a:lnTo>
                  <a:lnTo>
                    <a:pt x="1477" y="1070"/>
                  </a:lnTo>
                  <a:lnTo>
                    <a:pt x="1477" y="1070"/>
                  </a:lnTo>
                  <a:lnTo>
                    <a:pt x="1475" y="1064"/>
                  </a:lnTo>
                  <a:lnTo>
                    <a:pt x="1473" y="1058"/>
                  </a:lnTo>
                  <a:lnTo>
                    <a:pt x="1471" y="1055"/>
                  </a:lnTo>
                  <a:lnTo>
                    <a:pt x="1469" y="1051"/>
                  </a:lnTo>
                  <a:lnTo>
                    <a:pt x="1465" y="1045"/>
                  </a:lnTo>
                  <a:lnTo>
                    <a:pt x="1462" y="1041"/>
                  </a:lnTo>
                  <a:lnTo>
                    <a:pt x="1460" y="1037"/>
                  </a:lnTo>
                  <a:lnTo>
                    <a:pt x="1456" y="1034"/>
                  </a:lnTo>
                  <a:lnTo>
                    <a:pt x="1452" y="1032"/>
                  </a:lnTo>
                  <a:lnTo>
                    <a:pt x="1450" y="1028"/>
                  </a:lnTo>
                  <a:lnTo>
                    <a:pt x="1446" y="1024"/>
                  </a:lnTo>
                  <a:lnTo>
                    <a:pt x="1444" y="1018"/>
                  </a:lnTo>
                  <a:lnTo>
                    <a:pt x="1442" y="1015"/>
                  </a:lnTo>
                  <a:lnTo>
                    <a:pt x="1441" y="1009"/>
                  </a:lnTo>
                  <a:lnTo>
                    <a:pt x="1439" y="1005"/>
                  </a:lnTo>
                  <a:lnTo>
                    <a:pt x="1439" y="999"/>
                  </a:lnTo>
                  <a:lnTo>
                    <a:pt x="1439" y="999"/>
                  </a:lnTo>
                  <a:lnTo>
                    <a:pt x="1429" y="997"/>
                  </a:lnTo>
                  <a:lnTo>
                    <a:pt x="1421" y="994"/>
                  </a:lnTo>
                  <a:lnTo>
                    <a:pt x="1414" y="990"/>
                  </a:lnTo>
                  <a:lnTo>
                    <a:pt x="1408" y="986"/>
                  </a:lnTo>
                  <a:lnTo>
                    <a:pt x="1401" y="982"/>
                  </a:lnTo>
                  <a:lnTo>
                    <a:pt x="1393" y="978"/>
                  </a:lnTo>
                  <a:lnTo>
                    <a:pt x="1385" y="976"/>
                  </a:lnTo>
                  <a:lnTo>
                    <a:pt x="1376" y="974"/>
                  </a:lnTo>
                  <a:lnTo>
                    <a:pt x="1376" y="974"/>
                  </a:lnTo>
                  <a:lnTo>
                    <a:pt x="1374" y="974"/>
                  </a:lnTo>
                  <a:lnTo>
                    <a:pt x="1372" y="976"/>
                  </a:lnTo>
                  <a:lnTo>
                    <a:pt x="1368" y="976"/>
                  </a:lnTo>
                  <a:lnTo>
                    <a:pt x="1366" y="978"/>
                  </a:lnTo>
                  <a:lnTo>
                    <a:pt x="1364" y="978"/>
                  </a:lnTo>
                  <a:lnTo>
                    <a:pt x="1360" y="978"/>
                  </a:lnTo>
                  <a:lnTo>
                    <a:pt x="1359" y="978"/>
                  </a:lnTo>
                  <a:lnTo>
                    <a:pt x="1357" y="978"/>
                  </a:lnTo>
                  <a:lnTo>
                    <a:pt x="1357" y="978"/>
                  </a:lnTo>
                  <a:lnTo>
                    <a:pt x="1353" y="974"/>
                  </a:lnTo>
                  <a:lnTo>
                    <a:pt x="1351" y="971"/>
                  </a:lnTo>
                  <a:lnTo>
                    <a:pt x="1349" y="967"/>
                  </a:lnTo>
                  <a:lnTo>
                    <a:pt x="1349" y="963"/>
                  </a:lnTo>
                  <a:lnTo>
                    <a:pt x="1347" y="959"/>
                  </a:lnTo>
                  <a:lnTo>
                    <a:pt x="1347" y="955"/>
                  </a:lnTo>
                  <a:lnTo>
                    <a:pt x="1345" y="952"/>
                  </a:lnTo>
                  <a:lnTo>
                    <a:pt x="1343" y="948"/>
                  </a:lnTo>
                  <a:lnTo>
                    <a:pt x="1343" y="948"/>
                  </a:lnTo>
                  <a:lnTo>
                    <a:pt x="1341" y="944"/>
                  </a:lnTo>
                  <a:lnTo>
                    <a:pt x="1338" y="938"/>
                  </a:lnTo>
                  <a:lnTo>
                    <a:pt x="1334" y="933"/>
                  </a:lnTo>
                  <a:lnTo>
                    <a:pt x="1330" y="925"/>
                  </a:lnTo>
                  <a:lnTo>
                    <a:pt x="1326" y="919"/>
                  </a:lnTo>
                  <a:lnTo>
                    <a:pt x="1322" y="912"/>
                  </a:lnTo>
                  <a:lnTo>
                    <a:pt x="1317" y="904"/>
                  </a:lnTo>
                  <a:lnTo>
                    <a:pt x="1313" y="896"/>
                  </a:lnTo>
                  <a:lnTo>
                    <a:pt x="1309" y="889"/>
                  </a:lnTo>
                  <a:lnTo>
                    <a:pt x="1305" y="881"/>
                  </a:lnTo>
                  <a:lnTo>
                    <a:pt x="1301" y="873"/>
                  </a:lnTo>
                  <a:lnTo>
                    <a:pt x="1298" y="868"/>
                  </a:lnTo>
                  <a:lnTo>
                    <a:pt x="1294" y="860"/>
                  </a:lnTo>
                  <a:lnTo>
                    <a:pt x="1292" y="854"/>
                  </a:lnTo>
                  <a:lnTo>
                    <a:pt x="1292" y="850"/>
                  </a:lnTo>
                  <a:lnTo>
                    <a:pt x="1290" y="845"/>
                  </a:lnTo>
                  <a:lnTo>
                    <a:pt x="1290" y="845"/>
                  </a:lnTo>
                  <a:lnTo>
                    <a:pt x="1292" y="839"/>
                  </a:lnTo>
                  <a:lnTo>
                    <a:pt x="1296" y="833"/>
                  </a:lnTo>
                  <a:lnTo>
                    <a:pt x="1301" y="830"/>
                  </a:lnTo>
                  <a:lnTo>
                    <a:pt x="1309" y="826"/>
                  </a:lnTo>
                  <a:lnTo>
                    <a:pt x="1317" y="822"/>
                  </a:lnTo>
                  <a:lnTo>
                    <a:pt x="1324" y="818"/>
                  </a:lnTo>
                  <a:lnTo>
                    <a:pt x="1330" y="812"/>
                  </a:lnTo>
                  <a:lnTo>
                    <a:pt x="1334" y="807"/>
                  </a:lnTo>
                  <a:lnTo>
                    <a:pt x="1334" y="807"/>
                  </a:lnTo>
                  <a:lnTo>
                    <a:pt x="1334" y="801"/>
                  </a:lnTo>
                  <a:lnTo>
                    <a:pt x="1332" y="795"/>
                  </a:lnTo>
                  <a:lnTo>
                    <a:pt x="1330" y="789"/>
                  </a:lnTo>
                  <a:lnTo>
                    <a:pt x="1328" y="786"/>
                  </a:lnTo>
                  <a:lnTo>
                    <a:pt x="1326" y="782"/>
                  </a:lnTo>
                  <a:lnTo>
                    <a:pt x="1324" y="776"/>
                  </a:lnTo>
                  <a:lnTo>
                    <a:pt x="1324" y="770"/>
                  </a:lnTo>
                  <a:lnTo>
                    <a:pt x="1322" y="765"/>
                  </a:lnTo>
                  <a:lnTo>
                    <a:pt x="1322" y="765"/>
                  </a:lnTo>
                  <a:lnTo>
                    <a:pt x="1324" y="761"/>
                  </a:lnTo>
                  <a:lnTo>
                    <a:pt x="1324" y="755"/>
                  </a:lnTo>
                  <a:lnTo>
                    <a:pt x="1326" y="751"/>
                  </a:lnTo>
                  <a:lnTo>
                    <a:pt x="1328" y="746"/>
                  </a:lnTo>
                  <a:lnTo>
                    <a:pt x="1330" y="742"/>
                  </a:lnTo>
                  <a:lnTo>
                    <a:pt x="1334" y="736"/>
                  </a:lnTo>
                  <a:lnTo>
                    <a:pt x="1334" y="732"/>
                  </a:lnTo>
                  <a:lnTo>
                    <a:pt x="1334" y="730"/>
                  </a:lnTo>
                  <a:lnTo>
                    <a:pt x="1334" y="730"/>
                  </a:lnTo>
                  <a:lnTo>
                    <a:pt x="1334" y="723"/>
                  </a:lnTo>
                  <a:lnTo>
                    <a:pt x="1334" y="717"/>
                  </a:lnTo>
                  <a:lnTo>
                    <a:pt x="1334" y="711"/>
                  </a:lnTo>
                  <a:lnTo>
                    <a:pt x="1334" y="707"/>
                  </a:lnTo>
                  <a:lnTo>
                    <a:pt x="1334" y="702"/>
                  </a:lnTo>
                  <a:lnTo>
                    <a:pt x="1334" y="698"/>
                  </a:lnTo>
                  <a:lnTo>
                    <a:pt x="1334" y="694"/>
                  </a:lnTo>
                  <a:lnTo>
                    <a:pt x="1334" y="690"/>
                  </a:lnTo>
                  <a:lnTo>
                    <a:pt x="1334" y="686"/>
                  </a:lnTo>
                  <a:lnTo>
                    <a:pt x="1334" y="681"/>
                  </a:lnTo>
                  <a:lnTo>
                    <a:pt x="1334" y="677"/>
                  </a:lnTo>
                  <a:lnTo>
                    <a:pt x="1334" y="671"/>
                  </a:lnTo>
                  <a:lnTo>
                    <a:pt x="1334" y="665"/>
                  </a:lnTo>
                  <a:lnTo>
                    <a:pt x="1334" y="660"/>
                  </a:lnTo>
                  <a:lnTo>
                    <a:pt x="1334" y="652"/>
                  </a:lnTo>
                  <a:lnTo>
                    <a:pt x="1334" y="644"/>
                  </a:lnTo>
                  <a:lnTo>
                    <a:pt x="1334" y="644"/>
                  </a:lnTo>
                  <a:lnTo>
                    <a:pt x="1334" y="635"/>
                  </a:lnTo>
                  <a:lnTo>
                    <a:pt x="1334" y="627"/>
                  </a:lnTo>
                  <a:lnTo>
                    <a:pt x="1332" y="618"/>
                  </a:lnTo>
                  <a:lnTo>
                    <a:pt x="1330" y="610"/>
                  </a:lnTo>
                  <a:lnTo>
                    <a:pt x="1328" y="602"/>
                  </a:lnTo>
                  <a:lnTo>
                    <a:pt x="1324" y="593"/>
                  </a:lnTo>
                  <a:lnTo>
                    <a:pt x="1322" y="585"/>
                  </a:lnTo>
                  <a:lnTo>
                    <a:pt x="1318" y="580"/>
                  </a:lnTo>
                  <a:lnTo>
                    <a:pt x="1315" y="572"/>
                  </a:lnTo>
                  <a:lnTo>
                    <a:pt x="1313" y="564"/>
                  </a:lnTo>
                  <a:lnTo>
                    <a:pt x="1309" y="557"/>
                  </a:lnTo>
                  <a:lnTo>
                    <a:pt x="1305" y="549"/>
                  </a:lnTo>
                  <a:lnTo>
                    <a:pt x="1301" y="543"/>
                  </a:lnTo>
                  <a:lnTo>
                    <a:pt x="1299" y="536"/>
                  </a:lnTo>
                  <a:lnTo>
                    <a:pt x="1296" y="528"/>
                  </a:lnTo>
                  <a:lnTo>
                    <a:pt x="1294" y="520"/>
                  </a:lnTo>
                  <a:lnTo>
                    <a:pt x="1294" y="520"/>
                  </a:lnTo>
                  <a:lnTo>
                    <a:pt x="1290" y="509"/>
                  </a:lnTo>
                  <a:lnTo>
                    <a:pt x="1286" y="499"/>
                  </a:lnTo>
                  <a:lnTo>
                    <a:pt x="1284" y="488"/>
                  </a:lnTo>
                  <a:lnTo>
                    <a:pt x="1282" y="478"/>
                  </a:lnTo>
                  <a:lnTo>
                    <a:pt x="1282" y="469"/>
                  </a:lnTo>
                  <a:lnTo>
                    <a:pt x="1280" y="459"/>
                  </a:lnTo>
                  <a:lnTo>
                    <a:pt x="1278" y="450"/>
                  </a:lnTo>
                  <a:lnTo>
                    <a:pt x="1277" y="442"/>
                  </a:lnTo>
                  <a:lnTo>
                    <a:pt x="1277" y="433"/>
                  </a:lnTo>
                  <a:lnTo>
                    <a:pt x="1275" y="425"/>
                  </a:lnTo>
                  <a:lnTo>
                    <a:pt x="1271" y="417"/>
                  </a:lnTo>
                  <a:lnTo>
                    <a:pt x="1269" y="410"/>
                  </a:lnTo>
                  <a:lnTo>
                    <a:pt x="1265" y="402"/>
                  </a:lnTo>
                  <a:lnTo>
                    <a:pt x="1261" y="395"/>
                  </a:lnTo>
                  <a:lnTo>
                    <a:pt x="1256" y="387"/>
                  </a:lnTo>
                  <a:lnTo>
                    <a:pt x="1250" y="381"/>
                  </a:lnTo>
                  <a:lnTo>
                    <a:pt x="1250" y="381"/>
                  </a:lnTo>
                  <a:lnTo>
                    <a:pt x="1246" y="377"/>
                  </a:lnTo>
                  <a:lnTo>
                    <a:pt x="1240" y="372"/>
                  </a:lnTo>
                  <a:lnTo>
                    <a:pt x="1236" y="366"/>
                  </a:lnTo>
                  <a:lnTo>
                    <a:pt x="1231" y="358"/>
                  </a:lnTo>
                  <a:lnTo>
                    <a:pt x="1223" y="351"/>
                  </a:lnTo>
                  <a:lnTo>
                    <a:pt x="1217" y="341"/>
                  </a:lnTo>
                  <a:lnTo>
                    <a:pt x="1212" y="333"/>
                  </a:lnTo>
                  <a:lnTo>
                    <a:pt x="1206" y="324"/>
                  </a:lnTo>
                  <a:lnTo>
                    <a:pt x="1198" y="314"/>
                  </a:lnTo>
                  <a:lnTo>
                    <a:pt x="1193" y="305"/>
                  </a:lnTo>
                  <a:lnTo>
                    <a:pt x="1189" y="295"/>
                  </a:lnTo>
                  <a:lnTo>
                    <a:pt x="1183" y="286"/>
                  </a:lnTo>
                  <a:lnTo>
                    <a:pt x="1181" y="278"/>
                  </a:lnTo>
                  <a:lnTo>
                    <a:pt x="1177" y="271"/>
                  </a:lnTo>
                  <a:lnTo>
                    <a:pt x="1175" y="263"/>
                  </a:lnTo>
                  <a:lnTo>
                    <a:pt x="1175" y="257"/>
                  </a:lnTo>
                  <a:lnTo>
                    <a:pt x="1175" y="257"/>
                  </a:lnTo>
                  <a:lnTo>
                    <a:pt x="1175" y="248"/>
                  </a:lnTo>
                  <a:lnTo>
                    <a:pt x="1177" y="238"/>
                  </a:lnTo>
                  <a:lnTo>
                    <a:pt x="1181" y="230"/>
                  </a:lnTo>
                  <a:lnTo>
                    <a:pt x="1185" y="223"/>
                  </a:lnTo>
                  <a:lnTo>
                    <a:pt x="1191" y="217"/>
                  </a:lnTo>
                  <a:lnTo>
                    <a:pt x="1196" y="211"/>
                  </a:lnTo>
                  <a:lnTo>
                    <a:pt x="1202" y="206"/>
                  </a:lnTo>
                  <a:lnTo>
                    <a:pt x="1208" y="200"/>
                  </a:lnTo>
                  <a:lnTo>
                    <a:pt x="1214" y="196"/>
                  </a:lnTo>
                  <a:lnTo>
                    <a:pt x="1221" y="190"/>
                  </a:lnTo>
                  <a:lnTo>
                    <a:pt x="1227" y="187"/>
                  </a:lnTo>
                  <a:lnTo>
                    <a:pt x="1233" y="181"/>
                  </a:lnTo>
                  <a:lnTo>
                    <a:pt x="1236" y="175"/>
                  </a:lnTo>
                  <a:lnTo>
                    <a:pt x="1240" y="169"/>
                  </a:lnTo>
                  <a:lnTo>
                    <a:pt x="1244" y="162"/>
                  </a:lnTo>
                  <a:lnTo>
                    <a:pt x="1246" y="154"/>
                  </a:lnTo>
                  <a:lnTo>
                    <a:pt x="1246" y="154"/>
                  </a:lnTo>
                  <a:lnTo>
                    <a:pt x="1248" y="143"/>
                  </a:lnTo>
                  <a:lnTo>
                    <a:pt x="1248" y="131"/>
                  </a:lnTo>
                  <a:lnTo>
                    <a:pt x="1250" y="122"/>
                  </a:lnTo>
                  <a:lnTo>
                    <a:pt x="1250" y="110"/>
                  </a:lnTo>
                  <a:lnTo>
                    <a:pt x="1250" y="101"/>
                  </a:lnTo>
                  <a:lnTo>
                    <a:pt x="1252" y="91"/>
                  </a:lnTo>
                  <a:lnTo>
                    <a:pt x="1252" y="82"/>
                  </a:lnTo>
                  <a:lnTo>
                    <a:pt x="1252" y="72"/>
                  </a:lnTo>
                  <a:lnTo>
                    <a:pt x="1254" y="63"/>
                  </a:lnTo>
                  <a:lnTo>
                    <a:pt x="1256" y="55"/>
                  </a:lnTo>
                  <a:lnTo>
                    <a:pt x="1257" y="47"/>
                  </a:lnTo>
                  <a:lnTo>
                    <a:pt x="1261" y="40"/>
                  </a:lnTo>
                  <a:lnTo>
                    <a:pt x="1265" y="32"/>
                  </a:lnTo>
                  <a:lnTo>
                    <a:pt x="1269" y="26"/>
                  </a:lnTo>
                  <a:lnTo>
                    <a:pt x="1275" y="21"/>
                  </a:lnTo>
                  <a:lnTo>
                    <a:pt x="1282" y="15"/>
                  </a:lnTo>
                  <a:lnTo>
                    <a:pt x="1282" y="15"/>
                  </a:lnTo>
                  <a:lnTo>
                    <a:pt x="1277" y="13"/>
                  </a:lnTo>
                  <a:lnTo>
                    <a:pt x="1273" y="13"/>
                  </a:lnTo>
                  <a:lnTo>
                    <a:pt x="1267" y="11"/>
                  </a:lnTo>
                  <a:lnTo>
                    <a:pt x="1263" y="9"/>
                  </a:lnTo>
                  <a:lnTo>
                    <a:pt x="1257" y="9"/>
                  </a:lnTo>
                  <a:lnTo>
                    <a:pt x="1254" y="7"/>
                  </a:lnTo>
                  <a:lnTo>
                    <a:pt x="1248" y="7"/>
                  </a:lnTo>
                  <a:lnTo>
                    <a:pt x="1242" y="5"/>
                  </a:lnTo>
                  <a:lnTo>
                    <a:pt x="1238" y="3"/>
                  </a:lnTo>
                  <a:lnTo>
                    <a:pt x="1233" y="3"/>
                  </a:lnTo>
                  <a:lnTo>
                    <a:pt x="1227" y="3"/>
                  </a:lnTo>
                  <a:lnTo>
                    <a:pt x="1223" y="2"/>
                  </a:lnTo>
                  <a:lnTo>
                    <a:pt x="1217" y="2"/>
                  </a:lnTo>
                  <a:lnTo>
                    <a:pt x="1212" y="2"/>
                  </a:lnTo>
                  <a:lnTo>
                    <a:pt x="1208" y="0"/>
                  </a:lnTo>
                  <a:lnTo>
                    <a:pt x="1202" y="0"/>
                  </a:lnTo>
                  <a:lnTo>
                    <a:pt x="1202" y="0"/>
                  </a:lnTo>
                  <a:lnTo>
                    <a:pt x="1198" y="2"/>
                  </a:lnTo>
                  <a:lnTo>
                    <a:pt x="1196" y="2"/>
                  </a:lnTo>
                  <a:lnTo>
                    <a:pt x="1194" y="3"/>
                  </a:lnTo>
                  <a:lnTo>
                    <a:pt x="1193" y="5"/>
                  </a:lnTo>
                  <a:lnTo>
                    <a:pt x="1193" y="9"/>
                  </a:lnTo>
                  <a:lnTo>
                    <a:pt x="1191" y="11"/>
                  </a:lnTo>
                  <a:lnTo>
                    <a:pt x="1191" y="15"/>
                  </a:lnTo>
                  <a:lnTo>
                    <a:pt x="1191" y="19"/>
                  </a:lnTo>
                  <a:lnTo>
                    <a:pt x="1160" y="19"/>
                  </a:lnTo>
                  <a:lnTo>
                    <a:pt x="1160" y="19"/>
                  </a:lnTo>
                  <a:lnTo>
                    <a:pt x="1160" y="17"/>
                  </a:lnTo>
                  <a:lnTo>
                    <a:pt x="1158" y="15"/>
                  </a:lnTo>
                  <a:lnTo>
                    <a:pt x="1156" y="13"/>
                  </a:lnTo>
                  <a:lnTo>
                    <a:pt x="1153" y="9"/>
                  </a:lnTo>
                  <a:lnTo>
                    <a:pt x="1149" y="7"/>
                  </a:lnTo>
                  <a:lnTo>
                    <a:pt x="1145" y="5"/>
                  </a:lnTo>
                  <a:lnTo>
                    <a:pt x="1141" y="3"/>
                  </a:lnTo>
                  <a:lnTo>
                    <a:pt x="1139" y="3"/>
                  </a:lnTo>
                  <a:lnTo>
                    <a:pt x="1139" y="3"/>
                  </a:lnTo>
                  <a:lnTo>
                    <a:pt x="1133" y="3"/>
                  </a:lnTo>
                  <a:lnTo>
                    <a:pt x="1130" y="3"/>
                  </a:lnTo>
                  <a:lnTo>
                    <a:pt x="1124" y="5"/>
                  </a:lnTo>
                  <a:lnTo>
                    <a:pt x="1120" y="7"/>
                  </a:lnTo>
                  <a:lnTo>
                    <a:pt x="1116" y="11"/>
                  </a:lnTo>
                  <a:lnTo>
                    <a:pt x="1112" y="13"/>
                  </a:lnTo>
                  <a:lnTo>
                    <a:pt x="1109" y="17"/>
                  </a:lnTo>
                  <a:lnTo>
                    <a:pt x="1105" y="19"/>
                  </a:lnTo>
                  <a:lnTo>
                    <a:pt x="1101" y="23"/>
                  </a:lnTo>
                  <a:lnTo>
                    <a:pt x="1097" y="26"/>
                  </a:lnTo>
                  <a:lnTo>
                    <a:pt x="1093" y="28"/>
                  </a:lnTo>
                  <a:lnTo>
                    <a:pt x="1088" y="30"/>
                  </a:lnTo>
                  <a:lnTo>
                    <a:pt x="1084" y="32"/>
                  </a:lnTo>
                  <a:lnTo>
                    <a:pt x="1078" y="34"/>
                  </a:lnTo>
                  <a:lnTo>
                    <a:pt x="1072" y="36"/>
                  </a:lnTo>
                  <a:lnTo>
                    <a:pt x="1067" y="36"/>
                  </a:lnTo>
                  <a:lnTo>
                    <a:pt x="1067" y="36"/>
                  </a:lnTo>
                  <a:lnTo>
                    <a:pt x="1059" y="36"/>
                  </a:lnTo>
                  <a:lnTo>
                    <a:pt x="1051" y="34"/>
                  </a:lnTo>
                  <a:lnTo>
                    <a:pt x="1044" y="32"/>
                  </a:lnTo>
                  <a:lnTo>
                    <a:pt x="1034" y="28"/>
                  </a:lnTo>
                  <a:lnTo>
                    <a:pt x="1027" y="24"/>
                  </a:lnTo>
                  <a:lnTo>
                    <a:pt x="1019" y="21"/>
                  </a:lnTo>
                  <a:lnTo>
                    <a:pt x="1013" y="19"/>
                  </a:lnTo>
                  <a:lnTo>
                    <a:pt x="1008" y="15"/>
                  </a:lnTo>
                  <a:lnTo>
                    <a:pt x="910" y="15"/>
                  </a:lnTo>
                  <a:lnTo>
                    <a:pt x="910" y="15"/>
                  </a:lnTo>
                  <a:lnTo>
                    <a:pt x="899" y="15"/>
                  </a:lnTo>
                  <a:lnTo>
                    <a:pt x="887" y="15"/>
                  </a:lnTo>
                  <a:lnTo>
                    <a:pt x="876" y="17"/>
                  </a:lnTo>
                  <a:lnTo>
                    <a:pt x="863" y="17"/>
                  </a:lnTo>
                  <a:lnTo>
                    <a:pt x="849" y="19"/>
                  </a:lnTo>
                  <a:lnTo>
                    <a:pt x="836" y="21"/>
                  </a:lnTo>
                  <a:lnTo>
                    <a:pt x="823" y="23"/>
                  </a:lnTo>
                  <a:lnTo>
                    <a:pt x="809" y="26"/>
                  </a:lnTo>
                  <a:lnTo>
                    <a:pt x="796" y="28"/>
                  </a:lnTo>
                  <a:lnTo>
                    <a:pt x="782" y="32"/>
                  </a:lnTo>
                  <a:lnTo>
                    <a:pt x="769" y="34"/>
                  </a:lnTo>
                  <a:lnTo>
                    <a:pt x="758" y="38"/>
                  </a:lnTo>
                  <a:lnTo>
                    <a:pt x="744" y="40"/>
                  </a:lnTo>
                  <a:lnTo>
                    <a:pt x="733" y="44"/>
                  </a:lnTo>
                  <a:lnTo>
                    <a:pt x="723" y="47"/>
                  </a:lnTo>
                  <a:lnTo>
                    <a:pt x="714" y="49"/>
                  </a:lnTo>
                  <a:lnTo>
                    <a:pt x="714" y="49"/>
                  </a:lnTo>
                  <a:lnTo>
                    <a:pt x="710" y="51"/>
                  </a:lnTo>
                  <a:lnTo>
                    <a:pt x="706" y="55"/>
                  </a:lnTo>
                  <a:lnTo>
                    <a:pt x="704" y="57"/>
                  </a:lnTo>
                  <a:lnTo>
                    <a:pt x="702" y="61"/>
                  </a:lnTo>
                  <a:lnTo>
                    <a:pt x="699" y="63"/>
                  </a:lnTo>
                  <a:lnTo>
                    <a:pt x="697" y="66"/>
                  </a:lnTo>
                  <a:lnTo>
                    <a:pt x="693" y="66"/>
                  </a:lnTo>
                  <a:lnTo>
                    <a:pt x="689" y="68"/>
                  </a:lnTo>
                  <a:lnTo>
                    <a:pt x="689" y="68"/>
                  </a:lnTo>
                  <a:lnTo>
                    <a:pt x="685" y="68"/>
                  </a:lnTo>
                  <a:lnTo>
                    <a:pt x="681" y="68"/>
                  </a:lnTo>
                  <a:lnTo>
                    <a:pt x="679" y="68"/>
                  </a:lnTo>
                  <a:lnTo>
                    <a:pt x="678" y="68"/>
                  </a:lnTo>
                  <a:lnTo>
                    <a:pt x="674" y="68"/>
                  </a:lnTo>
                  <a:lnTo>
                    <a:pt x="672" y="68"/>
                  </a:lnTo>
                  <a:lnTo>
                    <a:pt x="668" y="68"/>
                  </a:lnTo>
                  <a:lnTo>
                    <a:pt x="664" y="68"/>
                  </a:lnTo>
                  <a:lnTo>
                    <a:pt x="664" y="68"/>
                  </a:lnTo>
                  <a:lnTo>
                    <a:pt x="657" y="68"/>
                  </a:lnTo>
                  <a:lnTo>
                    <a:pt x="647" y="70"/>
                  </a:lnTo>
                  <a:lnTo>
                    <a:pt x="639" y="72"/>
                  </a:lnTo>
                  <a:lnTo>
                    <a:pt x="634" y="76"/>
                  </a:lnTo>
                  <a:lnTo>
                    <a:pt x="626" y="80"/>
                  </a:lnTo>
                  <a:lnTo>
                    <a:pt x="620" y="84"/>
                  </a:lnTo>
                  <a:lnTo>
                    <a:pt x="613" y="87"/>
                  </a:lnTo>
                  <a:lnTo>
                    <a:pt x="607" y="93"/>
                  </a:lnTo>
                  <a:lnTo>
                    <a:pt x="601" y="97"/>
                  </a:lnTo>
                  <a:lnTo>
                    <a:pt x="594" y="103"/>
                  </a:lnTo>
                  <a:lnTo>
                    <a:pt x="588" y="106"/>
                  </a:lnTo>
                  <a:lnTo>
                    <a:pt x="580" y="110"/>
                  </a:lnTo>
                  <a:lnTo>
                    <a:pt x="573" y="114"/>
                  </a:lnTo>
                  <a:lnTo>
                    <a:pt x="565" y="116"/>
                  </a:lnTo>
                  <a:lnTo>
                    <a:pt x="557" y="118"/>
                  </a:lnTo>
                  <a:lnTo>
                    <a:pt x="550" y="118"/>
                  </a:lnTo>
                  <a:lnTo>
                    <a:pt x="550" y="118"/>
                  </a:lnTo>
                  <a:lnTo>
                    <a:pt x="546" y="118"/>
                  </a:lnTo>
                  <a:lnTo>
                    <a:pt x="544" y="118"/>
                  </a:lnTo>
                  <a:lnTo>
                    <a:pt x="540" y="118"/>
                  </a:lnTo>
                  <a:lnTo>
                    <a:pt x="538" y="118"/>
                  </a:lnTo>
                  <a:lnTo>
                    <a:pt x="534" y="118"/>
                  </a:lnTo>
                  <a:lnTo>
                    <a:pt x="531" y="118"/>
                  </a:lnTo>
                  <a:lnTo>
                    <a:pt x="527" y="118"/>
                  </a:lnTo>
                  <a:lnTo>
                    <a:pt x="521" y="116"/>
                  </a:lnTo>
                  <a:lnTo>
                    <a:pt x="521" y="116"/>
                  </a:lnTo>
                  <a:lnTo>
                    <a:pt x="525" y="120"/>
                  </a:lnTo>
                  <a:lnTo>
                    <a:pt x="529" y="122"/>
                  </a:lnTo>
                  <a:lnTo>
                    <a:pt x="533" y="126"/>
                  </a:lnTo>
                  <a:lnTo>
                    <a:pt x="536" y="127"/>
                  </a:lnTo>
                  <a:lnTo>
                    <a:pt x="540" y="131"/>
                  </a:lnTo>
                  <a:lnTo>
                    <a:pt x="544" y="135"/>
                  </a:lnTo>
                  <a:lnTo>
                    <a:pt x="546" y="139"/>
                  </a:lnTo>
                  <a:lnTo>
                    <a:pt x="550" y="143"/>
                  </a:lnTo>
                  <a:lnTo>
                    <a:pt x="554" y="147"/>
                  </a:lnTo>
                  <a:lnTo>
                    <a:pt x="555" y="152"/>
                  </a:lnTo>
                  <a:lnTo>
                    <a:pt x="559" y="158"/>
                  </a:lnTo>
                  <a:lnTo>
                    <a:pt x="561" y="162"/>
                  </a:lnTo>
                  <a:lnTo>
                    <a:pt x="563" y="169"/>
                  </a:lnTo>
                  <a:lnTo>
                    <a:pt x="563" y="175"/>
                  </a:lnTo>
                  <a:lnTo>
                    <a:pt x="563" y="183"/>
                  </a:lnTo>
                  <a:lnTo>
                    <a:pt x="565" y="190"/>
                  </a:lnTo>
                  <a:lnTo>
                    <a:pt x="565" y="190"/>
                  </a:lnTo>
                  <a:lnTo>
                    <a:pt x="565" y="194"/>
                  </a:lnTo>
                  <a:lnTo>
                    <a:pt x="563" y="200"/>
                  </a:lnTo>
                  <a:lnTo>
                    <a:pt x="563" y="204"/>
                  </a:lnTo>
                  <a:lnTo>
                    <a:pt x="563" y="209"/>
                  </a:lnTo>
                  <a:lnTo>
                    <a:pt x="563" y="213"/>
                  </a:lnTo>
                  <a:lnTo>
                    <a:pt x="561" y="219"/>
                  </a:lnTo>
                  <a:lnTo>
                    <a:pt x="561" y="223"/>
                  </a:lnTo>
                  <a:lnTo>
                    <a:pt x="559" y="227"/>
                  </a:lnTo>
                  <a:lnTo>
                    <a:pt x="559" y="230"/>
                  </a:lnTo>
                  <a:lnTo>
                    <a:pt x="557" y="236"/>
                  </a:lnTo>
                  <a:lnTo>
                    <a:pt x="557" y="240"/>
                  </a:lnTo>
                  <a:lnTo>
                    <a:pt x="555" y="244"/>
                  </a:lnTo>
                  <a:lnTo>
                    <a:pt x="555" y="250"/>
                  </a:lnTo>
                  <a:lnTo>
                    <a:pt x="555" y="253"/>
                  </a:lnTo>
                  <a:lnTo>
                    <a:pt x="555" y="257"/>
                  </a:lnTo>
                  <a:lnTo>
                    <a:pt x="555" y="263"/>
                  </a:lnTo>
                  <a:lnTo>
                    <a:pt x="555" y="263"/>
                  </a:lnTo>
                  <a:lnTo>
                    <a:pt x="555" y="272"/>
                  </a:lnTo>
                  <a:lnTo>
                    <a:pt x="557" y="284"/>
                  </a:lnTo>
                  <a:lnTo>
                    <a:pt x="561" y="292"/>
                  </a:lnTo>
                  <a:lnTo>
                    <a:pt x="565" y="299"/>
                  </a:lnTo>
                  <a:lnTo>
                    <a:pt x="569" y="307"/>
                  </a:lnTo>
                  <a:lnTo>
                    <a:pt x="575" y="314"/>
                  </a:lnTo>
                  <a:lnTo>
                    <a:pt x="578" y="322"/>
                  </a:lnTo>
                  <a:lnTo>
                    <a:pt x="582" y="328"/>
                  </a:lnTo>
                  <a:lnTo>
                    <a:pt x="582" y="328"/>
                  </a:lnTo>
                  <a:lnTo>
                    <a:pt x="578" y="332"/>
                  </a:lnTo>
                  <a:lnTo>
                    <a:pt x="575" y="335"/>
                  </a:lnTo>
                  <a:lnTo>
                    <a:pt x="573" y="339"/>
                  </a:lnTo>
                  <a:lnTo>
                    <a:pt x="571" y="343"/>
                  </a:lnTo>
                  <a:lnTo>
                    <a:pt x="569" y="347"/>
                  </a:lnTo>
                  <a:lnTo>
                    <a:pt x="567" y="351"/>
                  </a:lnTo>
                  <a:lnTo>
                    <a:pt x="563" y="353"/>
                  </a:lnTo>
                  <a:lnTo>
                    <a:pt x="561" y="354"/>
                  </a:lnTo>
                  <a:lnTo>
                    <a:pt x="561" y="354"/>
                  </a:lnTo>
                  <a:lnTo>
                    <a:pt x="555" y="356"/>
                  </a:lnTo>
                  <a:lnTo>
                    <a:pt x="552" y="356"/>
                  </a:lnTo>
                  <a:lnTo>
                    <a:pt x="548" y="358"/>
                  </a:lnTo>
                  <a:lnTo>
                    <a:pt x="544" y="358"/>
                  </a:lnTo>
                  <a:lnTo>
                    <a:pt x="538" y="358"/>
                  </a:lnTo>
                  <a:lnTo>
                    <a:pt x="534" y="356"/>
                  </a:lnTo>
                  <a:lnTo>
                    <a:pt x="531" y="356"/>
                  </a:lnTo>
                  <a:lnTo>
                    <a:pt x="527" y="356"/>
                  </a:lnTo>
                  <a:lnTo>
                    <a:pt x="523" y="356"/>
                  </a:lnTo>
                  <a:lnTo>
                    <a:pt x="519" y="354"/>
                  </a:lnTo>
                  <a:lnTo>
                    <a:pt x="515" y="354"/>
                  </a:lnTo>
                  <a:lnTo>
                    <a:pt x="512" y="353"/>
                  </a:lnTo>
                  <a:lnTo>
                    <a:pt x="508" y="353"/>
                  </a:lnTo>
                  <a:lnTo>
                    <a:pt x="504" y="353"/>
                  </a:lnTo>
                  <a:lnTo>
                    <a:pt x="498" y="351"/>
                  </a:lnTo>
                  <a:lnTo>
                    <a:pt x="494" y="351"/>
                  </a:lnTo>
                  <a:lnTo>
                    <a:pt x="494" y="351"/>
                  </a:lnTo>
                  <a:lnTo>
                    <a:pt x="489" y="351"/>
                  </a:lnTo>
                  <a:lnTo>
                    <a:pt x="485" y="351"/>
                  </a:lnTo>
                  <a:lnTo>
                    <a:pt x="481" y="351"/>
                  </a:lnTo>
                  <a:lnTo>
                    <a:pt x="477" y="351"/>
                  </a:lnTo>
                  <a:lnTo>
                    <a:pt x="473" y="349"/>
                  </a:lnTo>
                  <a:lnTo>
                    <a:pt x="470" y="349"/>
                  </a:lnTo>
                  <a:lnTo>
                    <a:pt x="466" y="351"/>
                  </a:lnTo>
                  <a:lnTo>
                    <a:pt x="460" y="351"/>
                  </a:lnTo>
                  <a:lnTo>
                    <a:pt x="441" y="372"/>
                  </a:lnTo>
                  <a:lnTo>
                    <a:pt x="384" y="387"/>
                  </a:lnTo>
                  <a:lnTo>
                    <a:pt x="384" y="387"/>
                  </a:lnTo>
                  <a:lnTo>
                    <a:pt x="380" y="393"/>
                  </a:lnTo>
                  <a:lnTo>
                    <a:pt x="380" y="400"/>
                  </a:lnTo>
                  <a:lnTo>
                    <a:pt x="380" y="406"/>
                  </a:lnTo>
                  <a:lnTo>
                    <a:pt x="380" y="412"/>
                  </a:lnTo>
                  <a:lnTo>
                    <a:pt x="382" y="417"/>
                  </a:lnTo>
                  <a:lnTo>
                    <a:pt x="382" y="423"/>
                  </a:lnTo>
                  <a:lnTo>
                    <a:pt x="380" y="429"/>
                  </a:lnTo>
                  <a:lnTo>
                    <a:pt x="378" y="435"/>
                  </a:lnTo>
                  <a:lnTo>
                    <a:pt x="378" y="435"/>
                  </a:lnTo>
                  <a:lnTo>
                    <a:pt x="374" y="438"/>
                  </a:lnTo>
                  <a:lnTo>
                    <a:pt x="370" y="442"/>
                  </a:lnTo>
                  <a:lnTo>
                    <a:pt x="367" y="444"/>
                  </a:lnTo>
                  <a:lnTo>
                    <a:pt x="363" y="448"/>
                  </a:lnTo>
                  <a:lnTo>
                    <a:pt x="359" y="450"/>
                  </a:lnTo>
                  <a:lnTo>
                    <a:pt x="353" y="452"/>
                  </a:lnTo>
                  <a:lnTo>
                    <a:pt x="349" y="452"/>
                  </a:lnTo>
                  <a:lnTo>
                    <a:pt x="346" y="454"/>
                  </a:lnTo>
                  <a:lnTo>
                    <a:pt x="340" y="456"/>
                  </a:lnTo>
                  <a:lnTo>
                    <a:pt x="336" y="456"/>
                  </a:lnTo>
                  <a:lnTo>
                    <a:pt x="330" y="457"/>
                  </a:lnTo>
                  <a:lnTo>
                    <a:pt x="327" y="457"/>
                  </a:lnTo>
                  <a:lnTo>
                    <a:pt x="321" y="459"/>
                  </a:lnTo>
                  <a:lnTo>
                    <a:pt x="317" y="461"/>
                  </a:lnTo>
                  <a:lnTo>
                    <a:pt x="311" y="461"/>
                  </a:lnTo>
                  <a:lnTo>
                    <a:pt x="307" y="463"/>
                  </a:lnTo>
                  <a:lnTo>
                    <a:pt x="307" y="463"/>
                  </a:lnTo>
                  <a:lnTo>
                    <a:pt x="302" y="467"/>
                  </a:lnTo>
                  <a:lnTo>
                    <a:pt x="296" y="471"/>
                  </a:lnTo>
                  <a:lnTo>
                    <a:pt x="292" y="475"/>
                  </a:lnTo>
                  <a:lnTo>
                    <a:pt x="290" y="480"/>
                  </a:lnTo>
                  <a:lnTo>
                    <a:pt x="287" y="484"/>
                  </a:lnTo>
                  <a:lnTo>
                    <a:pt x="283" y="490"/>
                  </a:lnTo>
                  <a:lnTo>
                    <a:pt x="279" y="496"/>
                  </a:lnTo>
                  <a:lnTo>
                    <a:pt x="275" y="499"/>
                  </a:lnTo>
                  <a:lnTo>
                    <a:pt x="275" y="499"/>
                  </a:lnTo>
                  <a:lnTo>
                    <a:pt x="273" y="501"/>
                  </a:lnTo>
                  <a:lnTo>
                    <a:pt x="267" y="501"/>
                  </a:lnTo>
                  <a:lnTo>
                    <a:pt x="260" y="503"/>
                  </a:lnTo>
                  <a:lnTo>
                    <a:pt x="252" y="505"/>
                  </a:lnTo>
                  <a:lnTo>
                    <a:pt x="243" y="509"/>
                  </a:lnTo>
                  <a:lnTo>
                    <a:pt x="233" y="511"/>
                  </a:lnTo>
                  <a:lnTo>
                    <a:pt x="224" y="513"/>
                  </a:lnTo>
                  <a:lnTo>
                    <a:pt x="212" y="515"/>
                  </a:lnTo>
                  <a:lnTo>
                    <a:pt x="203" y="519"/>
                  </a:lnTo>
                  <a:lnTo>
                    <a:pt x="191" y="520"/>
                  </a:lnTo>
                  <a:lnTo>
                    <a:pt x="182" y="520"/>
                  </a:lnTo>
                  <a:lnTo>
                    <a:pt x="174" y="522"/>
                  </a:lnTo>
                  <a:lnTo>
                    <a:pt x="166" y="524"/>
                  </a:lnTo>
                  <a:lnTo>
                    <a:pt x="161" y="526"/>
                  </a:lnTo>
                  <a:lnTo>
                    <a:pt x="159" y="526"/>
                  </a:lnTo>
                  <a:lnTo>
                    <a:pt x="157" y="526"/>
                  </a:lnTo>
                  <a:lnTo>
                    <a:pt x="157" y="526"/>
                  </a:lnTo>
                  <a:lnTo>
                    <a:pt x="153" y="526"/>
                  </a:lnTo>
                  <a:lnTo>
                    <a:pt x="149" y="526"/>
                  </a:lnTo>
                  <a:lnTo>
                    <a:pt x="147" y="526"/>
                  </a:lnTo>
                  <a:lnTo>
                    <a:pt x="145" y="526"/>
                  </a:lnTo>
                  <a:lnTo>
                    <a:pt x="143" y="526"/>
                  </a:lnTo>
                  <a:lnTo>
                    <a:pt x="142" y="526"/>
                  </a:lnTo>
                  <a:lnTo>
                    <a:pt x="140" y="526"/>
                  </a:lnTo>
                  <a:lnTo>
                    <a:pt x="140" y="526"/>
                  </a:lnTo>
                  <a:lnTo>
                    <a:pt x="140" y="526"/>
                  </a:lnTo>
                  <a:lnTo>
                    <a:pt x="132" y="526"/>
                  </a:lnTo>
                  <a:lnTo>
                    <a:pt x="122" y="528"/>
                  </a:lnTo>
                  <a:lnTo>
                    <a:pt x="115" y="530"/>
                  </a:lnTo>
                  <a:lnTo>
                    <a:pt x="105" y="534"/>
                  </a:lnTo>
                  <a:lnTo>
                    <a:pt x="98" y="536"/>
                  </a:lnTo>
                  <a:lnTo>
                    <a:pt x="90" y="540"/>
                  </a:lnTo>
                  <a:lnTo>
                    <a:pt x="81" y="545"/>
                  </a:lnTo>
                  <a:lnTo>
                    <a:pt x="71" y="549"/>
                  </a:lnTo>
                  <a:lnTo>
                    <a:pt x="63" y="555"/>
                  </a:lnTo>
                  <a:lnTo>
                    <a:pt x="56" y="561"/>
                  </a:lnTo>
                  <a:lnTo>
                    <a:pt x="48" y="564"/>
                  </a:lnTo>
                  <a:lnTo>
                    <a:pt x="40" y="570"/>
                  </a:lnTo>
                  <a:lnTo>
                    <a:pt x="33" y="576"/>
                  </a:lnTo>
                  <a:lnTo>
                    <a:pt x="25" y="582"/>
                  </a:lnTo>
                  <a:lnTo>
                    <a:pt x="18" y="585"/>
                  </a:lnTo>
                  <a:lnTo>
                    <a:pt x="12" y="591"/>
                  </a:lnTo>
                  <a:lnTo>
                    <a:pt x="12" y="591"/>
                  </a:lnTo>
                  <a:lnTo>
                    <a:pt x="6" y="595"/>
                  </a:lnTo>
                  <a:lnTo>
                    <a:pt x="4" y="601"/>
                  </a:lnTo>
                  <a:lnTo>
                    <a:pt x="2" y="606"/>
                  </a:lnTo>
                  <a:lnTo>
                    <a:pt x="2" y="614"/>
                  </a:lnTo>
                  <a:lnTo>
                    <a:pt x="2" y="620"/>
                  </a:lnTo>
                  <a:lnTo>
                    <a:pt x="2" y="625"/>
                  </a:lnTo>
                  <a:lnTo>
                    <a:pt x="2" y="633"/>
                  </a:lnTo>
                  <a:lnTo>
                    <a:pt x="0" y="639"/>
                  </a:lnTo>
                  <a:lnTo>
                    <a:pt x="6" y="664"/>
                  </a:lnTo>
                  <a:lnTo>
                    <a:pt x="2" y="698"/>
                  </a:lnTo>
                  <a:lnTo>
                    <a:pt x="245" y="898"/>
                  </a:lnTo>
                  <a:lnTo>
                    <a:pt x="239" y="89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7" name="Freeform 51"/>
            <p:cNvSpPr>
              <a:spLocks/>
            </p:cNvSpPr>
            <p:nvPr/>
          </p:nvSpPr>
          <p:spPr bwMode="gray">
            <a:xfrm>
              <a:off x="1945" y="740"/>
              <a:ext cx="166" cy="308"/>
            </a:xfrm>
            <a:custGeom>
              <a:avLst/>
              <a:gdLst/>
              <a:ahLst/>
              <a:cxnLst>
                <a:cxn ang="0">
                  <a:pos x="124" y="554"/>
                </a:cxn>
                <a:cxn ang="0">
                  <a:pos x="121" y="542"/>
                </a:cxn>
                <a:cxn ang="0">
                  <a:pos x="115" y="525"/>
                </a:cxn>
                <a:cxn ang="0">
                  <a:pos x="107" y="485"/>
                </a:cxn>
                <a:cxn ang="0">
                  <a:pos x="102" y="449"/>
                </a:cxn>
                <a:cxn ang="0">
                  <a:pos x="90" y="418"/>
                </a:cxn>
                <a:cxn ang="0">
                  <a:pos x="75" y="397"/>
                </a:cxn>
                <a:cxn ang="0">
                  <a:pos x="56" y="374"/>
                </a:cxn>
                <a:cxn ang="0">
                  <a:pos x="31" y="340"/>
                </a:cxn>
                <a:cxn ang="0">
                  <a:pos x="8" y="302"/>
                </a:cxn>
                <a:cxn ang="0">
                  <a:pos x="0" y="273"/>
                </a:cxn>
                <a:cxn ang="0">
                  <a:pos x="6" y="246"/>
                </a:cxn>
                <a:cxn ang="0">
                  <a:pos x="27" y="222"/>
                </a:cxn>
                <a:cxn ang="0">
                  <a:pos x="52" y="203"/>
                </a:cxn>
                <a:cxn ang="0">
                  <a:pos x="69" y="178"/>
                </a:cxn>
                <a:cxn ang="0">
                  <a:pos x="73" y="147"/>
                </a:cxn>
                <a:cxn ang="0">
                  <a:pos x="77" y="107"/>
                </a:cxn>
                <a:cxn ang="0">
                  <a:pos x="81" y="71"/>
                </a:cxn>
                <a:cxn ang="0">
                  <a:pos x="94" y="42"/>
                </a:cxn>
                <a:cxn ang="0">
                  <a:pos x="113" y="29"/>
                </a:cxn>
                <a:cxn ang="0">
                  <a:pos x="130" y="19"/>
                </a:cxn>
                <a:cxn ang="0">
                  <a:pos x="145" y="10"/>
                </a:cxn>
                <a:cxn ang="0">
                  <a:pos x="161" y="2"/>
                </a:cxn>
                <a:cxn ang="0">
                  <a:pos x="178" y="0"/>
                </a:cxn>
                <a:cxn ang="0">
                  <a:pos x="210" y="21"/>
                </a:cxn>
                <a:cxn ang="0">
                  <a:pos x="233" y="42"/>
                </a:cxn>
                <a:cxn ang="0">
                  <a:pos x="246" y="39"/>
                </a:cxn>
                <a:cxn ang="0">
                  <a:pos x="262" y="29"/>
                </a:cxn>
                <a:cxn ang="0">
                  <a:pos x="269" y="33"/>
                </a:cxn>
                <a:cxn ang="0">
                  <a:pos x="271" y="46"/>
                </a:cxn>
                <a:cxn ang="0">
                  <a:pos x="243" y="71"/>
                </a:cxn>
                <a:cxn ang="0">
                  <a:pos x="231" y="90"/>
                </a:cxn>
                <a:cxn ang="0">
                  <a:pos x="235" y="107"/>
                </a:cxn>
                <a:cxn ang="0">
                  <a:pos x="245" y="124"/>
                </a:cxn>
                <a:cxn ang="0">
                  <a:pos x="256" y="143"/>
                </a:cxn>
                <a:cxn ang="0">
                  <a:pos x="260" y="166"/>
                </a:cxn>
                <a:cxn ang="0">
                  <a:pos x="254" y="189"/>
                </a:cxn>
                <a:cxn ang="0">
                  <a:pos x="235" y="210"/>
                </a:cxn>
                <a:cxn ang="0">
                  <a:pos x="212" y="225"/>
                </a:cxn>
                <a:cxn ang="0">
                  <a:pos x="199" y="246"/>
                </a:cxn>
                <a:cxn ang="0">
                  <a:pos x="203" y="269"/>
                </a:cxn>
                <a:cxn ang="0">
                  <a:pos x="229" y="287"/>
                </a:cxn>
                <a:cxn ang="0">
                  <a:pos x="264" y="290"/>
                </a:cxn>
                <a:cxn ang="0">
                  <a:pos x="279" y="317"/>
                </a:cxn>
                <a:cxn ang="0">
                  <a:pos x="292" y="338"/>
                </a:cxn>
                <a:cxn ang="0">
                  <a:pos x="290" y="355"/>
                </a:cxn>
                <a:cxn ang="0">
                  <a:pos x="288" y="372"/>
                </a:cxn>
                <a:cxn ang="0">
                  <a:pos x="281" y="386"/>
                </a:cxn>
                <a:cxn ang="0">
                  <a:pos x="250" y="405"/>
                </a:cxn>
                <a:cxn ang="0">
                  <a:pos x="218" y="428"/>
                </a:cxn>
                <a:cxn ang="0">
                  <a:pos x="195" y="451"/>
                </a:cxn>
                <a:cxn ang="0">
                  <a:pos x="193" y="468"/>
                </a:cxn>
                <a:cxn ang="0">
                  <a:pos x="191" y="483"/>
                </a:cxn>
                <a:cxn ang="0">
                  <a:pos x="193" y="491"/>
                </a:cxn>
                <a:cxn ang="0">
                  <a:pos x="193" y="515"/>
                </a:cxn>
                <a:cxn ang="0">
                  <a:pos x="178" y="536"/>
                </a:cxn>
                <a:cxn ang="0">
                  <a:pos x="155" y="552"/>
                </a:cxn>
                <a:cxn ang="0">
                  <a:pos x="134" y="559"/>
                </a:cxn>
              </a:cxnLst>
              <a:rect l="0" t="0" r="r" b="b"/>
              <a:pathLst>
                <a:path w="292" h="561">
                  <a:moveTo>
                    <a:pt x="126" y="559"/>
                  </a:moveTo>
                  <a:lnTo>
                    <a:pt x="126" y="559"/>
                  </a:lnTo>
                  <a:lnTo>
                    <a:pt x="126" y="556"/>
                  </a:lnTo>
                  <a:lnTo>
                    <a:pt x="124" y="554"/>
                  </a:lnTo>
                  <a:lnTo>
                    <a:pt x="124" y="550"/>
                  </a:lnTo>
                  <a:lnTo>
                    <a:pt x="123" y="548"/>
                  </a:lnTo>
                  <a:lnTo>
                    <a:pt x="121" y="544"/>
                  </a:lnTo>
                  <a:lnTo>
                    <a:pt x="121" y="542"/>
                  </a:lnTo>
                  <a:lnTo>
                    <a:pt x="119" y="538"/>
                  </a:lnTo>
                  <a:lnTo>
                    <a:pt x="119" y="536"/>
                  </a:lnTo>
                  <a:lnTo>
                    <a:pt x="119" y="536"/>
                  </a:lnTo>
                  <a:lnTo>
                    <a:pt x="115" y="525"/>
                  </a:lnTo>
                  <a:lnTo>
                    <a:pt x="111" y="515"/>
                  </a:lnTo>
                  <a:lnTo>
                    <a:pt x="109" y="504"/>
                  </a:lnTo>
                  <a:lnTo>
                    <a:pt x="107" y="494"/>
                  </a:lnTo>
                  <a:lnTo>
                    <a:pt x="107" y="485"/>
                  </a:lnTo>
                  <a:lnTo>
                    <a:pt x="105" y="475"/>
                  </a:lnTo>
                  <a:lnTo>
                    <a:pt x="103" y="466"/>
                  </a:lnTo>
                  <a:lnTo>
                    <a:pt x="102" y="458"/>
                  </a:lnTo>
                  <a:lnTo>
                    <a:pt x="102" y="449"/>
                  </a:lnTo>
                  <a:lnTo>
                    <a:pt x="100" y="441"/>
                  </a:lnTo>
                  <a:lnTo>
                    <a:pt x="96" y="433"/>
                  </a:lnTo>
                  <a:lnTo>
                    <a:pt x="94" y="426"/>
                  </a:lnTo>
                  <a:lnTo>
                    <a:pt x="90" y="418"/>
                  </a:lnTo>
                  <a:lnTo>
                    <a:pt x="86" y="411"/>
                  </a:lnTo>
                  <a:lnTo>
                    <a:pt x="81" y="403"/>
                  </a:lnTo>
                  <a:lnTo>
                    <a:pt x="75" y="397"/>
                  </a:lnTo>
                  <a:lnTo>
                    <a:pt x="75" y="397"/>
                  </a:lnTo>
                  <a:lnTo>
                    <a:pt x="71" y="393"/>
                  </a:lnTo>
                  <a:lnTo>
                    <a:pt x="65" y="388"/>
                  </a:lnTo>
                  <a:lnTo>
                    <a:pt x="61" y="382"/>
                  </a:lnTo>
                  <a:lnTo>
                    <a:pt x="56" y="374"/>
                  </a:lnTo>
                  <a:lnTo>
                    <a:pt x="48" y="367"/>
                  </a:lnTo>
                  <a:lnTo>
                    <a:pt x="42" y="357"/>
                  </a:lnTo>
                  <a:lnTo>
                    <a:pt x="37" y="349"/>
                  </a:lnTo>
                  <a:lnTo>
                    <a:pt x="31" y="340"/>
                  </a:lnTo>
                  <a:lnTo>
                    <a:pt x="23" y="330"/>
                  </a:lnTo>
                  <a:lnTo>
                    <a:pt x="18" y="321"/>
                  </a:lnTo>
                  <a:lnTo>
                    <a:pt x="14" y="311"/>
                  </a:lnTo>
                  <a:lnTo>
                    <a:pt x="8" y="302"/>
                  </a:lnTo>
                  <a:lnTo>
                    <a:pt x="6" y="294"/>
                  </a:lnTo>
                  <a:lnTo>
                    <a:pt x="2" y="287"/>
                  </a:lnTo>
                  <a:lnTo>
                    <a:pt x="0" y="279"/>
                  </a:lnTo>
                  <a:lnTo>
                    <a:pt x="0" y="273"/>
                  </a:lnTo>
                  <a:lnTo>
                    <a:pt x="0" y="273"/>
                  </a:lnTo>
                  <a:lnTo>
                    <a:pt x="0" y="264"/>
                  </a:lnTo>
                  <a:lnTo>
                    <a:pt x="2" y="254"/>
                  </a:lnTo>
                  <a:lnTo>
                    <a:pt x="6" y="246"/>
                  </a:lnTo>
                  <a:lnTo>
                    <a:pt x="10" y="239"/>
                  </a:lnTo>
                  <a:lnTo>
                    <a:pt x="16" y="233"/>
                  </a:lnTo>
                  <a:lnTo>
                    <a:pt x="21" y="227"/>
                  </a:lnTo>
                  <a:lnTo>
                    <a:pt x="27" y="222"/>
                  </a:lnTo>
                  <a:lnTo>
                    <a:pt x="33" y="216"/>
                  </a:lnTo>
                  <a:lnTo>
                    <a:pt x="39" y="212"/>
                  </a:lnTo>
                  <a:lnTo>
                    <a:pt x="46" y="206"/>
                  </a:lnTo>
                  <a:lnTo>
                    <a:pt x="52" y="203"/>
                  </a:lnTo>
                  <a:lnTo>
                    <a:pt x="58" y="197"/>
                  </a:lnTo>
                  <a:lnTo>
                    <a:pt x="61" y="191"/>
                  </a:lnTo>
                  <a:lnTo>
                    <a:pt x="65" y="185"/>
                  </a:lnTo>
                  <a:lnTo>
                    <a:pt x="69" y="178"/>
                  </a:lnTo>
                  <a:lnTo>
                    <a:pt x="71" y="170"/>
                  </a:lnTo>
                  <a:lnTo>
                    <a:pt x="71" y="170"/>
                  </a:lnTo>
                  <a:lnTo>
                    <a:pt x="73" y="159"/>
                  </a:lnTo>
                  <a:lnTo>
                    <a:pt x="73" y="147"/>
                  </a:lnTo>
                  <a:lnTo>
                    <a:pt x="75" y="138"/>
                  </a:lnTo>
                  <a:lnTo>
                    <a:pt x="75" y="126"/>
                  </a:lnTo>
                  <a:lnTo>
                    <a:pt x="75" y="117"/>
                  </a:lnTo>
                  <a:lnTo>
                    <a:pt x="77" y="107"/>
                  </a:lnTo>
                  <a:lnTo>
                    <a:pt x="77" y="98"/>
                  </a:lnTo>
                  <a:lnTo>
                    <a:pt x="77" y="88"/>
                  </a:lnTo>
                  <a:lnTo>
                    <a:pt x="79" y="79"/>
                  </a:lnTo>
                  <a:lnTo>
                    <a:pt x="81" y="71"/>
                  </a:lnTo>
                  <a:lnTo>
                    <a:pt x="82" y="63"/>
                  </a:lnTo>
                  <a:lnTo>
                    <a:pt x="86" y="56"/>
                  </a:lnTo>
                  <a:lnTo>
                    <a:pt x="90" y="48"/>
                  </a:lnTo>
                  <a:lnTo>
                    <a:pt x="94" y="42"/>
                  </a:lnTo>
                  <a:lnTo>
                    <a:pt x="100" y="37"/>
                  </a:lnTo>
                  <a:lnTo>
                    <a:pt x="107" y="31"/>
                  </a:lnTo>
                  <a:lnTo>
                    <a:pt x="107" y="31"/>
                  </a:lnTo>
                  <a:lnTo>
                    <a:pt x="113" y="29"/>
                  </a:lnTo>
                  <a:lnTo>
                    <a:pt x="117" y="27"/>
                  </a:lnTo>
                  <a:lnTo>
                    <a:pt x="123" y="25"/>
                  </a:lnTo>
                  <a:lnTo>
                    <a:pt x="126" y="23"/>
                  </a:lnTo>
                  <a:lnTo>
                    <a:pt x="130" y="19"/>
                  </a:lnTo>
                  <a:lnTo>
                    <a:pt x="134" y="18"/>
                  </a:lnTo>
                  <a:lnTo>
                    <a:pt x="138" y="16"/>
                  </a:lnTo>
                  <a:lnTo>
                    <a:pt x="142" y="12"/>
                  </a:lnTo>
                  <a:lnTo>
                    <a:pt x="145" y="10"/>
                  </a:lnTo>
                  <a:lnTo>
                    <a:pt x="149" y="8"/>
                  </a:lnTo>
                  <a:lnTo>
                    <a:pt x="153" y="6"/>
                  </a:lnTo>
                  <a:lnTo>
                    <a:pt x="157" y="4"/>
                  </a:lnTo>
                  <a:lnTo>
                    <a:pt x="161" y="2"/>
                  </a:lnTo>
                  <a:lnTo>
                    <a:pt x="166" y="2"/>
                  </a:lnTo>
                  <a:lnTo>
                    <a:pt x="172" y="0"/>
                  </a:lnTo>
                  <a:lnTo>
                    <a:pt x="178" y="0"/>
                  </a:lnTo>
                  <a:lnTo>
                    <a:pt x="178" y="0"/>
                  </a:lnTo>
                  <a:lnTo>
                    <a:pt x="185" y="2"/>
                  </a:lnTo>
                  <a:lnTo>
                    <a:pt x="195" y="8"/>
                  </a:lnTo>
                  <a:lnTo>
                    <a:pt x="203" y="14"/>
                  </a:lnTo>
                  <a:lnTo>
                    <a:pt x="210" y="21"/>
                  </a:lnTo>
                  <a:lnTo>
                    <a:pt x="216" y="29"/>
                  </a:lnTo>
                  <a:lnTo>
                    <a:pt x="224" y="35"/>
                  </a:lnTo>
                  <a:lnTo>
                    <a:pt x="229" y="40"/>
                  </a:lnTo>
                  <a:lnTo>
                    <a:pt x="233" y="42"/>
                  </a:lnTo>
                  <a:lnTo>
                    <a:pt x="233" y="42"/>
                  </a:lnTo>
                  <a:lnTo>
                    <a:pt x="239" y="42"/>
                  </a:lnTo>
                  <a:lnTo>
                    <a:pt x="243" y="40"/>
                  </a:lnTo>
                  <a:lnTo>
                    <a:pt x="246" y="39"/>
                  </a:lnTo>
                  <a:lnTo>
                    <a:pt x="252" y="37"/>
                  </a:lnTo>
                  <a:lnTo>
                    <a:pt x="256" y="35"/>
                  </a:lnTo>
                  <a:lnTo>
                    <a:pt x="260" y="33"/>
                  </a:lnTo>
                  <a:lnTo>
                    <a:pt x="262" y="29"/>
                  </a:lnTo>
                  <a:lnTo>
                    <a:pt x="264" y="29"/>
                  </a:lnTo>
                  <a:lnTo>
                    <a:pt x="264" y="29"/>
                  </a:lnTo>
                  <a:lnTo>
                    <a:pt x="267" y="31"/>
                  </a:lnTo>
                  <a:lnTo>
                    <a:pt x="269" y="33"/>
                  </a:lnTo>
                  <a:lnTo>
                    <a:pt x="273" y="35"/>
                  </a:lnTo>
                  <a:lnTo>
                    <a:pt x="275" y="37"/>
                  </a:lnTo>
                  <a:lnTo>
                    <a:pt x="275" y="37"/>
                  </a:lnTo>
                  <a:lnTo>
                    <a:pt x="271" y="46"/>
                  </a:lnTo>
                  <a:lnTo>
                    <a:pt x="266" y="54"/>
                  </a:lnTo>
                  <a:lnTo>
                    <a:pt x="258" y="61"/>
                  </a:lnTo>
                  <a:lnTo>
                    <a:pt x="250" y="67"/>
                  </a:lnTo>
                  <a:lnTo>
                    <a:pt x="243" y="71"/>
                  </a:lnTo>
                  <a:lnTo>
                    <a:pt x="237" y="77"/>
                  </a:lnTo>
                  <a:lnTo>
                    <a:pt x="233" y="82"/>
                  </a:lnTo>
                  <a:lnTo>
                    <a:pt x="231" y="90"/>
                  </a:lnTo>
                  <a:lnTo>
                    <a:pt x="231" y="90"/>
                  </a:lnTo>
                  <a:lnTo>
                    <a:pt x="231" y="94"/>
                  </a:lnTo>
                  <a:lnTo>
                    <a:pt x="231" y="98"/>
                  </a:lnTo>
                  <a:lnTo>
                    <a:pt x="233" y="103"/>
                  </a:lnTo>
                  <a:lnTo>
                    <a:pt x="235" y="107"/>
                  </a:lnTo>
                  <a:lnTo>
                    <a:pt x="237" y="111"/>
                  </a:lnTo>
                  <a:lnTo>
                    <a:pt x="239" y="115"/>
                  </a:lnTo>
                  <a:lnTo>
                    <a:pt x="243" y="121"/>
                  </a:lnTo>
                  <a:lnTo>
                    <a:pt x="245" y="124"/>
                  </a:lnTo>
                  <a:lnTo>
                    <a:pt x="248" y="128"/>
                  </a:lnTo>
                  <a:lnTo>
                    <a:pt x="250" y="134"/>
                  </a:lnTo>
                  <a:lnTo>
                    <a:pt x="254" y="138"/>
                  </a:lnTo>
                  <a:lnTo>
                    <a:pt x="256" y="143"/>
                  </a:lnTo>
                  <a:lnTo>
                    <a:pt x="258" y="149"/>
                  </a:lnTo>
                  <a:lnTo>
                    <a:pt x="258" y="155"/>
                  </a:lnTo>
                  <a:lnTo>
                    <a:pt x="260" y="161"/>
                  </a:lnTo>
                  <a:lnTo>
                    <a:pt x="260" y="166"/>
                  </a:lnTo>
                  <a:lnTo>
                    <a:pt x="260" y="166"/>
                  </a:lnTo>
                  <a:lnTo>
                    <a:pt x="260" y="176"/>
                  </a:lnTo>
                  <a:lnTo>
                    <a:pt x="258" y="182"/>
                  </a:lnTo>
                  <a:lnTo>
                    <a:pt x="254" y="189"/>
                  </a:lnTo>
                  <a:lnTo>
                    <a:pt x="250" y="195"/>
                  </a:lnTo>
                  <a:lnTo>
                    <a:pt x="245" y="201"/>
                  </a:lnTo>
                  <a:lnTo>
                    <a:pt x="241" y="205"/>
                  </a:lnTo>
                  <a:lnTo>
                    <a:pt x="235" y="210"/>
                  </a:lnTo>
                  <a:lnTo>
                    <a:pt x="229" y="212"/>
                  </a:lnTo>
                  <a:lnTo>
                    <a:pt x="224" y="216"/>
                  </a:lnTo>
                  <a:lnTo>
                    <a:pt x="218" y="222"/>
                  </a:lnTo>
                  <a:lnTo>
                    <a:pt x="212" y="225"/>
                  </a:lnTo>
                  <a:lnTo>
                    <a:pt x="208" y="229"/>
                  </a:lnTo>
                  <a:lnTo>
                    <a:pt x="205" y="235"/>
                  </a:lnTo>
                  <a:lnTo>
                    <a:pt x="201" y="239"/>
                  </a:lnTo>
                  <a:lnTo>
                    <a:pt x="199" y="246"/>
                  </a:lnTo>
                  <a:lnTo>
                    <a:pt x="199" y="252"/>
                  </a:lnTo>
                  <a:lnTo>
                    <a:pt x="199" y="252"/>
                  </a:lnTo>
                  <a:lnTo>
                    <a:pt x="199" y="262"/>
                  </a:lnTo>
                  <a:lnTo>
                    <a:pt x="203" y="269"/>
                  </a:lnTo>
                  <a:lnTo>
                    <a:pt x="208" y="275"/>
                  </a:lnTo>
                  <a:lnTo>
                    <a:pt x="214" y="281"/>
                  </a:lnTo>
                  <a:lnTo>
                    <a:pt x="222" y="285"/>
                  </a:lnTo>
                  <a:lnTo>
                    <a:pt x="229" y="287"/>
                  </a:lnTo>
                  <a:lnTo>
                    <a:pt x="239" y="288"/>
                  </a:lnTo>
                  <a:lnTo>
                    <a:pt x="246" y="290"/>
                  </a:lnTo>
                  <a:lnTo>
                    <a:pt x="264" y="290"/>
                  </a:lnTo>
                  <a:lnTo>
                    <a:pt x="264" y="290"/>
                  </a:lnTo>
                  <a:lnTo>
                    <a:pt x="266" y="300"/>
                  </a:lnTo>
                  <a:lnTo>
                    <a:pt x="267" y="308"/>
                  </a:lnTo>
                  <a:lnTo>
                    <a:pt x="273" y="313"/>
                  </a:lnTo>
                  <a:lnTo>
                    <a:pt x="279" y="317"/>
                  </a:lnTo>
                  <a:lnTo>
                    <a:pt x="285" y="319"/>
                  </a:lnTo>
                  <a:lnTo>
                    <a:pt x="288" y="323"/>
                  </a:lnTo>
                  <a:lnTo>
                    <a:pt x="292" y="329"/>
                  </a:lnTo>
                  <a:lnTo>
                    <a:pt x="292" y="338"/>
                  </a:lnTo>
                  <a:lnTo>
                    <a:pt x="292" y="338"/>
                  </a:lnTo>
                  <a:lnTo>
                    <a:pt x="292" y="346"/>
                  </a:lnTo>
                  <a:lnTo>
                    <a:pt x="292" y="351"/>
                  </a:lnTo>
                  <a:lnTo>
                    <a:pt x="290" y="355"/>
                  </a:lnTo>
                  <a:lnTo>
                    <a:pt x="288" y="359"/>
                  </a:lnTo>
                  <a:lnTo>
                    <a:pt x="287" y="363"/>
                  </a:lnTo>
                  <a:lnTo>
                    <a:pt x="288" y="367"/>
                  </a:lnTo>
                  <a:lnTo>
                    <a:pt x="288" y="372"/>
                  </a:lnTo>
                  <a:lnTo>
                    <a:pt x="292" y="378"/>
                  </a:lnTo>
                  <a:lnTo>
                    <a:pt x="292" y="378"/>
                  </a:lnTo>
                  <a:lnTo>
                    <a:pt x="288" y="382"/>
                  </a:lnTo>
                  <a:lnTo>
                    <a:pt x="281" y="386"/>
                  </a:lnTo>
                  <a:lnTo>
                    <a:pt x="275" y="390"/>
                  </a:lnTo>
                  <a:lnTo>
                    <a:pt x="267" y="393"/>
                  </a:lnTo>
                  <a:lnTo>
                    <a:pt x="258" y="399"/>
                  </a:lnTo>
                  <a:lnTo>
                    <a:pt x="250" y="405"/>
                  </a:lnTo>
                  <a:lnTo>
                    <a:pt x="243" y="411"/>
                  </a:lnTo>
                  <a:lnTo>
                    <a:pt x="233" y="416"/>
                  </a:lnTo>
                  <a:lnTo>
                    <a:pt x="226" y="422"/>
                  </a:lnTo>
                  <a:lnTo>
                    <a:pt x="218" y="428"/>
                  </a:lnTo>
                  <a:lnTo>
                    <a:pt x="210" y="433"/>
                  </a:lnTo>
                  <a:lnTo>
                    <a:pt x="205" y="441"/>
                  </a:lnTo>
                  <a:lnTo>
                    <a:pt x="199" y="447"/>
                  </a:lnTo>
                  <a:lnTo>
                    <a:pt x="195" y="451"/>
                  </a:lnTo>
                  <a:lnTo>
                    <a:pt x="193" y="456"/>
                  </a:lnTo>
                  <a:lnTo>
                    <a:pt x="193" y="462"/>
                  </a:lnTo>
                  <a:lnTo>
                    <a:pt x="193" y="462"/>
                  </a:lnTo>
                  <a:lnTo>
                    <a:pt x="193" y="468"/>
                  </a:lnTo>
                  <a:lnTo>
                    <a:pt x="191" y="473"/>
                  </a:lnTo>
                  <a:lnTo>
                    <a:pt x="191" y="477"/>
                  </a:lnTo>
                  <a:lnTo>
                    <a:pt x="191" y="481"/>
                  </a:lnTo>
                  <a:lnTo>
                    <a:pt x="191" y="483"/>
                  </a:lnTo>
                  <a:lnTo>
                    <a:pt x="191" y="487"/>
                  </a:lnTo>
                  <a:lnTo>
                    <a:pt x="191" y="489"/>
                  </a:lnTo>
                  <a:lnTo>
                    <a:pt x="193" y="491"/>
                  </a:lnTo>
                  <a:lnTo>
                    <a:pt x="193" y="491"/>
                  </a:lnTo>
                  <a:lnTo>
                    <a:pt x="195" y="498"/>
                  </a:lnTo>
                  <a:lnTo>
                    <a:pt x="195" y="504"/>
                  </a:lnTo>
                  <a:lnTo>
                    <a:pt x="195" y="510"/>
                  </a:lnTo>
                  <a:lnTo>
                    <a:pt x="193" y="515"/>
                  </a:lnTo>
                  <a:lnTo>
                    <a:pt x="191" y="521"/>
                  </a:lnTo>
                  <a:lnTo>
                    <a:pt x="187" y="527"/>
                  </a:lnTo>
                  <a:lnTo>
                    <a:pt x="184" y="531"/>
                  </a:lnTo>
                  <a:lnTo>
                    <a:pt x="178" y="536"/>
                  </a:lnTo>
                  <a:lnTo>
                    <a:pt x="174" y="540"/>
                  </a:lnTo>
                  <a:lnTo>
                    <a:pt x="166" y="544"/>
                  </a:lnTo>
                  <a:lnTo>
                    <a:pt x="161" y="548"/>
                  </a:lnTo>
                  <a:lnTo>
                    <a:pt x="155" y="552"/>
                  </a:lnTo>
                  <a:lnTo>
                    <a:pt x="149" y="556"/>
                  </a:lnTo>
                  <a:lnTo>
                    <a:pt x="143" y="557"/>
                  </a:lnTo>
                  <a:lnTo>
                    <a:pt x="138" y="559"/>
                  </a:lnTo>
                  <a:lnTo>
                    <a:pt x="134" y="559"/>
                  </a:lnTo>
                  <a:lnTo>
                    <a:pt x="134" y="561"/>
                  </a:lnTo>
                  <a:lnTo>
                    <a:pt x="126" y="55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8" name="Freeform 52"/>
            <p:cNvSpPr>
              <a:spLocks/>
            </p:cNvSpPr>
            <p:nvPr/>
          </p:nvSpPr>
          <p:spPr bwMode="gray">
            <a:xfrm>
              <a:off x="1043" y="1242"/>
              <a:ext cx="729" cy="655"/>
            </a:xfrm>
            <a:custGeom>
              <a:avLst/>
              <a:gdLst/>
              <a:ahLst/>
              <a:cxnLst>
                <a:cxn ang="0">
                  <a:pos x="910" y="813"/>
                </a:cxn>
                <a:cxn ang="0">
                  <a:pos x="852" y="826"/>
                </a:cxn>
                <a:cxn ang="0">
                  <a:pos x="797" y="859"/>
                </a:cxn>
                <a:cxn ang="0">
                  <a:pos x="776" y="882"/>
                </a:cxn>
                <a:cxn ang="0">
                  <a:pos x="755" y="872"/>
                </a:cxn>
                <a:cxn ang="0">
                  <a:pos x="707" y="918"/>
                </a:cxn>
                <a:cxn ang="0">
                  <a:pos x="683" y="927"/>
                </a:cxn>
                <a:cxn ang="0">
                  <a:pos x="664" y="954"/>
                </a:cxn>
                <a:cxn ang="0">
                  <a:pos x="631" y="937"/>
                </a:cxn>
                <a:cxn ang="0">
                  <a:pos x="603" y="960"/>
                </a:cxn>
                <a:cxn ang="0">
                  <a:pos x="612" y="975"/>
                </a:cxn>
                <a:cxn ang="0">
                  <a:pos x="526" y="1059"/>
                </a:cxn>
                <a:cxn ang="0">
                  <a:pos x="524" y="1084"/>
                </a:cxn>
                <a:cxn ang="0">
                  <a:pos x="503" y="1126"/>
                </a:cxn>
                <a:cxn ang="0">
                  <a:pos x="505" y="1166"/>
                </a:cxn>
                <a:cxn ang="0">
                  <a:pos x="463" y="1189"/>
                </a:cxn>
                <a:cxn ang="0">
                  <a:pos x="444" y="1160"/>
                </a:cxn>
                <a:cxn ang="0">
                  <a:pos x="414" y="1156"/>
                </a:cxn>
                <a:cxn ang="0">
                  <a:pos x="385" y="1187"/>
                </a:cxn>
                <a:cxn ang="0">
                  <a:pos x="343" y="1173"/>
                </a:cxn>
                <a:cxn ang="0">
                  <a:pos x="313" y="1183"/>
                </a:cxn>
                <a:cxn ang="0">
                  <a:pos x="295" y="1152"/>
                </a:cxn>
                <a:cxn ang="0">
                  <a:pos x="265" y="1116"/>
                </a:cxn>
                <a:cxn ang="0">
                  <a:pos x="280" y="1099"/>
                </a:cxn>
                <a:cxn ang="0">
                  <a:pos x="257" y="1048"/>
                </a:cxn>
                <a:cxn ang="0">
                  <a:pos x="231" y="996"/>
                </a:cxn>
                <a:cxn ang="0">
                  <a:pos x="181" y="1030"/>
                </a:cxn>
                <a:cxn ang="0">
                  <a:pos x="147" y="1017"/>
                </a:cxn>
                <a:cxn ang="0">
                  <a:pos x="122" y="1034"/>
                </a:cxn>
                <a:cxn ang="0">
                  <a:pos x="93" y="1013"/>
                </a:cxn>
                <a:cxn ang="0">
                  <a:pos x="70" y="1023"/>
                </a:cxn>
                <a:cxn ang="0">
                  <a:pos x="57" y="1007"/>
                </a:cxn>
                <a:cxn ang="0">
                  <a:pos x="57" y="994"/>
                </a:cxn>
                <a:cxn ang="0">
                  <a:pos x="65" y="960"/>
                </a:cxn>
                <a:cxn ang="0">
                  <a:pos x="36" y="918"/>
                </a:cxn>
                <a:cxn ang="0">
                  <a:pos x="19" y="887"/>
                </a:cxn>
                <a:cxn ang="0">
                  <a:pos x="26" y="853"/>
                </a:cxn>
                <a:cxn ang="0">
                  <a:pos x="9" y="826"/>
                </a:cxn>
                <a:cxn ang="0">
                  <a:pos x="0" y="800"/>
                </a:cxn>
                <a:cxn ang="0">
                  <a:pos x="47" y="780"/>
                </a:cxn>
                <a:cxn ang="0">
                  <a:pos x="80" y="729"/>
                </a:cxn>
                <a:cxn ang="0">
                  <a:pos x="122" y="769"/>
                </a:cxn>
                <a:cxn ang="0">
                  <a:pos x="147" y="750"/>
                </a:cxn>
                <a:cxn ang="0">
                  <a:pos x="194" y="759"/>
                </a:cxn>
                <a:cxn ang="0">
                  <a:pos x="236" y="738"/>
                </a:cxn>
                <a:cxn ang="0">
                  <a:pos x="528" y="765"/>
                </a:cxn>
                <a:cxn ang="0">
                  <a:pos x="1039" y="325"/>
                </a:cxn>
                <a:cxn ang="0">
                  <a:pos x="1068" y="349"/>
                </a:cxn>
                <a:cxn ang="0">
                  <a:pos x="1076" y="378"/>
                </a:cxn>
                <a:cxn ang="0">
                  <a:pos x="1102" y="399"/>
                </a:cxn>
                <a:cxn ang="0">
                  <a:pos x="1188" y="437"/>
                </a:cxn>
                <a:cxn ang="0">
                  <a:pos x="1211" y="489"/>
                </a:cxn>
                <a:cxn ang="0">
                  <a:pos x="1207" y="506"/>
                </a:cxn>
                <a:cxn ang="0">
                  <a:pos x="1283" y="519"/>
                </a:cxn>
                <a:cxn ang="0">
                  <a:pos x="1283" y="586"/>
                </a:cxn>
                <a:cxn ang="0">
                  <a:pos x="1285" y="677"/>
                </a:cxn>
                <a:cxn ang="0">
                  <a:pos x="1242" y="775"/>
                </a:cxn>
                <a:cxn ang="0">
                  <a:pos x="1047" y="807"/>
                </a:cxn>
                <a:cxn ang="0">
                  <a:pos x="1005" y="834"/>
                </a:cxn>
              </a:cxnLst>
              <a:rect l="0" t="0" r="r" b="b"/>
              <a:pathLst>
                <a:path w="1287" h="1191">
                  <a:moveTo>
                    <a:pt x="963" y="828"/>
                  </a:moveTo>
                  <a:lnTo>
                    <a:pt x="963" y="828"/>
                  </a:lnTo>
                  <a:lnTo>
                    <a:pt x="955" y="826"/>
                  </a:lnTo>
                  <a:lnTo>
                    <a:pt x="948" y="824"/>
                  </a:lnTo>
                  <a:lnTo>
                    <a:pt x="940" y="822"/>
                  </a:lnTo>
                  <a:lnTo>
                    <a:pt x="934" y="819"/>
                  </a:lnTo>
                  <a:lnTo>
                    <a:pt x="927" y="817"/>
                  </a:lnTo>
                  <a:lnTo>
                    <a:pt x="919" y="815"/>
                  </a:lnTo>
                  <a:lnTo>
                    <a:pt x="910" y="813"/>
                  </a:lnTo>
                  <a:lnTo>
                    <a:pt x="900" y="813"/>
                  </a:lnTo>
                  <a:lnTo>
                    <a:pt x="900" y="813"/>
                  </a:lnTo>
                  <a:lnTo>
                    <a:pt x="894" y="813"/>
                  </a:lnTo>
                  <a:lnTo>
                    <a:pt x="887" y="813"/>
                  </a:lnTo>
                  <a:lnTo>
                    <a:pt x="879" y="815"/>
                  </a:lnTo>
                  <a:lnTo>
                    <a:pt x="873" y="817"/>
                  </a:lnTo>
                  <a:lnTo>
                    <a:pt x="866" y="821"/>
                  </a:lnTo>
                  <a:lnTo>
                    <a:pt x="860" y="822"/>
                  </a:lnTo>
                  <a:lnTo>
                    <a:pt x="852" y="826"/>
                  </a:lnTo>
                  <a:lnTo>
                    <a:pt x="847" y="830"/>
                  </a:lnTo>
                  <a:lnTo>
                    <a:pt x="841" y="834"/>
                  </a:lnTo>
                  <a:lnTo>
                    <a:pt x="833" y="838"/>
                  </a:lnTo>
                  <a:lnTo>
                    <a:pt x="828" y="842"/>
                  </a:lnTo>
                  <a:lnTo>
                    <a:pt x="822" y="845"/>
                  </a:lnTo>
                  <a:lnTo>
                    <a:pt x="814" y="849"/>
                  </a:lnTo>
                  <a:lnTo>
                    <a:pt x="809" y="853"/>
                  </a:lnTo>
                  <a:lnTo>
                    <a:pt x="803" y="857"/>
                  </a:lnTo>
                  <a:lnTo>
                    <a:pt x="797" y="859"/>
                  </a:lnTo>
                  <a:lnTo>
                    <a:pt x="797" y="859"/>
                  </a:lnTo>
                  <a:lnTo>
                    <a:pt x="795" y="861"/>
                  </a:lnTo>
                  <a:lnTo>
                    <a:pt x="793" y="864"/>
                  </a:lnTo>
                  <a:lnTo>
                    <a:pt x="791" y="866"/>
                  </a:lnTo>
                  <a:lnTo>
                    <a:pt x="789" y="870"/>
                  </a:lnTo>
                  <a:lnTo>
                    <a:pt x="786" y="874"/>
                  </a:lnTo>
                  <a:lnTo>
                    <a:pt x="784" y="878"/>
                  </a:lnTo>
                  <a:lnTo>
                    <a:pt x="780" y="880"/>
                  </a:lnTo>
                  <a:lnTo>
                    <a:pt x="776" y="882"/>
                  </a:lnTo>
                  <a:lnTo>
                    <a:pt x="776" y="882"/>
                  </a:lnTo>
                  <a:lnTo>
                    <a:pt x="774" y="880"/>
                  </a:lnTo>
                  <a:lnTo>
                    <a:pt x="770" y="880"/>
                  </a:lnTo>
                  <a:lnTo>
                    <a:pt x="768" y="878"/>
                  </a:lnTo>
                  <a:lnTo>
                    <a:pt x="767" y="876"/>
                  </a:lnTo>
                  <a:lnTo>
                    <a:pt x="765" y="874"/>
                  </a:lnTo>
                  <a:lnTo>
                    <a:pt x="761" y="872"/>
                  </a:lnTo>
                  <a:lnTo>
                    <a:pt x="759" y="872"/>
                  </a:lnTo>
                  <a:lnTo>
                    <a:pt x="755" y="872"/>
                  </a:lnTo>
                  <a:lnTo>
                    <a:pt x="755" y="872"/>
                  </a:lnTo>
                  <a:lnTo>
                    <a:pt x="747" y="872"/>
                  </a:lnTo>
                  <a:lnTo>
                    <a:pt x="740" y="878"/>
                  </a:lnTo>
                  <a:lnTo>
                    <a:pt x="734" y="883"/>
                  </a:lnTo>
                  <a:lnTo>
                    <a:pt x="728" y="893"/>
                  </a:lnTo>
                  <a:lnTo>
                    <a:pt x="725" y="901"/>
                  </a:lnTo>
                  <a:lnTo>
                    <a:pt x="721" y="908"/>
                  </a:lnTo>
                  <a:lnTo>
                    <a:pt x="715" y="914"/>
                  </a:lnTo>
                  <a:lnTo>
                    <a:pt x="707" y="918"/>
                  </a:lnTo>
                  <a:lnTo>
                    <a:pt x="707" y="918"/>
                  </a:lnTo>
                  <a:lnTo>
                    <a:pt x="706" y="918"/>
                  </a:lnTo>
                  <a:lnTo>
                    <a:pt x="702" y="918"/>
                  </a:lnTo>
                  <a:lnTo>
                    <a:pt x="698" y="918"/>
                  </a:lnTo>
                  <a:lnTo>
                    <a:pt x="692" y="918"/>
                  </a:lnTo>
                  <a:lnTo>
                    <a:pt x="688" y="920"/>
                  </a:lnTo>
                  <a:lnTo>
                    <a:pt x="685" y="922"/>
                  </a:lnTo>
                  <a:lnTo>
                    <a:pt x="683" y="924"/>
                  </a:lnTo>
                  <a:lnTo>
                    <a:pt x="683" y="927"/>
                  </a:lnTo>
                  <a:lnTo>
                    <a:pt x="683" y="927"/>
                  </a:lnTo>
                  <a:lnTo>
                    <a:pt x="683" y="931"/>
                  </a:lnTo>
                  <a:lnTo>
                    <a:pt x="683" y="937"/>
                  </a:lnTo>
                  <a:lnTo>
                    <a:pt x="681" y="941"/>
                  </a:lnTo>
                  <a:lnTo>
                    <a:pt x="681" y="945"/>
                  </a:lnTo>
                  <a:lnTo>
                    <a:pt x="677" y="948"/>
                  </a:lnTo>
                  <a:lnTo>
                    <a:pt x="675" y="950"/>
                  </a:lnTo>
                  <a:lnTo>
                    <a:pt x="669" y="952"/>
                  </a:lnTo>
                  <a:lnTo>
                    <a:pt x="664" y="954"/>
                  </a:lnTo>
                  <a:lnTo>
                    <a:pt x="664" y="954"/>
                  </a:lnTo>
                  <a:lnTo>
                    <a:pt x="660" y="952"/>
                  </a:lnTo>
                  <a:lnTo>
                    <a:pt x="656" y="950"/>
                  </a:lnTo>
                  <a:lnTo>
                    <a:pt x="652" y="948"/>
                  </a:lnTo>
                  <a:lnTo>
                    <a:pt x="648" y="945"/>
                  </a:lnTo>
                  <a:lnTo>
                    <a:pt x="644" y="943"/>
                  </a:lnTo>
                  <a:lnTo>
                    <a:pt x="641" y="939"/>
                  </a:lnTo>
                  <a:lnTo>
                    <a:pt x="637" y="937"/>
                  </a:lnTo>
                  <a:lnTo>
                    <a:pt x="631" y="937"/>
                  </a:lnTo>
                  <a:lnTo>
                    <a:pt x="631" y="937"/>
                  </a:lnTo>
                  <a:lnTo>
                    <a:pt x="627" y="937"/>
                  </a:lnTo>
                  <a:lnTo>
                    <a:pt x="622" y="939"/>
                  </a:lnTo>
                  <a:lnTo>
                    <a:pt x="618" y="943"/>
                  </a:lnTo>
                  <a:lnTo>
                    <a:pt x="612" y="945"/>
                  </a:lnTo>
                  <a:lnTo>
                    <a:pt x="608" y="948"/>
                  </a:lnTo>
                  <a:lnTo>
                    <a:pt x="604" y="952"/>
                  </a:lnTo>
                  <a:lnTo>
                    <a:pt x="603" y="956"/>
                  </a:lnTo>
                  <a:lnTo>
                    <a:pt x="603" y="960"/>
                  </a:lnTo>
                  <a:lnTo>
                    <a:pt x="603" y="960"/>
                  </a:lnTo>
                  <a:lnTo>
                    <a:pt x="603" y="962"/>
                  </a:lnTo>
                  <a:lnTo>
                    <a:pt x="603" y="964"/>
                  </a:lnTo>
                  <a:lnTo>
                    <a:pt x="604" y="966"/>
                  </a:lnTo>
                  <a:lnTo>
                    <a:pt x="604" y="967"/>
                  </a:lnTo>
                  <a:lnTo>
                    <a:pt x="606" y="969"/>
                  </a:lnTo>
                  <a:lnTo>
                    <a:pt x="608" y="971"/>
                  </a:lnTo>
                  <a:lnTo>
                    <a:pt x="610" y="973"/>
                  </a:lnTo>
                  <a:lnTo>
                    <a:pt x="612" y="975"/>
                  </a:lnTo>
                  <a:lnTo>
                    <a:pt x="576" y="1042"/>
                  </a:lnTo>
                  <a:lnTo>
                    <a:pt x="576" y="1042"/>
                  </a:lnTo>
                  <a:lnTo>
                    <a:pt x="568" y="1046"/>
                  </a:lnTo>
                  <a:lnTo>
                    <a:pt x="559" y="1046"/>
                  </a:lnTo>
                  <a:lnTo>
                    <a:pt x="551" y="1048"/>
                  </a:lnTo>
                  <a:lnTo>
                    <a:pt x="543" y="1049"/>
                  </a:lnTo>
                  <a:lnTo>
                    <a:pt x="536" y="1051"/>
                  </a:lnTo>
                  <a:lnTo>
                    <a:pt x="530" y="1055"/>
                  </a:lnTo>
                  <a:lnTo>
                    <a:pt x="526" y="1059"/>
                  </a:lnTo>
                  <a:lnTo>
                    <a:pt x="524" y="1067"/>
                  </a:lnTo>
                  <a:lnTo>
                    <a:pt x="524" y="1067"/>
                  </a:lnTo>
                  <a:lnTo>
                    <a:pt x="524" y="1067"/>
                  </a:lnTo>
                  <a:lnTo>
                    <a:pt x="524" y="1069"/>
                  </a:lnTo>
                  <a:lnTo>
                    <a:pt x="524" y="1070"/>
                  </a:lnTo>
                  <a:lnTo>
                    <a:pt x="524" y="1072"/>
                  </a:lnTo>
                  <a:lnTo>
                    <a:pt x="524" y="1076"/>
                  </a:lnTo>
                  <a:lnTo>
                    <a:pt x="524" y="1080"/>
                  </a:lnTo>
                  <a:lnTo>
                    <a:pt x="524" y="1084"/>
                  </a:lnTo>
                  <a:lnTo>
                    <a:pt x="524" y="1088"/>
                  </a:lnTo>
                  <a:lnTo>
                    <a:pt x="524" y="1088"/>
                  </a:lnTo>
                  <a:lnTo>
                    <a:pt x="524" y="1095"/>
                  </a:lnTo>
                  <a:lnTo>
                    <a:pt x="522" y="1101"/>
                  </a:lnTo>
                  <a:lnTo>
                    <a:pt x="519" y="1107"/>
                  </a:lnTo>
                  <a:lnTo>
                    <a:pt x="515" y="1110"/>
                  </a:lnTo>
                  <a:lnTo>
                    <a:pt x="511" y="1114"/>
                  </a:lnTo>
                  <a:lnTo>
                    <a:pt x="507" y="1120"/>
                  </a:lnTo>
                  <a:lnTo>
                    <a:pt x="503" y="1126"/>
                  </a:lnTo>
                  <a:lnTo>
                    <a:pt x="501" y="1131"/>
                  </a:lnTo>
                  <a:lnTo>
                    <a:pt x="501" y="1131"/>
                  </a:lnTo>
                  <a:lnTo>
                    <a:pt x="501" y="1137"/>
                  </a:lnTo>
                  <a:lnTo>
                    <a:pt x="501" y="1141"/>
                  </a:lnTo>
                  <a:lnTo>
                    <a:pt x="503" y="1147"/>
                  </a:lnTo>
                  <a:lnTo>
                    <a:pt x="503" y="1151"/>
                  </a:lnTo>
                  <a:lnTo>
                    <a:pt x="505" y="1154"/>
                  </a:lnTo>
                  <a:lnTo>
                    <a:pt x="505" y="1160"/>
                  </a:lnTo>
                  <a:lnTo>
                    <a:pt x="505" y="1166"/>
                  </a:lnTo>
                  <a:lnTo>
                    <a:pt x="505" y="1173"/>
                  </a:lnTo>
                  <a:lnTo>
                    <a:pt x="505" y="1173"/>
                  </a:lnTo>
                  <a:lnTo>
                    <a:pt x="498" y="1173"/>
                  </a:lnTo>
                  <a:lnTo>
                    <a:pt x="492" y="1175"/>
                  </a:lnTo>
                  <a:lnTo>
                    <a:pt x="486" y="1179"/>
                  </a:lnTo>
                  <a:lnTo>
                    <a:pt x="480" y="1181"/>
                  </a:lnTo>
                  <a:lnTo>
                    <a:pt x="475" y="1185"/>
                  </a:lnTo>
                  <a:lnTo>
                    <a:pt x="469" y="1187"/>
                  </a:lnTo>
                  <a:lnTo>
                    <a:pt x="463" y="1189"/>
                  </a:lnTo>
                  <a:lnTo>
                    <a:pt x="458" y="1191"/>
                  </a:lnTo>
                  <a:lnTo>
                    <a:pt x="458" y="1191"/>
                  </a:lnTo>
                  <a:lnTo>
                    <a:pt x="454" y="1189"/>
                  </a:lnTo>
                  <a:lnTo>
                    <a:pt x="450" y="1187"/>
                  </a:lnTo>
                  <a:lnTo>
                    <a:pt x="448" y="1183"/>
                  </a:lnTo>
                  <a:lnTo>
                    <a:pt x="446" y="1177"/>
                  </a:lnTo>
                  <a:lnTo>
                    <a:pt x="446" y="1172"/>
                  </a:lnTo>
                  <a:lnTo>
                    <a:pt x="446" y="1166"/>
                  </a:lnTo>
                  <a:lnTo>
                    <a:pt x="444" y="1160"/>
                  </a:lnTo>
                  <a:lnTo>
                    <a:pt x="444" y="1154"/>
                  </a:lnTo>
                  <a:lnTo>
                    <a:pt x="444" y="1154"/>
                  </a:lnTo>
                  <a:lnTo>
                    <a:pt x="440" y="1154"/>
                  </a:lnTo>
                  <a:lnTo>
                    <a:pt x="438" y="1154"/>
                  </a:lnTo>
                  <a:lnTo>
                    <a:pt x="433" y="1154"/>
                  </a:lnTo>
                  <a:lnTo>
                    <a:pt x="429" y="1154"/>
                  </a:lnTo>
                  <a:lnTo>
                    <a:pt x="423" y="1154"/>
                  </a:lnTo>
                  <a:lnTo>
                    <a:pt x="417" y="1156"/>
                  </a:lnTo>
                  <a:lnTo>
                    <a:pt x="414" y="1156"/>
                  </a:lnTo>
                  <a:lnTo>
                    <a:pt x="410" y="1158"/>
                  </a:lnTo>
                  <a:lnTo>
                    <a:pt x="410" y="1158"/>
                  </a:lnTo>
                  <a:lnTo>
                    <a:pt x="408" y="1162"/>
                  </a:lnTo>
                  <a:lnTo>
                    <a:pt x="404" y="1166"/>
                  </a:lnTo>
                  <a:lnTo>
                    <a:pt x="402" y="1172"/>
                  </a:lnTo>
                  <a:lnTo>
                    <a:pt x="400" y="1175"/>
                  </a:lnTo>
                  <a:lnTo>
                    <a:pt x="396" y="1181"/>
                  </a:lnTo>
                  <a:lnTo>
                    <a:pt x="391" y="1185"/>
                  </a:lnTo>
                  <a:lnTo>
                    <a:pt x="385" y="1187"/>
                  </a:lnTo>
                  <a:lnTo>
                    <a:pt x="376" y="1189"/>
                  </a:lnTo>
                  <a:lnTo>
                    <a:pt x="376" y="1189"/>
                  </a:lnTo>
                  <a:lnTo>
                    <a:pt x="370" y="1187"/>
                  </a:lnTo>
                  <a:lnTo>
                    <a:pt x="364" y="1185"/>
                  </a:lnTo>
                  <a:lnTo>
                    <a:pt x="358" y="1183"/>
                  </a:lnTo>
                  <a:lnTo>
                    <a:pt x="355" y="1179"/>
                  </a:lnTo>
                  <a:lnTo>
                    <a:pt x="351" y="1177"/>
                  </a:lnTo>
                  <a:lnTo>
                    <a:pt x="347" y="1175"/>
                  </a:lnTo>
                  <a:lnTo>
                    <a:pt x="343" y="1173"/>
                  </a:lnTo>
                  <a:lnTo>
                    <a:pt x="339" y="1173"/>
                  </a:lnTo>
                  <a:lnTo>
                    <a:pt x="339" y="1173"/>
                  </a:lnTo>
                  <a:lnTo>
                    <a:pt x="335" y="1173"/>
                  </a:lnTo>
                  <a:lnTo>
                    <a:pt x="332" y="1173"/>
                  </a:lnTo>
                  <a:lnTo>
                    <a:pt x="328" y="1175"/>
                  </a:lnTo>
                  <a:lnTo>
                    <a:pt x="324" y="1175"/>
                  </a:lnTo>
                  <a:lnTo>
                    <a:pt x="320" y="1177"/>
                  </a:lnTo>
                  <a:lnTo>
                    <a:pt x="316" y="1179"/>
                  </a:lnTo>
                  <a:lnTo>
                    <a:pt x="313" y="1183"/>
                  </a:lnTo>
                  <a:lnTo>
                    <a:pt x="311" y="1185"/>
                  </a:lnTo>
                  <a:lnTo>
                    <a:pt x="311" y="1185"/>
                  </a:lnTo>
                  <a:lnTo>
                    <a:pt x="307" y="1181"/>
                  </a:lnTo>
                  <a:lnTo>
                    <a:pt x="305" y="1177"/>
                  </a:lnTo>
                  <a:lnTo>
                    <a:pt x="303" y="1172"/>
                  </a:lnTo>
                  <a:lnTo>
                    <a:pt x="301" y="1168"/>
                  </a:lnTo>
                  <a:lnTo>
                    <a:pt x="299" y="1162"/>
                  </a:lnTo>
                  <a:lnTo>
                    <a:pt x="297" y="1158"/>
                  </a:lnTo>
                  <a:lnTo>
                    <a:pt x="295" y="1152"/>
                  </a:lnTo>
                  <a:lnTo>
                    <a:pt x="293" y="1149"/>
                  </a:lnTo>
                  <a:lnTo>
                    <a:pt x="292" y="1143"/>
                  </a:lnTo>
                  <a:lnTo>
                    <a:pt x="290" y="1139"/>
                  </a:lnTo>
                  <a:lnTo>
                    <a:pt x="286" y="1133"/>
                  </a:lnTo>
                  <a:lnTo>
                    <a:pt x="284" y="1130"/>
                  </a:lnTo>
                  <a:lnTo>
                    <a:pt x="280" y="1126"/>
                  </a:lnTo>
                  <a:lnTo>
                    <a:pt x="276" y="1122"/>
                  </a:lnTo>
                  <a:lnTo>
                    <a:pt x="271" y="1118"/>
                  </a:lnTo>
                  <a:lnTo>
                    <a:pt x="265" y="1116"/>
                  </a:lnTo>
                  <a:lnTo>
                    <a:pt x="265" y="1116"/>
                  </a:lnTo>
                  <a:lnTo>
                    <a:pt x="267" y="1114"/>
                  </a:lnTo>
                  <a:lnTo>
                    <a:pt x="271" y="1112"/>
                  </a:lnTo>
                  <a:lnTo>
                    <a:pt x="273" y="1110"/>
                  </a:lnTo>
                  <a:lnTo>
                    <a:pt x="276" y="1110"/>
                  </a:lnTo>
                  <a:lnTo>
                    <a:pt x="278" y="1109"/>
                  </a:lnTo>
                  <a:lnTo>
                    <a:pt x="278" y="1107"/>
                  </a:lnTo>
                  <a:lnTo>
                    <a:pt x="280" y="1103"/>
                  </a:lnTo>
                  <a:lnTo>
                    <a:pt x="280" y="1099"/>
                  </a:lnTo>
                  <a:lnTo>
                    <a:pt x="280" y="1099"/>
                  </a:lnTo>
                  <a:lnTo>
                    <a:pt x="280" y="1099"/>
                  </a:lnTo>
                  <a:lnTo>
                    <a:pt x="278" y="1095"/>
                  </a:lnTo>
                  <a:lnTo>
                    <a:pt x="276" y="1090"/>
                  </a:lnTo>
                  <a:lnTo>
                    <a:pt x="274" y="1084"/>
                  </a:lnTo>
                  <a:lnTo>
                    <a:pt x="271" y="1076"/>
                  </a:lnTo>
                  <a:lnTo>
                    <a:pt x="267" y="1067"/>
                  </a:lnTo>
                  <a:lnTo>
                    <a:pt x="263" y="1057"/>
                  </a:lnTo>
                  <a:lnTo>
                    <a:pt x="257" y="1048"/>
                  </a:lnTo>
                  <a:lnTo>
                    <a:pt x="253" y="1038"/>
                  </a:lnTo>
                  <a:lnTo>
                    <a:pt x="250" y="1028"/>
                  </a:lnTo>
                  <a:lnTo>
                    <a:pt x="246" y="1019"/>
                  </a:lnTo>
                  <a:lnTo>
                    <a:pt x="240" y="1011"/>
                  </a:lnTo>
                  <a:lnTo>
                    <a:pt x="238" y="1006"/>
                  </a:lnTo>
                  <a:lnTo>
                    <a:pt x="234" y="1000"/>
                  </a:lnTo>
                  <a:lnTo>
                    <a:pt x="232" y="996"/>
                  </a:lnTo>
                  <a:lnTo>
                    <a:pt x="231" y="996"/>
                  </a:lnTo>
                  <a:lnTo>
                    <a:pt x="231" y="996"/>
                  </a:lnTo>
                  <a:lnTo>
                    <a:pt x="225" y="996"/>
                  </a:lnTo>
                  <a:lnTo>
                    <a:pt x="219" y="1000"/>
                  </a:lnTo>
                  <a:lnTo>
                    <a:pt x="213" y="1006"/>
                  </a:lnTo>
                  <a:lnTo>
                    <a:pt x="210" y="1013"/>
                  </a:lnTo>
                  <a:lnTo>
                    <a:pt x="204" y="1019"/>
                  </a:lnTo>
                  <a:lnTo>
                    <a:pt x="196" y="1025"/>
                  </a:lnTo>
                  <a:lnTo>
                    <a:pt x="189" y="1028"/>
                  </a:lnTo>
                  <a:lnTo>
                    <a:pt x="181" y="1030"/>
                  </a:lnTo>
                  <a:lnTo>
                    <a:pt x="181" y="1030"/>
                  </a:lnTo>
                  <a:lnTo>
                    <a:pt x="175" y="1030"/>
                  </a:lnTo>
                  <a:lnTo>
                    <a:pt x="171" y="1028"/>
                  </a:lnTo>
                  <a:lnTo>
                    <a:pt x="168" y="1027"/>
                  </a:lnTo>
                  <a:lnTo>
                    <a:pt x="164" y="1025"/>
                  </a:lnTo>
                  <a:lnTo>
                    <a:pt x="160" y="1021"/>
                  </a:lnTo>
                  <a:lnTo>
                    <a:pt x="156" y="1019"/>
                  </a:lnTo>
                  <a:lnTo>
                    <a:pt x="152" y="1017"/>
                  </a:lnTo>
                  <a:lnTo>
                    <a:pt x="147" y="1017"/>
                  </a:lnTo>
                  <a:lnTo>
                    <a:pt x="147" y="1017"/>
                  </a:lnTo>
                  <a:lnTo>
                    <a:pt x="143" y="1017"/>
                  </a:lnTo>
                  <a:lnTo>
                    <a:pt x="141" y="1019"/>
                  </a:lnTo>
                  <a:lnTo>
                    <a:pt x="137" y="1023"/>
                  </a:lnTo>
                  <a:lnTo>
                    <a:pt x="135" y="1025"/>
                  </a:lnTo>
                  <a:lnTo>
                    <a:pt x="133" y="1028"/>
                  </a:lnTo>
                  <a:lnTo>
                    <a:pt x="129" y="1030"/>
                  </a:lnTo>
                  <a:lnTo>
                    <a:pt x="126" y="1034"/>
                  </a:lnTo>
                  <a:lnTo>
                    <a:pt x="122" y="1034"/>
                  </a:lnTo>
                  <a:lnTo>
                    <a:pt x="122" y="1034"/>
                  </a:lnTo>
                  <a:lnTo>
                    <a:pt x="118" y="1034"/>
                  </a:lnTo>
                  <a:lnTo>
                    <a:pt x="114" y="1032"/>
                  </a:lnTo>
                  <a:lnTo>
                    <a:pt x="108" y="1030"/>
                  </a:lnTo>
                  <a:lnTo>
                    <a:pt x="107" y="1027"/>
                  </a:lnTo>
                  <a:lnTo>
                    <a:pt x="103" y="1025"/>
                  </a:lnTo>
                  <a:lnTo>
                    <a:pt x="99" y="1021"/>
                  </a:lnTo>
                  <a:lnTo>
                    <a:pt x="97" y="1017"/>
                  </a:lnTo>
                  <a:lnTo>
                    <a:pt x="93" y="1013"/>
                  </a:lnTo>
                  <a:lnTo>
                    <a:pt x="93" y="1013"/>
                  </a:lnTo>
                  <a:lnTo>
                    <a:pt x="91" y="1015"/>
                  </a:lnTo>
                  <a:lnTo>
                    <a:pt x="87" y="1017"/>
                  </a:lnTo>
                  <a:lnTo>
                    <a:pt x="86" y="1017"/>
                  </a:lnTo>
                  <a:lnTo>
                    <a:pt x="84" y="1019"/>
                  </a:lnTo>
                  <a:lnTo>
                    <a:pt x="80" y="1021"/>
                  </a:lnTo>
                  <a:lnTo>
                    <a:pt x="78" y="1021"/>
                  </a:lnTo>
                  <a:lnTo>
                    <a:pt x="74" y="1023"/>
                  </a:lnTo>
                  <a:lnTo>
                    <a:pt x="70" y="1023"/>
                  </a:lnTo>
                  <a:lnTo>
                    <a:pt x="70" y="1023"/>
                  </a:lnTo>
                  <a:lnTo>
                    <a:pt x="66" y="1023"/>
                  </a:lnTo>
                  <a:lnTo>
                    <a:pt x="63" y="1021"/>
                  </a:lnTo>
                  <a:lnTo>
                    <a:pt x="61" y="1019"/>
                  </a:lnTo>
                  <a:lnTo>
                    <a:pt x="59" y="1015"/>
                  </a:lnTo>
                  <a:lnTo>
                    <a:pt x="57" y="1013"/>
                  </a:lnTo>
                  <a:lnTo>
                    <a:pt x="57" y="1011"/>
                  </a:lnTo>
                  <a:lnTo>
                    <a:pt x="57" y="1009"/>
                  </a:lnTo>
                  <a:lnTo>
                    <a:pt x="57" y="1007"/>
                  </a:lnTo>
                  <a:lnTo>
                    <a:pt x="57" y="1007"/>
                  </a:lnTo>
                  <a:lnTo>
                    <a:pt x="55" y="1006"/>
                  </a:lnTo>
                  <a:lnTo>
                    <a:pt x="55" y="1006"/>
                  </a:lnTo>
                  <a:lnTo>
                    <a:pt x="55" y="1004"/>
                  </a:lnTo>
                  <a:lnTo>
                    <a:pt x="53" y="1002"/>
                  </a:lnTo>
                  <a:lnTo>
                    <a:pt x="53" y="1002"/>
                  </a:lnTo>
                  <a:lnTo>
                    <a:pt x="53" y="1000"/>
                  </a:lnTo>
                  <a:lnTo>
                    <a:pt x="55" y="998"/>
                  </a:lnTo>
                  <a:lnTo>
                    <a:pt x="57" y="994"/>
                  </a:lnTo>
                  <a:lnTo>
                    <a:pt x="57" y="994"/>
                  </a:lnTo>
                  <a:lnTo>
                    <a:pt x="55" y="992"/>
                  </a:lnTo>
                  <a:lnTo>
                    <a:pt x="55" y="988"/>
                  </a:lnTo>
                  <a:lnTo>
                    <a:pt x="55" y="985"/>
                  </a:lnTo>
                  <a:lnTo>
                    <a:pt x="59" y="979"/>
                  </a:lnTo>
                  <a:lnTo>
                    <a:pt x="61" y="975"/>
                  </a:lnTo>
                  <a:lnTo>
                    <a:pt x="63" y="969"/>
                  </a:lnTo>
                  <a:lnTo>
                    <a:pt x="65" y="964"/>
                  </a:lnTo>
                  <a:lnTo>
                    <a:pt x="65" y="960"/>
                  </a:lnTo>
                  <a:lnTo>
                    <a:pt x="65" y="960"/>
                  </a:lnTo>
                  <a:lnTo>
                    <a:pt x="65" y="954"/>
                  </a:lnTo>
                  <a:lnTo>
                    <a:pt x="63" y="948"/>
                  </a:lnTo>
                  <a:lnTo>
                    <a:pt x="61" y="943"/>
                  </a:lnTo>
                  <a:lnTo>
                    <a:pt x="57" y="937"/>
                  </a:lnTo>
                  <a:lnTo>
                    <a:pt x="53" y="933"/>
                  </a:lnTo>
                  <a:lnTo>
                    <a:pt x="49" y="929"/>
                  </a:lnTo>
                  <a:lnTo>
                    <a:pt x="46" y="925"/>
                  </a:lnTo>
                  <a:lnTo>
                    <a:pt x="42" y="922"/>
                  </a:lnTo>
                  <a:lnTo>
                    <a:pt x="36" y="918"/>
                  </a:lnTo>
                  <a:lnTo>
                    <a:pt x="32" y="914"/>
                  </a:lnTo>
                  <a:lnTo>
                    <a:pt x="28" y="910"/>
                  </a:lnTo>
                  <a:lnTo>
                    <a:pt x="25" y="906"/>
                  </a:lnTo>
                  <a:lnTo>
                    <a:pt x="23" y="903"/>
                  </a:lnTo>
                  <a:lnTo>
                    <a:pt x="19" y="897"/>
                  </a:lnTo>
                  <a:lnTo>
                    <a:pt x="19" y="893"/>
                  </a:lnTo>
                  <a:lnTo>
                    <a:pt x="17" y="889"/>
                  </a:lnTo>
                  <a:lnTo>
                    <a:pt x="17" y="889"/>
                  </a:lnTo>
                  <a:lnTo>
                    <a:pt x="19" y="887"/>
                  </a:lnTo>
                  <a:lnTo>
                    <a:pt x="19" y="883"/>
                  </a:lnTo>
                  <a:lnTo>
                    <a:pt x="21" y="880"/>
                  </a:lnTo>
                  <a:lnTo>
                    <a:pt x="23" y="874"/>
                  </a:lnTo>
                  <a:lnTo>
                    <a:pt x="25" y="870"/>
                  </a:lnTo>
                  <a:lnTo>
                    <a:pt x="25" y="864"/>
                  </a:lnTo>
                  <a:lnTo>
                    <a:pt x="26" y="861"/>
                  </a:lnTo>
                  <a:lnTo>
                    <a:pt x="26" y="857"/>
                  </a:lnTo>
                  <a:lnTo>
                    <a:pt x="26" y="857"/>
                  </a:lnTo>
                  <a:lnTo>
                    <a:pt x="26" y="853"/>
                  </a:lnTo>
                  <a:lnTo>
                    <a:pt x="25" y="849"/>
                  </a:lnTo>
                  <a:lnTo>
                    <a:pt x="23" y="847"/>
                  </a:lnTo>
                  <a:lnTo>
                    <a:pt x="21" y="843"/>
                  </a:lnTo>
                  <a:lnTo>
                    <a:pt x="17" y="840"/>
                  </a:lnTo>
                  <a:lnTo>
                    <a:pt x="15" y="838"/>
                  </a:lnTo>
                  <a:lnTo>
                    <a:pt x="13" y="834"/>
                  </a:lnTo>
                  <a:lnTo>
                    <a:pt x="11" y="830"/>
                  </a:lnTo>
                  <a:lnTo>
                    <a:pt x="11" y="830"/>
                  </a:lnTo>
                  <a:lnTo>
                    <a:pt x="9" y="826"/>
                  </a:lnTo>
                  <a:lnTo>
                    <a:pt x="9" y="822"/>
                  </a:lnTo>
                  <a:lnTo>
                    <a:pt x="7" y="819"/>
                  </a:lnTo>
                  <a:lnTo>
                    <a:pt x="5" y="815"/>
                  </a:lnTo>
                  <a:lnTo>
                    <a:pt x="5" y="811"/>
                  </a:lnTo>
                  <a:lnTo>
                    <a:pt x="4" y="807"/>
                  </a:lnTo>
                  <a:lnTo>
                    <a:pt x="2" y="803"/>
                  </a:lnTo>
                  <a:lnTo>
                    <a:pt x="0" y="800"/>
                  </a:lnTo>
                  <a:lnTo>
                    <a:pt x="0" y="800"/>
                  </a:lnTo>
                  <a:lnTo>
                    <a:pt x="0" y="800"/>
                  </a:lnTo>
                  <a:lnTo>
                    <a:pt x="5" y="800"/>
                  </a:lnTo>
                  <a:lnTo>
                    <a:pt x="11" y="800"/>
                  </a:lnTo>
                  <a:lnTo>
                    <a:pt x="19" y="798"/>
                  </a:lnTo>
                  <a:lnTo>
                    <a:pt x="26" y="796"/>
                  </a:lnTo>
                  <a:lnTo>
                    <a:pt x="34" y="794"/>
                  </a:lnTo>
                  <a:lnTo>
                    <a:pt x="40" y="790"/>
                  </a:lnTo>
                  <a:lnTo>
                    <a:pt x="44" y="786"/>
                  </a:lnTo>
                  <a:lnTo>
                    <a:pt x="47" y="780"/>
                  </a:lnTo>
                  <a:lnTo>
                    <a:pt x="47" y="780"/>
                  </a:lnTo>
                  <a:lnTo>
                    <a:pt x="49" y="773"/>
                  </a:lnTo>
                  <a:lnTo>
                    <a:pt x="49" y="763"/>
                  </a:lnTo>
                  <a:lnTo>
                    <a:pt x="51" y="756"/>
                  </a:lnTo>
                  <a:lnTo>
                    <a:pt x="55" y="746"/>
                  </a:lnTo>
                  <a:lnTo>
                    <a:pt x="57" y="740"/>
                  </a:lnTo>
                  <a:lnTo>
                    <a:pt x="63" y="735"/>
                  </a:lnTo>
                  <a:lnTo>
                    <a:pt x="70" y="731"/>
                  </a:lnTo>
                  <a:lnTo>
                    <a:pt x="80" y="729"/>
                  </a:lnTo>
                  <a:lnTo>
                    <a:pt x="80" y="729"/>
                  </a:lnTo>
                  <a:lnTo>
                    <a:pt x="87" y="731"/>
                  </a:lnTo>
                  <a:lnTo>
                    <a:pt x="93" y="735"/>
                  </a:lnTo>
                  <a:lnTo>
                    <a:pt x="97" y="738"/>
                  </a:lnTo>
                  <a:lnTo>
                    <a:pt x="103" y="746"/>
                  </a:lnTo>
                  <a:lnTo>
                    <a:pt x="107" y="752"/>
                  </a:lnTo>
                  <a:lnTo>
                    <a:pt x="110" y="758"/>
                  </a:lnTo>
                  <a:lnTo>
                    <a:pt x="116" y="763"/>
                  </a:lnTo>
                  <a:lnTo>
                    <a:pt x="122" y="769"/>
                  </a:lnTo>
                  <a:lnTo>
                    <a:pt x="122" y="769"/>
                  </a:lnTo>
                  <a:lnTo>
                    <a:pt x="124" y="765"/>
                  </a:lnTo>
                  <a:lnTo>
                    <a:pt x="126" y="763"/>
                  </a:lnTo>
                  <a:lnTo>
                    <a:pt x="129" y="759"/>
                  </a:lnTo>
                  <a:lnTo>
                    <a:pt x="131" y="758"/>
                  </a:lnTo>
                  <a:lnTo>
                    <a:pt x="135" y="754"/>
                  </a:lnTo>
                  <a:lnTo>
                    <a:pt x="139" y="752"/>
                  </a:lnTo>
                  <a:lnTo>
                    <a:pt x="143" y="752"/>
                  </a:lnTo>
                  <a:lnTo>
                    <a:pt x="147" y="750"/>
                  </a:lnTo>
                  <a:lnTo>
                    <a:pt x="147" y="750"/>
                  </a:lnTo>
                  <a:lnTo>
                    <a:pt x="154" y="752"/>
                  </a:lnTo>
                  <a:lnTo>
                    <a:pt x="160" y="752"/>
                  </a:lnTo>
                  <a:lnTo>
                    <a:pt x="164" y="754"/>
                  </a:lnTo>
                  <a:lnTo>
                    <a:pt x="169" y="756"/>
                  </a:lnTo>
                  <a:lnTo>
                    <a:pt x="175" y="756"/>
                  </a:lnTo>
                  <a:lnTo>
                    <a:pt x="181" y="758"/>
                  </a:lnTo>
                  <a:lnTo>
                    <a:pt x="187" y="759"/>
                  </a:lnTo>
                  <a:lnTo>
                    <a:pt x="194" y="759"/>
                  </a:lnTo>
                  <a:lnTo>
                    <a:pt x="194" y="759"/>
                  </a:lnTo>
                  <a:lnTo>
                    <a:pt x="202" y="759"/>
                  </a:lnTo>
                  <a:lnTo>
                    <a:pt x="210" y="759"/>
                  </a:lnTo>
                  <a:lnTo>
                    <a:pt x="215" y="759"/>
                  </a:lnTo>
                  <a:lnTo>
                    <a:pt x="221" y="758"/>
                  </a:lnTo>
                  <a:lnTo>
                    <a:pt x="227" y="756"/>
                  </a:lnTo>
                  <a:lnTo>
                    <a:pt x="231" y="752"/>
                  </a:lnTo>
                  <a:lnTo>
                    <a:pt x="234" y="746"/>
                  </a:lnTo>
                  <a:lnTo>
                    <a:pt x="236" y="738"/>
                  </a:lnTo>
                  <a:lnTo>
                    <a:pt x="236" y="738"/>
                  </a:lnTo>
                  <a:lnTo>
                    <a:pt x="238" y="738"/>
                  </a:lnTo>
                  <a:lnTo>
                    <a:pt x="238" y="740"/>
                  </a:lnTo>
                  <a:lnTo>
                    <a:pt x="240" y="742"/>
                  </a:lnTo>
                  <a:lnTo>
                    <a:pt x="242" y="744"/>
                  </a:lnTo>
                  <a:lnTo>
                    <a:pt x="244" y="746"/>
                  </a:lnTo>
                  <a:lnTo>
                    <a:pt x="246" y="746"/>
                  </a:lnTo>
                  <a:lnTo>
                    <a:pt x="246" y="750"/>
                  </a:lnTo>
                  <a:lnTo>
                    <a:pt x="248" y="750"/>
                  </a:lnTo>
                  <a:lnTo>
                    <a:pt x="528" y="765"/>
                  </a:lnTo>
                  <a:lnTo>
                    <a:pt x="547" y="700"/>
                  </a:lnTo>
                  <a:lnTo>
                    <a:pt x="524" y="679"/>
                  </a:lnTo>
                  <a:lnTo>
                    <a:pt x="534" y="0"/>
                  </a:lnTo>
                  <a:lnTo>
                    <a:pt x="664" y="0"/>
                  </a:lnTo>
                  <a:lnTo>
                    <a:pt x="658" y="0"/>
                  </a:lnTo>
                  <a:lnTo>
                    <a:pt x="1034" y="315"/>
                  </a:lnTo>
                  <a:lnTo>
                    <a:pt x="1034" y="315"/>
                  </a:lnTo>
                  <a:lnTo>
                    <a:pt x="1036" y="321"/>
                  </a:lnTo>
                  <a:lnTo>
                    <a:pt x="1039" y="325"/>
                  </a:lnTo>
                  <a:lnTo>
                    <a:pt x="1043" y="326"/>
                  </a:lnTo>
                  <a:lnTo>
                    <a:pt x="1049" y="328"/>
                  </a:lnTo>
                  <a:lnTo>
                    <a:pt x="1053" y="330"/>
                  </a:lnTo>
                  <a:lnTo>
                    <a:pt x="1058" y="332"/>
                  </a:lnTo>
                  <a:lnTo>
                    <a:pt x="1062" y="334"/>
                  </a:lnTo>
                  <a:lnTo>
                    <a:pt x="1066" y="340"/>
                  </a:lnTo>
                  <a:lnTo>
                    <a:pt x="1066" y="340"/>
                  </a:lnTo>
                  <a:lnTo>
                    <a:pt x="1068" y="345"/>
                  </a:lnTo>
                  <a:lnTo>
                    <a:pt x="1068" y="349"/>
                  </a:lnTo>
                  <a:lnTo>
                    <a:pt x="1068" y="355"/>
                  </a:lnTo>
                  <a:lnTo>
                    <a:pt x="1068" y="359"/>
                  </a:lnTo>
                  <a:lnTo>
                    <a:pt x="1066" y="363"/>
                  </a:lnTo>
                  <a:lnTo>
                    <a:pt x="1068" y="368"/>
                  </a:lnTo>
                  <a:lnTo>
                    <a:pt x="1068" y="372"/>
                  </a:lnTo>
                  <a:lnTo>
                    <a:pt x="1072" y="374"/>
                  </a:lnTo>
                  <a:lnTo>
                    <a:pt x="1072" y="374"/>
                  </a:lnTo>
                  <a:lnTo>
                    <a:pt x="1074" y="376"/>
                  </a:lnTo>
                  <a:lnTo>
                    <a:pt x="1076" y="378"/>
                  </a:lnTo>
                  <a:lnTo>
                    <a:pt x="1079" y="378"/>
                  </a:lnTo>
                  <a:lnTo>
                    <a:pt x="1081" y="380"/>
                  </a:lnTo>
                  <a:lnTo>
                    <a:pt x="1085" y="380"/>
                  </a:lnTo>
                  <a:lnTo>
                    <a:pt x="1089" y="380"/>
                  </a:lnTo>
                  <a:lnTo>
                    <a:pt x="1093" y="382"/>
                  </a:lnTo>
                  <a:lnTo>
                    <a:pt x="1097" y="382"/>
                  </a:lnTo>
                  <a:lnTo>
                    <a:pt x="1097" y="382"/>
                  </a:lnTo>
                  <a:lnTo>
                    <a:pt x="1098" y="391"/>
                  </a:lnTo>
                  <a:lnTo>
                    <a:pt x="1102" y="399"/>
                  </a:lnTo>
                  <a:lnTo>
                    <a:pt x="1110" y="407"/>
                  </a:lnTo>
                  <a:lnTo>
                    <a:pt x="1118" y="412"/>
                  </a:lnTo>
                  <a:lnTo>
                    <a:pt x="1127" y="416"/>
                  </a:lnTo>
                  <a:lnTo>
                    <a:pt x="1137" y="420"/>
                  </a:lnTo>
                  <a:lnTo>
                    <a:pt x="1148" y="424"/>
                  </a:lnTo>
                  <a:lnTo>
                    <a:pt x="1158" y="426"/>
                  </a:lnTo>
                  <a:lnTo>
                    <a:pt x="1169" y="429"/>
                  </a:lnTo>
                  <a:lnTo>
                    <a:pt x="1179" y="433"/>
                  </a:lnTo>
                  <a:lnTo>
                    <a:pt x="1188" y="437"/>
                  </a:lnTo>
                  <a:lnTo>
                    <a:pt x="1196" y="443"/>
                  </a:lnTo>
                  <a:lnTo>
                    <a:pt x="1203" y="449"/>
                  </a:lnTo>
                  <a:lnTo>
                    <a:pt x="1209" y="458"/>
                  </a:lnTo>
                  <a:lnTo>
                    <a:pt x="1213" y="468"/>
                  </a:lnTo>
                  <a:lnTo>
                    <a:pt x="1215" y="481"/>
                  </a:lnTo>
                  <a:lnTo>
                    <a:pt x="1215" y="481"/>
                  </a:lnTo>
                  <a:lnTo>
                    <a:pt x="1213" y="485"/>
                  </a:lnTo>
                  <a:lnTo>
                    <a:pt x="1213" y="487"/>
                  </a:lnTo>
                  <a:lnTo>
                    <a:pt x="1211" y="489"/>
                  </a:lnTo>
                  <a:lnTo>
                    <a:pt x="1209" y="489"/>
                  </a:lnTo>
                  <a:lnTo>
                    <a:pt x="1207" y="490"/>
                  </a:lnTo>
                  <a:lnTo>
                    <a:pt x="1205" y="492"/>
                  </a:lnTo>
                  <a:lnTo>
                    <a:pt x="1205" y="496"/>
                  </a:lnTo>
                  <a:lnTo>
                    <a:pt x="1205" y="498"/>
                  </a:lnTo>
                  <a:lnTo>
                    <a:pt x="1205" y="498"/>
                  </a:lnTo>
                  <a:lnTo>
                    <a:pt x="1205" y="502"/>
                  </a:lnTo>
                  <a:lnTo>
                    <a:pt x="1205" y="504"/>
                  </a:lnTo>
                  <a:lnTo>
                    <a:pt x="1207" y="506"/>
                  </a:lnTo>
                  <a:lnTo>
                    <a:pt x="1209" y="508"/>
                  </a:lnTo>
                  <a:lnTo>
                    <a:pt x="1211" y="510"/>
                  </a:lnTo>
                  <a:lnTo>
                    <a:pt x="1213" y="511"/>
                  </a:lnTo>
                  <a:lnTo>
                    <a:pt x="1215" y="513"/>
                  </a:lnTo>
                  <a:lnTo>
                    <a:pt x="1217" y="517"/>
                  </a:lnTo>
                  <a:lnTo>
                    <a:pt x="1287" y="504"/>
                  </a:lnTo>
                  <a:lnTo>
                    <a:pt x="1287" y="504"/>
                  </a:lnTo>
                  <a:lnTo>
                    <a:pt x="1285" y="511"/>
                  </a:lnTo>
                  <a:lnTo>
                    <a:pt x="1283" y="519"/>
                  </a:lnTo>
                  <a:lnTo>
                    <a:pt x="1282" y="529"/>
                  </a:lnTo>
                  <a:lnTo>
                    <a:pt x="1282" y="534"/>
                  </a:lnTo>
                  <a:lnTo>
                    <a:pt x="1282" y="542"/>
                  </a:lnTo>
                  <a:lnTo>
                    <a:pt x="1282" y="550"/>
                  </a:lnTo>
                  <a:lnTo>
                    <a:pt x="1282" y="557"/>
                  </a:lnTo>
                  <a:lnTo>
                    <a:pt x="1282" y="563"/>
                  </a:lnTo>
                  <a:lnTo>
                    <a:pt x="1283" y="571"/>
                  </a:lnTo>
                  <a:lnTo>
                    <a:pt x="1283" y="578"/>
                  </a:lnTo>
                  <a:lnTo>
                    <a:pt x="1283" y="586"/>
                  </a:lnTo>
                  <a:lnTo>
                    <a:pt x="1285" y="593"/>
                  </a:lnTo>
                  <a:lnTo>
                    <a:pt x="1285" y="603"/>
                  </a:lnTo>
                  <a:lnTo>
                    <a:pt x="1287" y="611"/>
                  </a:lnTo>
                  <a:lnTo>
                    <a:pt x="1287" y="620"/>
                  </a:lnTo>
                  <a:lnTo>
                    <a:pt x="1287" y="630"/>
                  </a:lnTo>
                  <a:lnTo>
                    <a:pt x="1287" y="630"/>
                  </a:lnTo>
                  <a:lnTo>
                    <a:pt x="1287" y="645"/>
                  </a:lnTo>
                  <a:lnTo>
                    <a:pt x="1285" y="662"/>
                  </a:lnTo>
                  <a:lnTo>
                    <a:pt x="1285" y="677"/>
                  </a:lnTo>
                  <a:lnTo>
                    <a:pt x="1283" y="691"/>
                  </a:lnTo>
                  <a:lnTo>
                    <a:pt x="1282" y="704"/>
                  </a:lnTo>
                  <a:lnTo>
                    <a:pt x="1278" y="716"/>
                  </a:lnTo>
                  <a:lnTo>
                    <a:pt x="1274" y="727"/>
                  </a:lnTo>
                  <a:lnTo>
                    <a:pt x="1270" y="738"/>
                  </a:lnTo>
                  <a:lnTo>
                    <a:pt x="1264" y="748"/>
                  </a:lnTo>
                  <a:lnTo>
                    <a:pt x="1259" y="758"/>
                  </a:lnTo>
                  <a:lnTo>
                    <a:pt x="1251" y="767"/>
                  </a:lnTo>
                  <a:lnTo>
                    <a:pt x="1242" y="775"/>
                  </a:lnTo>
                  <a:lnTo>
                    <a:pt x="1234" y="782"/>
                  </a:lnTo>
                  <a:lnTo>
                    <a:pt x="1222" y="788"/>
                  </a:lnTo>
                  <a:lnTo>
                    <a:pt x="1211" y="794"/>
                  </a:lnTo>
                  <a:lnTo>
                    <a:pt x="1198" y="800"/>
                  </a:lnTo>
                  <a:lnTo>
                    <a:pt x="1133" y="800"/>
                  </a:lnTo>
                  <a:lnTo>
                    <a:pt x="1133" y="803"/>
                  </a:lnTo>
                  <a:lnTo>
                    <a:pt x="1051" y="803"/>
                  </a:lnTo>
                  <a:lnTo>
                    <a:pt x="1051" y="803"/>
                  </a:lnTo>
                  <a:lnTo>
                    <a:pt x="1047" y="807"/>
                  </a:lnTo>
                  <a:lnTo>
                    <a:pt x="1043" y="811"/>
                  </a:lnTo>
                  <a:lnTo>
                    <a:pt x="1039" y="815"/>
                  </a:lnTo>
                  <a:lnTo>
                    <a:pt x="1034" y="821"/>
                  </a:lnTo>
                  <a:lnTo>
                    <a:pt x="1028" y="826"/>
                  </a:lnTo>
                  <a:lnTo>
                    <a:pt x="1024" y="830"/>
                  </a:lnTo>
                  <a:lnTo>
                    <a:pt x="1018" y="832"/>
                  </a:lnTo>
                  <a:lnTo>
                    <a:pt x="1013" y="834"/>
                  </a:lnTo>
                  <a:lnTo>
                    <a:pt x="1013" y="834"/>
                  </a:lnTo>
                  <a:lnTo>
                    <a:pt x="1005" y="834"/>
                  </a:lnTo>
                  <a:lnTo>
                    <a:pt x="997" y="832"/>
                  </a:lnTo>
                  <a:lnTo>
                    <a:pt x="990" y="830"/>
                  </a:lnTo>
                  <a:lnTo>
                    <a:pt x="984" y="828"/>
                  </a:lnTo>
                  <a:lnTo>
                    <a:pt x="978" y="826"/>
                  </a:lnTo>
                  <a:lnTo>
                    <a:pt x="973" y="824"/>
                  </a:lnTo>
                  <a:lnTo>
                    <a:pt x="967" y="826"/>
                  </a:lnTo>
                  <a:lnTo>
                    <a:pt x="963" y="82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09" name="Freeform 53"/>
            <p:cNvSpPr>
              <a:spLocks/>
            </p:cNvSpPr>
            <p:nvPr/>
          </p:nvSpPr>
          <p:spPr bwMode="gray">
            <a:xfrm>
              <a:off x="2166" y="1335"/>
              <a:ext cx="467" cy="704"/>
            </a:xfrm>
            <a:custGeom>
              <a:avLst/>
              <a:gdLst/>
              <a:ahLst/>
              <a:cxnLst>
                <a:cxn ang="0">
                  <a:pos x="145" y="177"/>
                </a:cxn>
                <a:cxn ang="0">
                  <a:pos x="173" y="221"/>
                </a:cxn>
                <a:cxn ang="0">
                  <a:pos x="186" y="252"/>
                </a:cxn>
                <a:cxn ang="0">
                  <a:pos x="173" y="271"/>
                </a:cxn>
                <a:cxn ang="0">
                  <a:pos x="129" y="548"/>
                </a:cxn>
                <a:cxn ang="0">
                  <a:pos x="72" y="624"/>
                </a:cxn>
                <a:cxn ang="0">
                  <a:pos x="21" y="694"/>
                </a:cxn>
                <a:cxn ang="0">
                  <a:pos x="0" y="725"/>
                </a:cxn>
                <a:cxn ang="0">
                  <a:pos x="7" y="769"/>
                </a:cxn>
                <a:cxn ang="0">
                  <a:pos x="36" y="807"/>
                </a:cxn>
                <a:cxn ang="0">
                  <a:pos x="70" y="843"/>
                </a:cxn>
                <a:cxn ang="0">
                  <a:pos x="106" y="948"/>
                </a:cxn>
                <a:cxn ang="0">
                  <a:pos x="124" y="992"/>
                </a:cxn>
                <a:cxn ang="0">
                  <a:pos x="137" y="1042"/>
                </a:cxn>
                <a:cxn ang="0">
                  <a:pos x="120" y="1063"/>
                </a:cxn>
                <a:cxn ang="0">
                  <a:pos x="63" y="1068"/>
                </a:cxn>
                <a:cxn ang="0">
                  <a:pos x="42" y="1099"/>
                </a:cxn>
                <a:cxn ang="0">
                  <a:pos x="57" y="1139"/>
                </a:cxn>
                <a:cxn ang="0">
                  <a:pos x="89" y="1164"/>
                </a:cxn>
                <a:cxn ang="0">
                  <a:pos x="120" y="1194"/>
                </a:cxn>
                <a:cxn ang="0">
                  <a:pos x="146" y="1240"/>
                </a:cxn>
                <a:cxn ang="0">
                  <a:pos x="167" y="1280"/>
                </a:cxn>
                <a:cxn ang="0">
                  <a:pos x="204" y="1271"/>
                </a:cxn>
                <a:cxn ang="0">
                  <a:pos x="234" y="1259"/>
                </a:cxn>
                <a:cxn ang="0">
                  <a:pos x="249" y="1271"/>
                </a:cxn>
                <a:cxn ang="0">
                  <a:pos x="274" y="1271"/>
                </a:cxn>
                <a:cxn ang="0">
                  <a:pos x="299" y="1253"/>
                </a:cxn>
                <a:cxn ang="0">
                  <a:pos x="354" y="1246"/>
                </a:cxn>
                <a:cxn ang="0">
                  <a:pos x="406" y="1236"/>
                </a:cxn>
                <a:cxn ang="0">
                  <a:pos x="440" y="1200"/>
                </a:cxn>
                <a:cxn ang="0">
                  <a:pos x="448" y="1173"/>
                </a:cxn>
                <a:cxn ang="0">
                  <a:pos x="459" y="1164"/>
                </a:cxn>
                <a:cxn ang="0">
                  <a:pos x="543" y="1143"/>
                </a:cxn>
                <a:cxn ang="0">
                  <a:pos x="604" y="1095"/>
                </a:cxn>
                <a:cxn ang="0">
                  <a:pos x="652" y="1057"/>
                </a:cxn>
                <a:cxn ang="0">
                  <a:pos x="679" y="1017"/>
                </a:cxn>
                <a:cxn ang="0">
                  <a:pos x="717" y="1002"/>
                </a:cxn>
                <a:cxn ang="0">
                  <a:pos x="751" y="1015"/>
                </a:cxn>
                <a:cxn ang="0">
                  <a:pos x="743" y="1002"/>
                </a:cxn>
                <a:cxn ang="0">
                  <a:pos x="749" y="986"/>
                </a:cxn>
                <a:cxn ang="0">
                  <a:pos x="749" y="965"/>
                </a:cxn>
                <a:cxn ang="0">
                  <a:pos x="730" y="948"/>
                </a:cxn>
                <a:cxn ang="0">
                  <a:pos x="715" y="901"/>
                </a:cxn>
                <a:cxn ang="0">
                  <a:pos x="688" y="860"/>
                </a:cxn>
                <a:cxn ang="0">
                  <a:pos x="663" y="853"/>
                </a:cxn>
                <a:cxn ang="0">
                  <a:pos x="663" y="832"/>
                </a:cxn>
                <a:cxn ang="0">
                  <a:pos x="682" y="813"/>
                </a:cxn>
                <a:cxn ang="0">
                  <a:pos x="694" y="803"/>
                </a:cxn>
                <a:cxn ang="0">
                  <a:pos x="690" y="780"/>
                </a:cxn>
                <a:cxn ang="0">
                  <a:pos x="690" y="763"/>
                </a:cxn>
                <a:cxn ang="0">
                  <a:pos x="721" y="736"/>
                </a:cxn>
                <a:cxn ang="0">
                  <a:pos x="705" y="717"/>
                </a:cxn>
                <a:cxn ang="0">
                  <a:pos x="723" y="700"/>
                </a:cxn>
                <a:cxn ang="0">
                  <a:pos x="736" y="677"/>
                </a:cxn>
                <a:cxn ang="0">
                  <a:pos x="745" y="641"/>
                </a:cxn>
                <a:cxn ang="0">
                  <a:pos x="761" y="624"/>
                </a:cxn>
                <a:cxn ang="0">
                  <a:pos x="793" y="620"/>
                </a:cxn>
                <a:cxn ang="0">
                  <a:pos x="816" y="307"/>
                </a:cxn>
              </a:cxnLst>
              <a:rect l="0" t="0" r="r" b="b"/>
              <a:pathLst>
                <a:path w="824" h="1282">
                  <a:moveTo>
                    <a:pt x="209" y="0"/>
                  </a:moveTo>
                  <a:lnTo>
                    <a:pt x="135" y="42"/>
                  </a:lnTo>
                  <a:lnTo>
                    <a:pt x="135" y="170"/>
                  </a:lnTo>
                  <a:lnTo>
                    <a:pt x="135" y="170"/>
                  </a:lnTo>
                  <a:lnTo>
                    <a:pt x="137" y="172"/>
                  </a:lnTo>
                  <a:lnTo>
                    <a:pt x="141" y="174"/>
                  </a:lnTo>
                  <a:lnTo>
                    <a:pt x="145" y="177"/>
                  </a:lnTo>
                  <a:lnTo>
                    <a:pt x="146" y="183"/>
                  </a:lnTo>
                  <a:lnTo>
                    <a:pt x="150" y="189"/>
                  </a:lnTo>
                  <a:lnTo>
                    <a:pt x="156" y="195"/>
                  </a:lnTo>
                  <a:lnTo>
                    <a:pt x="160" y="200"/>
                  </a:lnTo>
                  <a:lnTo>
                    <a:pt x="164" y="208"/>
                  </a:lnTo>
                  <a:lnTo>
                    <a:pt x="169" y="214"/>
                  </a:lnTo>
                  <a:lnTo>
                    <a:pt x="173" y="221"/>
                  </a:lnTo>
                  <a:lnTo>
                    <a:pt x="177" y="227"/>
                  </a:lnTo>
                  <a:lnTo>
                    <a:pt x="181" y="235"/>
                  </a:lnTo>
                  <a:lnTo>
                    <a:pt x="183" y="240"/>
                  </a:lnTo>
                  <a:lnTo>
                    <a:pt x="185" y="244"/>
                  </a:lnTo>
                  <a:lnTo>
                    <a:pt x="186" y="248"/>
                  </a:lnTo>
                  <a:lnTo>
                    <a:pt x="186" y="252"/>
                  </a:lnTo>
                  <a:lnTo>
                    <a:pt x="186" y="252"/>
                  </a:lnTo>
                  <a:lnTo>
                    <a:pt x="186" y="256"/>
                  </a:lnTo>
                  <a:lnTo>
                    <a:pt x="185" y="258"/>
                  </a:lnTo>
                  <a:lnTo>
                    <a:pt x="183" y="261"/>
                  </a:lnTo>
                  <a:lnTo>
                    <a:pt x="181" y="263"/>
                  </a:lnTo>
                  <a:lnTo>
                    <a:pt x="179" y="267"/>
                  </a:lnTo>
                  <a:lnTo>
                    <a:pt x="175" y="269"/>
                  </a:lnTo>
                  <a:lnTo>
                    <a:pt x="173" y="271"/>
                  </a:lnTo>
                  <a:lnTo>
                    <a:pt x="171" y="271"/>
                  </a:lnTo>
                  <a:lnTo>
                    <a:pt x="171" y="382"/>
                  </a:lnTo>
                  <a:lnTo>
                    <a:pt x="154" y="519"/>
                  </a:lnTo>
                  <a:lnTo>
                    <a:pt x="154" y="519"/>
                  </a:lnTo>
                  <a:lnTo>
                    <a:pt x="145" y="529"/>
                  </a:lnTo>
                  <a:lnTo>
                    <a:pt x="137" y="538"/>
                  </a:lnTo>
                  <a:lnTo>
                    <a:pt x="129" y="548"/>
                  </a:lnTo>
                  <a:lnTo>
                    <a:pt x="120" y="557"/>
                  </a:lnTo>
                  <a:lnTo>
                    <a:pt x="112" y="569"/>
                  </a:lnTo>
                  <a:lnTo>
                    <a:pt x="104" y="578"/>
                  </a:lnTo>
                  <a:lnTo>
                    <a:pt x="95" y="590"/>
                  </a:lnTo>
                  <a:lnTo>
                    <a:pt x="87" y="601"/>
                  </a:lnTo>
                  <a:lnTo>
                    <a:pt x="80" y="612"/>
                  </a:lnTo>
                  <a:lnTo>
                    <a:pt x="72" y="624"/>
                  </a:lnTo>
                  <a:lnTo>
                    <a:pt x="63" y="635"/>
                  </a:lnTo>
                  <a:lnTo>
                    <a:pt x="55" y="647"/>
                  </a:lnTo>
                  <a:lnTo>
                    <a:pt x="47" y="660"/>
                  </a:lnTo>
                  <a:lnTo>
                    <a:pt x="38" y="672"/>
                  </a:lnTo>
                  <a:lnTo>
                    <a:pt x="30" y="683"/>
                  </a:lnTo>
                  <a:lnTo>
                    <a:pt x="21" y="694"/>
                  </a:lnTo>
                  <a:lnTo>
                    <a:pt x="21" y="694"/>
                  </a:lnTo>
                  <a:lnTo>
                    <a:pt x="19" y="700"/>
                  </a:lnTo>
                  <a:lnTo>
                    <a:pt x="15" y="704"/>
                  </a:lnTo>
                  <a:lnTo>
                    <a:pt x="11" y="708"/>
                  </a:lnTo>
                  <a:lnTo>
                    <a:pt x="7" y="712"/>
                  </a:lnTo>
                  <a:lnTo>
                    <a:pt x="3" y="715"/>
                  </a:lnTo>
                  <a:lnTo>
                    <a:pt x="1" y="719"/>
                  </a:lnTo>
                  <a:lnTo>
                    <a:pt x="0" y="725"/>
                  </a:lnTo>
                  <a:lnTo>
                    <a:pt x="0" y="731"/>
                  </a:lnTo>
                  <a:lnTo>
                    <a:pt x="0" y="731"/>
                  </a:lnTo>
                  <a:lnTo>
                    <a:pt x="0" y="738"/>
                  </a:lnTo>
                  <a:lnTo>
                    <a:pt x="1" y="748"/>
                  </a:lnTo>
                  <a:lnTo>
                    <a:pt x="3" y="756"/>
                  </a:lnTo>
                  <a:lnTo>
                    <a:pt x="5" y="761"/>
                  </a:lnTo>
                  <a:lnTo>
                    <a:pt x="7" y="769"/>
                  </a:lnTo>
                  <a:lnTo>
                    <a:pt x="11" y="775"/>
                  </a:lnTo>
                  <a:lnTo>
                    <a:pt x="15" y="780"/>
                  </a:lnTo>
                  <a:lnTo>
                    <a:pt x="19" y="786"/>
                  </a:lnTo>
                  <a:lnTo>
                    <a:pt x="22" y="792"/>
                  </a:lnTo>
                  <a:lnTo>
                    <a:pt x="28" y="798"/>
                  </a:lnTo>
                  <a:lnTo>
                    <a:pt x="32" y="801"/>
                  </a:lnTo>
                  <a:lnTo>
                    <a:pt x="36" y="807"/>
                  </a:lnTo>
                  <a:lnTo>
                    <a:pt x="42" y="811"/>
                  </a:lnTo>
                  <a:lnTo>
                    <a:pt x="45" y="817"/>
                  </a:lnTo>
                  <a:lnTo>
                    <a:pt x="49" y="822"/>
                  </a:lnTo>
                  <a:lnTo>
                    <a:pt x="53" y="828"/>
                  </a:lnTo>
                  <a:lnTo>
                    <a:pt x="53" y="828"/>
                  </a:lnTo>
                  <a:lnTo>
                    <a:pt x="63" y="836"/>
                  </a:lnTo>
                  <a:lnTo>
                    <a:pt x="70" y="843"/>
                  </a:lnTo>
                  <a:lnTo>
                    <a:pt x="76" y="849"/>
                  </a:lnTo>
                  <a:lnTo>
                    <a:pt x="82" y="859"/>
                  </a:lnTo>
                  <a:lnTo>
                    <a:pt x="87" y="866"/>
                  </a:lnTo>
                  <a:lnTo>
                    <a:pt x="93" y="874"/>
                  </a:lnTo>
                  <a:lnTo>
                    <a:pt x="101" y="883"/>
                  </a:lnTo>
                  <a:lnTo>
                    <a:pt x="106" y="893"/>
                  </a:lnTo>
                  <a:lnTo>
                    <a:pt x="106" y="948"/>
                  </a:lnTo>
                  <a:lnTo>
                    <a:pt x="106" y="948"/>
                  </a:lnTo>
                  <a:lnTo>
                    <a:pt x="110" y="956"/>
                  </a:lnTo>
                  <a:lnTo>
                    <a:pt x="114" y="963"/>
                  </a:lnTo>
                  <a:lnTo>
                    <a:pt x="116" y="971"/>
                  </a:lnTo>
                  <a:lnTo>
                    <a:pt x="120" y="979"/>
                  </a:lnTo>
                  <a:lnTo>
                    <a:pt x="122" y="984"/>
                  </a:lnTo>
                  <a:lnTo>
                    <a:pt x="124" y="992"/>
                  </a:lnTo>
                  <a:lnTo>
                    <a:pt x="125" y="1000"/>
                  </a:lnTo>
                  <a:lnTo>
                    <a:pt x="127" y="1007"/>
                  </a:lnTo>
                  <a:lnTo>
                    <a:pt x="129" y="1013"/>
                  </a:lnTo>
                  <a:lnTo>
                    <a:pt x="131" y="1021"/>
                  </a:lnTo>
                  <a:lnTo>
                    <a:pt x="133" y="1028"/>
                  </a:lnTo>
                  <a:lnTo>
                    <a:pt x="135" y="1034"/>
                  </a:lnTo>
                  <a:lnTo>
                    <a:pt x="137" y="1042"/>
                  </a:lnTo>
                  <a:lnTo>
                    <a:pt x="139" y="1049"/>
                  </a:lnTo>
                  <a:lnTo>
                    <a:pt x="143" y="1055"/>
                  </a:lnTo>
                  <a:lnTo>
                    <a:pt x="145" y="1063"/>
                  </a:lnTo>
                  <a:lnTo>
                    <a:pt x="145" y="1063"/>
                  </a:lnTo>
                  <a:lnTo>
                    <a:pt x="137" y="1063"/>
                  </a:lnTo>
                  <a:lnTo>
                    <a:pt x="129" y="1063"/>
                  </a:lnTo>
                  <a:lnTo>
                    <a:pt x="120" y="1063"/>
                  </a:lnTo>
                  <a:lnTo>
                    <a:pt x="112" y="1063"/>
                  </a:lnTo>
                  <a:lnTo>
                    <a:pt x="103" y="1063"/>
                  </a:lnTo>
                  <a:lnTo>
                    <a:pt x="95" y="1065"/>
                  </a:lnTo>
                  <a:lnTo>
                    <a:pt x="85" y="1065"/>
                  </a:lnTo>
                  <a:lnTo>
                    <a:pt x="78" y="1065"/>
                  </a:lnTo>
                  <a:lnTo>
                    <a:pt x="70" y="1066"/>
                  </a:lnTo>
                  <a:lnTo>
                    <a:pt x="63" y="1068"/>
                  </a:lnTo>
                  <a:lnTo>
                    <a:pt x="57" y="1070"/>
                  </a:lnTo>
                  <a:lnTo>
                    <a:pt x="51" y="1074"/>
                  </a:lnTo>
                  <a:lnTo>
                    <a:pt x="47" y="1078"/>
                  </a:lnTo>
                  <a:lnTo>
                    <a:pt x="43" y="1084"/>
                  </a:lnTo>
                  <a:lnTo>
                    <a:pt x="42" y="1091"/>
                  </a:lnTo>
                  <a:lnTo>
                    <a:pt x="42" y="1099"/>
                  </a:lnTo>
                  <a:lnTo>
                    <a:pt x="42" y="1099"/>
                  </a:lnTo>
                  <a:lnTo>
                    <a:pt x="42" y="1107"/>
                  </a:lnTo>
                  <a:lnTo>
                    <a:pt x="43" y="1114"/>
                  </a:lnTo>
                  <a:lnTo>
                    <a:pt x="45" y="1120"/>
                  </a:lnTo>
                  <a:lnTo>
                    <a:pt x="47" y="1126"/>
                  </a:lnTo>
                  <a:lnTo>
                    <a:pt x="51" y="1131"/>
                  </a:lnTo>
                  <a:lnTo>
                    <a:pt x="53" y="1135"/>
                  </a:lnTo>
                  <a:lnTo>
                    <a:pt x="57" y="1139"/>
                  </a:lnTo>
                  <a:lnTo>
                    <a:pt x="63" y="1143"/>
                  </a:lnTo>
                  <a:lnTo>
                    <a:pt x="66" y="1147"/>
                  </a:lnTo>
                  <a:lnTo>
                    <a:pt x="72" y="1150"/>
                  </a:lnTo>
                  <a:lnTo>
                    <a:pt x="76" y="1154"/>
                  </a:lnTo>
                  <a:lnTo>
                    <a:pt x="80" y="1156"/>
                  </a:lnTo>
                  <a:lnTo>
                    <a:pt x="85" y="1160"/>
                  </a:lnTo>
                  <a:lnTo>
                    <a:pt x="89" y="1164"/>
                  </a:lnTo>
                  <a:lnTo>
                    <a:pt x="95" y="1166"/>
                  </a:lnTo>
                  <a:lnTo>
                    <a:pt x="97" y="1170"/>
                  </a:lnTo>
                  <a:lnTo>
                    <a:pt x="97" y="1170"/>
                  </a:lnTo>
                  <a:lnTo>
                    <a:pt x="103" y="1175"/>
                  </a:lnTo>
                  <a:lnTo>
                    <a:pt x="108" y="1183"/>
                  </a:lnTo>
                  <a:lnTo>
                    <a:pt x="114" y="1189"/>
                  </a:lnTo>
                  <a:lnTo>
                    <a:pt x="120" y="1194"/>
                  </a:lnTo>
                  <a:lnTo>
                    <a:pt x="124" y="1200"/>
                  </a:lnTo>
                  <a:lnTo>
                    <a:pt x="127" y="1206"/>
                  </a:lnTo>
                  <a:lnTo>
                    <a:pt x="133" y="1213"/>
                  </a:lnTo>
                  <a:lnTo>
                    <a:pt x="137" y="1219"/>
                  </a:lnTo>
                  <a:lnTo>
                    <a:pt x="141" y="1227"/>
                  </a:lnTo>
                  <a:lnTo>
                    <a:pt x="145" y="1232"/>
                  </a:lnTo>
                  <a:lnTo>
                    <a:pt x="146" y="1240"/>
                  </a:lnTo>
                  <a:lnTo>
                    <a:pt x="150" y="1248"/>
                  </a:lnTo>
                  <a:lnTo>
                    <a:pt x="154" y="1255"/>
                  </a:lnTo>
                  <a:lnTo>
                    <a:pt x="156" y="1265"/>
                  </a:lnTo>
                  <a:lnTo>
                    <a:pt x="160" y="1273"/>
                  </a:lnTo>
                  <a:lnTo>
                    <a:pt x="162" y="1282"/>
                  </a:lnTo>
                  <a:lnTo>
                    <a:pt x="162" y="1282"/>
                  </a:lnTo>
                  <a:lnTo>
                    <a:pt x="167" y="1280"/>
                  </a:lnTo>
                  <a:lnTo>
                    <a:pt x="173" y="1278"/>
                  </a:lnTo>
                  <a:lnTo>
                    <a:pt x="177" y="1276"/>
                  </a:lnTo>
                  <a:lnTo>
                    <a:pt x="183" y="1274"/>
                  </a:lnTo>
                  <a:lnTo>
                    <a:pt x="188" y="1274"/>
                  </a:lnTo>
                  <a:lnTo>
                    <a:pt x="192" y="1273"/>
                  </a:lnTo>
                  <a:lnTo>
                    <a:pt x="198" y="1273"/>
                  </a:lnTo>
                  <a:lnTo>
                    <a:pt x="204" y="1271"/>
                  </a:lnTo>
                  <a:lnTo>
                    <a:pt x="207" y="1271"/>
                  </a:lnTo>
                  <a:lnTo>
                    <a:pt x="213" y="1269"/>
                  </a:lnTo>
                  <a:lnTo>
                    <a:pt x="217" y="1269"/>
                  </a:lnTo>
                  <a:lnTo>
                    <a:pt x="221" y="1267"/>
                  </a:lnTo>
                  <a:lnTo>
                    <a:pt x="227" y="1265"/>
                  </a:lnTo>
                  <a:lnTo>
                    <a:pt x="230" y="1263"/>
                  </a:lnTo>
                  <a:lnTo>
                    <a:pt x="234" y="1259"/>
                  </a:lnTo>
                  <a:lnTo>
                    <a:pt x="238" y="1255"/>
                  </a:lnTo>
                  <a:lnTo>
                    <a:pt x="238" y="1255"/>
                  </a:lnTo>
                  <a:lnTo>
                    <a:pt x="240" y="1259"/>
                  </a:lnTo>
                  <a:lnTo>
                    <a:pt x="244" y="1261"/>
                  </a:lnTo>
                  <a:lnTo>
                    <a:pt x="246" y="1265"/>
                  </a:lnTo>
                  <a:lnTo>
                    <a:pt x="248" y="1267"/>
                  </a:lnTo>
                  <a:lnTo>
                    <a:pt x="249" y="1271"/>
                  </a:lnTo>
                  <a:lnTo>
                    <a:pt x="253" y="1273"/>
                  </a:lnTo>
                  <a:lnTo>
                    <a:pt x="255" y="1273"/>
                  </a:lnTo>
                  <a:lnTo>
                    <a:pt x="259" y="1274"/>
                  </a:lnTo>
                  <a:lnTo>
                    <a:pt x="259" y="1274"/>
                  </a:lnTo>
                  <a:lnTo>
                    <a:pt x="265" y="1273"/>
                  </a:lnTo>
                  <a:lnTo>
                    <a:pt x="270" y="1273"/>
                  </a:lnTo>
                  <a:lnTo>
                    <a:pt x="274" y="1271"/>
                  </a:lnTo>
                  <a:lnTo>
                    <a:pt x="278" y="1267"/>
                  </a:lnTo>
                  <a:lnTo>
                    <a:pt x="280" y="1265"/>
                  </a:lnTo>
                  <a:lnTo>
                    <a:pt x="284" y="1261"/>
                  </a:lnTo>
                  <a:lnTo>
                    <a:pt x="288" y="1257"/>
                  </a:lnTo>
                  <a:lnTo>
                    <a:pt x="293" y="1255"/>
                  </a:lnTo>
                  <a:lnTo>
                    <a:pt x="293" y="1255"/>
                  </a:lnTo>
                  <a:lnTo>
                    <a:pt x="299" y="1253"/>
                  </a:lnTo>
                  <a:lnTo>
                    <a:pt x="309" y="1252"/>
                  </a:lnTo>
                  <a:lnTo>
                    <a:pt x="316" y="1252"/>
                  </a:lnTo>
                  <a:lnTo>
                    <a:pt x="324" y="1250"/>
                  </a:lnTo>
                  <a:lnTo>
                    <a:pt x="331" y="1248"/>
                  </a:lnTo>
                  <a:lnTo>
                    <a:pt x="339" y="1248"/>
                  </a:lnTo>
                  <a:lnTo>
                    <a:pt x="347" y="1248"/>
                  </a:lnTo>
                  <a:lnTo>
                    <a:pt x="354" y="1246"/>
                  </a:lnTo>
                  <a:lnTo>
                    <a:pt x="364" y="1246"/>
                  </a:lnTo>
                  <a:lnTo>
                    <a:pt x="372" y="1246"/>
                  </a:lnTo>
                  <a:lnTo>
                    <a:pt x="379" y="1244"/>
                  </a:lnTo>
                  <a:lnTo>
                    <a:pt x="385" y="1242"/>
                  </a:lnTo>
                  <a:lnTo>
                    <a:pt x="393" y="1240"/>
                  </a:lnTo>
                  <a:lnTo>
                    <a:pt x="400" y="1238"/>
                  </a:lnTo>
                  <a:lnTo>
                    <a:pt x="406" y="1236"/>
                  </a:lnTo>
                  <a:lnTo>
                    <a:pt x="413" y="1232"/>
                  </a:lnTo>
                  <a:lnTo>
                    <a:pt x="413" y="1232"/>
                  </a:lnTo>
                  <a:lnTo>
                    <a:pt x="421" y="1227"/>
                  </a:lnTo>
                  <a:lnTo>
                    <a:pt x="427" y="1221"/>
                  </a:lnTo>
                  <a:lnTo>
                    <a:pt x="433" y="1213"/>
                  </a:lnTo>
                  <a:lnTo>
                    <a:pt x="436" y="1208"/>
                  </a:lnTo>
                  <a:lnTo>
                    <a:pt x="440" y="1200"/>
                  </a:lnTo>
                  <a:lnTo>
                    <a:pt x="444" y="1192"/>
                  </a:lnTo>
                  <a:lnTo>
                    <a:pt x="448" y="1187"/>
                  </a:lnTo>
                  <a:lnTo>
                    <a:pt x="454" y="1179"/>
                  </a:lnTo>
                  <a:lnTo>
                    <a:pt x="454" y="1179"/>
                  </a:lnTo>
                  <a:lnTo>
                    <a:pt x="452" y="1177"/>
                  </a:lnTo>
                  <a:lnTo>
                    <a:pt x="450" y="1175"/>
                  </a:lnTo>
                  <a:lnTo>
                    <a:pt x="448" y="1173"/>
                  </a:lnTo>
                  <a:lnTo>
                    <a:pt x="448" y="1171"/>
                  </a:lnTo>
                  <a:lnTo>
                    <a:pt x="446" y="1170"/>
                  </a:lnTo>
                  <a:lnTo>
                    <a:pt x="444" y="1168"/>
                  </a:lnTo>
                  <a:lnTo>
                    <a:pt x="444" y="1166"/>
                  </a:lnTo>
                  <a:lnTo>
                    <a:pt x="442" y="1164"/>
                  </a:lnTo>
                  <a:lnTo>
                    <a:pt x="442" y="1164"/>
                  </a:lnTo>
                  <a:lnTo>
                    <a:pt x="459" y="1164"/>
                  </a:lnTo>
                  <a:lnTo>
                    <a:pt x="473" y="1162"/>
                  </a:lnTo>
                  <a:lnTo>
                    <a:pt x="488" y="1162"/>
                  </a:lnTo>
                  <a:lnTo>
                    <a:pt x="501" y="1158"/>
                  </a:lnTo>
                  <a:lnTo>
                    <a:pt x="513" y="1156"/>
                  </a:lnTo>
                  <a:lnTo>
                    <a:pt x="524" y="1152"/>
                  </a:lnTo>
                  <a:lnTo>
                    <a:pt x="534" y="1149"/>
                  </a:lnTo>
                  <a:lnTo>
                    <a:pt x="543" y="1143"/>
                  </a:lnTo>
                  <a:lnTo>
                    <a:pt x="553" y="1139"/>
                  </a:lnTo>
                  <a:lnTo>
                    <a:pt x="562" y="1133"/>
                  </a:lnTo>
                  <a:lnTo>
                    <a:pt x="570" y="1128"/>
                  </a:lnTo>
                  <a:lnTo>
                    <a:pt x="579" y="1120"/>
                  </a:lnTo>
                  <a:lnTo>
                    <a:pt x="587" y="1112"/>
                  </a:lnTo>
                  <a:lnTo>
                    <a:pt x="597" y="1105"/>
                  </a:lnTo>
                  <a:lnTo>
                    <a:pt x="604" y="1095"/>
                  </a:lnTo>
                  <a:lnTo>
                    <a:pt x="614" y="1087"/>
                  </a:lnTo>
                  <a:lnTo>
                    <a:pt x="614" y="1087"/>
                  </a:lnTo>
                  <a:lnTo>
                    <a:pt x="621" y="1082"/>
                  </a:lnTo>
                  <a:lnTo>
                    <a:pt x="629" y="1076"/>
                  </a:lnTo>
                  <a:lnTo>
                    <a:pt x="637" y="1070"/>
                  </a:lnTo>
                  <a:lnTo>
                    <a:pt x="644" y="1063"/>
                  </a:lnTo>
                  <a:lnTo>
                    <a:pt x="652" y="1057"/>
                  </a:lnTo>
                  <a:lnTo>
                    <a:pt x="656" y="1047"/>
                  </a:lnTo>
                  <a:lnTo>
                    <a:pt x="660" y="1038"/>
                  </a:lnTo>
                  <a:lnTo>
                    <a:pt x="658" y="1026"/>
                  </a:lnTo>
                  <a:lnTo>
                    <a:pt x="658" y="1026"/>
                  </a:lnTo>
                  <a:lnTo>
                    <a:pt x="665" y="1025"/>
                  </a:lnTo>
                  <a:lnTo>
                    <a:pt x="673" y="1021"/>
                  </a:lnTo>
                  <a:lnTo>
                    <a:pt x="679" y="1017"/>
                  </a:lnTo>
                  <a:lnTo>
                    <a:pt x="684" y="1013"/>
                  </a:lnTo>
                  <a:lnTo>
                    <a:pt x="690" y="1009"/>
                  </a:lnTo>
                  <a:lnTo>
                    <a:pt x="698" y="1005"/>
                  </a:lnTo>
                  <a:lnTo>
                    <a:pt x="703" y="1004"/>
                  </a:lnTo>
                  <a:lnTo>
                    <a:pt x="711" y="1002"/>
                  </a:lnTo>
                  <a:lnTo>
                    <a:pt x="711" y="1002"/>
                  </a:lnTo>
                  <a:lnTo>
                    <a:pt x="717" y="1002"/>
                  </a:lnTo>
                  <a:lnTo>
                    <a:pt x="723" y="1004"/>
                  </a:lnTo>
                  <a:lnTo>
                    <a:pt x="728" y="1005"/>
                  </a:lnTo>
                  <a:lnTo>
                    <a:pt x="734" y="1007"/>
                  </a:lnTo>
                  <a:lnTo>
                    <a:pt x="740" y="1011"/>
                  </a:lnTo>
                  <a:lnTo>
                    <a:pt x="743" y="1013"/>
                  </a:lnTo>
                  <a:lnTo>
                    <a:pt x="747" y="1015"/>
                  </a:lnTo>
                  <a:lnTo>
                    <a:pt x="751" y="1015"/>
                  </a:lnTo>
                  <a:lnTo>
                    <a:pt x="751" y="1015"/>
                  </a:lnTo>
                  <a:lnTo>
                    <a:pt x="749" y="1013"/>
                  </a:lnTo>
                  <a:lnTo>
                    <a:pt x="749" y="1011"/>
                  </a:lnTo>
                  <a:lnTo>
                    <a:pt x="747" y="1009"/>
                  </a:lnTo>
                  <a:lnTo>
                    <a:pt x="745" y="1005"/>
                  </a:lnTo>
                  <a:lnTo>
                    <a:pt x="745" y="1004"/>
                  </a:lnTo>
                  <a:lnTo>
                    <a:pt x="743" y="1002"/>
                  </a:lnTo>
                  <a:lnTo>
                    <a:pt x="743" y="998"/>
                  </a:lnTo>
                  <a:lnTo>
                    <a:pt x="743" y="996"/>
                  </a:lnTo>
                  <a:lnTo>
                    <a:pt x="743" y="996"/>
                  </a:lnTo>
                  <a:lnTo>
                    <a:pt x="743" y="994"/>
                  </a:lnTo>
                  <a:lnTo>
                    <a:pt x="745" y="992"/>
                  </a:lnTo>
                  <a:lnTo>
                    <a:pt x="747" y="990"/>
                  </a:lnTo>
                  <a:lnTo>
                    <a:pt x="749" y="986"/>
                  </a:lnTo>
                  <a:lnTo>
                    <a:pt x="749" y="986"/>
                  </a:lnTo>
                  <a:lnTo>
                    <a:pt x="751" y="983"/>
                  </a:lnTo>
                  <a:lnTo>
                    <a:pt x="753" y="981"/>
                  </a:lnTo>
                  <a:lnTo>
                    <a:pt x="753" y="979"/>
                  </a:lnTo>
                  <a:lnTo>
                    <a:pt x="753" y="979"/>
                  </a:lnTo>
                  <a:lnTo>
                    <a:pt x="753" y="971"/>
                  </a:lnTo>
                  <a:lnTo>
                    <a:pt x="749" y="965"/>
                  </a:lnTo>
                  <a:lnTo>
                    <a:pt x="747" y="962"/>
                  </a:lnTo>
                  <a:lnTo>
                    <a:pt x="743" y="960"/>
                  </a:lnTo>
                  <a:lnTo>
                    <a:pt x="740" y="956"/>
                  </a:lnTo>
                  <a:lnTo>
                    <a:pt x="736" y="954"/>
                  </a:lnTo>
                  <a:lnTo>
                    <a:pt x="732" y="952"/>
                  </a:lnTo>
                  <a:lnTo>
                    <a:pt x="730" y="948"/>
                  </a:lnTo>
                  <a:lnTo>
                    <a:pt x="730" y="948"/>
                  </a:lnTo>
                  <a:lnTo>
                    <a:pt x="726" y="944"/>
                  </a:lnTo>
                  <a:lnTo>
                    <a:pt x="724" y="937"/>
                  </a:lnTo>
                  <a:lnTo>
                    <a:pt x="723" y="931"/>
                  </a:lnTo>
                  <a:lnTo>
                    <a:pt x="721" y="923"/>
                  </a:lnTo>
                  <a:lnTo>
                    <a:pt x="719" y="916"/>
                  </a:lnTo>
                  <a:lnTo>
                    <a:pt x="717" y="908"/>
                  </a:lnTo>
                  <a:lnTo>
                    <a:pt x="715" y="901"/>
                  </a:lnTo>
                  <a:lnTo>
                    <a:pt x="713" y="893"/>
                  </a:lnTo>
                  <a:lnTo>
                    <a:pt x="711" y="887"/>
                  </a:lnTo>
                  <a:lnTo>
                    <a:pt x="709" y="880"/>
                  </a:lnTo>
                  <a:lnTo>
                    <a:pt x="705" y="874"/>
                  </a:lnTo>
                  <a:lnTo>
                    <a:pt x="700" y="868"/>
                  </a:lnTo>
                  <a:lnTo>
                    <a:pt x="696" y="862"/>
                  </a:lnTo>
                  <a:lnTo>
                    <a:pt x="688" y="860"/>
                  </a:lnTo>
                  <a:lnTo>
                    <a:pt x="681" y="859"/>
                  </a:lnTo>
                  <a:lnTo>
                    <a:pt x="673" y="857"/>
                  </a:lnTo>
                  <a:lnTo>
                    <a:pt x="673" y="857"/>
                  </a:lnTo>
                  <a:lnTo>
                    <a:pt x="669" y="857"/>
                  </a:lnTo>
                  <a:lnTo>
                    <a:pt x="667" y="857"/>
                  </a:lnTo>
                  <a:lnTo>
                    <a:pt x="665" y="855"/>
                  </a:lnTo>
                  <a:lnTo>
                    <a:pt x="663" y="853"/>
                  </a:lnTo>
                  <a:lnTo>
                    <a:pt x="661" y="851"/>
                  </a:lnTo>
                  <a:lnTo>
                    <a:pt x="661" y="849"/>
                  </a:lnTo>
                  <a:lnTo>
                    <a:pt x="661" y="845"/>
                  </a:lnTo>
                  <a:lnTo>
                    <a:pt x="661" y="843"/>
                  </a:lnTo>
                  <a:lnTo>
                    <a:pt x="661" y="843"/>
                  </a:lnTo>
                  <a:lnTo>
                    <a:pt x="661" y="838"/>
                  </a:lnTo>
                  <a:lnTo>
                    <a:pt x="663" y="832"/>
                  </a:lnTo>
                  <a:lnTo>
                    <a:pt x="667" y="828"/>
                  </a:lnTo>
                  <a:lnTo>
                    <a:pt x="669" y="824"/>
                  </a:lnTo>
                  <a:lnTo>
                    <a:pt x="673" y="820"/>
                  </a:lnTo>
                  <a:lnTo>
                    <a:pt x="679" y="817"/>
                  </a:lnTo>
                  <a:lnTo>
                    <a:pt x="681" y="815"/>
                  </a:lnTo>
                  <a:lnTo>
                    <a:pt x="684" y="813"/>
                  </a:lnTo>
                  <a:lnTo>
                    <a:pt x="682" y="813"/>
                  </a:lnTo>
                  <a:lnTo>
                    <a:pt x="682" y="813"/>
                  </a:lnTo>
                  <a:lnTo>
                    <a:pt x="684" y="813"/>
                  </a:lnTo>
                  <a:lnTo>
                    <a:pt x="688" y="811"/>
                  </a:lnTo>
                  <a:lnTo>
                    <a:pt x="688" y="809"/>
                  </a:lnTo>
                  <a:lnTo>
                    <a:pt x="690" y="807"/>
                  </a:lnTo>
                  <a:lnTo>
                    <a:pt x="692" y="805"/>
                  </a:lnTo>
                  <a:lnTo>
                    <a:pt x="694" y="803"/>
                  </a:lnTo>
                  <a:lnTo>
                    <a:pt x="694" y="799"/>
                  </a:lnTo>
                  <a:lnTo>
                    <a:pt x="694" y="798"/>
                  </a:lnTo>
                  <a:lnTo>
                    <a:pt x="694" y="798"/>
                  </a:lnTo>
                  <a:lnTo>
                    <a:pt x="694" y="794"/>
                  </a:lnTo>
                  <a:lnTo>
                    <a:pt x="692" y="790"/>
                  </a:lnTo>
                  <a:lnTo>
                    <a:pt x="690" y="784"/>
                  </a:lnTo>
                  <a:lnTo>
                    <a:pt x="690" y="780"/>
                  </a:lnTo>
                  <a:lnTo>
                    <a:pt x="688" y="778"/>
                  </a:lnTo>
                  <a:lnTo>
                    <a:pt x="686" y="775"/>
                  </a:lnTo>
                  <a:lnTo>
                    <a:pt x="684" y="771"/>
                  </a:lnTo>
                  <a:lnTo>
                    <a:pt x="682" y="769"/>
                  </a:lnTo>
                  <a:lnTo>
                    <a:pt x="682" y="769"/>
                  </a:lnTo>
                  <a:lnTo>
                    <a:pt x="686" y="765"/>
                  </a:lnTo>
                  <a:lnTo>
                    <a:pt x="690" y="763"/>
                  </a:lnTo>
                  <a:lnTo>
                    <a:pt x="698" y="759"/>
                  </a:lnTo>
                  <a:lnTo>
                    <a:pt x="703" y="756"/>
                  </a:lnTo>
                  <a:lnTo>
                    <a:pt x="709" y="750"/>
                  </a:lnTo>
                  <a:lnTo>
                    <a:pt x="715" y="746"/>
                  </a:lnTo>
                  <a:lnTo>
                    <a:pt x="719" y="740"/>
                  </a:lnTo>
                  <a:lnTo>
                    <a:pt x="721" y="736"/>
                  </a:lnTo>
                  <a:lnTo>
                    <a:pt x="721" y="736"/>
                  </a:lnTo>
                  <a:lnTo>
                    <a:pt x="719" y="735"/>
                  </a:lnTo>
                  <a:lnTo>
                    <a:pt x="719" y="731"/>
                  </a:lnTo>
                  <a:lnTo>
                    <a:pt x="715" y="729"/>
                  </a:lnTo>
                  <a:lnTo>
                    <a:pt x="713" y="727"/>
                  </a:lnTo>
                  <a:lnTo>
                    <a:pt x="711" y="723"/>
                  </a:lnTo>
                  <a:lnTo>
                    <a:pt x="707" y="721"/>
                  </a:lnTo>
                  <a:lnTo>
                    <a:pt x="705" y="717"/>
                  </a:lnTo>
                  <a:lnTo>
                    <a:pt x="705" y="714"/>
                  </a:lnTo>
                  <a:lnTo>
                    <a:pt x="705" y="714"/>
                  </a:lnTo>
                  <a:lnTo>
                    <a:pt x="705" y="710"/>
                  </a:lnTo>
                  <a:lnTo>
                    <a:pt x="705" y="708"/>
                  </a:lnTo>
                  <a:lnTo>
                    <a:pt x="705" y="706"/>
                  </a:lnTo>
                  <a:lnTo>
                    <a:pt x="705" y="704"/>
                  </a:lnTo>
                  <a:lnTo>
                    <a:pt x="723" y="700"/>
                  </a:lnTo>
                  <a:lnTo>
                    <a:pt x="723" y="700"/>
                  </a:lnTo>
                  <a:lnTo>
                    <a:pt x="726" y="698"/>
                  </a:lnTo>
                  <a:lnTo>
                    <a:pt x="728" y="694"/>
                  </a:lnTo>
                  <a:lnTo>
                    <a:pt x="730" y="691"/>
                  </a:lnTo>
                  <a:lnTo>
                    <a:pt x="732" y="687"/>
                  </a:lnTo>
                  <a:lnTo>
                    <a:pt x="734" y="683"/>
                  </a:lnTo>
                  <a:lnTo>
                    <a:pt x="736" y="677"/>
                  </a:lnTo>
                  <a:lnTo>
                    <a:pt x="738" y="674"/>
                  </a:lnTo>
                  <a:lnTo>
                    <a:pt x="740" y="668"/>
                  </a:lnTo>
                  <a:lnTo>
                    <a:pt x="742" y="662"/>
                  </a:lnTo>
                  <a:lnTo>
                    <a:pt x="743" y="656"/>
                  </a:lnTo>
                  <a:lnTo>
                    <a:pt x="743" y="653"/>
                  </a:lnTo>
                  <a:lnTo>
                    <a:pt x="745" y="647"/>
                  </a:lnTo>
                  <a:lnTo>
                    <a:pt x="745" y="641"/>
                  </a:lnTo>
                  <a:lnTo>
                    <a:pt x="747" y="635"/>
                  </a:lnTo>
                  <a:lnTo>
                    <a:pt x="747" y="632"/>
                  </a:lnTo>
                  <a:lnTo>
                    <a:pt x="747" y="626"/>
                  </a:lnTo>
                  <a:lnTo>
                    <a:pt x="747" y="626"/>
                  </a:lnTo>
                  <a:lnTo>
                    <a:pt x="751" y="626"/>
                  </a:lnTo>
                  <a:lnTo>
                    <a:pt x="757" y="624"/>
                  </a:lnTo>
                  <a:lnTo>
                    <a:pt x="761" y="624"/>
                  </a:lnTo>
                  <a:lnTo>
                    <a:pt x="764" y="622"/>
                  </a:lnTo>
                  <a:lnTo>
                    <a:pt x="770" y="622"/>
                  </a:lnTo>
                  <a:lnTo>
                    <a:pt x="774" y="622"/>
                  </a:lnTo>
                  <a:lnTo>
                    <a:pt x="778" y="620"/>
                  </a:lnTo>
                  <a:lnTo>
                    <a:pt x="784" y="620"/>
                  </a:lnTo>
                  <a:lnTo>
                    <a:pt x="787" y="620"/>
                  </a:lnTo>
                  <a:lnTo>
                    <a:pt x="793" y="620"/>
                  </a:lnTo>
                  <a:lnTo>
                    <a:pt x="797" y="618"/>
                  </a:lnTo>
                  <a:lnTo>
                    <a:pt x="803" y="618"/>
                  </a:lnTo>
                  <a:lnTo>
                    <a:pt x="806" y="618"/>
                  </a:lnTo>
                  <a:lnTo>
                    <a:pt x="812" y="618"/>
                  </a:lnTo>
                  <a:lnTo>
                    <a:pt x="818" y="618"/>
                  </a:lnTo>
                  <a:lnTo>
                    <a:pt x="824" y="618"/>
                  </a:lnTo>
                  <a:lnTo>
                    <a:pt x="816" y="307"/>
                  </a:lnTo>
                  <a:lnTo>
                    <a:pt x="209" y="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10" name="Freeform 54"/>
            <p:cNvSpPr>
              <a:spLocks/>
            </p:cNvSpPr>
            <p:nvPr/>
          </p:nvSpPr>
          <p:spPr bwMode="gray">
            <a:xfrm>
              <a:off x="1586" y="1336"/>
              <a:ext cx="686" cy="503"/>
            </a:xfrm>
            <a:custGeom>
              <a:avLst/>
              <a:gdLst/>
              <a:ahLst/>
              <a:cxnLst>
                <a:cxn ang="0">
                  <a:pos x="225" y="883"/>
                </a:cxn>
                <a:cxn ang="0">
                  <a:pos x="183" y="862"/>
                </a:cxn>
                <a:cxn ang="0">
                  <a:pos x="151" y="887"/>
                </a:cxn>
                <a:cxn ang="0">
                  <a:pos x="134" y="864"/>
                </a:cxn>
                <a:cxn ang="0">
                  <a:pos x="141" y="862"/>
                </a:cxn>
                <a:cxn ang="0">
                  <a:pos x="149" y="845"/>
                </a:cxn>
                <a:cxn ang="0">
                  <a:pos x="126" y="834"/>
                </a:cxn>
                <a:cxn ang="0">
                  <a:pos x="107" y="841"/>
                </a:cxn>
                <a:cxn ang="0">
                  <a:pos x="65" y="814"/>
                </a:cxn>
                <a:cxn ang="0">
                  <a:pos x="67" y="797"/>
                </a:cxn>
                <a:cxn ang="0">
                  <a:pos x="69" y="778"/>
                </a:cxn>
                <a:cxn ang="0">
                  <a:pos x="19" y="727"/>
                </a:cxn>
                <a:cxn ang="0">
                  <a:pos x="4" y="656"/>
                </a:cxn>
                <a:cxn ang="0">
                  <a:pos x="38" y="660"/>
                </a:cxn>
                <a:cxn ang="0">
                  <a:pos x="75" y="649"/>
                </a:cxn>
                <a:cxn ang="0">
                  <a:pos x="239" y="628"/>
                </a:cxn>
                <a:cxn ang="0">
                  <a:pos x="300" y="586"/>
                </a:cxn>
                <a:cxn ang="0">
                  <a:pos x="326" y="505"/>
                </a:cxn>
                <a:cxn ang="0">
                  <a:pos x="326" y="431"/>
                </a:cxn>
                <a:cxn ang="0">
                  <a:pos x="323" y="378"/>
                </a:cxn>
                <a:cxn ang="0">
                  <a:pos x="456" y="309"/>
                </a:cxn>
                <a:cxn ang="0">
                  <a:pos x="969" y="2"/>
                </a:cxn>
                <a:cxn ang="0">
                  <a:pos x="1013" y="15"/>
                </a:cxn>
                <a:cxn ang="0">
                  <a:pos x="1053" y="32"/>
                </a:cxn>
                <a:cxn ang="0">
                  <a:pos x="1095" y="65"/>
                </a:cxn>
                <a:cxn ang="0">
                  <a:pos x="1149" y="46"/>
                </a:cxn>
                <a:cxn ang="0">
                  <a:pos x="1170" y="173"/>
                </a:cxn>
                <a:cxn ang="0">
                  <a:pos x="1198" y="217"/>
                </a:cxn>
                <a:cxn ang="0">
                  <a:pos x="1211" y="248"/>
                </a:cxn>
                <a:cxn ang="0">
                  <a:pos x="1198" y="267"/>
                </a:cxn>
                <a:cxn ang="0">
                  <a:pos x="1154" y="544"/>
                </a:cxn>
                <a:cxn ang="0">
                  <a:pos x="1097" y="620"/>
                </a:cxn>
                <a:cxn ang="0">
                  <a:pos x="1046" y="690"/>
                </a:cxn>
                <a:cxn ang="0">
                  <a:pos x="1025" y="721"/>
                </a:cxn>
                <a:cxn ang="0">
                  <a:pos x="1032" y="757"/>
                </a:cxn>
                <a:cxn ang="0">
                  <a:pos x="1015" y="780"/>
                </a:cxn>
                <a:cxn ang="0">
                  <a:pos x="965" y="811"/>
                </a:cxn>
                <a:cxn ang="0">
                  <a:pos x="931" y="828"/>
                </a:cxn>
                <a:cxn ang="0">
                  <a:pos x="889" y="813"/>
                </a:cxn>
                <a:cxn ang="0">
                  <a:pos x="847" y="795"/>
                </a:cxn>
                <a:cxn ang="0">
                  <a:pos x="792" y="801"/>
                </a:cxn>
                <a:cxn ang="0">
                  <a:pos x="742" y="828"/>
                </a:cxn>
                <a:cxn ang="0">
                  <a:pos x="691" y="837"/>
                </a:cxn>
                <a:cxn ang="0">
                  <a:pos x="643" y="818"/>
                </a:cxn>
                <a:cxn ang="0">
                  <a:pos x="599" y="797"/>
                </a:cxn>
                <a:cxn ang="0">
                  <a:pos x="569" y="803"/>
                </a:cxn>
                <a:cxn ang="0">
                  <a:pos x="540" y="816"/>
                </a:cxn>
                <a:cxn ang="0">
                  <a:pos x="510" y="816"/>
                </a:cxn>
                <a:cxn ang="0">
                  <a:pos x="485" y="782"/>
                </a:cxn>
                <a:cxn ang="0">
                  <a:pos x="454" y="765"/>
                </a:cxn>
                <a:cxn ang="0">
                  <a:pos x="408" y="753"/>
                </a:cxn>
                <a:cxn ang="0">
                  <a:pos x="365" y="753"/>
                </a:cxn>
                <a:cxn ang="0">
                  <a:pos x="313" y="769"/>
                </a:cxn>
                <a:cxn ang="0">
                  <a:pos x="294" y="805"/>
                </a:cxn>
                <a:cxn ang="0">
                  <a:pos x="267" y="843"/>
                </a:cxn>
                <a:cxn ang="0">
                  <a:pos x="248" y="898"/>
                </a:cxn>
              </a:cxnLst>
              <a:rect l="0" t="0" r="r" b="b"/>
              <a:pathLst>
                <a:path w="1211" h="916">
                  <a:moveTo>
                    <a:pt x="252" y="908"/>
                  </a:moveTo>
                  <a:lnTo>
                    <a:pt x="256" y="916"/>
                  </a:lnTo>
                  <a:lnTo>
                    <a:pt x="256" y="916"/>
                  </a:lnTo>
                  <a:lnTo>
                    <a:pt x="248" y="910"/>
                  </a:lnTo>
                  <a:lnTo>
                    <a:pt x="242" y="902"/>
                  </a:lnTo>
                  <a:lnTo>
                    <a:pt x="233" y="895"/>
                  </a:lnTo>
                  <a:lnTo>
                    <a:pt x="225" y="883"/>
                  </a:lnTo>
                  <a:lnTo>
                    <a:pt x="216" y="874"/>
                  </a:lnTo>
                  <a:lnTo>
                    <a:pt x="208" y="866"/>
                  </a:lnTo>
                  <a:lnTo>
                    <a:pt x="199" y="860"/>
                  </a:lnTo>
                  <a:lnTo>
                    <a:pt x="193" y="858"/>
                  </a:lnTo>
                  <a:lnTo>
                    <a:pt x="193" y="858"/>
                  </a:lnTo>
                  <a:lnTo>
                    <a:pt x="189" y="860"/>
                  </a:lnTo>
                  <a:lnTo>
                    <a:pt x="183" y="862"/>
                  </a:lnTo>
                  <a:lnTo>
                    <a:pt x="176" y="866"/>
                  </a:lnTo>
                  <a:lnTo>
                    <a:pt x="168" y="872"/>
                  </a:lnTo>
                  <a:lnTo>
                    <a:pt x="162" y="876"/>
                  </a:lnTo>
                  <a:lnTo>
                    <a:pt x="157" y="879"/>
                  </a:lnTo>
                  <a:lnTo>
                    <a:pt x="153" y="883"/>
                  </a:lnTo>
                  <a:lnTo>
                    <a:pt x="151" y="887"/>
                  </a:lnTo>
                  <a:lnTo>
                    <a:pt x="151" y="887"/>
                  </a:lnTo>
                  <a:lnTo>
                    <a:pt x="147" y="885"/>
                  </a:lnTo>
                  <a:lnTo>
                    <a:pt x="143" y="883"/>
                  </a:lnTo>
                  <a:lnTo>
                    <a:pt x="141" y="879"/>
                  </a:lnTo>
                  <a:lnTo>
                    <a:pt x="138" y="877"/>
                  </a:lnTo>
                  <a:lnTo>
                    <a:pt x="136" y="874"/>
                  </a:lnTo>
                  <a:lnTo>
                    <a:pt x="134" y="870"/>
                  </a:lnTo>
                  <a:lnTo>
                    <a:pt x="134" y="864"/>
                  </a:lnTo>
                  <a:lnTo>
                    <a:pt x="134" y="858"/>
                  </a:lnTo>
                  <a:lnTo>
                    <a:pt x="134" y="858"/>
                  </a:lnTo>
                  <a:lnTo>
                    <a:pt x="136" y="860"/>
                  </a:lnTo>
                  <a:lnTo>
                    <a:pt x="138" y="862"/>
                  </a:lnTo>
                  <a:lnTo>
                    <a:pt x="139" y="862"/>
                  </a:lnTo>
                  <a:lnTo>
                    <a:pt x="139" y="862"/>
                  </a:lnTo>
                  <a:lnTo>
                    <a:pt x="141" y="862"/>
                  </a:lnTo>
                  <a:lnTo>
                    <a:pt x="145" y="860"/>
                  </a:lnTo>
                  <a:lnTo>
                    <a:pt x="147" y="860"/>
                  </a:lnTo>
                  <a:lnTo>
                    <a:pt x="151" y="858"/>
                  </a:lnTo>
                  <a:lnTo>
                    <a:pt x="151" y="858"/>
                  </a:lnTo>
                  <a:lnTo>
                    <a:pt x="151" y="855"/>
                  </a:lnTo>
                  <a:lnTo>
                    <a:pt x="149" y="849"/>
                  </a:lnTo>
                  <a:lnTo>
                    <a:pt x="149" y="845"/>
                  </a:lnTo>
                  <a:lnTo>
                    <a:pt x="147" y="841"/>
                  </a:lnTo>
                  <a:lnTo>
                    <a:pt x="143" y="837"/>
                  </a:lnTo>
                  <a:lnTo>
                    <a:pt x="141" y="835"/>
                  </a:lnTo>
                  <a:lnTo>
                    <a:pt x="136" y="834"/>
                  </a:lnTo>
                  <a:lnTo>
                    <a:pt x="132" y="834"/>
                  </a:lnTo>
                  <a:lnTo>
                    <a:pt x="132" y="834"/>
                  </a:lnTo>
                  <a:lnTo>
                    <a:pt x="126" y="834"/>
                  </a:lnTo>
                  <a:lnTo>
                    <a:pt x="122" y="834"/>
                  </a:lnTo>
                  <a:lnTo>
                    <a:pt x="120" y="835"/>
                  </a:lnTo>
                  <a:lnTo>
                    <a:pt x="117" y="837"/>
                  </a:lnTo>
                  <a:lnTo>
                    <a:pt x="115" y="839"/>
                  </a:lnTo>
                  <a:lnTo>
                    <a:pt x="113" y="839"/>
                  </a:lnTo>
                  <a:lnTo>
                    <a:pt x="109" y="841"/>
                  </a:lnTo>
                  <a:lnTo>
                    <a:pt x="107" y="841"/>
                  </a:lnTo>
                  <a:lnTo>
                    <a:pt x="107" y="841"/>
                  </a:lnTo>
                  <a:lnTo>
                    <a:pt x="101" y="839"/>
                  </a:lnTo>
                  <a:lnTo>
                    <a:pt x="94" y="837"/>
                  </a:lnTo>
                  <a:lnTo>
                    <a:pt x="86" y="832"/>
                  </a:lnTo>
                  <a:lnTo>
                    <a:pt x="78" y="826"/>
                  </a:lnTo>
                  <a:lnTo>
                    <a:pt x="71" y="820"/>
                  </a:lnTo>
                  <a:lnTo>
                    <a:pt x="65" y="814"/>
                  </a:lnTo>
                  <a:lnTo>
                    <a:pt x="59" y="809"/>
                  </a:lnTo>
                  <a:lnTo>
                    <a:pt x="56" y="803"/>
                  </a:lnTo>
                  <a:lnTo>
                    <a:pt x="56" y="803"/>
                  </a:lnTo>
                  <a:lnTo>
                    <a:pt x="59" y="801"/>
                  </a:lnTo>
                  <a:lnTo>
                    <a:pt x="61" y="799"/>
                  </a:lnTo>
                  <a:lnTo>
                    <a:pt x="65" y="799"/>
                  </a:lnTo>
                  <a:lnTo>
                    <a:pt x="67" y="797"/>
                  </a:lnTo>
                  <a:lnTo>
                    <a:pt x="71" y="795"/>
                  </a:lnTo>
                  <a:lnTo>
                    <a:pt x="73" y="794"/>
                  </a:lnTo>
                  <a:lnTo>
                    <a:pt x="77" y="792"/>
                  </a:lnTo>
                  <a:lnTo>
                    <a:pt x="80" y="790"/>
                  </a:lnTo>
                  <a:lnTo>
                    <a:pt x="80" y="790"/>
                  </a:lnTo>
                  <a:lnTo>
                    <a:pt x="75" y="784"/>
                  </a:lnTo>
                  <a:lnTo>
                    <a:pt x="69" y="778"/>
                  </a:lnTo>
                  <a:lnTo>
                    <a:pt x="63" y="773"/>
                  </a:lnTo>
                  <a:lnTo>
                    <a:pt x="56" y="765"/>
                  </a:lnTo>
                  <a:lnTo>
                    <a:pt x="48" y="759"/>
                  </a:lnTo>
                  <a:lnTo>
                    <a:pt x="40" y="752"/>
                  </a:lnTo>
                  <a:lnTo>
                    <a:pt x="35" y="744"/>
                  </a:lnTo>
                  <a:lnTo>
                    <a:pt x="27" y="734"/>
                  </a:lnTo>
                  <a:lnTo>
                    <a:pt x="19" y="727"/>
                  </a:lnTo>
                  <a:lnTo>
                    <a:pt x="14" y="717"/>
                  </a:lnTo>
                  <a:lnTo>
                    <a:pt x="10" y="708"/>
                  </a:lnTo>
                  <a:lnTo>
                    <a:pt x="4" y="698"/>
                  </a:lnTo>
                  <a:lnTo>
                    <a:pt x="2" y="689"/>
                  </a:lnTo>
                  <a:lnTo>
                    <a:pt x="0" y="677"/>
                  </a:lnTo>
                  <a:lnTo>
                    <a:pt x="0" y="668"/>
                  </a:lnTo>
                  <a:lnTo>
                    <a:pt x="4" y="656"/>
                  </a:lnTo>
                  <a:lnTo>
                    <a:pt x="4" y="656"/>
                  </a:lnTo>
                  <a:lnTo>
                    <a:pt x="8" y="654"/>
                  </a:lnTo>
                  <a:lnTo>
                    <a:pt x="14" y="652"/>
                  </a:lnTo>
                  <a:lnTo>
                    <a:pt x="19" y="654"/>
                  </a:lnTo>
                  <a:lnTo>
                    <a:pt x="25" y="656"/>
                  </a:lnTo>
                  <a:lnTo>
                    <a:pt x="31" y="658"/>
                  </a:lnTo>
                  <a:lnTo>
                    <a:pt x="38" y="660"/>
                  </a:lnTo>
                  <a:lnTo>
                    <a:pt x="46" y="662"/>
                  </a:lnTo>
                  <a:lnTo>
                    <a:pt x="54" y="662"/>
                  </a:lnTo>
                  <a:lnTo>
                    <a:pt x="54" y="662"/>
                  </a:lnTo>
                  <a:lnTo>
                    <a:pt x="59" y="660"/>
                  </a:lnTo>
                  <a:lnTo>
                    <a:pt x="65" y="658"/>
                  </a:lnTo>
                  <a:lnTo>
                    <a:pt x="69" y="654"/>
                  </a:lnTo>
                  <a:lnTo>
                    <a:pt x="75" y="649"/>
                  </a:lnTo>
                  <a:lnTo>
                    <a:pt x="80" y="643"/>
                  </a:lnTo>
                  <a:lnTo>
                    <a:pt x="84" y="639"/>
                  </a:lnTo>
                  <a:lnTo>
                    <a:pt x="88" y="635"/>
                  </a:lnTo>
                  <a:lnTo>
                    <a:pt x="92" y="631"/>
                  </a:lnTo>
                  <a:lnTo>
                    <a:pt x="174" y="631"/>
                  </a:lnTo>
                  <a:lnTo>
                    <a:pt x="174" y="628"/>
                  </a:lnTo>
                  <a:lnTo>
                    <a:pt x="239" y="628"/>
                  </a:lnTo>
                  <a:lnTo>
                    <a:pt x="239" y="628"/>
                  </a:lnTo>
                  <a:lnTo>
                    <a:pt x="252" y="622"/>
                  </a:lnTo>
                  <a:lnTo>
                    <a:pt x="263" y="616"/>
                  </a:lnTo>
                  <a:lnTo>
                    <a:pt x="275" y="610"/>
                  </a:lnTo>
                  <a:lnTo>
                    <a:pt x="283" y="603"/>
                  </a:lnTo>
                  <a:lnTo>
                    <a:pt x="292" y="595"/>
                  </a:lnTo>
                  <a:lnTo>
                    <a:pt x="300" y="586"/>
                  </a:lnTo>
                  <a:lnTo>
                    <a:pt x="305" y="576"/>
                  </a:lnTo>
                  <a:lnTo>
                    <a:pt x="311" y="566"/>
                  </a:lnTo>
                  <a:lnTo>
                    <a:pt x="315" y="555"/>
                  </a:lnTo>
                  <a:lnTo>
                    <a:pt x="319" y="544"/>
                  </a:lnTo>
                  <a:lnTo>
                    <a:pt x="323" y="532"/>
                  </a:lnTo>
                  <a:lnTo>
                    <a:pt x="324" y="519"/>
                  </a:lnTo>
                  <a:lnTo>
                    <a:pt x="326" y="505"/>
                  </a:lnTo>
                  <a:lnTo>
                    <a:pt x="326" y="490"/>
                  </a:lnTo>
                  <a:lnTo>
                    <a:pt x="328" y="473"/>
                  </a:lnTo>
                  <a:lnTo>
                    <a:pt x="328" y="458"/>
                  </a:lnTo>
                  <a:lnTo>
                    <a:pt x="328" y="458"/>
                  </a:lnTo>
                  <a:lnTo>
                    <a:pt x="328" y="448"/>
                  </a:lnTo>
                  <a:lnTo>
                    <a:pt x="328" y="439"/>
                  </a:lnTo>
                  <a:lnTo>
                    <a:pt x="326" y="431"/>
                  </a:lnTo>
                  <a:lnTo>
                    <a:pt x="326" y="421"/>
                  </a:lnTo>
                  <a:lnTo>
                    <a:pt x="324" y="414"/>
                  </a:lnTo>
                  <a:lnTo>
                    <a:pt x="324" y="406"/>
                  </a:lnTo>
                  <a:lnTo>
                    <a:pt x="324" y="399"/>
                  </a:lnTo>
                  <a:lnTo>
                    <a:pt x="323" y="391"/>
                  </a:lnTo>
                  <a:lnTo>
                    <a:pt x="323" y="385"/>
                  </a:lnTo>
                  <a:lnTo>
                    <a:pt x="323" y="378"/>
                  </a:lnTo>
                  <a:lnTo>
                    <a:pt x="323" y="370"/>
                  </a:lnTo>
                  <a:lnTo>
                    <a:pt x="323" y="362"/>
                  </a:lnTo>
                  <a:lnTo>
                    <a:pt x="323" y="357"/>
                  </a:lnTo>
                  <a:lnTo>
                    <a:pt x="324" y="347"/>
                  </a:lnTo>
                  <a:lnTo>
                    <a:pt x="326" y="339"/>
                  </a:lnTo>
                  <a:lnTo>
                    <a:pt x="328" y="332"/>
                  </a:lnTo>
                  <a:lnTo>
                    <a:pt x="456" y="309"/>
                  </a:lnTo>
                  <a:lnTo>
                    <a:pt x="593" y="194"/>
                  </a:lnTo>
                  <a:lnTo>
                    <a:pt x="937" y="0"/>
                  </a:lnTo>
                  <a:lnTo>
                    <a:pt x="937" y="0"/>
                  </a:lnTo>
                  <a:lnTo>
                    <a:pt x="944" y="0"/>
                  </a:lnTo>
                  <a:lnTo>
                    <a:pt x="954" y="0"/>
                  </a:lnTo>
                  <a:lnTo>
                    <a:pt x="962" y="2"/>
                  </a:lnTo>
                  <a:lnTo>
                    <a:pt x="969" y="2"/>
                  </a:lnTo>
                  <a:lnTo>
                    <a:pt x="977" y="4"/>
                  </a:lnTo>
                  <a:lnTo>
                    <a:pt x="983" y="6"/>
                  </a:lnTo>
                  <a:lnTo>
                    <a:pt x="990" y="8"/>
                  </a:lnTo>
                  <a:lnTo>
                    <a:pt x="996" y="9"/>
                  </a:lnTo>
                  <a:lnTo>
                    <a:pt x="1002" y="11"/>
                  </a:lnTo>
                  <a:lnTo>
                    <a:pt x="1007" y="13"/>
                  </a:lnTo>
                  <a:lnTo>
                    <a:pt x="1013" y="15"/>
                  </a:lnTo>
                  <a:lnTo>
                    <a:pt x="1021" y="19"/>
                  </a:lnTo>
                  <a:lnTo>
                    <a:pt x="1026" y="21"/>
                  </a:lnTo>
                  <a:lnTo>
                    <a:pt x="1032" y="25"/>
                  </a:lnTo>
                  <a:lnTo>
                    <a:pt x="1040" y="27"/>
                  </a:lnTo>
                  <a:lnTo>
                    <a:pt x="1046" y="28"/>
                  </a:lnTo>
                  <a:lnTo>
                    <a:pt x="1046" y="28"/>
                  </a:lnTo>
                  <a:lnTo>
                    <a:pt x="1053" y="32"/>
                  </a:lnTo>
                  <a:lnTo>
                    <a:pt x="1059" y="38"/>
                  </a:lnTo>
                  <a:lnTo>
                    <a:pt x="1065" y="44"/>
                  </a:lnTo>
                  <a:lnTo>
                    <a:pt x="1070" y="49"/>
                  </a:lnTo>
                  <a:lnTo>
                    <a:pt x="1074" y="55"/>
                  </a:lnTo>
                  <a:lnTo>
                    <a:pt x="1082" y="61"/>
                  </a:lnTo>
                  <a:lnTo>
                    <a:pt x="1088" y="63"/>
                  </a:lnTo>
                  <a:lnTo>
                    <a:pt x="1095" y="65"/>
                  </a:lnTo>
                  <a:lnTo>
                    <a:pt x="1095" y="65"/>
                  </a:lnTo>
                  <a:lnTo>
                    <a:pt x="1105" y="65"/>
                  </a:lnTo>
                  <a:lnTo>
                    <a:pt x="1112" y="61"/>
                  </a:lnTo>
                  <a:lnTo>
                    <a:pt x="1122" y="59"/>
                  </a:lnTo>
                  <a:lnTo>
                    <a:pt x="1131" y="55"/>
                  </a:lnTo>
                  <a:lnTo>
                    <a:pt x="1141" y="51"/>
                  </a:lnTo>
                  <a:lnTo>
                    <a:pt x="1149" y="46"/>
                  </a:lnTo>
                  <a:lnTo>
                    <a:pt x="1156" y="42"/>
                  </a:lnTo>
                  <a:lnTo>
                    <a:pt x="1160" y="38"/>
                  </a:lnTo>
                  <a:lnTo>
                    <a:pt x="1160" y="166"/>
                  </a:lnTo>
                  <a:lnTo>
                    <a:pt x="1160" y="166"/>
                  </a:lnTo>
                  <a:lnTo>
                    <a:pt x="1162" y="168"/>
                  </a:lnTo>
                  <a:lnTo>
                    <a:pt x="1166" y="170"/>
                  </a:lnTo>
                  <a:lnTo>
                    <a:pt x="1170" y="173"/>
                  </a:lnTo>
                  <a:lnTo>
                    <a:pt x="1171" y="179"/>
                  </a:lnTo>
                  <a:lnTo>
                    <a:pt x="1175" y="185"/>
                  </a:lnTo>
                  <a:lnTo>
                    <a:pt x="1181" y="191"/>
                  </a:lnTo>
                  <a:lnTo>
                    <a:pt x="1185" y="196"/>
                  </a:lnTo>
                  <a:lnTo>
                    <a:pt x="1189" y="204"/>
                  </a:lnTo>
                  <a:lnTo>
                    <a:pt x="1194" y="210"/>
                  </a:lnTo>
                  <a:lnTo>
                    <a:pt x="1198" y="217"/>
                  </a:lnTo>
                  <a:lnTo>
                    <a:pt x="1202" y="223"/>
                  </a:lnTo>
                  <a:lnTo>
                    <a:pt x="1206" y="231"/>
                  </a:lnTo>
                  <a:lnTo>
                    <a:pt x="1208" y="236"/>
                  </a:lnTo>
                  <a:lnTo>
                    <a:pt x="1210" y="240"/>
                  </a:lnTo>
                  <a:lnTo>
                    <a:pt x="1211" y="244"/>
                  </a:lnTo>
                  <a:lnTo>
                    <a:pt x="1211" y="248"/>
                  </a:lnTo>
                  <a:lnTo>
                    <a:pt x="1211" y="248"/>
                  </a:lnTo>
                  <a:lnTo>
                    <a:pt x="1211" y="252"/>
                  </a:lnTo>
                  <a:lnTo>
                    <a:pt x="1210" y="254"/>
                  </a:lnTo>
                  <a:lnTo>
                    <a:pt x="1208" y="257"/>
                  </a:lnTo>
                  <a:lnTo>
                    <a:pt x="1206" y="259"/>
                  </a:lnTo>
                  <a:lnTo>
                    <a:pt x="1204" y="263"/>
                  </a:lnTo>
                  <a:lnTo>
                    <a:pt x="1200" y="265"/>
                  </a:lnTo>
                  <a:lnTo>
                    <a:pt x="1198" y="267"/>
                  </a:lnTo>
                  <a:lnTo>
                    <a:pt x="1196" y="267"/>
                  </a:lnTo>
                  <a:lnTo>
                    <a:pt x="1196" y="378"/>
                  </a:lnTo>
                  <a:lnTo>
                    <a:pt x="1179" y="515"/>
                  </a:lnTo>
                  <a:lnTo>
                    <a:pt x="1179" y="515"/>
                  </a:lnTo>
                  <a:lnTo>
                    <a:pt x="1170" y="525"/>
                  </a:lnTo>
                  <a:lnTo>
                    <a:pt x="1162" y="534"/>
                  </a:lnTo>
                  <a:lnTo>
                    <a:pt x="1154" y="544"/>
                  </a:lnTo>
                  <a:lnTo>
                    <a:pt x="1145" y="553"/>
                  </a:lnTo>
                  <a:lnTo>
                    <a:pt x="1137" y="565"/>
                  </a:lnTo>
                  <a:lnTo>
                    <a:pt x="1129" y="574"/>
                  </a:lnTo>
                  <a:lnTo>
                    <a:pt x="1120" y="586"/>
                  </a:lnTo>
                  <a:lnTo>
                    <a:pt x="1112" y="597"/>
                  </a:lnTo>
                  <a:lnTo>
                    <a:pt x="1105" y="608"/>
                  </a:lnTo>
                  <a:lnTo>
                    <a:pt x="1097" y="620"/>
                  </a:lnTo>
                  <a:lnTo>
                    <a:pt x="1088" y="631"/>
                  </a:lnTo>
                  <a:lnTo>
                    <a:pt x="1080" y="643"/>
                  </a:lnTo>
                  <a:lnTo>
                    <a:pt x="1072" y="656"/>
                  </a:lnTo>
                  <a:lnTo>
                    <a:pt x="1063" y="668"/>
                  </a:lnTo>
                  <a:lnTo>
                    <a:pt x="1055" y="679"/>
                  </a:lnTo>
                  <a:lnTo>
                    <a:pt x="1046" y="690"/>
                  </a:lnTo>
                  <a:lnTo>
                    <a:pt x="1046" y="690"/>
                  </a:lnTo>
                  <a:lnTo>
                    <a:pt x="1044" y="696"/>
                  </a:lnTo>
                  <a:lnTo>
                    <a:pt x="1040" y="700"/>
                  </a:lnTo>
                  <a:lnTo>
                    <a:pt x="1036" y="704"/>
                  </a:lnTo>
                  <a:lnTo>
                    <a:pt x="1032" y="708"/>
                  </a:lnTo>
                  <a:lnTo>
                    <a:pt x="1028" y="711"/>
                  </a:lnTo>
                  <a:lnTo>
                    <a:pt x="1026" y="715"/>
                  </a:lnTo>
                  <a:lnTo>
                    <a:pt x="1025" y="721"/>
                  </a:lnTo>
                  <a:lnTo>
                    <a:pt x="1025" y="727"/>
                  </a:lnTo>
                  <a:lnTo>
                    <a:pt x="1025" y="727"/>
                  </a:lnTo>
                  <a:lnTo>
                    <a:pt x="1025" y="732"/>
                  </a:lnTo>
                  <a:lnTo>
                    <a:pt x="1026" y="740"/>
                  </a:lnTo>
                  <a:lnTo>
                    <a:pt x="1026" y="746"/>
                  </a:lnTo>
                  <a:lnTo>
                    <a:pt x="1028" y="752"/>
                  </a:lnTo>
                  <a:lnTo>
                    <a:pt x="1032" y="757"/>
                  </a:lnTo>
                  <a:lnTo>
                    <a:pt x="1034" y="763"/>
                  </a:lnTo>
                  <a:lnTo>
                    <a:pt x="1036" y="769"/>
                  </a:lnTo>
                  <a:lnTo>
                    <a:pt x="1038" y="773"/>
                  </a:lnTo>
                  <a:lnTo>
                    <a:pt x="1038" y="773"/>
                  </a:lnTo>
                  <a:lnTo>
                    <a:pt x="1030" y="774"/>
                  </a:lnTo>
                  <a:lnTo>
                    <a:pt x="1023" y="776"/>
                  </a:lnTo>
                  <a:lnTo>
                    <a:pt x="1015" y="780"/>
                  </a:lnTo>
                  <a:lnTo>
                    <a:pt x="1007" y="784"/>
                  </a:lnTo>
                  <a:lnTo>
                    <a:pt x="1002" y="788"/>
                  </a:lnTo>
                  <a:lnTo>
                    <a:pt x="994" y="792"/>
                  </a:lnTo>
                  <a:lnTo>
                    <a:pt x="986" y="797"/>
                  </a:lnTo>
                  <a:lnTo>
                    <a:pt x="979" y="801"/>
                  </a:lnTo>
                  <a:lnTo>
                    <a:pt x="973" y="807"/>
                  </a:lnTo>
                  <a:lnTo>
                    <a:pt x="965" y="811"/>
                  </a:lnTo>
                  <a:lnTo>
                    <a:pt x="960" y="814"/>
                  </a:lnTo>
                  <a:lnTo>
                    <a:pt x="954" y="818"/>
                  </a:lnTo>
                  <a:lnTo>
                    <a:pt x="946" y="822"/>
                  </a:lnTo>
                  <a:lnTo>
                    <a:pt x="941" y="824"/>
                  </a:lnTo>
                  <a:lnTo>
                    <a:pt x="935" y="826"/>
                  </a:lnTo>
                  <a:lnTo>
                    <a:pt x="931" y="828"/>
                  </a:lnTo>
                  <a:lnTo>
                    <a:pt x="931" y="828"/>
                  </a:lnTo>
                  <a:lnTo>
                    <a:pt x="923" y="826"/>
                  </a:lnTo>
                  <a:lnTo>
                    <a:pt x="918" y="826"/>
                  </a:lnTo>
                  <a:lnTo>
                    <a:pt x="910" y="824"/>
                  </a:lnTo>
                  <a:lnTo>
                    <a:pt x="904" y="822"/>
                  </a:lnTo>
                  <a:lnTo>
                    <a:pt x="899" y="818"/>
                  </a:lnTo>
                  <a:lnTo>
                    <a:pt x="895" y="816"/>
                  </a:lnTo>
                  <a:lnTo>
                    <a:pt x="889" y="813"/>
                  </a:lnTo>
                  <a:lnTo>
                    <a:pt x="883" y="811"/>
                  </a:lnTo>
                  <a:lnTo>
                    <a:pt x="878" y="807"/>
                  </a:lnTo>
                  <a:lnTo>
                    <a:pt x="874" y="805"/>
                  </a:lnTo>
                  <a:lnTo>
                    <a:pt x="868" y="801"/>
                  </a:lnTo>
                  <a:lnTo>
                    <a:pt x="861" y="799"/>
                  </a:lnTo>
                  <a:lnTo>
                    <a:pt x="855" y="797"/>
                  </a:lnTo>
                  <a:lnTo>
                    <a:pt x="847" y="795"/>
                  </a:lnTo>
                  <a:lnTo>
                    <a:pt x="840" y="794"/>
                  </a:lnTo>
                  <a:lnTo>
                    <a:pt x="830" y="794"/>
                  </a:lnTo>
                  <a:lnTo>
                    <a:pt x="830" y="794"/>
                  </a:lnTo>
                  <a:lnTo>
                    <a:pt x="819" y="794"/>
                  </a:lnTo>
                  <a:lnTo>
                    <a:pt x="809" y="795"/>
                  </a:lnTo>
                  <a:lnTo>
                    <a:pt x="799" y="797"/>
                  </a:lnTo>
                  <a:lnTo>
                    <a:pt x="792" y="801"/>
                  </a:lnTo>
                  <a:lnTo>
                    <a:pt x="784" y="805"/>
                  </a:lnTo>
                  <a:lnTo>
                    <a:pt x="777" y="809"/>
                  </a:lnTo>
                  <a:lnTo>
                    <a:pt x="769" y="813"/>
                  </a:lnTo>
                  <a:lnTo>
                    <a:pt x="763" y="816"/>
                  </a:lnTo>
                  <a:lnTo>
                    <a:pt x="758" y="820"/>
                  </a:lnTo>
                  <a:lnTo>
                    <a:pt x="750" y="824"/>
                  </a:lnTo>
                  <a:lnTo>
                    <a:pt x="742" y="828"/>
                  </a:lnTo>
                  <a:lnTo>
                    <a:pt x="737" y="832"/>
                  </a:lnTo>
                  <a:lnTo>
                    <a:pt x="729" y="834"/>
                  </a:lnTo>
                  <a:lnTo>
                    <a:pt x="719" y="837"/>
                  </a:lnTo>
                  <a:lnTo>
                    <a:pt x="710" y="837"/>
                  </a:lnTo>
                  <a:lnTo>
                    <a:pt x="700" y="839"/>
                  </a:lnTo>
                  <a:lnTo>
                    <a:pt x="700" y="839"/>
                  </a:lnTo>
                  <a:lnTo>
                    <a:pt x="691" y="837"/>
                  </a:lnTo>
                  <a:lnTo>
                    <a:pt x="683" y="837"/>
                  </a:lnTo>
                  <a:lnTo>
                    <a:pt x="675" y="835"/>
                  </a:lnTo>
                  <a:lnTo>
                    <a:pt x="668" y="832"/>
                  </a:lnTo>
                  <a:lnTo>
                    <a:pt x="662" y="830"/>
                  </a:lnTo>
                  <a:lnTo>
                    <a:pt x="654" y="826"/>
                  </a:lnTo>
                  <a:lnTo>
                    <a:pt x="649" y="822"/>
                  </a:lnTo>
                  <a:lnTo>
                    <a:pt x="643" y="818"/>
                  </a:lnTo>
                  <a:lnTo>
                    <a:pt x="637" y="814"/>
                  </a:lnTo>
                  <a:lnTo>
                    <a:pt x="632" y="811"/>
                  </a:lnTo>
                  <a:lnTo>
                    <a:pt x="626" y="807"/>
                  </a:lnTo>
                  <a:lnTo>
                    <a:pt x="620" y="803"/>
                  </a:lnTo>
                  <a:lnTo>
                    <a:pt x="613" y="801"/>
                  </a:lnTo>
                  <a:lnTo>
                    <a:pt x="607" y="799"/>
                  </a:lnTo>
                  <a:lnTo>
                    <a:pt x="599" y="797"/>
                  </a:lnTo>
                  <a:lnTo>
                    <a:pt x="592" y="797"/>
                  </a:lnTo>
                  <a:lnTo>
                    <a:pt x="592" y="797"/>
                  </a:lnTo>
                  <a:lnTo>
                    <a:pt x="586" y="797"/>
                  </a:lnTo>
                  <a:lnTo>
                    <a:pt x="582" y="797"/>
                  </a:lnTo>
                  <a:lnTo>
                    <a:pt x="576" y="799"/>
                  </a:lnTo>
                  <a:lnTo>
                    <a:pt x="572" y="801"/>
                  </a:lnTo>
                  <a:lnTo>
                    <a:pt x="569" y="803"/>
                  </a:lnTo>
                  <a:lnTo>
                    <a:pt x="563" y="805"/>
                  </a:lnTo>
                  <a:lnTo>
                    <a:pt x="559" y="807"/>
                  </a:lnTo>
                  <a:lnTo>
                    <a:pt x="555" y="809"/>
                  </a:lnTo>
                  <a:lnTo>
                    <a:pt x="551" y="811"/>
                  </a:lnTo>
                  <a:lnTo>
                    <a:pt x="548" y="813"/>
                  </a:lnTo>
                  <a:lnTo>
                    <a:pt x="544" y="814"/>
                  </a:lnTo>
                  <a:lnTo>
                    <a:pt x="540" y="816"/>
                  </a:lnTo>
                  <a:lnTo>
                    <a:pt x="534" y="818"/>
                  </a:lnTo>
                  <a:lnTo>
                    <a:pt x="531" y="820"/>
                  </a:lnTo>
                  <a:lnTo>
                    <a:pt x="525" y="820"/>
                  </a:lnTo>
                  <a:lnTo>
                    <a:pt x="521" y="820"/>
                  </a:lnTo>
                  <a:lnTo>
                    <a:pt x="521" y="820"/>
                  </a:lnTo>
                  <a:lnTo>
                    <a:pt x="513" y="820"/>
                  </a:lnTo>
                  <a:lnTo>
                    <a:pt x="510" y="816"/>
                  </a:lnTo>
                  <a:lnTo>
                    <a:pt x="504" y="813"/>
                  </a:lnTo>
                  <a:lnTo>
                    <a:pt x="500" y="807"/>
                  </a:lnTo>
                  <a:lnTo>
                    <a:pt x="496" y="799"/>
                  </a:lnTo>
                  <a:lnTo>
                    <a:pt x="492" y="794"/>
                  </a:lnTo>
                  <a:lnTo>
                    <a:pt x="489" y="788"/>
                  </a:lnTo>
                  <a:lnTo>
                    <a:pt x="485" y="782"/>
                  </a:lnTo>
                  <a:lnTo>
                    <a:pt x="485" y="782"/>
                  </a:lnTo>
                  <a:lnTo>
                    <a:pt x="483" y="780"/>
                  </a:lnTo>
                  <a:lnTo>
                    <a:pt x="479" y="776"/>
                  </a:lnTo>
                  <a:lnTo>
                    <a:pt x="475" y="774"/>
                  </a:lnTo>
                  <a:lnTo>
                    <a:pt x="471" y="773"/>
                  </a:lnTo>
                  <a:lnTo>
                    <a:pt x="466" y="769"/>
                  </a:lnTo>
                  <a:lnTo>
                    <a:pt x="460" y="767"/>
                  </a:lnTo>
                  <a:lnTo>
                    <a:pt x="454" y="765"/>
                  </a:lnTo>
                  <a:lnTo>
                    <a:pt x="447" y="763"/>
                  </a:lnTo>
                  <a:lnTo>
                    <a:pt x="441" y="761"/>
                  </a:lnTo>
                  <a:lnTo>
                    <a:pt x="433" y="759"/>
                  </a:lnTo>
                  <a:lnTo>
                    <a:pt x="428" y="757"/>
                  </a:lnTo>
                  <a:lnTo>
                    <a:pt x="420" y="755"/>
                  </a:lnTo>
                  <a:lnTo>
                    <a:pt x="414" y="753"/>
                  </a:lnTo>
                  <a:lnTo>
                    <a:pt x="408" y="753"/>
                  </a:lnTo>
                  <a:lnTo>
                    <a:pt x="403" y="752"/>
                  </a:lnTo>
                  <a:lnTo>
                    <a:pt x="399" y="752"/>
                  </a:lnTo>
                  <a:lnTo>
                    <a:pt x="399" y="752"/>
                  </a:lnTo>
                  <a:lnTo>
                    <a:pt x="391" y="752"/>
                  </a:lnTo>
                  <a:lnTo>
                    <a:pt x="382" y="753"/>
                  </a:lnTo>
                  <a:lnTo>
                    <a:pt x="374" y="753"/>
                  </a:lnTo>
                  <a:lnTo>
                    <a:pt x="365" y="753"/>
                  </a:lnTo>
                  <a:lnTo>
                    <a:pt x="357" y="755"/>
                  </a:lnTo>
                  <a:lnTo>
                    <a:pt x="349" y="757"/>
                  </a:lnTo>
                  <a:lnTo>
                    <a:pt x="340" y="759"/>
                  </a:lnTo>
                  <a:lnTo>
                    <a:pt x="332" y="761"/>
                  </a:lnTo>
                  <a:lnTo>
                    <a:pt x="326" y="763"/>
                  </a:lnTo>
                  <a:lnTo>
                    <a:pt x="319" y="765"/>
                  </a:lnTo>
                  <a:lnTo>
                    <a:pt x="313" y="769"/>
                  </a:lnTo>
                  <a:lnTo>
                    <a:pt x="309" y="773"/>
                  </a:lnTo>
                  <a:lnTo>
                    <a:pt x="304" y="778"/>
                  </a:lnTo>
                  <a:lnTo>
                    <a:pt x="302" y="782"/>
                  </a:lnTo>
                  <a:lnTo>
                    <a:pt x="298" y="788"/>
                  </a:lnTo>
                  <a:lnTo>
                    <a:pt x="296" y="795"/>
                  </a:lnTo>
                  <a:lnTo>
                    <a:pt x="296" y="795"/>
                  </a:lnTo>
                  <a:lnTo>
                    <a:pt x="294" y="805"/>
                  </a:lnTo>
                  <a:lnTo>
                    <a:pt x="292" y="814"/>
                  </a:lnTo>
                  <a:lnTo>
                    <a:pt x="288" y="822"/>
                  </a:lnTo>
                  <a:lnTo>
                    <a:pt x="284" y="828"/>
                  </a:lnTo>
                  <a:lnTo>
                    <a:pt x="281" y="832"/>
                  </a:lnTo>
                  <a:lnTo>
                    <a:pt x="277" y="835"/>
                  </a:lnTo>
                  <a:lnTo>
                    <a:pt x="273" y="839"/>
                  </a:lnTo>
                  <a:lnTo>
                    <a:pt x="267" y="843"/>
                  </a:lnTo>
                  <a:lnTo>
                    <a:pt x="263" y="847"/>
                  </a:lnTo>
                  <a:lnTo>
                    <a:pt x="260" y="851"/>
                  </a:lnTo>
                  <a:lnTo>
                    <a:pt x="256" y="856"/>
                  </a:lnTo>
                  <a:lnTo>
                    <a:pt x="254" y="864"/>
                  </a:lnTo>
                  <a:lnTo>
                    <a:pt x="252" y="874"/>
                  </a:lnTo>
                  <a:lnTo>
                    <a:pt x="250" y="885"/>
                  </a:lnTo>
                  <a:lnTo>
                    <a:pt x="248" y="898"/>
                  </a:lnTo>
                  <a:lnTo>
                    <a:pt x="250" y="916"/>
                  </a:lnTo>
                  <a:lnTo>
                    <a:pt x="252" y="90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11" name="Freeform 55"/>
            <p:cNvSpPr>
              <a:spLocks/>
            </p:cNvSpPr>
            <p:nvPr/>
          </p:nvSpPr>
          <p:spPr bwMode="gray">
            <a:xfrm>
              <a:off x="2541" y="1330"/>
              <a:ext cx="714" cy="873"/>
            </a:xfrm>
            <a:custGeom>
              <a:avLst/>
              <a:gdLst/>
              <a:ahLst/>
              <a:cxnLst>
                <a:cxn ang="0">
                  <a:pos x="857" y="117"/>
                </a:cxn>
                <a:cxn ang="0">
                  <a:pos x="891" y="84"/>
                </a:cxn>
                <a:cxn ang="0">
                  <a:pos x="943" y="67"/>
                </a:cxn>
                <a:cxn ang="0">
                  <a:pos x="998" y="10"/>
                </a:cxn>
                <a:cxn ang="0">
                  <a:pos x="1061" y="40"/>
                </a:cxn>
                <a:cxn ang="0">
                  <a:pos x="1137" y="149"/>
                </a:cxn>
                <a:cxn ang="0">
                  <a:pos x="1156" y="268"/>
                </a:cxn>
                <a:cxn ang="0">
                  <a:pos x="1198" y="353"/>
                </a:cxn>
                <a:cxn ang="0">
                  <a:pos x="1259" y="392"/>
                </a:cxn>
                <a:cxn ang="0">
                  <a:pos x="1195" y="468"/>
                </a:cxn>
                <a:cxn ang="0">
                  <a:pos x="1149" y="537"/>
                </a:cxn>
                <a:cxn ang="0">
                  <a:pos x="1139" y="588"/>
                </a:cxn>
                <a:cxn ang="0">
                  <a:pos x="1126" y="653"/>
                </a:cxn>
                <a:cxn ang="0">
                  <a:pos x="1134" y="706"/>
                </a:cxn>
                <a:cxn ang="0">
                  <a:pos x="1116" y="773"/>
                </a:cxn>
                <a:cxn ang="0">
                  <a:pos x="1105" y="840"/>
                </a:cxn>
                <a:cxn ang="0">
                  <a:pos x="1069" y="867"/>
                </a:cxn>
                <a:cxn ang="0">
                  <a:pos x="1040" y="937"/>
                </a:cxn>
                <a:cxn ang="0">
                  <a:pos x="1006" y="998"/>
                </a:cxn>
                <a:cxn ang="0">
                  <a:pos x="987" y="1040"/>
                </a:cxn>
                <a:cxn ang="0">
                  <a:pos x="968" y="1113"/>
                </a:cxn>
                <a:cxn ang="0">
                  <a:pos x="958" y="1179"/>
                </a:cxn>
                <a:cxn ang="0">
                  <a:pos x="901" y="1208"/>
                </a:cxn>
                <a:cxn ang="0">
                  <a:pos x="893" y="1239"/>
                </a:cxn>
                <a:cxn ang="0">
                  <a:pos x="964" y="1265"/>
                </a:cxn>
                <a:cxn ang="0">
                  <a:pos x="1027" y="1332"/>
                </a:cxn>
                <a:cxn ang="0">
                  <a:pos x="1046" y="1391"/>
                </a:cxn>
                <a:cxn ang="0">
                  <a:pos x="1092" y="1422"/>
                </a:cxn>
                <a:cxn ang="0">
                  <a:pos x="1116" y="1475"/>
                </a:cxn>
                <a:cxn ang="0">
                  <a:pos x="992" y="1504"/>
                </a:cxn>
                <a:cxn ang="0">
                  <a:pos x="928" y="1561"/>
                </a:cxn>
                <a:cxn ang="0">
                  <a:pos x="893" y="1561"/>
                </a:cxn>
                <a:cxn ang="0">
                  <a:pos x="844" y="1576"/>
                </a:cxn>
                <a:cxn ang="0">
                  <a:pos x="783" y="1565"/>
                </a:cxn>
                <a:cxn ang="0">
                  <a:pos x="729" y="1584"/>
                </a:cxn>
                <a:cxn ang="0">
                  <a:pos x="701" y="1571"/>
                </a:cxn>
                <a:cxn ang="0">
                  <a:pos x="676" y="1559"/>
                </a:cxn>
                <a:cxn ang="0">
                  <a:pos x="611" y="1513"/>
                </a:cxn>
                <a:cxn ang="0">
                  <a:pos x="563" y="1519"/>
                </a:cxn>
                <a:cxn ang="0">
                  <a:pos x="519" y="1532"/>
                </a:cxn>
                <a:cxn ang="0">
                  <a:pos x="462" y="1483"/>
                </a:cxn>
                <a:cxn ang="0">
                  <a:pos x="435" y="1441"/>
                </a:cxn>
                <a:cxn ang="0">
                  <a:pos x="388" y="1401"/>
                </a:cxn>
                <a:cxn ang="0">
                  <a:pos x="355" y="1343"/>
                </a:cxn>
                <a:cxn ang="0">
                  <a:pos x="304" y="1303"/>
                </a:cxn>
                <a:cxn ang="0">
                  <a:pos x="269" y="1263"/>
                </a:cxn>
                <a:cxn ang="0">
                  <a:pos x="248" y="1233"/>
                </a:cxn>
                <a:cxn ang="0">
                  <a:pos x="189" y="1183"/>
                </a:cxn>
                <a:cxn ang="0">
                  <a:pos x="147" y="1181"/>
                </a:cxn>
                <a:cxn ang="0">
                  <a:pos x="142" y="1126"/>
                </a:cxn>
                <a:cxn ang="0">
                  <a:pos x="115" y="1054"/>
                </a:cxn>
                <a:cxn ang="0">
                  <a:pos x="86" y="998"/>
                </a:cxn>
                <a:cxn ang="0">
                  <a:pos x="75" y="962"/>
                </a:cxn>
                <a:cxn ang="0">
                  <a:pos x="50" y="895"/>
                </a:cxn>
                <a:cxn ang="0">
                  <a:pos x="2" y="861"/>
                </a:cxn>
                <a:cxn ang="0">
                  <a:pos x="20" y="823"/>
                </a:cxn>
                <a:cxn ang="0">
                  <a:pos x="33" y="806"/>
                </a:cxn>
                <a:cxn ang="0">
                  <a:pos x="37" y="767"/>
                </a:cxn>
                <a:cxn ang="0">
                  <a:pos x="46" y="729"/>
                </a:cxn>
                <a:cxn ang="0">
                  <a:pos x="69" y="699"/>
                </a:cxn>
                <a:cxn ang="0">
                  <a:pos x="86" y="640"/>
                </a:cxn>
                <a:cxn ang="0">
                  <a:pos x="132" y="628"/>
                </a:cxn>
              </a:cxnLst>
              <a:rect l="0" t="0" r="r" b="b"/>
              <a:pathLst>
                <a:path w="1261" h="1590">
                  <a:moveTo>
                    <a:pt x="155" y="315"/>
                  </a:moveTo>
                  <a:lnTo>
                    <a:pt x="153" y="279"/>
                  </a:lnTo>
                  <a:lnTo>
                    <a:pt x="227" y="279"/>
                  </a:lnTo>
                  <a:lnTo>
                    <a:pt x="218" y="121"/>
                  </a:lnTo>
                  <a:lnTo>
                    <a:pt x="830" y="105"/>
                  </a:lnTo>
                  <a:lnTo>
                    <a:pt x="830" y="105"/>
                  </a:lnTo>
                  <a:lnTo>
                    <a:pt x="838" y="107"/>
                  </a:lnTo>
                  <a:lnTo>
                    <a:pt x="842" y="109"/>
                  </a:lnTo>
                  <a:lnTo>
                    <a:pt x="847" y="111"/>
                  </a:lnTo>
                  <a:lnTo>
                    <a:pt x="849" y="113"/>
                  </a:lnTo>
                  <a:lnTo>
                    <a:pt x="853" y="115"/>
                  </a:lnTo>
                  <a:lnTo>
                    <a:pt x="857" y="117"/>
                  </a:lnTo>
                  <a:lnTo>
                    <a:pt x="863" y="117"/>
                  </a:lnTo>
                  <a:lnTo>
                    <a:pt x="868" y="119"/>
                  </a:lnTo>
                  <a:lnTo>
                    <a:pt x="868" y="119"/>
                  </a:lnTo>
                  <a:lnTo>
                    <a:pt x="874" y="117"/>
                  </a:lnTo>
                  <a:lnTo>
                    <a:pt x="880" y="113"/>
                  </a:lnTo>
                  <a:lnTo>
                    <a:pt x="884" y="109"/>
                  </a:lnTo>
                  <a:lnTo>
                    <a:pt x="884" y="103"/>
                  </a:lnTo>
                  <a:lnTo>
                    <a:pt x="886" y="98"/>
                  </a:lnTo>
                  <a:lnTo>
                    <a:pt x="887" y="94"/>
                  </a:lnTo>
                  <a:lnTo>
                    <a:pt x="889" y="88"/>
                  </a:lnTo>
                  <a:lnTo>
                    <a:pt x="891" y="84"/>
                  </a:lnTo>
                  <a:lnTo>
                    <a:pt x="891" y="84"/>
                  </a:lnTo>
                  <a:lnTo>
                    <a:pt x="897" y="82"/>
                  </a:lnTo>
                  <a:lnTo>
                    <a:pt x="903" y="81"/>
                  </a:lnTo>
                  <a:lnTo>
                    <a:pt x="908" y="81"/>
                  </a:lnTo>
                  <a:lnTo>
                    <a:pt x="914" y="79"/>
                  </a:lnTo>
                  <a:lnTo>
                    <a:pt x="920" y="79"/>
                  </a:lnTo>
                  <a:lnTo>
                    <a:pt x="924" y="79"/>
                  </a:lnTo>
                  <a:lnTo>
                    <a:pt x="929" y="79"/>
                  </a:lnTo>
                  <a:lnTo>
                    <a:pt x="933" y="77"/>
                  </a:lnTo>
                  <a:lnTo>
                    <a:pt x="933" y="77"/>
                  </a:lnTo>
                  <a:lnTo>
                    <a:pt x="937" y="73"/>
                  </a:lnTo>
                  <a:lnTo>
                    <a:pt x="941" y="69"/>
                  </a:lnTo>
                  <a:lnTo>
                    <a:pt x="943" y="67"/>
                  </a:lnTo>
                  <a:lnTo>
                    <a:pt x="947" y="61"/>
                  </a:lnTo>
                  <a:lnTo>
                    <a:pt x="947" y="58"/>
                  </a:lnTo>
                  <a:lnTo>
                    <a:pt x="949" y="54"/>
                  </a:lnTo>
                  <a:lnTo>
                    <a:pt x="950" y="48"/>
                  </a:lnTo>
                  <a:lnTo>
                    <a:pt x="954" y="44"/>
                  </a:lnTo>
                  <a:lnTo>
                    <a:pt x="954" y="44"/>
                  </a:lnTo>
                  <a:lnTo>
                    <a:pt x="960" y="37"/>
                  </a:lnTo>
                  <a:lnTo>
                    <a:pt x="966" y="29"/>
                  </a:lnTo>
                  <a:lnTo>
                    <a:pt x="973" y="23"/>
                  </a:lnTo>
                  <a:lnTo>
                    <a:pt x="981" y="20"/>
                  </a:lnTo>
                  <a:lnTo>
                    <a:pt x="990" y="14"/>
                  </a:lnTo>
                  <a:lnTo>
                    <a:pt x="998" y="10"/>
                  </a:lnTo>
                  <a:lnTo>
                    <a:pt x="1006" y="4"/>
                  </a:lnTo>
                  <a:lnTo>
                    <a:pt x="1013" y="0"/>
                  </a:lnTo>
                  <a:lnTo>
                    <a:pt x="1013" y="0"/>
                  </a:lnTo>
                  <a:lnTo>
                    <a:pt x="1017" y="10"/>
                  </a:lnTo>
                  <a:lnTo>
                    <a:pt x="1023" y="16"/>
                  </a:lnTo>
                  <a:lnTo>
                    <a:pt x="1029" y="20"/>
                  </a:lnTo>
                  <a:lnTo>
                    <a:pt x="1034" y="23"/>
                  </a:lnTo>
                  <a:lnTo>
                    <a:pt x="1042" y="27"/>
                  </a:lnTo>
                  <a:lnTo>
                    <a:pt x="1048" y="31"/>
                  </a:lnTo>
                  <a:lnTo>
                    <a:pt x="1055" y="37"/>
                  </a:lnTo>
                  <a:lnTo>
                    <a:pt x="1061" y="40"/>
                  </a:lnTo>
                  <a:lnTo>
                    <a:pt x="1061" y="40"/>
                  </a:lnTo>
                  <a:lnTo>
                    <a:pt x="1069" y="50"/>
                  </a:lnTo>
                  <a:lnTo>
                    <a:pt x="1076" y="58"/>
                  </a:lnTo>
                  <a:lnTo>
                    <a:pt x="1086" y="65"/>
                  </a:lnTo>
                  <a:lnTo>
                    <a:pt x="1092" y="75"/>
                  </a:lnTo>
                  <a:lnTo>
                    <a:pt x="1099" y="82"/>
                  </a:lnTo>
                  <a:lnTo>
                    <a:pt x="1107" y="92"/>
                  </a:lnTo>
                  <a:lnTo>
                    <a:pt x="1113" y="100"/>
                  </a:lnTo>
                  <a:lnTo>
                    <a:pt x="1118" y="109"/>
                  </a:lnTo>
                  <a:lnTo>
                    <a:pt x="1124" y="119"/>
                  </a:lnTo>
                  <a:lnTo>
                    <a:pt x="1130" y="128"/>
                  </a:lnTo>
                  <a:lnTo>
                    <a:pt x="1134" y="138"/>
                  </a:lnTo>
                  <a:lnTo>
                    <a:pt x="1137" y="149"/>
                  </a:lnTo>
                  <a:lnTo>
                    <a:pt x="1139" y="161"/>
                  </a:lnTo>
                  <a:lnTo>
                    <a:pt x="1141" y="174"/>
                  </a:lnTo>
                  <a:lnTo>
                    <a:pt x="1143" y="187"/>
                  </a:lnTo>
                  <a:lnTo>
                    <a:pt x="1143" y="201"/>
                  </a:lnTo>
                  <a:lnTo>
                    <a:pt x="1143" y="201"/>
                  </a:lnTo>
                  <a:lnTo>
                    <a:pt x="1143" y="206"/>
                  </a:lnTo>
                  <a:lnTo>
                    <a:pt x="1145" y="214"/>
                  </a:lnTo>
                  <a:lnTo>
                    <a:pt x="1147" y="224"/>
                  </a:lnTo>
                  <a:lnTo>
                    <a:pt x="1149" y="233"/>
                  </a:lnTo>
                  <a:lnTo>
                    <a:pt x="1151" y="245"/>
                  </a:lnTo>
                  <a:lnTo>
                    <a:pt x="1153" y="256"/>
                  </a:lnTo>
                  <a:lnTo>
                    <a:pt x="1156" y="268"/>
                  </a:lnTo>
                  <a:lnTo>
                    <a:pt x="1160" y="281"/>
                  </a:lnTo>
                  <a:lnTo>
                    <a:pt x="1164" y="292"/>
                  </a:lnTo>
                  <a:lnTo>
                    <a:pt x="1168" y="304"/>
                  </a:lnTo>
                  <a:lnTo>
                    <a:pt x="1172" y="313"/>
                  </a:lnTo>
                  <a:lnTo>
                    <a:pt x="1176" y="323"/>
                  </a:lnTo>
                  <a:lnTo>
                    <a:pt x="1179" y="332"/>
                  </a:lnTo>
                  <a:lnTo>
                    <a:pt x="1183" y="340"/>
                  </a:lnTo>
                  <a:lnTo>
                    <a:pt x="1187" y="344"/>
                  </a:lnTo>
                  <a:lnTo>
                    <a:pt x="1191" y="348"/>
                  </a:lnTo>
                  <a:lnTo>
                    <a:pt x="1191" y="348"/>
                  </a:lnTo>
                  <a:lnTo>
                    <a:pt x="1195" y="351"/>
                  </a:lnTo>
                  <a:lnTo>
                    <a:pt x="1198" y="353"/>
                  </a:lnTo>
                  <a:lnTo>
                    <a:pt x="1204" y="357"/>
                  </a:lnTo>
                  <a:lnTo>
                    <a:pt x="1210" y="359"/>
                  </a:lnTo>
                  <a:lnTo>
                    <a:pt x="1216" y="361"/>
                  </a:lnTo>
                  <a:lnTo>
                    <a:pt x="1221" y="365"/>
                  </a:lnTo>
                  <a:lnTo>
                    <a:pt x="1227" y="369"/>
                  </a:lnTo>
                  <a:lnTo>
                    <a:pt x="1233" y="371"/>
                  </a:lnTo>
                  <a:lnTo>
                    <a:pt x="1238" y="374"/>
                  </a:lnTo>
                  <a:lnTo>
                    <a:pt x="1244" y="376"/>
                  </a:lnTo>
                  <a:lnTo>
                    <a:pt x="1248" y="380"/>
                  </a:lnTo>
                  <a:lnTo>
                    <a:pt x="1252" y="384"/>
                  </a:lnTo>
                  <a:lnTo>
                    <a:pt x="1256" y="388"/>
                  </a:lnTo>
                  <a:lnTo>
                    <a:pt x="1259" y="392"/>
                  </a:lnTo>
                  <a:lnTo>
                    <a:pt x="1261" y="393"/>
                  </a:lnTo>
                  <a:lnTo>
                    <a:pt x="1261" y="397"/>
                  </a:lnTo>
                  <a:lnTo>
                    <a:pt x="1261" y="397"/>
                  </a:lnTo>
                  <a:lnTo>
                    <a:pt x="1259" y="411"/>
                  </a:lnTo>
                  <a:lnTo>
                    <a:pt x="1256" y="420"/>
                  </a:lnTo>
                  <a:lnTo>
                    <a:pt x="1250" y="430"/>
                  </a:lnTo>
                  <a:lnTo>
                    <a:pt x="1244" y="437"/>
                  </a:lnTo>
                  <a:lnTo>
                    <a:pt x="1235" y="445"/>
                  </a:lnTo>
                  <a:lnTo>
                    <a:pt x="1225" y="451"/>
                  </a:lnTo>
                  <a:lnTo>
                    <a:pt x="1216" y="456"/>
                  </a:lnTo>
                  <a:lnTo>
                    <a:pt x="1206" y="462"/>
                  </a:lnTo>
                  <a:lnTo>
                    <a:pt x="1195" y="468"/>
                  </a:lnTo>
                  <a:lnTo>
                    <a:pt x="1185" y="474"/>
                  </a:lnTo>
                  <a:lnTo>
                    <a:pt x="1176" y="479"/>
                  </a:lnTo>
                  <a:lnTo>
                    <a:pt x="1166" y="487"/>
                  </a:lnTo>
                  <a:lnTo>
                    <a:pt x="1160" y="495"/>
                  </a:lnTo>
                  <a:lnTo>
                    <a:pt x="1155" y="504"/>
                  </a:lnTo>
                  <a:lnTo>
                    <a:pt x="1151" y="514"/>
                  </a:lnTo>
                  <a:lnTo>
                    <a:pt x="1149" y="525"/>
                  </a:lnTo>
                  <a:lnTo>
                    <a:pt x="1149" y="525"/>
                  </a:lnTo>
                  <a:lnTo>
                    <a:pt x="1149" y="529"/>
                  </a:lnTo>
                  <a:lnTo>
                    <a:pt x="1149" y="533"/>
                  </a:lnTo>
                  <a:lnTo>
                    <a:pt x="1149" y="535"/>
                  </a:lnTo>
                  <a:lnTo>
                    <a:pt x="1149" y="537"/>
                  </a:lnTo>
                  <a:lnTo>
                    <a:pt x="1149" y="540"/>
                  </a:lnTo>
                  <a:lnTo>
                    <a:pt x="1149" y="544"/>
                  </a:lnTo>
                  <a:lnTo>
                    <a:pt x="1149" y="546"/>
                  </a:lnTo>
                  <a:lnTo>
                    <a:pt x="1149" y="550"/>
                  </a:lnTo>
                  <a:lnTo>
                    <a:pt x="1149" y="550"/>
                  </a:lnTo>
                  <a:lnTo>
                    <a:pt x="1149" y="554"/>
                  </a:lnTo>
                  <a:lnTo>
                    <a:pt x="1149" y="559"/>
                  </a:lnTo>
                  <a:lnTo>
                    <a:pt x="1147" y="565"/>
                  </a:lnTo>
                  <a:lnTo>
                    <a:pt x="1145" y="569"/>
                  </a:lnTo>
                  <a:lnTo>
                    <a:pt x="1143" y="575"/>
                  </a:lnTo>
                  <a:lnTo>
                    <a:pt x="1141" y="582"/>
                  </a:lnTo>
                  <a:lnTo>
                    <a:pt x="1139" y="588"/>
                  </a:lnTo>
                  <a:lnTo>
                    <a:pt x="1137" y="594"/>
                  </a:lnTo>
                  <a:lnTo>
                    <a:pt x="1135" y="599"/>
                  </a:lnTo>
                  <a:lnTo>
                    <a:pt x="1134" y="607"/>
                  </a:lnTo>
                  <a:lnTo>
                    <a:pt x="1132" y="613"/>
                  </a:lnTo>
                  <a:lnTo>
                    <a:pt x="1130" y="619"/>
                  </a:lnTo>
                  <a:lnTo>
                    <a:pt x="1128" y="626"/>
                  </a:lnTo>
                  <a:lnTo>
                    <a:pt x="1126" y="632"/>
                  </a:lnTo>
                  <a:lnTo>
                    <a:pt x="1126" y="638"/>
                  </a:lnTo>
                  <a:lnTo>
                    <a:pt x="1126" y="643"/>
                  </a:lnTo>
                  <a:lnTo>
                    <a:pt x="1126" y="643"/>
                  </a:lnTo>
                  <a:lnTo>
                    <a:pt x="1126" y="649"/>
                  </a:lnTo>
                  <a:lnTo>
                    <a:pt x="1126" y="653"/>
                  </a:lnTo>
                  <a:lnTo>
                    <a:pt x="1126" y="657"/>
                  </a:lnTo>
                  <a:lnTo>
                    <a:pt x="1126" y="662"/>
                  </a:lnTo>
                  <a:lnTo>
                    <a:pt x="1128" y="666"/>
                  </a:lnTo>
                  <a:lnTo>
                    <a:pt x="1128" y="670"/>
                  </a:lnTo>
                  <a:lnTo>
                    <a:pt x="1130" y="676"/>
                  </a:lnTo>
                  <a:lnTo>
                    <a:pt x="1130" y="680"/>
                  </a:lnTo>
                  <a:lnTo>
                    <a:pt x="1130" y="683"/>
                  </a:lnTo>
                  <a:lnTo>
                    <a:pt x="1132" y="689"/>
                  </a:lnTo>
                  <a:lnTo>
                    <a:pt x="1132" y="693"/>
                  </a:lnTo>
                  <a:lnTo>
                    <a:pt x="1134" y="697"/>
                  </a:lnTo>
                  <a:lnTo>
                    <a:pt x="1134" y="702"/>
                  </a:lnTo>
                  <a:lnTo>
                    <a:pt x="1134" y="706"/>
                  </a:lnTo>
                  <a:lnTo>
                    <a:pt x="1134" y="710"/>
                  </a:lnTo>
                  <a:lnTo>
                    <a:pt x="1134" y="714"/>
                  </a:lnTo>
                  <a:lnTo>
                    <a:pt x="1134" y="714"/>
                  </a:lnTo>
                  <a:lnTo>
                    <a:pt x="1134" y="723"/>
                  </a:lnTo>
                  <a:lnTo>
                    <a:pt x="1132" y="733"/>
                  </a:lnTo>
                  <a:lnTo>
                    <a:pt x="1130" y="741"/>
                  </a:lnTo>
                  <a:lnTo>
                    <a:pt x="1126" y="748"/>
                  </a:lnTo>
                  <a:lnTo>
                    <a:pt x="1122" y="756"/>
                  </a:lnTo>
                  <a:lnTo>
                    <a:pt x="1120" y="762"/>
                  </a:lnTo>
                  <a:lnTo>
                    <a:pt x="1118" y="767"/>
                  </a:lnTo>
                  <a:lnTo>
                    <a:pt x="1116" y="773"/>
                  </a:lnTo>
                  <a:lnTo>
                    <a:pt x="1116" y="773"/>
                  </a:lnTo>
                  <a:lnTo>
                    <a:pt x="1116" y="783"/>
                  </a:lnTo>
                  <a:lnTo>
                    <a:pt x="1116" y="790"/>
                  </a:lnTo>
                  <a:lnTo>
                    <a:pt x="1118" y="798"/>
                  </a:lnTo>
                  <a:lnTo>
                    <a:pt x="1118" y="806"/>
                  </a:lnTo>
                  <a:lnTo>
                    <a:pt x="1120" y="813"/>
                  </a:lnTo>
                  <a:lnTo>
                    <a:pt x="1120" y="821"/>
                  </a:lnTo>
                  <a:lnTo>
                    <a:pt x="1116" y="828"/>
                  </a:lnTo>
                  <a:lnTo>
                    <a:pt x="1114" y="836"/>
                  </a:lnTo>
                  <a:lnTo>
                    <a:pt x="1114" y="836"/>
                  </a:lnTo>
                  <a:lnTo>
                    <a:pt x="1111" y="838"/>
                  </a:lnTo>
                  <a:lnTo>
                    <a:pt x="1109" y="840"/>
                  </a:lnTo>
                  <a:lnTo>
                    <a:pt x="1105" y="840"/>
                  </a:lnTo>
                  <a:lnTo>
                    <a:pt x="1099" y="840"/>
                  </a:lnTo>
                  <a:lnTo>
                    <a:pt x="1095" y="840"/>
                  </a:lnTo>
                  <a:lnTo>
                    <a:pt x="1092" y="840"/>
                  </a:lnTo>
                  <a:lnTo>
                    <a:pt x="1090" y="840"/>
                  </a:lnTo>
                  <a:lnTo>
                    <a:pt x="1086" y="842"/>
                  </a:lnTo>
                  <a:lnTo>
                    <a:pt x="1086" y="842"/>
                  </a:lnTo>
                  <a:lnTo>
                    <a:pt x="1080" y="846"/>
                  </a:lnTo>
                  <a:lnTo>
                    <a:pt x="1076" y="849"/>
                  </a:lnTo>
                  <a:lnTo>
                    <a:pt x="1074" y="853"/>
                  </a:lnTo>
                  <a:lnTo>
                    <a:pt x="1073" y="857"/>
                  </a:lnTo>
                  <a:lnTo>
                    <a:pt x="1071" y="863"/>
                  </a:lnTo>
                  <a:lnTo>
                    <a:pt x="1069" y="867"/>
                  </a:lnTo>
                  <a:lnTo>
                    <a:pt x="1065" y="872"/>
                  </a:lnTo>
                  <a:lnTo>
                    <a:pt x="1063" y="876"/>
                  </a:lnTo>
                  <a:lnTo>
                    <a:pt x="1063" y="876"/>
                  </a:lnTo>
                  <a:lnTo>
                    <a:pt x="1057" y="884"/>
                  </a:lnTo>
                  <a:lnTo>
                    <a:pt x="1053" y="889"/>
                  </a:lnTo>
                  <a:lnTo>
                    <a:pt x="1052" y="897"/>
                  </a:lnTo>
                  <a:lnTo>
                    <a:pt x="1048" y="903"/>
                  </a:lnTo>
                  <a:lnTo>
                    <a:pt x="1046" y="910"/>
                  </a:lnTo>
                  <a:lnTo>
                    <a:pt x="1044" y="916"/>
                  </a:lnTo>
                  <a:lnTo>
                    <a:pt x="1042" y="924"/>
                  </a:lnTo>
                  <a:lnTo>
                    <a:pt x="1042" y="931"/>
                  </a:lnTo>
                  <a:lnTo>
                    <a:pt x="1040" y="937"/>
                  </a:lnTo>
                  <a:lnTo>
                    <a:pt x="1038" y="945"/>
                  </a:lnTo>
                  <a:lnTo>
                    <a:pt x="1038" y="952"/>
                  </a:lnTo>
                  <a:lnTo>
                    <a:pt x="1036" y="960"/>
                  </a:lnTo>
                  <a:lnTo>
                    <a:pt x="1034" y="968"/>
                  </a:lnTo>
                  <a:lnTo>
                    <a:pt x="1032" y="975"/>
                  </a:lnTo>
                  <a:lnTo>
                    <a:pt x="1031" y="985"/>
                  </a:lnTo>
                  <a:lnTo>
                    <a:pt x="1027" y="992"/>
                  </a:lnTo>
                  <a:lnTo>
                    <a:pt x="1027" y="992"/>
                  </a:lnTo>
                  <a:lnTo>
                    <a:pt x="1025" y="994"/>
                  </a:lnTo>
                  <a:lnTo>
                    <a:pt x="1021" y="994"/>
                  </a:lnTo>
                  <a:lnTo>
                    <a:pt x="1013" y="996"/>
                  </a:lnTo>
                  <a:lnTo>
                    <a:pt x="1006" y="998"/>
                  </a:lnTo>
                  <a:lnTo>
                    <a:pt x="998" y="1000"/>
                  </a:lnTo>
                  <a:lnTo>
                    <a:pt x="992" y="1004"/>
                  </a:lnTo>
                  <a:lnTo>
                    <a:pt x="989" y="1010"/>
                  </a:lnTo>
                  <a:lnTo>
                    <a:pt x="987" y="1019"/>
                  </a:lnTo>
                  <a:lnTo>
                    <a:pt x="987" y="1019"/>
                  </a:lnTo>
                  <a:lnTo>
                    <a:pt x="987" y="1023"/>
                  </a:lnTo>
                  <a:lnTo>
                    <a:pt x="987" y="1027"/>
                  </a:lnTo>
                  <a:lnTo>
                    <a:pt x="987" y="1031"/>
                  </a:lnTo>
                  <a:lnTo>
                    <a:pt x="987" y="1033"/>
                  </a:lnTo>
                  <a:lnTo>
                    <a:pt x="987" y="1036"/>
                  </a:lnTo>
                  <a:lnTo>
                    <a:pt x="987" y="1038"/>
                  </a:lnTo>
                  <a:lnTo>
                    <a:pt x="987" y="1040"/>
                  </a:lnTo>
                  <a:lnTo>
                    <a:pt x="987" y="1042"/>
                  </a:lnTo>
                  <a:lnTo>
                    <a:pt x="987" y="1042"/>
                  </a:lnTo>
                  <a:lnTo>
                    <a:pt x="983" y="1052"/>
                  </a:lnTo>
                  <a:lnTo>
                    <a:pt x="981" y="1059"/>
                  </a:lnTo>
                  <a:lnTo>
                    <a:pt x="977" y="1067"/>
                  </a:lnTo>
                  <a:lnTo>
                    <a:pt x="975" y="1073"/>
                  </a:lnTo>
                  <a:lnTo>
                    <a:pt x="973" y="1080"/>
                  </a:lnTo>
                  <a:lnTo>
                    <a:pt x="971" y="1088"/>
                  </a:lnTo>
                  <a:lnTo>
                    <a:pt x="969" y="1095"/>
                  </a:lnTo>
                  <a:lnTo>
                    <a:pt x="968" y="1105"/>
                  </a:lnTo>
                  <a:lnTo>
                    <a:pt x="968" y="1105"/>
                  </a:lnTo>
                  <a:lnTo>
                    <a:pt x="968" y="1113"/>
                  </a:lnTo>
                  <a:lnTo>
                    <a:pt x="968" y="1120"/>
                  </a:lnTo>
                  <a:lnTo>
                    <a:pt x="968" y="1128"/>
                  </a:lnTo>
                  <a:lnTo>
                    <a:pt x="968" y="1136"/>
                  </a:lnTo>
                  <a:lnTo>
                    <a:pt x="968" y="1141"/>
                  </a:lnTo>
                  <a:lnTo>
                    <a:pt x="968" y="1147"/>
                  </a:lnTo>
                  <a:lnTo>
                    <a:pt x="968" y="1153"/>
                  </a:lnTo>
                  <a:lnTo>
                    <a:pt x="968" y="1158"/>
                  </a:lnTo>
                  <a:lnTo>
                    <a:pt x="968" y="1158"/>
                  </a:lnTo>
                  <a:lnTo>
                    <a:pt x="968" y="1166"/>
                  </a:lnTo>
                  <a:lnTo>
                    <a:pt x="966" y="1172"/>
                  </a:lnTo>
                  <a:lnTo>
                    <a:pt x="962" y="1176"/>
                  </a:lnTo>
                  <a:lnTo>
                    <a:pt x="958" y="1179"/>
                  </a:lnTo>
                  <a:lnTo>
                    <a:pt x="952" y="1181"/>
                  </a:lnTo>
                  <a:lnTo>
                    <a:pt x="947" y="1185"/>
                  </a:lnTo>
                  <a:lnTo>
                    <a:pt x="941" y="1187"/>
                  </a:lnTo>
                  <a:lnTo>
                    <a:pt x="935" y="1187"/>
                  </a:lnTo>
                  <a:lnTo>
                    <a:pt x="928" y="1189"/>
                  </a:lnTo>
                  <a:lnTo>
                    <a:pt x="922" y="1191"/>
                  </a:lnTo>
                  <a:lnTo>
                    <a:pt x="916" y="1191"/>
                  </a:lnTo>
                  <a:lnTo>
                    <a:pt x="912" y="1193"/>
                  </a:lnTo>
                  <a:lnTo>
                    <a:pt x="907" y="1195"/>
                  </a:lnTo>
                  <a:lnTo>
                    <a:pt x="905" y="1198"/>
                  </a:lnTo>
                  <a:lnTo>
                    <a:pt x="903" y="1202"/>
                  </a:lnTo>
                  <a:lnTo>
                    <a:pt x="901" y="1208"/>
                  </a:lnTo>
                  <a:lnTo>
                    <a:pt x="901" y="1208"/>
                  </a:lnTo>
                  <a:lnTo>
                    <a:pt x="901" y="1210"/>
                  </a:lnTo>
                  <a:lnTo>
                    <a:pt x="899" y="1214"/>
                  </a:lnTo>
                  <a:lnTo>
                    <a:pt x="897" y="1216"/>
                  </a:lnTo>
                  <a:lnTo>
                    <a:pt x="895" y="1218"/>
                  </a:lnTo>
                  <a:lnTo>
                    <a:pt x="893" y="1219"/>
                  </a:lnTo>
                  <a:lnTo>
                    <a:pt x="891" y="1223"/>
                  </a:lnTo>
                  <a:lnTo>
                    <a:pt x="889" y="1225"/>
                  </a:lnTo>
                  <a:lnTo>
                    <a:pt x="889" y="1229"/>
                  </a:lnTo>
                  <a:lnTo>
                    <a:pt x="889" y="1229"/>
                  </a:lnTo>
                  <a:lnTo>
                    <a:pt x="891" y="1235"/>
                  </a:lnTo>
                  <a:lnTo>
                    <a:pt x="893" y="1239"/>
                  </a:lnTo>
                  <a:lnTo>
                    <a:pt x="899" y="1240"/>
                  </a:lnTo>
                  <a:lnTo>
                    <a:pt x="907" y="1240"/>
                  </a:lnTo>
                  <a:lnTo>
                    <a:pt x="914" y="1240"/>
                  </a:lnTo>
                  <a:lnTo>
                    <a:pt x="920" y="1240"/>
                  </a:lnTo>
                  <a:lnTo>
                    <a:pt x="928" y="1240"/>
                  </a:lnTo>
                  <a:lnTo>
                    <a:pt x="933" y="1242"/>
                  </a:lnTo>
                  <a:lnTo>
                    <a:pt x="933" y="1242"/>
                  </a:lnTo>
                  <a:lnTo>
                    <a:pt x="939" y="1246"/>
                  </a:lnTo>
                  <a:lnTo>
                    <a:pt x="945" y="1250"/>
                  </a:lnTo>
                  <a:lnTo>
                    <a:pt x="950" y="1256"/>
                  </a:lnTo>
                  <a:lnTo>
                    <a:pt x="958" y="1260"/>
                  </a:lnTo>
                  <a:lnTo>
                    <a:pt x="964" y="1265"/>
                  </a:lnTo>
                  <a:lnTo>
                    <a:pt x="971" y="1271"/>
                  </a:lnTo>
                  <a:lnTo>
                    <a:pt x="977" y="1277"/>
                  </a:lnTo>
                  <a:lnTo>
                    <a:pt x="983" y="1282"/>
                  </a:lnTo>
                  <a:lnTo>
                    <a:pt x="990" y="1290"/>
                  </a:lnTo>
                  <a:lnTo>
                    <a:pt x="996" y="1296"/>
                  </a:lnTo>
                  <a:lnTo>
                    <a:pt x="1002" y="1302"/>
                  </a:lnTo>
                  <a:lnTo>
                    <a:pt x="1008" y="1307"/>
                  </a:lnTo>
                  <a:lnTo>
                    <a:pt x="1013" y="1315"/>
                  </a:lnTo>
                  <a:lnTo>
                    <a:pt x="1019" y="1321"/>
                  </a:lnTo>
                  <a:lnTo>
                    <a:pt x="1023" y="1326"/>
                  </a:lnTo>
                  <a:lnTo>
                    <a:pt x="1027" y="1332"/>
                  </a:lnTo>
                  <a:lnTo>
                    <a:pt x="1027" y="1332"/>
                  </a:lnTo>
                  <a:lnTo>
                    <a:pt x="1031" y="1336"/>
                  </a:lnTo>
                  <a:lnTo>
                    <a:pt x="1032" y="1340"/>
                  </a:lnTo>
                  <a:lnTo>
                    <a:pt x="1034" y="1345"/>
                  </a:lnTo>
                  <a:lnTo>
                    <a:pt x="1036" y="1351"/>
                  </a:lnTo>
                  <a:lnTo>
                    <a:pt x="1038" y="1355"/>
                  </a:lnTo>
                  <a:lnTo>
                    <a:pt x="1040" y="1361"/>
                  </a:lnTo>
                  <a:lnTo>
                    <a:pt x="1040" y="1366"/>
                  </a:lnTo>
                  <a:lnTo>
                    <a:pt x="1042" y="1372"/>
                  </a:lnTo>
                  <a:lnTo>
                    <a:pt x="1042" y="1376"/>
                  </a:lnTo>
                  <a:lnTo>
                    <a:pt x="1044" y="1382"/>
                  </a:lnTo>
                  <a:lnTo>
                    <a:pt x="1046" y="1387"/>
                  </a:lnTo>
                  <a:lnTo>
                    <a:pt x="1046" y="1391"/>
                  </a:lnTo>
                  <a:lnTo>
                    <a:pt x="1050" y="1397"/>
                  </a:lnTo>
                  <a:lnTo>
                    <a:pt x="1052" y="1403"/>
                  </a:lnTo>
                  <a:lnTo>
                    <a:pt x="1053" y="1406"/>
                  </a:lnTo>
                  <a:lnTo>
                    <a:pt x="1057" y="1412"/>
                  </a:lnTo>
                  <a:lnTo>
                    <a:pt x="1057" y="1412"/>
                  </a:lnTo>
                  <a:lnTo>
                    <a:pt x="1061" y="1416"/>
                  </a:lnTo>
                  <a:lnTo>
                    <a:pt x="1065" y="1418"/>
                  </a:lnTo>
                  <a:lnTo>
                    <a:pt x="1071" y="1420"/>
                  </a:lnTo>
                  <a:lnTo>
                    <a:pt x="1074" y="1422"/>
                  </a:lnTo>
                  <a:lnTo>
                    <a:pt x="1080" y="1422"/>
                  </a:lnTo>
                  <a:lnTo>
                    <a:pt x="1086" y="1422"/>
                  </a:lnTo>
                  <a:lnTo>
                    <a:pt x="1092" y="1422"/>
                  </a:lnTo>
                  <a:lnTo>
                    <a:pt x="1099" y="1424"/>
                  </a:lnTo>
                  <a:lnTo>
                    <a:pt x="1099" y="1424"/>
                  </a:lnTo>
                  <a:lnTo>
                    <a:pt x="1105" y="1427"/>
                  </a:lnTo>
                  <a:lnTo>
                    <a:pt x="1109" y="1431"/>
                  </a:lnTo>
                  <a:lnTo>
                    <a:pt x="1113" y="1437"/>
                  </a:lnTo>
                  <a:lnTo>
                    <a:pt x="1114" y="1445"/>
                  </a:lnTo>
                  <a:lnTo>
                    <a:pt x="1116" y="1452"/>
                  </a:lnTo>
                  <a:lnTo>
                    <a:pt x="1116" y="1460"/>
                  </a:lnTo>
                  <a:lnTo>
                    <a:pt x="1116" y="1467"/>
                  </a:lnTo>
                  <a:lnTo>
                    <a:pt x="1116" y="1473"/>
                  </a:lnTo>
                  <a:lnTo>
                    <a:pt x="1116" y="1473"/>
                  </a:lnTo>
                  <a:lnTo>
                    <a:pt x="1116" y="1475"/>
                  </a:lnTo>
                  <a:lnTo>
                    <a:pt x="1116" y="1477"/>
                  </a:lnTo>
                  <a:lnTo>
                    <a:pt x="1118" y="1481"/>
                  </a:lnTo>
                  <a:lnTo>
                    <a:pt x="1118" y="1483"/>
                  </a:lnTo>
                  <a:lnTo>
                    <a:pt x="1120" y="1485"/>
                  </a:lnTo>
                  <a:lnTo>
                    <a:pt x="1120" y="1487"/>
                  </a:lnTo>
                  <a:lnTo>
                    <a:pt x="1122" y="1490"/>
                  </a:lnTo>
                  <a:lnTo>
                    <a:pt x="1122" y="1490"/>
                  </a:lnTo>
                  <a:lnTo>
                    <a:pt x="1004" y="1490"/>
                  </a:lnTo>
                  <a:lnTo>
                    <a:pt x="1004" y="1490"/>
                  </a:lnTo>
                  <a:lnTo>
                    <a:pt x="1002" y="1494"/>
                  </a:lnTo>
                  <a:lnTo>
                    <a:pt x="998" y="1500"/>
                  </a:lnTo>
                  <a:lnTo>
                    <a:pt x="992" y="1504"/>
                  </a:lnTo>
                  <a:lnTo>
                    <a:pt x="989" y="1509"/>
                  </a:lnTo>
                  <a:lnTo>
                    <a:pt x="983" y="1515"/>
                  </a:lnTo>
                  <a:lnTo>
                    <a:pt x="977" y="1521"/>
                  </a:lnTo>
                  <a:lnTo>
                    <a:pt x="971" y="1527"/>
                  </a:lnTo>
                  <a:lnTo>
                    <a:pt x="966" y="1532"/>
                  </a:lnTo>
                  <a:lnTo>
                    <a:pt x="960" y="1538"/>
                  </a:lnTo>
                  <a:lnTo>
                    <a:pt x="954" y="1544"/>
                  </a:lnTo>
                  <a:lnTo>
                    <a:pt x="949" y="1550"/>
                  </a:lnTo>
                  <a:lnTo>
                    <a:pt x="943" y="1553"/>
                  </a:lnTo>
                  <a:lnTo>
                    <a:pt x="937" y="1557"/>
                  </a:lnTo>
                  <a:lnTo>
                    <a:pt x="933" y="1559"/>
                  </a:lnTo>
                  <a:lnTo>
                    <a:pt x="928" y="1561"/>
                  </a:lnTo>
                  <a:lnTo>
                    <a:pt x="924" y="1561"/>
                  </a:lnTo>
                  <a:lnTo>
                    <a:pt x="924" y="1561"/>
                  </a:lnTo>
                  <a:lnTo>
                    <a:pt x="920" y="1561"/>
                  </a:lnTo>
                  <a:lnTo>
                    <a:pt x="916" y="1561"/>
                  </a:lnTo>
                  <a:lnTo>
                    <a:pt x="912" y="1561"/>
                  </a:lnTo>
                  <a:lnTo>
                    <a:pt x="908" y="1561"/>
                  </a:lnTo>
                  <a:lnTo>
                    <a:pt x="905" y="1561"/>
                  </a:lnTo>
                  <a:lnTo>
                    <a:pt x="903" y="1561"/>
                  </a:lnTo>
                  <a:lnTo>
                    <a:pt x="899" y="1561"/>
                  </a:lnTo>
                  <a:lnTo>
                    <a:pt x="897" y="1561"/>
                  </a:lnTo>
                  <a:lnTo>
                    <a:pt x="897" y="1561"/>
                  </a:lnTo>
                  <a:lnTo>
                    <a:pt x="893" y="1561"/>
                  </a:lnTo>
                  <a:lnTo>
                    <a:pt x="891" y="1563"/>
                  </a:lnTo>
                  <a:lnTo>
                    <a:pt x="887" y="1563"/>
                  </a:lnTo>
                  <a:lnTo>
                    <a:pt x="884" y="1565"/>
                  </a:lnTo>
                  <a:lnTo>
                    <a:pt x="878" y="1565"/>
                  </a:lnTo>
                  <a:lnTo>
                    <a:pt x="874" y="1567"/>
                  </a:lnTo>
                  <a:lnTo>
                    <a:pt x="870" y="1569"/>
                  </a:lnTo>
                  <a:lnTo>
                    <a:pt x="866" y="1569"/>
                  </a:lnTo>
                  <a:lnTo>
                    <a:pt x="863" y="1571"/>
                  </a:lnTo>
                  <a:lnTo>
                    <a:pt x="857" y="1572"/>
                  </a:lnTo>
                  <a:lnTo>
                    <a:pt x="853" y="1572"/>
                  </a:lnTo>
                  <a:lnTo>
                    <a:pt x="849" y="1574"/>
                  </a:lnTo>
                  <a:lnTo>
                    <a:pt x="844" y="1576"/>
                  </a:lnTo>
                  <a:lnTo>
                    <a:pt x="840" y="1576"/>
                  </a:lnTo>
                  <a:lnTo>
                    <a:pt x="834" y="1576"/>
                  </a:lnTo>
                  <a:lnTo>
                    <a:pt x="830" y="1576"/>
                  </a:lnTo>
                  <a:lnTo>
                    <a:pt x="830" y="1576"/>
                  </a:lnTo>
                  <a:lnTo>
                    <a:pt x="825" y="1576"/>
                  </a:lnTo>
                  <a:lnTo>
                    <a:pt x="819" y="1574"/>
                  </a:lnTo>
                  <a:lnTo>
                    <a:pt x="815" y="1572"/>
                  </a:lnTo>
                  <a:lnTo>
                    <a:pt x="809" y="1571"/>
                  </a:lnTo>
                  <a:lnTo>
                    <a:pt x="804" y="1569"/>
                  </a:lnTo>
                  <a:lnTo>
                    <a:pt x="798" y="1567"/>
                  </a:lnTo>
                  <a:lnTo>
                    <a:pt x="790" y="1565"/>
                  </a:lnTo>
                  <a:lnTo>
                    <a:pt x="783" y="1565"/>
                  </a:lnTo>
                  <a:lnTo>
                    <a:pt x="783" y="1565"/>
                  </a:lnTo>
                  <a:lnTo>
                    <a:pt x="775" y="1565"/>
                  </a:lnTo>
                  <a:lnTo>
                    <a:pt x="769" y="1567"/>
                  </a:lnTo>
                  <a:lnTo>
                    <a:pt x="763" y="1567"/>
                  </a:lnTo>
                  <a:lnTo>
                    <a:pt x="758" y="1569"/>
                  </a:lnTo>
                  <a:lnTo>
                    <a:pt x="754" y="1571"/>
                  </a:lnTo>
                  <a:lnTo>
                    <a:pt x="748" y="1572"/>
                  </a:lnTo>
                  <a:lnTo>
                    <a:pt x="744" y="1574"/>
                  </a:lnTo>
                  <a:lnTo>
                    <a:pt x="741" y="1576"/>
                  </a:lnTo>
                  <a:lnTo>
                    <a:pt x="737" y="1580"/>
                  </a:lnTo>
                  <a:lnTo>
                    <a:pt x="733" y="1582"/>
                  </a:lnTo>
                  <a:lnTo>
                    <a:pt x="729" y="1584"/>
                  </a:lnTo>
                  <a:lnTo>
                    <a:pt x="727" y="1586"/>
                  </a:lnTo>
                  <a:lnTo>
                    <a:pt x="723" y="1586"/>
                  </a:lnTo>
                  <a:lnTo>
                    <a:pt x="720" y="1588"/>
                  </a:lnTo>
                  <a:lnTo>
                    <a:pt x="716" y="1588"/>
                  </a:lnTo>
                  <a:lnTo>
                    <a:pt x="712" y="1590"/>
                  </a:lnTo>
                  <a:lnTo>
                    <a:pt x="712" y="1590"/>
                  </a:lnTo>
                  <a:lnTo>
                    <a:pt x="706" y="1588"/>
                  </a:lnTo>
                  <a:lnTo>
                    <a:pt x="704" y="1586"/>
                  </a:lnTo>
                  <a:lnTo>
                    <a:pt x="702" y="1582"/>
                  </a:lnTo>
                  <a:lnTo>
                    <a:pt x="701" y="1578"/>
                  </a:lnTo>
                  <a:lnTo>
                    <a:pt x="701" y="1574"/>
                  </a:lnTo>
                  <a:lnTo>
                    <a:pt x="701" y="1571"/>
                  </a:lnTo>
                  <a:lnTo>
                    <a:pt x="701" y="1569"/>
                  </a:lnTo>
                  <a:lnTo>
                    <a:pt x="701" y="1565"/>
                  </a:lnTo>
                  <a:lnTo>
                    <a:pt x="701" y="1565"/>
                  </a:lnTo>
                  <a:lnTo>
                    <a:pt x="699" y="1563"/>
                  </a:lnTo>
                  <a:lnTo>
                    <a:pt x="695" y="1561"/>
                  </a:lnTo>
                  <a:lnTo>
                    <a:pt x="693" y="1561"/>
                  </a:lnTo>
                  <a:lnTo>
                    <a:pt x="689" y="1561"/>
                  </a:lnTo>
                  <a:lnTo>
                    <a:pt x="687" y="1561"/>
                  </a:lnTo>
                  <a:lnTo>
                    <a:pt x="683" y="1559"/>
                  </a:lnTo>
                  <a:lnTo>
                    <a:pt x="680" y="1559"/>
                  </a:lnTo>
                  <a:lnTo>
                    <a:pt x="676" y="1559"/>
                  </a:lnTo>
                  <a:lnTo>
                    <a:pt x="676" y="1559"/>
                  </a:lnTo>
                  <a:lnTo>
                    <a:pt x="668" y="1553"/>
                  </a:lnTo>
                  <a:lnTo>
                    <a:pt x="662" y="1548"/>
                  </a:lnTo>
                  <a:lnTo>
                    <a:pt x="657" y="1538"/>
                  </a:lnTo>
                  <a:lnTo>
                    <a:pt x="651" y="1529"/>
                  </a:lnTo>
                  <a:lnTo>
                    <a:pt x="645" y="1521"/>
                  </a:lnTo>
                  <a:lnTo>
                    <a:pt x="638" y="1513"/>
                  </a:lnTo>
                  <a:lnTo>
                    <a:pt x="630" y="1509"/>
                  </a:lnTo>
                  <a:lnTo>
                    <a:pt x="620" y="1506"/>
                  </a:lnTo>
                  <a:lnTo>
                    <a:pt x="620" y="1506"/>
                  </a:lnTo>
                  <a:lnTo>
                    <a:pt x="617" y="1508"/>
                  </a:lnTo>
                  <a:lnTo>
                    <a:pt x="613" y="1509"/>
                  </a:lnTo>
                  <a:lnTo>
                    <a:pt x="611" y="1513"/>
                  </a:lnTo>
                  <a:lnTo>
                    <a:pt x="607" y="1515"/>
                  </a:lnTo>
                  <a:lnTo>
                    <a:pt x="605" y="1519"/>
                  </a:lnTo>
                  <a:lnTo>
                    <a:pt x="603" y="1523"/>
                  </a:lnTo>
                  <a:lnTo>
                    <a:pt x="599" y="1525"/>
                  </a:lnTo>
                  <a:lnTo>
                    <a:pt x="596" y="1527"/>
                  </a:lnTo>
                  <a:lnTo>
                    <a:pt x="596" y="1527"/>
                  </a:lnTo>
                  <a:lnTo>
                    <a:pt x="590" y="1525"/>
                  </a:lnTo>
                  <a:lnTo>
                    <a:pt x="584" y="1525"/>
                  </a:lnTo>
                  <a:lnTo>
                    <a:pt x="580" y="1523"/>
                  </a:lnTo>
                  <a:lnTo>
                    <a:pt x="575" y="1521"/>
                  </a:lnTo>
                  <a:lnTo>
                    <a:pt x="569" y="1521"/>
                  </a:lnTo>
                  <a:lnTo>
                    <a:pt x="563" y="1519"/>
                  </a:lnTo>
                  <a:lnTo>
                    <a:pt x="557" y="1519"/>
                  </a:lnTo>
                  <a:lnTo>
                    <a:pt x="552" y="1519"/>
                  </a:lnTo>
                  <a:lnTo>
                    <a:pt x="552" y="1519"/>
                  </a:lnTo>
                  <a:lnTo>
                    <a:pt x="546" y="1519"/>
                  </a:lnTo>
                  <a:lnTo>
                    <a:pt x="542" y="1521"/>
                  </a:lnTo>
                  <a:lnTo>
                    <a:pt x="538" y="1523"/>
                  </a:lnTo>
                  <a:lnTo>
                    <a:pt x="535" y="1525"/>
                  </a:lnTo>
                  <a:lnTo>
                    <a:pt x="533" y="1527"/>
                  </a:lnTo>
                  <a:lnTo>
                    <a:pt x="529" y="1530"/>
                  </a:lnTo>
                  <a:lnTo>
                    <a:pt x="525" y="1532"/>
                  </a:lnTo>
                  <a:lnTo>
                    <a:pt x="519" y="1532"/>
                  </a:lnTo>
                  <a:lnTo>
                    <a:pt x="519" y="1532"/>
                  </a:lnTo>
                  <a:lnTo>
                    <a:pt x="510" y="1530"/>
                  </a:lnTo>
                  <a:lnTo>
                    <a:pt x="502" y="1529"/>
                  </a:lnTo>
                  <a:lnTo>
                    <a:pt x="496" y="1525"/>
                  </a:lnTo>
                  <a:lnTo>
                    <a:pt x="491" y="1519"/>
                  </a:lnTo>
                  <a:lnTo>
                    <a:pt x="487" y="1511"/>
                  </a:lnTo>
                  <a:lnTo>
                    <a:pt x="483" y="1506"/>
                  </a:lnTo>
                  <a:lnTo>
                    <a:pt x="479" y="1500"/>
                  </a:lnTo>
                  <a:lnTo>
                    <a:pt x="475" y="1494"/>
                  </a:lnTo>
                  <a:lnTo>
                    <a:pt x="475" y="1494"/>
                  </a:lnTo>
                  <a:lnTo>
                    <a:pt x="472" y="1490"/>
                  </a:lnTo>
                  <a:lnTo>
                    <a:pt x="466" y="1485"/>
                  </a:lnTo>
                  <a:lnTo>
                    <a:pt x="462" y="1483"/>
                  </a:lnTo>
                  <a:lnTo>
                    <a:pt x="454" y="1479"/>
                  </a:lnTo>
                  <a:lnTo>
                    <a:pt x="451" y="1475"/>
                  </a:lnTo>
                  <a:lnTo>
                    <a:pt x="445" y="1473"/>
                  </a:lnTo>
                  <a:lnTo>
                    <a:pt x="441" y="1471"/>
                  </a:lnTo>
                  <a:lnTo>
                    <a:pt x="437" y="1467"/>
                  </a:lnTo>
                  <a:lnTo>
                    <a:pt x="437" y="1467"/>
                  </a:lnTo>
                  <a:lnTo>
                    <a:pt x="433" y="1464"/>
                  </a:lnTo>
                  <a:lnTo>
                    <a:pt x="433" y="1460"/>
                  </a:lnTo>
                  <a:lnTo>
                    <a:pt x="433" y="1454"/>
                  </a:lnTo>
                  <a:lnTo>
                    <a:pt x="433" y="1450"/>
                  </a:lnTo>
                  <a:lnTo>
                    <a:pt x="433" y="1445"/>
                  </a:lnTo>
                  <a:lnTo>
                    <a:pt x="435" y="1441"/>
                  </a:lnTo>
                  <a:lnTo>
                    <a:pt x="435" y="1435"/>
                  </a:lnTo>
                  <a:lnTo>
                    <a:pt x="433" y="1431"/>
                  </a:lnTo>
                  <a:lnTo>
                    <a:pt x="433" y="1431"/>
                  </a:lnTo>
                  <a:lnTo>
                    <a:pt x="430" y="1426"/>
                  </a:lnTo>
                  <a:lnTo>
                    <a:pt x="426" y="1420"/>
                  </a:lnTo>
                  <a:lnTo>
                    <a:pt x="420" y="1416"/>
                  </a:lnTo>
                  <a:lnTo>
                    <a:pt x="414" y="1412"/>
                  </a:lnTo>
                  <a:lnTo>
                    <a:pt x="407" y="1408"/>
                  </a:lnTo>
                  <a:lnTo>
                    <a:pt x="401" y="1405"/>
                  </a:lnTo>
                  <a:lnTo>
                    <a:pt x="393" y="1403"/>
                  </a:lnTo>
                  <a:lnTo>
                    <a:pt x="388" y="1401"/>
                  </a:lnTo>
                  <a:lnTo>
                    <a:pt x="388" y="1401"/>
                  </a:lnTo>
                  <a:lnTo>
                    <a:pt x="382" y="1397"/>
                  </a:lnTo>
                  <a:lnTo>
                    <a:pt x="378" y="1395"/>
                  </a:lnTo>
                  <a:lnTo>
                    <a:pt x="374" y="1391"/>
                  </a:lnTo>
                  <a:lnTo>
                    <a:pt x="371" y="1385"/>
                  </a:lnTo>
                  <a:lnTo>
                    <a:pt x="369" y="1382"/>
                  </a:lnTo>
                  <a:lnTo>
                    <a:pt x="367" y="1376"/>
                  </a:lnTo>
                  <a:lnTo>
                    <a:pt x="365" y="1370"/>
                  </a:lnTo>
                  <a:lnTo>
                    <a:pt x="363" y="1364"/>
                  </a:lnTo>
                  <a:lnTo>
                    <a:pt x="361" y="1359"/>
                  </a:lnTo>
                  <a:lnTo>
                    <a:pt x="359" y="1353"/>
                  </a:lnTo>
                  <a:lnTo>
                    <a:pt x="357" y="1349"/>
                  </a:lnTo>
                  <a:lnTo>
                    <a:pt x="355" y="1343"/>
                  </a:lnTo>
                  <a:lnTo>
                    <a:pt x="353" y="1338"/>
                  </a:lnTo>
                  <a:lnTo>
                    <a:pt x="350" y="1334"/>
                  </a:lnTo>
                  <a:lnTo>
                    <a:pt x="346" y="1330"/>
                  </a:lnTo>
                  <a:lnTo>
                    <a:pt x="342" y="1326"/>
                  </a:lnTo>
                  <a:lnTo>
                    <a:pt x="342" y="1326"/>
                  </a:lnTo>
                  <a:lnTo>
                    <a:pt x="338" y="1323"/>
                  </a:lnTo>
                  <a:lnTo>
                    <a:pt x="334" y="1321"/>
                  </a:lnTo>
                  <a:lnTo>
                    <a:pt x="329" y="1317"/>
                  </a:lnTo>
                  <a:lnTo>
                    <a:pt x="323" y="1313"/>
                  </a:lnTo>
                  <a:lnTo>
                    <a:pt x="317" y="1309"/>
                  </a:lnTo>
                  <a:lnTo>
                    <a:pt x="311" y="1307"/>
                  </a:lnTo>
                  <a:lnTo>
                    <a:pt x="304" y="1303"/>
                  </a:lnTo>
                  <a:lnTo>
                    <a:pt x="298" y="1300"/>
                  </a:lnTo>
                  <a:lnTo>
                    <a:pt x="292" y="1296"/>
                  </a:lnTo>
                  <a:lnTo>
                    <a:pt x="287" y="1292"/>
                  </a:lnTo>
                  <a:lnTo>
                    <a:pt x="283" y="1288"/>
                  </a:lnTo>
                  <a:lnTo>
                    <a:pt x="277" y="1284"/>
                  </a:lnTo>
                  <a:lnTo>
                    <a:pt x="273" y="1281"/>
                  </a:lnTo>
                  <a:lnTo>
                    <a:pt x="271" y="1277"/>
                  </a:lnTo>
                  <a:lnTo>
                    <a:pt x="269" y="1273"/>
                  </a:lnTo>
                  <a:lnTo>
                    <a:pt x="269" y="1269"/>
                  </a:lnTo>
                  <a:lnTo>
                    <a:pt x="269" y="1269"/>
                  </a:lnTo>
                  <a:lnTo>
                    <a:pt x="269" y="1265"/>
                  </a:lnTo>
                  <a:lnTo>
                    <a:pt x="269" y="1263"/>
                  </a:lnTo>
                  <a:lnTo>
                    <a:pt x="269" y="1261"/>
                  </a:lnTo>
                  <a:lnTo>
                    <a:pt x="269" y="1260"/>
                  </a:lnTo>
                  <a:lnTo>
                    <a:pt x="269" y="1258"/>
                  </a:lnTo>
                  <a:lnTo>
                    <a:pt x="269" y="1258"/>
                  </a:lnTo>
                  <a:lnTo>
                    <a:pt x="269" y="1256"/>
                  </a:lnTo>
                  <a:lnTo>
                    <a:pt x="269" y="1252"/>
                  </a:lnTo>
                  <a:lnTo>
                    <a:pt x="269" y="1252"/>
                  </a:lnTo>
                  <a:lnTo>
                    <a:pt x="268" y="1246"/>
                  </a:lnTo>
                  <a:lnTo>
                    <a:pt x="266" y="1242"/>
                  </a:lnTo>
                  <a:lnTo>
                    <a:pt x="260" y="1239"/>
                  </a:lnTo>
                  <a:lnTo>
                    <a:pt x="254" y="1235"/>
                  </a:lnTo>
                  <a:lnTo>
                    <a:pt x="248" y="1233"/>
                  </a:lnTo>
                  <a:lnTo>
                    <a:pt x="241" y="1231"/>
                  </a:lnTo>
                  <a:lnTo>
                    <a:pt x="231" y="1229"/>
                  </a:lnTo>
                  <a:lnTo>
                    <a:pt x="224" y="1227"/>
                  </a:lnTo>
                  <a:lnTo>
                    <a:pt x="216" y="1225"/>
                  </a:lnTo>
                  <a:lnTo>
                    <a:pt x="208" y="1221"/>
                  </a:lnTo>
                  <a:lnTo>
                    <a:pt x="201" y="1219"/>
                  </a:lnTo>
                  <a:lnTo>
                    <a:pt x="195" y="1218"/>
                  </a:lnTo>
                  <a:lnTo>
                    <a:pt x="191" y="1214"/>
                  </a:lnTo>
                  <a:lnTo>
                    <a:pt x="187" y="1210"/>
                  </a:lnTo>
                  <a:lnTo>
                    <a:pt x="187" y="1204"/>
                  </a:lnTo>
                  <a:lnTo>
                    <a:pt x="189" y="1198"/>
                  </a:lnTo>
                  <a:lnTo>
                    <a:pt x="189" y="1183"/>
                  </a:lnTo>
                  <a:lnTo>
                    <a:pt x="189" y="1183"/>
                  </a:lnTo>
                  <a:lnTo>
                    <a:pt x="184" y="1183"/>
                  </a:lnTo>
                  <a:lnTo>
                    <a:pt x="178" y="1183"/>
                  </a:lnTo>
                  <a:lnTo>
                    <a:pt x="174" y="1183"/>
                  </a:lnTo>
                  <a:lnTo>
                    <a:pt x="170" y="1183"/>
                  </a:lnTo>
                  <a:lnTo>
                    <a:pt x="166" y="1183"/>
                  </a:lnTo>
                  <a:lnTo>
                    <a:pt x="163" y="1183"/>
                  </a:lnTo>
                  <a:lnTo>
                    <a:pt x="161" y="1183"/>
                  </a:lnTo>
                  <a:lnTo>
                    <a:pt x="157" y="1183"/>
                  </a:lnTo>
                  <a:lnTo>
                    <a:pt x="157" y="1183"/>
                  </a:lnTo>
                  <a:lnTo>
                    <a:pt x="151" y="1183"/>
                  </a:lnTo>
                  <a:lnTo>
                    <a:pt x="147" y="1181"/>
                  </a:lnTo>
                  <a:lnTo>
                    <a:pt x="142" y="1178"/>
                  </a:lnTo>
                  <a:lnTo>
                    <a:pt x="138" y="1174"/>
                  </a:lnTo>
                  <a:lnTo>
                    <a:pt x="136" y="1168"/>
                  </a:lnTo>
                  <a:lnTo>
                    <a:pt x="132" y="1162"/>
                  </a:lnTo>
                  <a:lnTo>
                    <a:pt x="130" y="1157"/>
                  </a:lnTo>
                  <a:lnTo>
                    <a:pt x="130" y="1149"/>
                  </a:lnTo>
                  <a:lnTo>
                    <a:pt x="130" y="1149"/>
                  </a:lnTo>
                  <a:lnTo>
                    <a:pt x="130" y="1143"/>
                  </a:lnTo>
                  <a:lnTo>
                    <a:pt x="132" y="1137"/>
                  </a:lnTo>
                  <a:lnTo>
                    <a:pt x="136" y="1134"/>
                  </a:lnTo>
                  <a:lnTo>
                    <a:pt x="138" y="1130"/>
                  </a:lnTo>
                  <a:lnTo>
                    <a:pt x="142" y="1126"/>
                  </a:lnTo>
                  <a:lnTo>
                    <a:pt x="145" y="1120"/>
                  </a:lnTo>
                  <a:lnTo>
                    <a:pt x="147" y="1116"/>
                  </a:lnTo>
                  <a:lnTo>
                    <a:pt x="147" y="1111"/>
                  </a:lnTo>
                  <a:lnTo>
                    <a:pt x="147" y="1111"/>
                  </a:lnTo>
                  <a:lnTo>
                    <a:pt x="147" y="1103"/>
                  </a:lnTo>
                  <a:lnTo>
                    <a:pt x="145" y="1095"/>
                  </a:lnTo>
                  <a:lnTo>
                    <a:pt x="142" y="1088"/>
                  </a:lnTo>
                  <a:lnTo>
                    <a:pt x="138" y="1080"/>
                  </a:lnTo>
                  <a:lnTo>
                    <a:pt x="132" y="1073"/>
                  </a:lnTo>
                  <a:lnTo>
                    <a:pt x="126" y="1067"/>
                  </a:lnTo>
                  <a:lnTo>
                    <a:pt x="121" y="1059"/>
                  </a:lnTo>
                  <a:lnTo>
                    <a:pt x="115" y="1054"/>
                  </a:lnTo>
                  <a:lnTo>
                    <a:pt x="109" y="1046"/>
                  </a:lnTo>
                  <a:lnTo>
                    <a:pt x="103" y="1040"/>
                  </a:lnTo>
                  <a:lnTo>
                    <a:pt x="98" y="1034"/>
                  </a:lnTo>
                  <a:lnTo>
                    <a:pt x="92" y="1029"/>
                  </a:lnTo>
                  <a:lnTo>
                    <a:pt x="88" y="1021"/>
                  </a:lnTo>
                  <a:lnTo>
                    <a:pt x="86" y="1015"/>
                  </a:lnTo>
                  <a:lnTo>
                    <a:pt x="82" y="1010"/>
                  </a:lnTo>
                  <a:lnTo>
                    <a:pt x="82" y="1004"/>
                  </a:lnTo>
                  <a:lnTo>
                    <a:pt x="82" y="1004"/>
                  </a:lnTo>
                  <a:lnTo>
                    <a:pt x="82" y="1002"/>
                  </a:lnTo>
                  <a:lnTo>
                    <a:pt x="84" y="1000"/>
                  </a:lnTo>
                  <a:lnTo>
                    <a:pt x="86" y="998"/>
                  </a:lnTo>
                  <a:lnTo>
                    <a:pt x="88" y="994"/>
                  </a:lnTo>
                  <a:lnTo>
                    <a:pt x="88" y="994"/>
                  </a:lnTo>
                  <a:lnTo>
                    <a:pt x="90" y="991"/>
                  </a:lnTo>
                  <a:lnTo>
                    <a:pt x="92" y="989"/>
                  </a:lnTo>
                  <a:lnTo>
                    <a:pt x="92" y="987"/>
                  </a:lnTo>
                  <a:lnTo>
                    <a:pt x="92" y="987"/>
                  </a:lnTo>
                  <a:lnTo>
                    <a:pt x="92" y="979"/>
                  </a:lnTo>
                  <a:lnTo>
                    <a:pt x="88" y="973"/>
                  </a:lnTo>
                  <a:lnTo>
                    <a:pt x="86" y="970"/>
                  </a:lnTo>
                  <a:lnTo>
                    <a:pt x="82" y="968"/>
                  </a:lnTo>
                  <a:lnTo>
                    <a:pt x="79" y="964"/>
                  </a:lnTo>
                  <a:lnTo>
                    <a:pt x="75" y="962"/>
                  </a:lnTo>
                  <a:lnTo>
                    <a:pt x="71" y="960"/>
                  </a:lnTo>
                  <a:lnTo>
                    <a:pt x="69" y="956"/>
                  </a:lnTo>
                  <a:lnTo>
                    <a:pt x="69" y="956"/>
                  </a:lnTo>
                  <a:lnTo>
                    <a:pt x="65" y="952"/>
                  </a:lnTo>
                  <a:lnTo>
                    <a:pt x="63" y="945"/>
                  </a:lnTo>
                  <a:lnTo>
                    <a:pt x="62" y="939"/>
                  </a:lnTo>
                  <a:lnTo>
                    <a:pt x="60" y="931"/>
                  </a:lnTo>
                  <a:lnTo>
                    <a:pt x="58" y="924"/>
                  </a:lnTo>
                  <a:lnTo>
                    <a:pt x="56" y="916"/>
                  </a:lnTo>
                  <a:lnTo>
                    <a:pt x="54" y="909"/>
                  </a:lnTo>
                  <a:lnTo>
                    <a:pt x="52" y="901"/>
                  </a:lnTo>
                  <a:lnTo>
                    <a:pt x="50" y="895"/>
                  </a:lnTo>
                  <a:lnTo>
                    <a:pt x="48" y="888"/>
                  </a:lnTo>
                  <a:lnTo>
                    <a:pt x="44" y="882"/>
                  </a:lnTo>
                  <a:lnTo>
                    <a:pt x="39" y="876"/>
                  </a:lnTo>
                  <a:lnTo>
                    <a:pt x="35" y="870"/>
                  </a:lnTo>
                  <a:lnTo>
                    <a:pt x="27" y="868"/>
                  </a:lnTo>
                  <a:lnTo>
                    <a:pt x="20" y="867"/>
                  </a:lnTo>
                  <a:lnTo>
                    <a:pt x="12" y="865"/>
                  </a:lnTo>
                  <a:lnTo>
                    <a:pt x="12" y="865"/>
                  </a:lnTo>
                  <a:lnTo>
                    <a:pt x="8" y="865"/>
                  </a:lnTo>
                  <a:lnTo>
                    <a:pt x="6" y="865"/>
                  </a:lnTo>
                  <a:lnTo>
                    <a:pt x="4" y="863"/>
                  </a:lnTo>
                  <a:lnTo>
                    <a:pt x="2" y="861"/>
                  </a:lnTo>
                  <a:lnTo>
                    <a:pt x="0" y="859"/>
                  </a:lnTo>
                  <a:lnTo>
                    <a:pt x="0" y="857"/>
                  </a:lnTo>
                  <a:lnTo>
                    <a:pt x="0" y="853"/>
                  </a:lnTo>
                  <a:lnTo>
                    <a:pt x="0" y="851"/>
                  </a:lnTo>
                  <a:lnTo>
                    <a:pt x="0" y="851"/>
                  </a:lnTo>
                  <a:lnTo>
                    <a:pt x="0" y="846"/>
                  </a:lnTo>
                  <a:lnTo>
                    <a:pt x="2" y="840"/>
                  </a:lnTo>
                  <a:lnTo>
                    <a:pt x="6" y="836"/>
                  </a:lnTo>
                  <a:lnTo>
                    <a:pt x="8" y="832"/>
                  </a:lnTo>
                  <a:lnTo>
                    <a:pt x="12" y="828"/>
                  </a:lnTo>
                  <a:lnTo>
                    <a:pt x="18" y="825"/>
                  </a:lnTo>
                  <a:lnTo>
                    <a:pt x="20" y="823"/>
                  </a:lnTo>
                  <a:lnTo>
                    <a:pt x="23" y="821"/>
                  </a:lnTo>
                  <a:lnTo>
                    <a:pt x="21" y="821"/>
                  </a:lnTo>
                  <a:lnTo>
                    <a:pt x="21" y="821"/>
                  </a:lnTo>
                  <a:lnTo>
                    <a:pt x="23" y="821"/>
                  </a:lnTo>
                  <a:lnTo>
                    <a:pt x="27" y="819"/>
                  </a:lnTo>
                  <a:lnTo>
                    <a:pt x="27" y="817"/>
                  </a:lnTo>
                  <a:lnTo>
                    <a:pt x="29" y="815"/>
                  </a:lnTo>
                  <a:lnTo>
                    <a:pt x="31" y="813"/>
                  </a:lnTo>
                  <a:lnTo>
                    <a:pt x="33" y="811"/>
                  </a:lnTo>
                  <a:lnTo>
                    <a:pt x="33" y="807"/>
                  </a:lnTo>
                  <a:lnTo>
                    <a:pt x="33" y="806"/>
                  </a:lnTo>
                  <a:lnTo>
                    <a:pt x="33" y="806"/>
                  </a:lnTo>
                  <a:lnTo>
                    <a:pt x="33" y="802"/>
                  </a:lnTo>
                  <a:lnTo>
                    <a:pt x="31" y="798"/>
                  </a:lnTo>
                  <a:lnTo>
                    <a:pt x="29" y="792"/>
                  </a:lnTo>
                  <a:lnTo>
                    <a:pt x="29" y="788"/>
                  </a:lnTo>
                  <a:lnTo>
                    <a:pt x="27" y="786"/>
                  </a:lnTo>
                  <a:lnTo>
                    <a:pt x="25" y="783"/>
                  </a:lnTo>
                  <a:lnTo>
                    <a:pt x="23" y="779"/>
                  </a:lnTo>
                  <a:lnTo>
                    <a:pt x="21" y="777"/>
                  </a:lnTo>
                  <a:lnTo>
                    <a:pt x="21" y="777"/>
                  </a:lnTo>
                  <a:lnTo>
                    <a:pt x="25" y="773"/>
                  </a:lnTo>
                  <a:lnTo>
                    <a:pt x="29" y="771"/>
                  </a:lnTo>
                  <a:lnTo>
                    <a:pt x="37" y="767"/>
                  </a:lnTo>
                  <a:lnTo>
                    <a:pt x="42" y="764"/>
                  </a:lnTo>
                  <a:lnTo>
                    <a:pt x="48" y="758"/>
                  </a:lnTo>
                  <a:lnTo>
                    <a:pt x="54" y="754"/>
                  </a:lnTo>
                  <a:lnTo>
                    <a:pt x="58" y="748"/>
                  </a:lnTo>
                  <a:lnTo>
                    <a:pt x="60" y="744"/>
                  </a:lnTo>
                  <a:lnTo>
                    <a:pt x="60" y="744"/>
                  </a:lnTo>
                  <a:lnTo>
                    <a:pt x="58" y="743"/>
                  </a:lnTo>
                  <a:lnTo>
                    <a:pt x="58" y="739"/>
                  </a:lnTo>
                  <a:lnTo>
                    <a:pt x="54" y="737"/>
                  </a:lnTo>
                  <a:lnTo>
                    <a:pt x="52" y="735"/>
                  </a:lnTo>
                  <a:lnTo>
                    <a:pt x="50" y="731"/>
                  </a:lnTo>
                  <a:lnTo>
                    <a:pt x="46" y="729"/>
                  </a:lnTo>
                  <a:lnTo>
                    <a:pt x="44" y="725"/>
                  </a:lnTo>
                  <a:lnTo>
                    <a:pt x="44" y="722"/>
                  </a:lnTo>
                  <a:lnTo>
                    <a:pt x="44" y="722"/>
                  </a:lnTo>
                  <a:lnTo>
                    <a:pt x="44" y="718"/>
                  </a:lnTo>
                  <a:lnTo>
                    <a:pt x="44" y="716"/>
                  </a:lnTo>
                  <a:lnTo>
                    <a:pt x="44" y="714"/>
                  </a:lnTo>
                  <a:lnTo>
                    <a:pt x="44" y="712"/>
                  </a:lnTo>
                  <a:lnTo>
                    <a:pt x="62" y="708"/>
                  </a:lnTo>
                  <a:lnTo>
                    <a:pt x="62" y="708"/>
                  </a:lnTo>
                  <a:lnTo>
                    <a:pt x="65" y="706"/>
                  </a:lnTo>
                  <a:lnTo>
                    <a:pt x="67" y="702"/>
                  </a:lnTo>
                  <a:lnTo>
                    <a:pt x="69" y="699"/>
                  </a:lnTo>
                  <a:lnTo>
                    <a:pt x="71" y="695"/>
                  </a:lnTo>
                  <a:lnTo>
                    <a:pt x="73" y="691"/>
                  </a:lnTo>
                  <a:lnTo>
                    <a:pt x="75" y="685"/>
                  </a:lnTo>
                  <a:lnTo>
                    <a:pt x="77" y="682"/>
                  </a:lnTo>
                  <a:lnTo>
                    <a:pt x="79" y="676"/>
                  </a:lnTo>
                  <a:lnTo>
                    <a:pt x="81" y="670"/>
                  </a:lnTo>
                  <a:lnTo>
                    <a:pt x="82" y="664"/>
                  </a:lnTo>
                  <a:lnTo>
                    <a:pt x="82" y="661"/>
                  </a:lnTo>
                  <a:lnTo>
                    <a:pt x="84" y="655"/>
                  </a:lnTo>
                  <a:lnTo>
                    <a:pt x="84" y="649"/>
                  </a:lnTo>
                  <a:lnTo>
                    <a:pt x="86" y="643"/>
                  </a:lnTo>
                  <a:lnTo>
                    <a:pt x="86" y="640"/>
                  </a:lnTo>
                  <a:lnTo>
                    <a:pt x="86" y="634"/>
                  </a:lnTo>
                  <a:lnTo>
                    <a:pt x="86" y="634"/>
                  </a:lnTo>
                  <a:lnTo>
                    <a:pt x="90" y="634"/>
                  </a:lnTo>
                  <a:lnTo>
                    <a:pt x="96" y="632"/>
                  </a:lnTo>
                  <a:lnTo>
                    <a:pt x="100" y="632"/>
                  </a:lnTo>
                  <a:lnTo>
                    <a:pt x="103" y="630"/>
                  </a:lnTo>
                  <a:lnTo>
                    <a:pt x="109" y="630"/>
                  </a:lnTo>
                  <a:lnTo>
                    <a:pt x="113" y="630"/>
                  </a:lnTo>
                  <a:lnTo>
                    <a:pt x="117" y="628"/>
                  </a:lnTo>
                  <a:lnTo>
                    <a:pt x="123" y="628"/>
                  </a:lnTo>
                  <a:lnTo>
                    <a:pt x="126" y="628"/>
                  </a:lnTo>
                  <a:lnTo>
                    <a:pt x="132" y="628"/>
                  </a:lnTo>
                  <a:lnTo>
                    <a:pt x="136" y="626"/>
                  </a:lnTo>
                  <a:lnTo>
                    <a:pt x="142" y="626"/>
                  </a:lnTo>
                  <a:lnTo>
                    <a:pt x="145" y="626"/>
                  </a:lnTo>
                  <a:lnTo>
                    <a:pt x="151" y="626"/>
                  </a:lnTo>
                  <a:lnTo>
                    <a:pt x="157" y="626"/>
                  </a:lnTo>
                  <a:lnTo>
                    <a:pt x="163" y="626"/>
                  </a:lnTo>
                  <a:lnTo>
                    <a:pt x="155" y="315"/>
                  </a:lnTo>
                  <a:lnTo>
                    <a:pt x="155" y="315"/>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12" name="Freeform 56"/>
            <p:cNvSpPr>
              <a:spLocks/>
            </p:cNvSpPr>
            <p:nvPr/>
          </p:nvSpPr>
          <p:spPr bwMode="gray">
            <a:xfrm>
              <a:off x="2010" y="926"/>
              <a:ext cx="659" cy="577"/>
            </a:xfrm>
            <a:custGeom>
              <a:avLst/>
              <a:gdLst/>
              <a:ahLst/>
              <a:cxnLst>
                <a:cxn ang="0">
                  <a:pos x="1116" y="92"/>
                </a:cxn>
                <a:cxn ang="0">
                  <a:pos x="1087" y="88"/>
                </a:cxn>
                <a:cxn ang="0">
                  <a:pos x="1057" y="94"/>
                </a:cxn>
                <a:cxn ang="0">
                  <a:pos x="1001" y="94"/>
                </a:cxn>
                <a:cxn ang="0">
                  <a:pos x="967" y="63"/>
                </a:cxn>
                <a:cxn ang="0">
                  <a:pos x="935" y="44"/>
                </a:cxn>
                <a:cxn ang="0">
                  <a:pos x="895" y="31"/>
                </a:cxn>
                <a:cxn ang="0">
                  <a:pos x="853" y="27"/>
                </a:cxn>
                <a:cxn ang="0">
                  <a:pos x="793" y="46"/>
                </a:cxn>
                <a:cxn ang="0">
                  <a:pos x="757" y="88"/>
                </a:cxn>
                <a:cxn ang="0">
                  <a:pos x="776" y="135"/>
                </a:cxn>
                <a:cxn ang="0">
                  <a:pos x="776" y="177"/>
                </a:cxn>
                <a:cxn ang="0">
                  <a:pos x="717" y="212"/>
                </a:cxn>
                <a:cxn ang="0">
                  <a:pos x="666" y="197"/>
                </a:cxn>
                <a:cxn ang="0">
                  <a:pos x="622" y="174"/>
                </a:cxn>
                <a:cxn ang="0">
                  <a:pos x="587" y="156"/>
                </a:cxn>
                <a:cxn ang="0">
                  <a:pos x="553" y="145"/>
                </a:cxn>
                <a:cxn ang="0">
                  <a:pos x="509" y="143"/>
                </a:cxn>
                <a:cxn ang="0">
                  <a:pos x="479" y="135"/>
                </a:cxn>
                <a:cxn ang="0">
                  <a:pos x="450" y="97"/>
                </a:cxn>
                <a:cxn ang="0">
                  <a:pos x="441" y="61"/>
                </a:cxn>
                <a:cxn ang="0">
                  <a:pos x="410" y="38"/>
                </a:cxn>
                <a:cxn ang="0">
                  <a:pos x="345" y="17"/>
                </a:cxn>
                <a:cxn ang="0">
                  <a:pos x="303" y="11"/>
                </a:cxn>
                <a:cxn ang="0">
                  <a:pos x="263" y="29"/>
                </a:cxn>
                <a:cxn ang="0">
                  <a:pos x="227" y="23"/>
                </a:cxn>
                <a:cxn ang="0">
                  <a:pos x="194" y="6"/>
                </a:cxn>
                <a:cxn ang="0">
                  <a:pos x="175" y="17"/>
                </a:cxn>
                <a:cxn ang="0">
                  <a:pos x="173" y="44"/>
                </a:cxn>
                <a:cxn ang="0">
                  <a:pos x="118" y="78"/>
                </a:cxn>
                <a:cxn ang="0">
                  <a:pos x="78" y="118"/>
                </a:cxn>
                <a:cxn ang="0">
                  <a:pos x="76" y="145"/>
                </a:cxn>
                <a:cxn ang="0">
                  <a:pos x="80" y="172"/>
                </a:cxn>
                <a:cxn ang="0">
                  <a:pos x="51" y="204"/>
                </a:cxn>
                <a:cxn ang="0">
                  <a:pos x="13" y="221"/>
                </a:cxn>
                <a:cxn ang="0">
                  <a:pos x="32" y="261"/>
                </a:cxn>
                <a:cxn ang="0">
                  <a:pos x="44" y="307"/>
                </a:cxn>
                <a:cxn ang="0">
                  <a:pos x="44" y="349"/>
                </a:cxn>
                <a:cxn ang="0">
                  <a:pos x="44" y="380"/>
                </a:cxn>
                <a:cxn ang="0">
                  <a:pos x="44" y="410"/>
                </a:cxn>
                <a:cxn ang="0">
                  <a:pos x="32" y="443"/>
                </a:cxn>
                <a:cxn ang="0">
                  <a:pos x="42" y="473"/>
                </a:cxn>
                <a:cxn ang="0">
                  <a:pos x="19" y="504"/>
                </a:cxn>
                <a:cxn ang="0">
                  <a:pos x="2" y="532"/>
                </a:cxn>
                <a:cxn ang="0">
                  <a:pos x="27" y="582"/>
                </a:cxn>
                <a:cxn ang="0">
                  <a:pos x="53" y="626"/>
                </a:cxn>
                <a:cxn ang="0">
                  <a:pos x="61" y="649"/>
                </a:cxn>
                <a:cxn ang="0">
                  <a:pos x="76" y="656"/>
                </a:cxn>
                <a:cxn ang="0">
                  <a:pos x="103" y="656"/>
                </a:cxn>
                <a:cxn ang="0">
                  <a:pos x="149" y="677"/>
                </a:cxn>
                <a:cxn ang="0">
                  <a:pos x="162" y="710"/>
                </a:cxn>
                <a:cxn ang="0">
                  <a:pos x="183" y="736"/>
                </a:cxn>
                <a:cxn ang="0">
                  <a:pos x="219" y="750"/>
                </a:cxn>
                <a:cxn ang="0">
                  <a:pos x="263" y="763"/>
                </a:cxn>
                <a:cxn ang="0">
                  <a:pos x="303" y="780"/>
                </a:cxn>
                <a:cxn ang="0">
                  <a:pos x="345" y="813"/>
                </a:cxn>
                <a:cxn ang="0">
                  <a:pos x="399" y="794"/>
                </a:cxn>
                <a:cxn ang="0">
                  <a:pos x="1163" y="1015"/>
                </a:cxn>
                <a:cxn ang="0">
                  <a:pos x="1116" y="256"/>
                </a:cxn>
                <a:cxn ang="0">
                  <a:pos x="1110" y="210"/>
                </a:cxn>
                <a:cxn ang="0">
                  <a:pos x="1125" y="177"/>
                </a:cxn>
                <a:cxn ang="0">
                  <a:pos x="1108" y="141"/>
                </a:cxn>
                <a:cxn ang="0">
                  <a:pos x="1116" y="115"/>
                </a:cxn>
              </a:cxnLst>
              <a:rect l="0" t="0" r="r" b="b"/>
              <a:pathLst>
                <a:path w="1163" h="1051">
                  <a:moveTo>
                    <a:pt x="1125" y="109"/>
                  </a:moveTo>
                  <a:lnTo>
                    <a:pt x="1125" y="109"/>
                  </a:lnTo>
                  <a:lnTo>
                    <a:pt x="1125" y="107"/>
                  </a:lnTo>
                  <a:lnTo>
                    <a:pt x="1123" y="103"/>
                  </a:lnTo>
                  <a:lnTo>
                    <a:pt x="1122" y="99"/>
                  </a:lnTo>
                  <a:lnTo>
                    <a:pt x="1120" y="95"/>
                  </a:lnTo>
                  <a:lnTo>
                    <a:pt x="1116" y="92"/>
                  </a:lnTo>
                  <a:lnTo>
                    <a:pt x="1112" y="88"/>
                  </a:lnTo>
                  <a:lnTo>
                    <a:pt x="1106" y="86"/>
                  </a:lnTo>
                  <a:lnTo>
                    <a:pt x="1102" y="86"/>
                  </a:lnTo>
                  <a:lnTo>
                    <a:pt x="1102" y="86"/>
                  </a:lnTo>
                  <a:lnTo>
                    <a:pt x="1095" y="86"/>
                  </a:lnTo>
                  <a:lnTo>
                    <a:pt x="1091" y="86"/>
                  </a:lnTo>
                  <a:lnTo>
                    <a:pt x="1087" y="88"/>
                  </a:lnTo>
                  <a:lnTo>
                    <a:pt x="1083" y="90"/>
                  </a:lnTo>
                  <a:lnTo>
                    <a:pt x="1081" y="92"/>
                  </a:lnTo>
                  <a:lnTo>
                    <a:pt x="1078" y="94"/>
                  </a:lnTo>
                  <a:lnTo>
                    <a:pt x="1072" y="94"/>
                  </a:lnTo>
                  <a:lnTo>
                    <a:pt x="1066" y="94"/>
                  </a:lnTo>
                  <a:lnTo>
                    <a:pt x="1066" y="94"/>
                  </a:lnTo>
                  <a:lnTo>
                    <a:pt x="1057" y="94"/>
                  </a:lnTo>
                  <a:lnTo>
                    <a:pt x="1047" y="94"/>
                  </a:lnTo>
                  <a:lnTo>
                    <a:pt x="1041" y="94"/>
                  </a:lnTo>
                  <a:lnTo>
                    <a:pt x="1036" y="94"/>
                  </a:lnTo>
                  <a:lnTo>
                    <a:pt x="1028" y="94"/>
                  </a:lnTo>
                  <a:lnTo>
                    <a:pt x="1022" y="94"/>
                  </a:lnTo>
                  <a:lnTo>
                    <a:pt x="1013" y="94"/>
                  </a:lnTo>
                  <a:lnTo>
                    <a:pt x="1001" y="94"/>
                  </a:lnTo>
                  <a:lnTo>
                    <a:pt x="1001" y="94"/>
                  </a:lnTo>
                  <a:lnTo>
                    <a:pt x="992" y="94"/>
                  </a:lnTo>
                  <a:lnTo>
                    <a:pt x="984" y="90"/>
                  </a:lnTo>
                  <a:lnTo>
                    <a:pt x="978" y="84"/>
                  </a:lnTo>
                  <a:lnTo>
                    <a:pt x="975" y="76"/>
                  </a:lnTo>
                  <a:lnTo>
                    <a:pt x="971" y="69"/>
                  </a:lnTo>
                  <a:lnTo>
                    <a:pt x="967" y="63"/>
                  </a:lnTo>
                  <a:lnTo>
                    <a:pt x="963" y="57"/>
                  </a:lnTo>
                  <a:lnTo>
                    <a:pt x="957" y="53"/>
                  </a:lnTo>
                  <a:lnTo>
                    <a:pt x="957" y="53"/>
                  </a:lnTo>
                  <a:lnTo>
                    <a:pt x="952" y="50"/>
                  </a:lnTo>
                  <a:lnTo>
                    <a:pt x="944" y="48"/>
                  </a:lnTo>
                  <a:lnTo>
                    <a:pt x="938" y="46"/>
                  </a:lnTo>
                  <a:lnTo>
                    <a:pt x="935" y="44"/>
                  </a:lnTo>
                  <a:lnTo>
                    <a:pt x="929" y="40"/>
                  </a:lnTo>
                  <a:lnTo>
                    <a:pt x="923" y="38"/>
                  </a:lnTo>
                  <a:lnTo>
                    <a:pt x="917" y="36"/>
                  </a:lnTo>
                  <a:lnTo>
                    <a:pt x="912" y="34"/>
                  </a:lnTo>
                  <a:lnTo>
                    <a:pt x="906" y="32"/>
                  </a:lnTo>
                  <a:lnTo>
                    <a:pt x="900" y="31"/>
                  </a:lnTo>
                  <a:lnTo>
                    <a:pt x="895" y="31"/>
                  </a:lnTo>
                  <a:lnTo>
                    <a:pt x="889" y="29"/>
                  </a:lnTo>
                  <a:lnTo>
                    <a:pt x="881" y="27"/>
                  </a:lnTo>
                  <a:lnTo>
                    <a:pt x="875" y="27"/>
                  </a:lnTo>
                  <a:lnTo>
                    <a:pt x="868" y="27"/>
                  </a:lnTo>
                  <a:lnTo>
                    <a:pt x="860" y="27"/>
                  </a:lnTo>
                  <a:lnTo>
                    <a:pt x="860" y="27"/>
                  </a:lnTo>
                  <a:lnTo>
                    <a:pt x="853" y="27"/>
                  </a:lnTo>
                  <a:lnTo>
                    <a:pt x="843" y="27"/>
                  </a:lnTo>
                  <a:lnTo>
                    <a:pt x="835" y="29"/>
                  </a:lnTo>
                  <a:lnTo>
                    <a:pt x="826" y="31"/>
                  </a:lnTo>
                  <a:lnTo>
                    <a:pt x="818" y="34"/>
                  </a:lnTo>
                  <a:lnTo>
                    <a:pt x="811" y="38"/>
                  </a:lnTo>
                  <a:lnTo>
                    <a:pt x="801" y="42"/>
                  </a:lnTo>
                  <a:lnTo>
                    <a:pt x="793" y="46"/>
                  </a:lnTo>
                  <a:lnTo>
                    <a:pt x="786" y="50"/>
                  </a:lnTo>
                  <a:lnTo>
                    <a:pt x="778" y="55"/>
                  </a:lnTo>
                  <a:lnTo>
                    <a:pt x="772" y="61"/>
                  </a:lnTo>
                  <a:lnTo>
                    <a:pt x="767" y="67"/>
                  </a:lnTo>
                  <a:lnTo>
                    <a:pt x="763" y="74"/>
                  </a:lnTo>
                  <a:lnTo>
                    <a:pt x="759" y="80"/>
                  </a:lnTo>
                  <a:lnTo>
                    <a:pt x="757" y="88"/>
                  </a:lnTo>
                  <a:lnTo>
                    <a:pt x="757" y="94"/>
                  </a:lnTo>
                  <a:lnTo>
                    <a:pt x="757" y="94"/>
                  </a:lnTo>
                  <a:lnTo>
                    <a:pt x="757" y="103"/>
                  </a:lnTo>
                  <a:lnTo>
                    <a:pt x="761" y="111"/>
                  </a:lnTo>
                  <a:lnTo>
                    <a:pt x="765" y="120"/>
                  </a:lnTo>
                  <a:lnTo>
                    <a:pt x="771" y="128"/>
                  </a:lnTo>
                  <a:lnTo>
                    <a:pt x="776" y="135"/>
                  </a:lnTo>
                  <a:lnTo>
                    <a:pt x="782" y="143"/>
                  </a:lnTo>
                  <a:lnTo>
                    <a:pt x="784" y="151"/>
                  </a:lnTo>
                  <a:lnTo>
                    <a:pt x="786" y="158"/>
                  </a:lnTo>
                  <a:lnTo>
                    <a:pt x="786" y="158"/>
                  </a:lnTo>
                  <a:lnTo>
                    <a:pt x="784" y="162"/>
                  </a:lnTo>
                  <a:lnTo>
                    <a:pt x="780" y="170"/>
                  </a:lnTo>
                  <a:lnTo>
                    <a:pt x="776" y="177"/>
                  </a:lnTo>
                  <a:lnTo>
                    <a:pt x="769" y="187"/>
                  </a:lnTo>
                  <a:lnTo>
                    <a:pt x="759" y="197"/>
                  </a:lnTo>
                  <a:lnTo>
                    <a:pt x="750" y="204"/>
                  </a:lnTo>
                  <a:lnTo>
                    <a:pt x="738" y="210"/>
                  </a:lnTo>
                  <a:lnTo>
                    <a:pt x="727" y="212"/>
                  </a:lnTo>
                  <a:lnTo>
                    <a:pt x="727" y="212"/>
                  </a:lnTo>
                  <a:lnTo>
                    <a:pt x="717" y="212"/>
                  </a:lnTo>
                  <a:lnTo>
                    <a:pt x="709" y="212"/>
                  </a:lnTo>
                  <a:lnTo>
                    <a:pt x="700" y="210"/>
                  </a:lnTo>
                  <a:lnTo>
                    <a:pt x="692" y="208"/>
                  </a:lnTo>
                  <a:lnTo>
                    <a:pt x="687" y="206"/>
                  </a:lnTo>
                  <a:lnTo>
                    <a:pt x="679" y="202"/>
                  </a:lnTo>
                  <a:lnTo>
                    <a:pt x="673" y="200"/>
                  </a:lnTo>
                  <a:lnTo>
                    <a:pt x="666" y="197"/>
                  </a:lnTo>
                  <a:lnTo>
                    <a:pt x="660" y="195"/>
                  </a:lnTo>
                  <a:lnTo>
                    <a:pt x="654" y="191"/>
                  </a:lnTo>
                  <a:lnTo>
                    <a:pt x="647" y="187"/>
                  </a:lnTo>
                  <a:lnTo>
                    <a:pt x="641" y="183"/>
                  </a:lnTo>
                  <a:lnTo>
                    <a:pt x="635" y="179"/>
                  </a:lnTo>
                  <a:lnTo>
                    <a:pt x="627" y="177"/>
                  </a:lnTo>
                  <a:lnTo>
                    <a:pt x="622" y="174"/>
                  </a:lnTo>
                  <a:lnTo>
                    <a:pt x="614" y="172"/>
                  </a:lnTo>
                  <a:lnTo>
                    <a:pt x="614" y="172"/>
                  </a:lnTo>
                  <a:lnTo>
                    <a:pt x="608" y="168"/>
                  </a:lnTo>
                  <a:lnTo>
                    <a:pt x="603" y="166"/>
                  </a:lnTo>
                  <a:lnTo>
                    <a:pt x="599" y="162"/>
                  </a:lnTo>
                  <a:lnTo>
                    <a:pt x="593" y="158"/>
                  </a:lnTo>
                  <a:lnTo>
                    <a:pt x="587" y="156"/>
                  </a:lnTo>
                  <a:lnTo>
                    <a:pt x="582" y="153"/>
                  </a:lnTo>
                  <a:lnTo>
                    <a:pt x="574" y="151"/>
                  </a:lnTo>
                  <a:lnTo>
                    <a:pt x="568" y="147"/>
                  </a:lnTo>
                  <a:lnTo>
                    <a:pt x="568" y="147"/>
                  </a:lnTo>
                  <a:lnTo>
                    <a:pt x="563" y="147"/>
                  </a:lnTo>
                  <a:lnTo>
                    <a:pt x="557" y="145"/>
                  </a:lnTo>
                  <a:lnTo>
                    <a:pt x="553" y="145"/>
                  </a:lnTo>
                  <a:lnTo>
                    <a:pt x="545" y="145"/>
                  </a:lnTo>
                  <a:lnTo>
                    <a:pt x="540" y="143"/>
                  </a:lnTo>
                  <a:lnTo>
                    <a:pt x="534" y="143"/>
                  </a:lnTo>
                  <a:lnTo>
                    <a:pt x="528" y="143"/>
                  </a:lnTo>
                  <a:lnTo>
                    <a:pt x="523" y="143"/>
                  </a:lnTo>
                  <a:lnTo>
                    <a:pt x="515" y="143"/>
                  </a:lnTo>
                  <a:lnTo>
                    <a:pt x="509" y="143"/>
                  </a:lnTo>
                  <a:lnTo>
                    <a:pt x="503" y="143"/>
                  </a:lnTo>
                  <a:lnTo>
                    <a:pt x="498" y="141"/>
                  </a:lnTo>
                  <a:lnTo>
                    <a:pt x="492" y="141"/>
                  </a:lnTo>
                  <a:lnTo>
                    <a:pt x="488" y="139"/>
                  </a:lnTo>
                  <a:lnTo>
                    <a:pt x="482" y="137"/>
                  </a:lnTo>
                  <a:lnTo>
                    <a:pt x="479" y="135"/>
                  </a:lnTo>
                  <a:lnTo>
                    <a:pt x="479" y="135"/>
                  </a:lnTo>
                  <a:lnTo>
                    <a:pt x="471" y="130"/>
                  </a:lnTo>
                  <a:lnTo>
                    <a:pt x="465" y="124"/>
                  </a:lnTo>
                  <a:lnTo>
                    <a:pt x="460" y="120"/>
                  </a:lnTo>
                  <a:lnTo>
                    <a:pt x="456" y="115"/>
                  </a:lnTo>
                  <a:lnTo>
                    <a:pt x="454" y="109"/>
                  </a:lnTo>
                  <a:lnTo>
                    <a:pt x="450" y="103"/>
                  </a:lnTo>
                  <a:lnTo>
                    <a:pt x="450" y="97"/>
                  </a:lnTo>
                  <a:lnTo>
                    <a:pt x="448" y="94"/>
                  </a:lnTo>
                  <a:lnTo>
                    <a:pt x="448" y="88"/>
                  </a:lnTo>
                  <a:lnTo>
                    <a:pt x="446" y="82"/>
                  </a:lnTo>
                  <a:lnTo>
                    <a:pt x="446" y="76"/>
                  </a:lnTo>
                  <a:lnTo>
                    <a:pt x="444" y="71"/>
                  </a:lnTo>
                  <a:lnTo>
                    <a:pt x="442" y="67"/>
                  </a:lnTo>
                  <a:lnTo>
                    <a:pt x="441" y="61"/>
                  </a:lnTo>
                  <a:lnTo>
                    <a:pt x="437" y="55"/>
                  </a:lnTo>
                  <a:lnTo>
                    <a:pt x="431" y="50"/>
                  </a:lnTo>
                  <a:lnTo>
                    <a:pt x="431" y="50"/>
                  </a:lnTo>
                  <a:lnTo>
                    <a:pt x="429" y="48"/>
                  </a:lnTo>
                  <a:lnTo>
                    <a:pt x="423" y="46"/>
                  </a:lnTo>
                  <a:lnTo>
                    <a:pt x="418" y="42"/>
                  </a:lnTo>
                  <a:lnTo>
                    <a:pt x="410" y="38"/>
                  </a:lnTo>
                  <a:lnTo>
                    <a:pt x="402" y="36"/>
                  </a:lnTo>
                  <a:lnTo>
                    <a:pt x="393" y="32"/>
                  </a:lnTo>
                  <a:lnTo>
                    <a:pt x="383" y="29"/>
                  </a:lnTo>
                  <a:lnTo>
                    <a:pt x="374" y="27"/>
                  </a:lnTo>
                  <a:lnTo>
                    <a:pt x="364" y="23"/>
                  </a:lnTo>
                  <a:lnTo>
                    <a:pt x="355" y="21"/>
                  </a:lnTo>
                  <a:lnTo>
                    <a:pt x="345" y="17"/>
                  </a:lnTo>
                  <a:lnTo>
                    <a:pt x="336" y="15"/>
                  </a:lnTo>
                  <a:lnTo>
                    <a:pt x="328" y="13"/>
                  </a:lnTo>
                  <a:lnTo>
                    <a:pt x="320" y="13"/>
                  </a:lnTo>
                  <a:lnTo>
                    <a:pt x="315" y="11"/>
                  </a:lnTo>
                  <a:lnTo>
                    <a:pt x="311" y="11"/>
                  </a:lnTo>
                  <a:lnTo>
                    <a:pt x="311" y="11"/>
                  </a:lnTo>
                  <a:lnTo>
                    <a:pt x="303" y="11"/>
                  </a:lnTo>
                  <a:lnTo>
                    <a:pt x="297" y="15"/>
                  </a:lnTo>
                  <a:lnTo>
                    <a:pt x="292" y="17"/>
                  </a:lnTo>
                  <a:lnTo>
                    <a:pt x="288" y="21"/>
                  </a:lnTo>
                  <a:lnTo>
                    <a:pt x="282" y="23"/>
                  </a:lnTo>
                  <a:lnTo>
                    <a:pt x="276" y="27"/>
                  </a:lnTo>
                  <a:lnTo>
                    <a:pt x="271" y="29"/>
                  </a:lnTo>
                  <a:lnTo>
                    <a:pt x="263" y="29"/>
                  </a:lnTo>
                  <a:lnTo>
                    <a:pt x="263" y="29"/>
                  </a:lnTo>
                  <a:lnTo>
                    <a:pt x="255" y="29"/>
                  </a:lnTo>
                  <a:lnTo>
                    <a:pt x="250" y="29"/>
                  </a:lnTo>
                  <a:lnTo>
                    <a:pt x="244" y="27"/>
                  </a:lnTo>
                  <a:lnTo>
                    <a:pt x="238" y="27"/>
                  </a:lnTo>
                  <a:lnTo>
                    <a:pt x="233" y="25"/>
                  </a:lnTo>
                  <a:lnTo>
                    <a:pt x="227" y="23"/>
                  </a:lnTo>
                  <a:lnTo>
                    <a:pt x="223" y="21"/>
                  </a:lnTo>
                  <a:lnTo>
                    <a:pt x="217" y="19"/>
                  </a:lnTo>
                  <a:lnTo>
                    <a:pt x="214" y="15"/>
                  </a:lnTo>
                  <a:lnTo>
                    <a:pt x="208" y="13"/>
                  </a:lnTo>
                  <a:lnTo>
                    <a:pt x="204" y="11"/>
                  </a:lnTo>
                  <a:lnTo>
                    <a:pt x="198" y="10"/>
                  </a:lnTo>
                  <a:lnTo>
                    <a:pt x="194" y="6"/>
                  </a:lnTo>
                  <a:lnTo>
                    <a:pt x="189" y="4"/>
                  </a:lnTo>
                  <a:lnTo>
                    <a:pt x="183" y="2"/>
                  </a:lnTo>
                  <a:lnTo>
                    <a:pt x="177" y="0"/>
                  </a:lnTo>
                  <a:lnTo>
                    <a:pt x="177" y="0"/>
                  </a:lnTo>
                  <a:lnTo>
                    <a:pt x="177" y="8"/>
                  </a:lnTo>
                  <a:lnTo>
                    <a:pt x="177" y="13"/>
                  </a:lnTo>
                  <a:lnTo>
                    <a:pt x="175" y="17"/>
                  </a:lnTo>
                  <a:lnTo>
                    <a:pt x="173" y="21"/>
                  </a:lnTo>
                  <a:lnTo>
                    <a:pt x="172" y="25"/>
                  </a:lnTo>
                  <a:lnTo>
                    <a:pt x="173" y="29"/>
                  </a:lnTo>
                  <a:lnTo>
                    <a:pt x="173" y="34"/>
                  </a:lnTo>
                  <a:lnTo>
                    <a:pt x="177" y="40"/>
                  </a:lnTo>
                  <a:lnTo>
                    <a:pt x="177" y="40"/>
                  </a:lnTo>
                  <a:lnTo>
                    <a:pt x="173" y="44"/>
                  </a:lnTo>
                  <a:lnTo>
                    <a:pt x="166" y="48"/>
                  </a:lnTo>
                  <a:lnTo>
                    <a:pt x="160" y="52"/>
                  </a:lnTo>
                  <a:lnTo>
                    <a:pt x="152" y="55"/>
                  </a:lnTo>
                  <a:lnTo>
                    <a:pt x="143" y="61"/>
                  </a:lnTo>
                  <a:lnTo>
                    <a:pt x="135" y="67"/>
                  </a:lnTo>
                  <a:lnTo>
                    <a:pt x="128" y="73"/>
                  </a:lnTo>
                  <a:lnTo>
                    <a:pt x="118" y="78"/>
                  </a:lnTo>
                  <a:lnTo>
                    <a:pt x="111" y="84"/>
                  </a:lnTo>
                  <a:lnTo>
                    <a:pt x="103" y="90"/>
                  </a:lnTo>
                  <a:lnTo>
                    <a:pt x="95" y="95"/>
                  </a:lnTo>
                  <a:lnTo>
                    <a:pt x="90" y="103"/>
                  </a:lnTo>
                  <a:lnTo>
                    <a:pt x="84" y="109"/>
                  </a:lnTo>
                  <a:lnTo>
                    <a:pt x="80" y="113"/>
                  </a:lnTo>
                  <a:lnTo>
                    <a:pt x="78" y="118"/>
                  </a:lnTo>
                  <a:lnTo>
                    <a:pt x="78" y="124"/>
                  </a:lnTo>
                  <a:lnTo>
                    <a:pt x="78" y="124"/>
                  </a:lnTo>
                  <a:lnTo>
                    <a:pt x="78" y="130"/>
                  </a:lnTo>
                  <a:lnTo>
                    <a:pt x="76" y="135"/>
                  </a:lnTo>
                  <a:lnTo>
                    <a:pt x="76" y="139"/>
                  </a:lnTo>
                  <a:lnTo>
                    <a:pt x="76" y="143"/>
                  </a:lnTo>
                  <a:lnTo>
                    <a:pt x="76" y="145"/>
                  </a:lnTo>
                  <a:lnTo>
                    <a:pt x="76" y="149"/>
                  </a:lnTo>
                  <a:lnTo>
                    <a:pt x="76" y="151"/>
                  </a:lnTo>
                  <a:lnTo>
                    <a:pt x="78" y="153"/>
                  </a:lnTo>
                  <a:lnTo>
                    <a:pt x="78" y="153"/>
                  </a:lnTo>
                  <a:lnTo>
                    <a:pt x="80" y="158"/>
                  </a:lnTo>
                  <a:lnTo>
                    <a:pt x="80" y="166"/>
                  </a:lnTo>
                  <a:lnTo>
                    <a:pt x="80" y="172"/>
                  </a:lnTo>
                  <a:lnTo>
                    <a:pt x="78" y="177"/>
                  </a:lnTo>
                  <a:lnTo>
                    <a:pt x="74" y="181"/>
                  </a:lnTo>
                  <a:lnTo>
                    <a:pt x="70" y="187"/>
                  </a:lnTo>
                  <a:lnTo>
                    <a:pt x="67" y="193"/>
                  </a:lnTo>
                  <a:lnTo>
                    <a:pt x="63" y="197"/>
                  </a:lnTo>
                  <a:lnTo>
                    <a:pt x="57" y="200"/>
                  </a:lnTo>
                  <a:lnTo>
                    <a:pt x="51" y="204"/>
                  </a:lnTo>
                  <a:lnTo>
                    <a:pt x="44" y="208"/>
                  </a:lnTo>
                  <a:lnTo>
                    <a:pt x="38" y="212"/>
                  </a:lnTo>
                  <a:lnTo>
                    <a:pt x="32" y="216"/>
                  </a:lnTo>
                  <a:lnTo>
                    <a:pt x="25" y="218"/>
                  </a:lnTo>
                  <a:lnTo>
                    <a:pt x="19" y="219"/>
                  </a:lnTo>
                  <a:lnTo>
                    <a:pt x="13" y="221"/>
                  </a:lnTo>
                  <a:lnTo>
                    <a:pt x="13" y="221"/>
                  </a:lnTo>
                  <a:lnTo>
                    <a:pt x="17" y="227"/>
                  </a:lnTo>
                  <a:lnTo>
                    <a:pt x="19" y="233"/>
                  </a:lnTo>
                  <a:lnTo>
                    <a:pt x="21" y="239"/>
                  </a:lnTo>
                  <a:lnTo>
                    <a:pt x="25" y="244"/>
                  </a:lnTo>
                  <a:lnTo>
                    <a:pt x="27" y="250"/>
                  </a:lnTo>
                  <a:lnTo>
                    <a:pt x="30" y="256"/>
                  </a:lnTo>
                  <a:lnTo>
                    <a:pt x="32" y="261"/>
                  </a:lnTo>
                  <a:lnTo>
                    <a:pt x="34" y="269"/>
                  </a:lnTo>
                  <a:lnTo>
                    <a:pt x="36" y="275"/>
                  </a:lnTo>
                  <a:lnTo>
                    <a:pt x="38" y="280"/>
                  </a:lnTo>
                  <a:lnTo>
                    <a:pt x="40" y="288"/>
                  </a:lnTo>
                  <a:lnTo>
                    <a:pt x="42" y="294"/>
                  </a:lnTo>
                  <a:lnTo>
                    <a:pt x="44" y="301"/>
                  </a:lnTo>
                  <a:lnTo>
                    <a:pt x="44" y="307"/>
                  </a:lnTo>
                  <a:lnTo>
                    <a:pt x="44" y="315"/>
                  </a:lnTo>
                  <a:lnTo>
                    <a:pt x="44" y="322"/>
                  </a:lnTo>
                  <a:lnTo>
                    <a:pt x="44" y="322"/>
                  </a:lnTo>
                  <a:lnTo>
                    <a:pt x="44" y="330"/>
                  </a:lnTo>
                  <a:lnTo>
                    <a:pt x="44" y="338"/>
                  </a:lnTo>
                  <a:lnTo>
                    <a:pt x="44" y="343"/>
                  </a:lnTo>
                  <a:lnTo>
                    <a:pt x="44" y="349"/>
                  </a:lnTo>
                  <a:lnTo>
                    <a:pt x="44" y="355"/>
                  </a:lnTo>
                  <a:lnTo>
                    <a:pt x="44" y="359"/>
                  </a:lnTo>
                  <a:lnTo>
                    <a:pt x="44" y="364"/>
                  </a:lnTo>
                  <a:lnTo>
                    <a:pt x="44" y="368"/>
                  </a:lnTo>
                  <a:lnTo>
                    <a:pt x="44" y="372"/>
                  </a:lnTo>
                  <a:lnTo>
                    <a:pt x="44" y="376"/>
                  </a:lnTo>
                  <a:lnTo>
                    <a:pt x="44" y="380"/>
                  </a:lnTo>
                  <a:lnTo>
                    <a:pt x="44" y="385"/>
                  </a:lnTo>
                  <a:lnTo>
                    <a:pt x="44" y="389"/>
                  </a:lnTo>
                  <a:lnTo>
                    <a:pt x="44" y="395"/>
                  </a:lnTo>
                  <a:lnTo>
                    <a:pt x="44" y="401"/>
                  </a:lnTo>
                  <a:lnTo>
                    <a:pt x="44" y="408"/>
                  </a:lnTo>
                  <a:lnTo>
                    <a:pt x="44" y="408"/>
                  </a:lnTo>
                  <a:lnTo>
                    <a:pt x="44" y="410"/>
                  </a:lnTo>
                  <a:lnTo>
                    <a:pt x="44" y="414"/>
                  </a:lnTo>
                  <a:lnTo>
                    <a:pt x="40" y="420"/>
                  </a:lnTo>
                  <a:lnTo>
                    <a:pt x="38" y="424"/>
                  </a:lnTo>
                  <a:lnTo>
                    <a:pt x="36" y="429"/>
                  </a:lnTo>
                  <a:lnTo>
                    <a:pt x="34" y="433"/>
                  </a:lnTo>
                  <a:lnTo>
                    <a:pt x="34" y="439"/>
                  </a:lnTo>
                  <a:lnTo>
                    <a:pt x="32" y="443"/>
                  </a:lnTo>
                  <a:lnTo>
                    <a:pt x="32" y="443"/>
                  </a:lnTo>
                  <a:lnTo>
                    <a:pt x="34" y="448"/>
                  </a:lnTo>
                  <a:lnTo>
                    <a:pt x="34" y="454"/>
                  </a:lnTo>
                  <a:lnTo>
                    <a:pt x="36" y="460"/>
                  </a:lnTo>
                  <a:lnTo>
                    <a:pt x="38" y="464"/>
                  </a:lnTo>
                  <a:lnTo>
                    <a:pt x="40" y="467"/>
                  </a:lnTo>
                  <a:lnTo>
                    <a:pt x="42" y="473"/>
                  </a:lnTo>
                  <a:lnTo>
                    <a:pt x="44" y="479"/>
                  </a:lnTo>
                  <a:lnTo>
                    <a:pt x="44" y="485"/>
                  </a:lnTo>
                  <a:lnTo>
                    <a:pt x="44" y="485"/>
                  </a:lnTo>
                  <a:lnTo>
                    <a:pt x="40" y="490"/>
                  </a:lnTo>
                  <a:lnTo>
                    <a:pt x="34" y="496"/>
                  </a:lnTo>
                  <a:lnTo>
                    <a:pt x="27" y="500"/>
                  </a:lnTo>
                  <a:lnTo>
                    <a:pt x="19" y="504"/>
                  </a:lnTo>
                  <a:lnTo>
                    <a:pt x="11" y="508"/>
                  </a:lnTo>
                  <a:lnTo>
                    <a:pt x="6" y="511"/>
                  </a:lnTo>
                  <a:lnTo>
                    <a:pt x="2" y="517"/>
                  </a:lnTo>
                  <a:lnTo>
                    <a:pt x="0" y="523"/>
                  </a:lnTo>
                  <a:lnTo>
                    <a:pt x="0" y="523"/>
                  </a:lnTo>
                  <a:lnTo>
                    <a:pt x="2" y="528"/>
                  </a:lnTo>
                  <a:lnTo>
                    <a:pt x="2" y="532"/>
                  </a:lnTo>
                  <a:lnTo>
                    <a:pt x="4" y="538"/>
                  </a:lnTo>
                  <a:lnTo>
                    <a:pt x="8" y="546"/>
                  </a:lnTo>
                  <a:lnTo>
                    <a:pt x="11" y="551"/>
                  </a:lnTo>
                  <a:lnTo>
                    <a:pt x="15" y="559"/>
                  </a:lnTo>
                  <a:lnTo>
                    <a:pt x="19" y="567"/>
                  </a:lnTo>
                  <a:lnTo>
                    <a:pt x="23" y="574"/>
                  </a:lnTo>
                  <a:lnTo>
                    <a:pt x="27" y="582"/>
                  </a:lnTo>
                  <a:lnTo>
                    <a:pt x="32" y="590"/>
                  </a:lnTo>
                  <a:lnTo>
                    <a:pt x="36" y="597"/>
                  </a:lnTo>
                  <a:lnTo>
                    <a:pt x="40" y="603"/>
                  </a:lnTo>
                  <a:lnTo>
                    <a:pt x="44" y="611"/>
                  </a:lnTo>
                  <a:lnTo>
                    <a:pt x="48" y="616"/>
                  </a:lnTo>
                  <a:lnTo>
                    <a:pt x="51" y="622"/>
                  </a:lnTo>
                  <a:lnTo>
                    <a:pt x="53" y="626"/>
                  </a:lnTo>
                  <a:lnTo>
                    <a:pt x="53" y="626"/>
                  </a:lnTo>
                  <a:lnTo>
                    <a:pt x="55" y="630"/>
                  </a:lnTo>
                  <a:lnTo>
                    <a:pt x="57" y="633"/>
                  </a:lnTo>
                  <a:lnTo>
                    <a:pt x="57" y="637"/>
                  </a:lnTo>
                  <a:lnTo>
                    <a:pt x="59" y="641"/>
                  </a:lnTo>
                  <a:lnTo>
                    <a:pt x="59" y="645"/>
                  </a:lnTo>
                  <a:lnTo>
                    <a:pt x="61" y="649"/>
                  </a:lnTo>
                  <a:lnTo>
                    <a:pt x="63" y="652"/>
                  </a:lnTo>
                  <a:lnTo>
                    <a:pt x="67" y="656"/>
                  </a:lnTo>
                  <a:lnTo>
                    <a:pt x="67" y="656"/>
                  </a:lnTo>
                  <a:lnTo>
                    <a:pt x="69" y="656"/>
                  </a:lnTo>
                  <a:lnTo>
                    <a:pt x="70" y="656"/>
                  </a:lnTo>
                  <a:lnTo>
                    <a:pt x="74" y="656"/>
                  </a:lnTo>
                  <a:lnTo>
                    <a:pt x="76" y="656"/>
                  </a:lnTo>
                  <a:lnTo>
                    <a:pt x="78" y="654"/>
                  </a:lnTo>
                  <a:lnTo>
                    <a:pt x="82" y="654"/>
                  </a:lnTo>
                  <a:lnTo>
                    <a:pt x="84" y="652"/>
                  </a:lnTo>
                  <a:lnTo>
                    <a:pt x="86" y="652"/>
                  </a:lnTo>
                  <a:lnTo>
                    <a:pt x="86" y="652"/>
                  </a:lnTo>
                  <a:lnTo>
                    <a:pt x="95" y="654"/>
                  </a:lnTo>
                  <a:lnTo>
                    <a:pt x="103" y="656"/>
                  </a:lnTo>
                  <a:lnTo>
                    <a:pt x="111" y="660"/>
                  </a:lnTo>
                  <a:lnTo>
                    <a:pt x="118" y="664"/>
                  </a:lnTo>
                  <a:lnTo>
                    <a:pt x="124" y="668"/>
                  </a:lnTo>
                  <a:lnTo>
                    <a:pt x="131" y="672"/>
                  </a:lnTo>
                  <a:lnTo>
                    <a:pt x="139" y="675"/>
                  </a:lnTo>
                  <a:lnTo>
                    <a:pt x="149" y="677"/>
                  </a:lnTo>
                  <a:lnTo>
                    <a:pt x="149" y="677"/>
                  </a:lnTo>
                  <a:lnTo>
                    <a:pt x="149" y="683"/>
                  </a:lnTo>
                  <a:lnTo>
                    <a:pt x="151" y="687"/>
                  </a:lnTo>
                  <a:lnTo>
                    <a:pt x="152" y="693"/>
                  </a:lnTo>
                  <a:lnTo>
                    <a:pt x="154" y="696"/>
                  </a:lnTo>
                  <a:lnTo>
                    <a:pt x="156" y="702"/>
                  </a:lnTo>
                  <a:lnTo>
                    <a:pt x="160" y="706"/>
                  </a:lnTo>
                  <a:lnTo>
                    <a:pt x="162" y="710"/>
                  </a:lnTo>
                  <a:lnTo>
                    <a:pt x="166" y="712"/>
                  </a:lnTo>
                  <a:lnTo>
                    <a:pt x="170" y="715"/>
                  </a:lnTo>
                  <a:lnTo>
                    <a:pt x="172" y="719"/>
                  </a:lnTo>
                  <a:lnTo>
                    <a:pt x="175" y="723"/>
                  </a:lnTo>
                  <a:lnTo>
                    <a:pt x="179" y="729"/>
                  </a:lnTo>
                  <a:lnTo>
                    <a:pt x="181" y="733"/>
                  </a:lnTo>
                  <a:lnTo>
                    <a:pt x="183" y="736"/>
                  </a:lnTo>
                  <a:lnTo>
                    <a:pt x="185" y="742"/>
                  </a:lnTo>
                  <a:lnTo>
                    <a:pt x="187" y="748"/>
                  </a:lnTo>
                  <a:lnTo>
                    <a:pt x="187" y="748"/>
                  </a:lnTo>
                  <a:lnTo>
                    <a:pt x="194" y="748"/>
                  </a:lnTo>
                  <a:lnTo>
                    <a:pt x="204" y="748"/>
                  </a:lnTo>
                  <a:lnTo>
                    <a:pt x="212" y="750"/>
                  </a:lnTo>
                  <a:lnTo>
                    <a:pt x="219" y="750"/>
                  </a:lnTo>
                  <a:lnTo>
                    <a:pt x="227" y="752"/>
                  </a:lnTo>
                  <a:lnTo>
                    <a:pt x="233" y="754"/>
                  </a:lnTo>
                  <a:lnTo>
                    <a:pt x="240" y="756"/>
                  </a:lnTo>
                  <a:lnTo>
                    <a:pt x="246" y="757"/>
                  </a:lnTo>
                  <a:lnTo>
                    <a:pt x="252" y="759"/>
                  </a:lnTo>
                  <a:lnTo>
                    <a:pt x="257" y="761"/>
                  </a:lnTo>
                  <a:lnTo>
                    <a:pt x="263" y="763"/>
                  </a:lnTo>
                  <a:lnTo>
                    <a:pt x="271" y="767"/>
                  </a:lnTo>
                  <a:lnTo>
                    <a:pt x="276" y="769"/>
                  </a:lnTo>
                  <a:lnTo>
                    <a:pt x="282" y="773"/>
                  </a:lnTo>
                  <a:lnTo>
                    <a:pt x="290" y="775"/>
                  </a:lnTo>
                  <a:lnTo>
                    <a:pt x="296" y="776"/>
                  </a:lnTo>
                  <a:lnTo>
                    <a:pt x="296" y="776"/>
                  </a:lnTo>
                  <a:lnTo>
                    <a:pt x="303" y="780"/>
                  </a:lnTo>
                  <a:lnTo>
                    <a:pt x="309" y="786"/>
                  </a:lnTo>
                  <a:lnTo>
                    <a:pt x="315" y="792"/>
                  </a:lnTo>
                  <a:lnTo>
                    <a:pt x="320" y="797"/>
                  </a:lnTo>
                  <a:lnTo>
                    <a:pt x="324" y="803"/>
                  </a:lnTo>
                  <a:lnTo>
                    <a:pt x="332" y="809"/>
                  </a:lnTo>
                  <a:lnTo>
                    <a:pt x="338" y="811"/>
                  </a:lnTo>
                  <a:lnTo>
                    <a:pt x="345" y="813"/>
                  </a:lnTo>
                  <a:lnTo>
                    <a:pt x="345" y="813"/>
                  </a:lnTo>
                  <a:lnTo>
                    <a:pt x="355" y="813"/>
                  </a:lnTo>
                  <a:lnTo>
                    <a:pt x="362" y="809"/>
                  </a:lnTo>
                  <a:lnTo>
                    <a:pt x="372" y="807"/>
                  </a:lnTo>
                  <a:lnTo>
                    <a:pt x="381" y="803"/>
                  </a:lnTo>
                  <a:lnTo>
                    <a:pt x="391" y="799"/>
                  </a:lnTo>
                  <a:lnTo>
                    <a:pt x="399" y="794"/>
                  </a:lnTo>
                  <a:lnTo>
                    <a:pt x="406" y="790"/>
                  </a:lnTo>
                  <a:lnTo>
                    <a:pt x="410" y="786"/>
                  </a:lnTo>
                  <a:lnTo>
                    <a:pt x="484" y="744"/>
                  </a:lnTo>
                  <a:lnTo>
                    <a:pt x="1091" y="1051"/>
                  </a:lnTo>
                  <a:lnTo>
                    <a:pt x="1091" y="1051"/>
                  </a:lnTo>
                  <a:lnTo>
                    <a:pt x="1089" y="1015"/>
                  </a:lnTo>
                  <a:lnTo>
                    <a:pt x="1163" y="1015"/>
                  </a:lnTo>
                  <a:lnTo>
                    <a:pt x="1154" y="857"/>
                  </a:lnTo>
                  <a:lnTo>
                    <a:pt x="1125" y="280"/>
                  </a:lnTo>
                  <a:lnTo>
                    <a:pt x="1125" y="280"/>
                  </a:lnTo>
                  <a:lnTo>
                    <a:pt x="1123" y="275"/>
                  </a:lnTo>
                  <a:lnTo>
                    <a:pt x="1122" y="269"/>
                  </a:lnTo>
                  <a:lnTo>
                    <a:pt x="1120" y="263"/>
                  </a:lnTo>
                  <a:lnTo>
                    <a:pt x="1116" y="256"/>
                  </a:lnTo>
                  <a:lnTo>
                    <a:pt x="1112" y="248"/>
                  </a:lnTo>
                  <a:lnTo>
                    <a:pt x="1110" y="239"/>
                  </a:lnTo>
                  <a:lnTo>
                    <a:pt x="1108" y="231"/>
                  </a:lnTo>
                  <a:lnTo>
                    <a:pt x="1106" y="221"/>
                  </a:lnTo>
                  <a:lnTo>
                    <a:pt x="1106" y="221"/>
                  </a:lnTo>
                  <a:lnTo>
                    <a:pt x="1108" y="216"/>
                  </a:lnTo>
                  <a:lnTo>
                    <a:pt x="1110" y="210"/>
                  </a:lnTo>
                  <a:lnTo>
                    <a:pt x="1112" y="204"/>
                  </a:lnTo>
                  <a:lnTo>
                    <a:pt x="1116" y="200"/>
                  </a:lnTo>
                  <a:lnTo>
                    <a:pt x="1120" y="197"/>
                  </a:lnTo>
                  <a:lnTo>
                    <a:pt x="1122" y="191"/>
                  </a:lnTo>
                  <a:lnTo>
                    <a:pt x="1123" y="185"/>
                  </a:lnTo>
                  <a:lnTo>
                    <a:pt x="1125" y="177"/>
                  </a:lnTo>
                  <a:lnTo>
                    <a:pt x="1125" y="177"/>
                  </a:lnTo>
                  <a:lnTo>
                    <a:pt x="1123" y="172"/>
                  </a:lnTo>
                  <a:lnTo>
                    <a:pt x="1122" y="166"/>
                  </a:lnTo>
                  <a:lnTo>
                    <a:pt x="1120" y="160"/>
                  </a:lnTo>
                  <a:lnTo>
                    <a:pt x="1116" y="156"/>
                  </a:lnTo>
                  <a:lnTo>
                    <a:pt x="1112" y="153"/>
                  </a:lnTo>
                  <a:lnTo>
                    <a:pt x="1110" y="147"/>
                  </a:lnTo>
                  <a:lnTo>
                    <a:pt x="1108" y="141"/>
                  </a:lnTo>
                  <a:lnTo>
                    <a:pt x="1106" y="135"/>
                  </a:lnTo>
                  <a:lnTo>
                    <a:pt x="1106" y="135"/>
                  </a:lnTo>
                  <a:lnTo>
                    <a:pt x="1108" y="130"/>
                  </a:lnTo>
                  <a:lnTo>
                    <a:pt x="1108" y="124"/>
                  </a:lnTo>
                  <a:lnTo>
                    <a:pt x="1110" y="120"/>
                  </a:lnTo>
                  <a:lnTo>
                    <a:pt x="1112" y="116"/>
                  </a:lnTo>
                  <a:lnTo>
                    <a:pt x="1116" y="115"/>
                  </a:lnTo>
                  <a:lnTo>
                    <a:pt x="1120" y="113"/>
                  </a:lnTo>
                  <a:lnTo>
                    <a:pt x="1125" y="111"/>
                  </a:lnTo>
                  <a:lnTo>
                    <a:pt x="1131" y="111"/>
                  </a:lnTo>
                  <a:lnTo>
                    <a:pt x="1125" y="10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13" name="Freeform 57"/>
            <p:cNvSpPr>
              <a:spLocks/>
            </p:cNvSpPr>
            <p:nvPr/>
          </p:nvSpPr>
          <p:spPr bwMode="gray">
            <a:xfrm>
              <a:off x="2113" y="2568"/>
              <a:ext cx="30" cy="49"/>
            </a:xfrm>
            <a:custGeom>
              <a:avLst/>
              <a:gdLst/>
              <a:ahLst/>
              <a:cxnLst>
                <a:cxn ang="0">
                  <a:pos x="0" y="88"/>
                </a:cxn>
                <a:cxn ang="0">
                  <a:pos x="8" y="86"/>
                </a:cxn>
                <a:cxn ang="0">
                  <a:pos x="12" y="81"/>
                </a:cxn>
                <a:cxn ang="0">
                  <a:pos x="15" y="75"/>
                </a:cxn>
                <a:cxn ang="0">
                  <a:pos x="15" y="65"/>
                </a:cxn>
                <a:cxn ang="0">
                  <a:pos x="15" y="56"/>
                </a:cxn>
                <a:cxn ang="0">
                  <a:pos x="15" y="46"/>
                </a:cxn>
                <a:cxn ang="0">
                  <a:pos x="15" y="37"/>
                </a:cxn>
                <a:cxn ang="0">
                  <a:pos x="17" y="29"/>
                </a:cxn>
                <a:cxn ang="0">
                  <a:pos x="21" y="23"/>
                </a:cxn>
                <a:cxn ang="0">
                  <a:pos x="25" y="20"/>
                </a:cxn>
                <a:cxn ang="0">
                  <a:pos x="29" y="16"/>
                </a:cxn>
                <a:cxn ang="0">
                  <a:pos x="34" y="14"/>
                </a:cxn>
                <a:cxn ang="0">
                  <a:pos x="38" y="10"/>
                </a:cxn>
                <a:cxn ang="0">
                  <a:pos x="44" y="8"/>
                </a:cxn>
                <a:cxn ang="0">
                  <a:pos x="48" y="4"/>
                </a:cxn>
                <a:cxn ang="0">
                  <a:pos x="52" y="0"/>
                </a:cxn>
                <a:cxn ang="0">
                  <a:pos x="0" y="88"/>
                </a:cxn>
              </a:cxnLst>
              <a:rect l="0" t="0" r="r" b="b"/>
              <a:pathLst>
                <a:path w="52" h="88">
                  <a:moveTo>
                    <a:pt x="0" y="88"/>
                  </a:moveTo>
                  <a:lnTo>
                    <a:pt x="8" y="86"/>
                  </a:lnTo>
                  <a:lnTo>
                    <a:pt x="12" y="81"/>
                  </a:lnTo>
                  <a:lnTo>
                    <a:pt x="15" y="75"/>
                  </a:lnTo>
                  <a:lnTo>
                    <a:pt x="15" y="65"/>
                  </a:lnTo>
                  <a:lnTo>
                    <a:pt x="15" y="56"/>
                  </a:lnTo>
                  <a:lnTo>
                    <a:pt x="15" y="46"/>
                  </a:lnTo>
                  <a:lnTo>
                    <a:pt x="15" y="37"/>
                  </a:lnTo>
                  <a:lnTo>
                    <a:pt x="17" y="29"/>
                  </a:lnTo>
                  <a:lnTo>
                    <a:pt x="21" y="23"/>
                  </a:lnTo>
                  <a:lnTo>
                    <a:pt x="25" y="20"/>
                  </a:lnTo>
                  <a:lnTo>
                    <a:pt x="29" y="16"/>
                  </a:lnTo>
                  <a:lnTo>
                    <a:pt x="34" y="14"/>
                  </a:lnTo>
                  <a:lnTo>
                    <a:pt x="38" y="10"/>
                  </a:lnTo>
                  <a:lnTo>
                    <a:pt x="44" y="8"/>
                  </a:lnTo>
                  <a:lnTo>
                    <a:pt x="48" y="4"/>
                  </a:lnTo>
                  <a:lnTo>
                    <a:pt x="52" y="0"/>
                  </a:lnTo>
                  <a:lnTo>
                    <a:pt x="0" y="88"/>
                  </a:lnTo>
                  <a:close/>
                </a:path>
              </a:pathLst>
            </a:custGeom>
            <a:no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314" name="Freeform 58"/>
            <p:cNvSpPr>
              <a:spLocks/>
            </p:cNvSpPr>
            <p:nvPr/>
          </p:nvSpPr>
          <p:spPr bwMode="gray">
            <a:xfrm>
              <a:off x="2111" y="920"/>
              <a:ext cx="1" cy="6"/>
            </a:xfrm>
            <a:custGeom>
              <a:avLst/>
              <a:gdLst/>
              <a:ahLst/>
              <a:cxnLst>
                <a:cxn ang="0">
                  <a:pos x="0" y="0"/>
                </a:cxn>
                <a:cxn ang="0">
                  <a:pos x="0" y="1"/>
                </a:cxn>
                <a:cxn ang="0">
                  <a:pos x="0" y="3"/>
                </a:cxn>
                <a:cxn ang="0">
                  <a:pos x="0" y="5"/>
                </a:cxn>
                <a:cxn ang="0">
                  <a:pos x="0" y="9"/>
                </a:cxn>
                <a:cxn ang="0">
                  <a:pos x="0" y="0"/>
                </a:cxn>
              </a:cxnLst>
              <a:rect l="0" t="0" r="r" b="b"/>
              <a:pathLst>
                <a:path h="9">
                  <a:moveTo>
                    <a:pt x="0" y="0"/>
                  </a:moveTo>
                  <a:lnTo>
                    <a:pt x="0" y="1"/>
                  </a:lnTo>
                  <a:lnTo>
                    <a:pt x="0" y="3"/>
                  </a:lnTo>
                  <a:lnTo>
                    <a:pt x="0" y="5"/>
                  </a:lnTo>
                  <a:lnTo>
                    <a:pt x="0" y="9"/>
                  </a:lnTo>
                  <a:lnTo>
                    <a:pt x="0" y="0"/>
                  </a:lnTo>
                  <a:close/>
                </a:path>
              </a:pathLst>
            </a:custGeom>
            <a:noFill/>
            <a:ln w="9525" cmpd="sng">
              <a:solidFill>
                <a:srgbClr val="808080"/>
              </a:solidFill>
              <a:round/>
              <a:headEnd/>
              <a:tailEnd/>
            </a:ln>
          </p:spPr>
          <p:txBody>
            <a:bodyPr/>
            <a:lstStyle/>
            <a:p>
              <a:endParaRPr lang="en-US" dirty="0">
                <a:solidFill>
                  <a:srgbClr val="000000"/>
                </a:solidFill>
                <a:latin typeface="Arial" charset="0"/>
              </a:endParaRPr>
            </a:p>
          </p:txBody>
        </p:sp>
        <p:sp>
          <p:nvSpPr>
            <p:cNvPr id="608315" name="Freeform 59"/>
            <p:cNvSpPr>
              <a:spLocks/>
            </p:cNvSpPr>
            <p:nvPr/>
          </p:nvSpPr>
          <p:spPr bwMode="gray">
            <a:xfrm>
              <a:off x="2111" y="920"/>
              <a:ext cx="1" cy="6"/>
            </a:xfrm>
            <a:custGeom>
              <a:avLst/>
              <a:gdLst/>
              <a:ahLst/>
              <a:cxnLst>
                <a:cxn ang="0">
                  <a:pos x="0" y="0"/>
                </a:cxn>
                <a:cxn ang="0">
                  <a:pos x="0" y="0"/>
                </a:cxn>
                <a:cxn ang="0">
                  <a:pos x="0" y="1"/>
                </a:cxn>
                <a:cxn ang="0">
                  <a:pos x="0" y="3"/>
                </a:cxn>
                <a:cxn ang="0">
                  <a:pos x="0" y="5"/>
                </a:cxn>
                <a:cxn ang="0">
                  <a:pos x="0" y="9"/>
                </a:cxn>
              </a:cxnLst>
              <a:rect l="0" t="0" r="r" b="b"/>
              <a:pathLst>
                <a:path h="9">
                  <a:moveTo>
                    <a:pt x="0" y="0"/>
                  </a:moveTo>
                  <a:lnTo>
                    <a:pt x="0" y="0"/>
                  </a:lnTo>
                  <a:lnTo>
                    <a:pt x="0" y="1"/>
                  </a:lnTo>
                  <a:lnTo>
                    <a:pt x="0" y="3"/>
                  </a:lnTo>
                  <a:lnTo>
                    <a:pt x="0" y="5"/>
                  </a:lnTo>
                  <a:lnTo>
                    <a:pt x="0" y="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16" name="Freeform 60"/>
            <p:cNvSpPr>
              <a:spLocks/>
            </p:cNvSpPr>
            <p:nvPr/>
          </p:nvSpPr>
          <p:spPr bwMode="gray">
            <a:xfrm>
              <a:off x="2892" y="2165"/>
              <a:ext cx="249" cy="259"/>
            </a:xfrm>
            <a:custGeom>
              <a:avLst/>
              <a:gdLst/>
              <a:ahLst/>
              <a:cxnLst>
                <a:cxn ang="0">
                  <a:pos x="96" y="82"/>
                </a:cxn>
                <a:cxn ang="0">
                  <a:pos x="94" y="107"/>
                </a:cxn>
                <a:cxn ang="0">
                  <a:pos x="96" y="118"/>
                </a:cxn>
                <a:cxn ang="0">
                  <a:pos x="98" y="130"/>
                </a:cxn>
                <a:cxn ang="0">
                  <a:pos x="92" y="143"/>
                </a:cxn>
                <a:cxn ang="0">
                  <a:pos x="92" y="160"/>
                </a:cxn>
                <a:cxn ang="0">
                  <a:pos x="121" y="174"/>
                </a:cxn>
                <a:cxn ang="0">
                  <a:pos x="123" y="195"/>
                </a:cxn>
                <a:cxn ang="0">
                  <a:pos x="100" y="216"/>
                </a:cxn>
                <a:cxn ang="0">
                  <a:pos x="75" y="240"/>
                </a:cxn>
                <a:cxn ang="0">
                  <a:pos x="40" y="275"/>
                </a:cxn>
                <a:cxn ang="0">
                  <a:pos x="31" y="284"/>
                </a:cxn>
                <a:cxn ang="0">
                  <a:pos x="25" y="296"/>
                </a:cxn>
                <a:cxn ang="0">
                  <a:pos x="19" y="340"/>
                </a:cxn>
                <a:cxn ang="0">
                  <a:pos x="8" y="385"/>
                </a:cxn>
                <a:cxn ang="0">
                  <a:pos x="2" y="437"/>
                </a:cxn>
                <a:cxn ang="0">
                  <a:pos x="0" y="456"/>
                </a:cxn>
                <a:cxn ang="0">
                  <a:pos x="2" y="471"/>
                </a:cxn>
                <a:cxn ang="0">
                  <a:pos x="12" y="467"/>
                </a:cxn>
                <a:cxn ang="0">
                  <a:pos x="21" y="465"/>
                </a:cxn>
                <a:cxn ang="0">
                  <a:pos x="33" y="471"/>
                </a:cxn>
                <a:cxn ang="0">
                  <a:pos x="60" y="456"/>
                </a:cxn>
                <a:cxn ang="0">
                  <a:pos x="77" y="446"/>
                </a:cxn>
                <a:cxn ang="0">
                  <a:pos x="189" y="435"/>
                </a:cxn>
                <a:cxn ang="0">
                  <a:pos x="184" y="427"/>
                </a:cxn>
                <a:cxn ang="0">
                  <a:pos x="180" y="418"/>
                </a:cxn>
                <a:cxn ang="0">
                  <a:pos x="187" y="403"/>
                </a:cxn>
                <a:cxn ang="0">
                  <a:pos x="195" y="397"/>
                </a:cxn>
                <a:cxn ang="0">
                  <a:pos x="199" y="380"/>
                </a:cxn>
                <a:cxn ang="0">
                  <a:pos x="206" y="368"/>
                </a:cxn>
                <a:cxn ang="0">
                  <a:pos x="237" y="357"/>
                </a:cxn>
                <a:cxn ang="0">
                  <a:pos x="245" y="355"/>
                </a:cxn>
                <a:cxn ang="0">
                  <a:pos x="252" y="351"/>
                </a:cxn>
                <a:cxn ang="0">
                  <a:pos x="266" y="343"/>
                </a:cxn>
                <a:cxn ang="0">
                  <a:pos x="277" y="349"/>
                </a:cxn>
                <a:cxn ang="0">
                  <a:pos x="287" y="343"/>
                </a:cxn>
                <a:cxn ang="0">
                  <a:pos x="292" y="336"/>
                </a:cxn>
                <a:cxn ang="0">
                  <a:pos x="302" y="343"/>
                </a:cxn>
                <a:cxn ang="0">
                  <a:pos x="317" y="330"/>
                </a:cxn>
                <a:cxn ang="0">
                  <a:pos x="327" y="322"/>
                </a:cxn>
                <a:cxn ang="0">
                  <a:pos x="334" y="328"/>
                </a:cxn>
                <a:cxn ang="0">
                  <a:pos x="351" y="357"/>
                </a:cxn>
                <a:cxn ang="0">
                  <a:pos x="359" y="355"/>
                </a:cxn>
                <a:cxn ang="0">
                  <a:pos x="363" y="336"/>
                </a:cxn>
                <a:cxn ang="0">
                  <a:pos x="378" y="303"/>
                </a:cxn>
                <a:cxn ang="0">
                  <a:pos x="409" y="265"/>
                </a:cxn>
                <a:cxn ang="0">
                  <a:pos x="435" y="223"/>
                </a:cxn>
                <a:cxn ang="0">
                  <a:pos x="439" y="176"/>
                </a:cxn>
                <a:cxn ang="0">
                  <a:pos x="422" y="111"/>
                </a:cxn>
                <a:cxn ang="0">
                  <a:pos x="390" y="52"/>
                </a:cxn>
                <a:cxn ang="0">
                  <a:pos x="361" y="0"/>
                </a:cxn>
                <a:cxn ang="0">
                  <a:pos x="329" y="29"/>
                </a:cxn>
                <a:cxn ang="0">
                  <a:pos x="304" y="42"/>
                </a:cxn>
                <a:cxn ang="0">
                  <a:pos x="285" y="42"/>
                </a:cxn>
                <a:cxn ang="0">
                  <a:pos x="273" y="42"/>
                </a:cxn>
                <a:cxn ang="0">
                  <a:pos x="254" y="48"/>
                </a:cxn>
                <a:cxn ang="0">
                  <a:pos x="233" y="53"/>
                </a:cxn>
                <a:cxn ang="0">
                  <a:pos x="210" y="57"/>
                </a:cxn>
                <a:cxn ang="0">
                  <a:pos x="189" y="52"/>
                </a:cxn>
                <a:cxn ang="0">
                  <a:pos x="163" y="46"/>
                </a:cxn>
                <a:cxn ang="0">
                  <a:pos x="134" y="52"/>
                </a:cxn>
                <a:cxn ang="0">
                  <a:pos x="113" y="63"/>
                </a:cxn>
                <a:cxn ang="0">
                  <a:pos x="96" y="69"/>
                </a:cxn>
              </a:cxnLst>
              <a:rect l="0" t="0" r="r" b="b"/>
              <a:pathLst>
                <a:path w="441" h="471">
                  <a:moveTo>
                    <a:pt x="94" y="69"/>
                  </a:moveTo>
                  <a:lnTo>
                    <a:pt x="94" y="69"/>
                  </a:lnTo>
                  <a:lnTo>
                    <a:pt x="96" y="74"/>
                  </a:lnTo>
                  <a:lnTo>
                    <a:pt x="96" y="78"/>
                  </a:lnTo>
                  <a:lnTo>
                    <a:pt x="96" y="82"/>
                  </a:lnTo>
                  <a:lnTo>
                    <a:pt x="96" y="86"/>
                  </a:lnTo>
                  <a:lnTo>
                    <a:pt x="96" y="92"/>
                  </a:lnTo>
                  <a:lnTo>
                    <a:pt x="94" y="95"/>
                  </a:lnTo>
                  <a:lnTo>
                    <a:pt x="94" y="101"/>
                  </a:lnTo>
                  <a:lnTo>
                    <a:pt x="94" y="107"/>
                  </a:lnTo>
                  <a:lnTo>
                    <a:pt x="94" y="107"/>
                  </a:lnTo>
                  <a:lnTo>
                    <a:pt x="94" y="111"/>
                  </a:lnTo>
                  <a:lnTo>
                    <a:pt x="94" y="114"/>
                  </a:lnTo>
                  <a:lnTo>
                    <a:pt x="94" y="116"/>
                  </a:lnTo>
                  <a:lnTo>
                    <a:pt x="96" y="118"/>
                  </a:lnTo>
                  <a:lnTo>
                    <a:pt x="96" y="120"/>
                  </a:lnTo>
                  <a:lnTo>
                    <a:pt x="98" y="122"/>
                  </a:lnTo>
                  <a:lnTo>
                    <a:pt x="98" y="126"/>
                  </a:lnTo>
                  <a:lnTo>
                    <a:pt x="98" y="130"/>
                  </a:lnTo>
                  <a:lnTo>
                    <a:pt x="98" y="130"/>
                  </a:lnTo>
                  <a:lnTo>
                    <a:pt x="98" y="134"/>
                  </a:lnTo>
                  <a:lnTo>
                    <a:pt x="96" y="135"/>
                  </a:lnTo>
                  <a:lnTo>
                    <a:pt x="96" y="137"/>
                  </a:lnTo>
                  <a:lnTo>
                    <a:pt x="94" y="139"/>
                  </a:lnTo>
                  <a:lnTo>
                    <a:pt x="92" y="143"/>
                  </a:lnTo>
                  <a:lnTo>
                    <a:pt x="90" y="145"/>
                  </a:lnTo>
                  <a:lnTo>
                    <a:pt x="90" y="149"/>
                  </a:lnTo>
                  <a:lnTo>
                    <a:pt x="90" y="155"/>
                  </a:lnTo>
                  <a:lnTo>
                    <a:pt x="90" y="155"/>
                  </a:lnTo>
                  <a:lnTo>
                    <a:pt x="92" y="160"/>
                  </a:lnTo>
                  <a:lnTo>
                    <a:pt x="96" y="164"/>
                  </a:lnTo>
                  <a:lnTo>
                    <a:pt x="102" y="166"/>
                  </a:lnTo>
                  <a:lnTo>
                    <a:pt x="107" y="168"/>
                  </a:lnTo>
                  <a:lnTo>
                    <a:pt x="115" y="170"/>
                  </a:lnTo>
                  <a:lnTo>
                    <a:pt x="121" y="174"/>
                  </a:lnTo>
                  <a:lnTo>
                    <a:pt x="124" y="177"/>
                  </a:lnTo>
                  <a:lnTo>
                    <a:pt x="124" y="183"/>
                  </a:lnTo>
                  <a:lnTo>
                    <a:pt x="124" y="183"/>
                  </a:lnTo>
                  <a:lnTo>
                    <a:pt x="124" y="189"/>
                  </a:lnTo>
                  <a:lnTo>
                    <a:pt x="123" y="195"/>
                  </a:lnTo>
                  <a:lnTo>
                    <a:pt x="119" y="198"/>
                  </a:lnTo>
                  <a:lnTo>
                    <a:pt x="115" y="204"/>
                  </a:lnTo>
                  <a:lnTo>
                    <a:pt x="111" y="208"/>
                  </a:lnTo>
                  <a:lnTo>
                    <a:pt x="105" y="212"/>
                  </a:lnTo>
                  <a:lnTo>
                    <a:pt x="100" y="216"/>
                  </a:lnTo>
                  <a:lnTo>
                    <a:pt x="96" y="219"/>
                  </a:lnTo>
                  <a:lnTo>
                    <a:pt x="96" y="219"/>
                  </a:lnTo>
                  <a:lnTo>
                    <a:pt x="88" y="227"/>
                  </a:lnTo>
                  <a:lnTo>
                    <a:pt x="82" y="233"/>
                  </a:lnTo>
                  <a:lnTo>
                    <a:pt x="75" y="240"/>
                  </a:lnTo>
                  <a:lnTo>
                    <a:pt x="69" y="248"/>
                  </a:lnTo>
                  <a:lnTo>
                    <a:pt x="61" y="254"/>
                  </a:lnTo>
                  <a:lnTo>
                    <a:pt x="56" y="261"/>
                  </a:lnTo>
                  <a:lnTo>
                    <a:pt x="48" y="269"/>
                  </a:lnTo>
                  <a:lnTo>
                    <a:pt x="40" y="275"/>
                  </a:lnTo>
                  <a:lnTo>
                    <a:pt x="40" y="275"/>
                  </a:lnTo>
                  <a:lnTo>
                    <a:pt x="39" y="277"/>
                  </a:lnTo>
                  <a:lnTo>
                    <a:pt x="37" y="280"/>
                  </a:lnTo>
                  <a:lnTo>
                    <a:pt x="33" y="282"/>
                  </a:lnTo>
                  <a:lnTo>
                    <a:pt x="31" y="284"/>
                  </a:lnTo>
                  <a:lnTo>
                    <a:pt x="29" y="286"/>
                  </a:lnTo>
                  <a:lnTo>
                    <a:pt x="27" y="290"/>
                  </a:lnTo>
                  <a:lnTo>
                    <a:pt x="25" y="294"/>
                  </a:lnTo>
                  <a:lnTo>
                    <a:pt x="25" y="296"/>
                  </a:lnTo>
                  <a:lnTo>
                    <a:pt x="25" y="296"/>
                  </a:lnTo>
                  <a:lnTo>
                    <a:pt x="25" y="305"/>
                  </a:lnTo>
                  <a:lnTo>
                    <a:pt x="23" y="313"/>
                  </a:lnTo>
                  <a:lnTo>
                    <a:pt x="23" y="322"/>
                  </a:lnTo>
                  <a:lnTo>
                    <a:pt x="21" y="330"/>
                  </a:lnTo>
                  <a:lnTo>
                    <a:pt x="19" y="340"/>
                  </a:lnTo>
                  <a:lnTo>
                    <a:pt x="18" y="347"/>
                  </a:lnTo>
                  <a:lnTo>
                    <a:pt x="16" y="357"/>
                  </a:lnTo>
                  <a:lnTo>
                    <a:pt x="14" y="366"/>
                  </a:lnTo>
                  <a:lnTo>
                    <a:pt x="10" y="376"/>
                  </a:lnTo>
                  <a:lnTo>
                    <a:pt x="8" y="385"/>
                  </a:lnTo>
                  <a:lnTo>
                    <a:pt x="6" y="395"/>
                  </a:lnTo>
                  <a:lnTo>
                    <a:pt x="4" y="404"/>
                  </a:lnTo>
                  <a:lnTo>
                    <a:pt x="2" y="414"/>
                  </a:lnTo>
                  <a:lnTo>
                    <a:pt x="2" y="425"/>
                  </a:lnTo>
                  <a:lnTo>
                    <a:pt x="2" y="437"/>
                  </a:lnTo>
                  <a:lnTo>
                    <a:pt x="0" y="448"/>
                  </a:lnTo>
                  <a:lnTo>
                    <a:pt x="0" y="448"/>
                  </a:lnTo>
                  <a:lnTo>
                    <a:pt x="0" y="450"/>
                  </a:lnTo>
                  <a:lnTo>
                    <a:pt x="0" y="454"/>
                  </a:lnTo>
                  <a:lnTo>
                    <a:pt x="0" y="456"/>
                  </a:lnTo>
                  <a:lnTo>
                    <a:pt x="0" y="460"/>
                  </a:lnTo>
                  <a:lnTo>
                    <a:pt x="2" y="462"/>
                  </a:lnTo>
                  <a:lnTo>
                    <a:pt x="2" y="465"/>
                  </a:lnTo>
                  <a:lnTo>
                    <a:pt x="2" y="467"/>
                  </a:lnTo>
                  <a:lnTo>
                    <a:pt x="2" y="471"/>
                  </a:lnTo>
                  <a:lnTo>
                    <a:pt x="2" y="471"/>
                  </a:lnTo>
                  <a:lnTo>
                    <a:pt x="4" y="469"/>
                  </a:lnTo>
                  <a:lnTo>
                    <a:pt x="8" y="469"/>
                  </a:lnTo>
                  <a:lnTo>
                    <a:pt x="10" y="467"/>
                  </a:lnTo>
                  <a:lnTo>
                    <a:pt x="12" y="467"/>
                  </a:lnTo>
                  <a:lnTo>
                    <a:pt x="14" y="465"/>
                  </a:lnTo>
                  <a:lnTo>
                    <a:pt x="16" y="465"/>
                  </a:lnTo>
                  <a:lnTo>
                    <a:pt x="19" y="465"/>
                  </a:lnTo>
                  <a:lnTo>
                    <a:pt x="21" y="465"/>
                  </a:lnTo>
                  <a:lnTo>
                    <a:pt x="21" y="465"/>
                  </a:lnTo>
                  <a:lnTo>
                    <a:pt x="25" y="465"/>
                  </a:lnTo>
                  <a:lnTo>
                    <a:pt x="29" y="469"/>
                  </a:lnTo>
                  <a:lnTo>
                    <a:pt x="31" y="471"/>
                  </a:lnTo>
                  <a:lnTo>
                    <a:pt x="33" y="471"/>
                  </a:lnTo>
                  <a:lnTo>
                    <a:pt x="33" y="471"/>
                  </a:lnTo>
                  <a:lnTo>
                    <a:pt x="40" y="471"/>
                  </a:lnTo>
                  <a:lnTo>
                    <a:pt x="46" y="467"/>
                  </a:lnTo>
                  <a:lnTo>
                    <a:pt x="50" y="465"/>
                  </a:lnTo>
                  <a:lnTo>
                    <a:pt x="56" y="462"/>
                  </a:lnTo>
                  <a:lnTo>
                    <a:pt x="60" y="456"/>
                  </a:lnTo>
                  <a:lnTo>
                    <a:pt x="63" y="454"/>
                  </a:lnTo>
                  <a:lnTo>
                    <a:pt x="69" y="450"/>
                  </a:lnTo>
                  <a:lnTo>
                    <a:pt x="75" y="448"/>
                  </a:lnTo>
                  <a:lnTo>
                    <a:pt x="77" y="446"/>
                  </a:lnTo>
                  <a:lnTo>
                    <a:pt x="77" y="446"/>
                  </a:lnTo>
                  <a:lnTo>
                    <a:pt x="77" y="443"/>
                  </a:lnTo>
                  <a:lnTo>
                    <a:pt x="79" y="441"/>
                  </a:lnTo>
                  <a:lnTo>
                    <a:pt x="81" y="439"/>
                  </a:lnTo>
                  <a:lnTo>
                    <a:pt x="84" y="435"/>
                  </a:lnTo>
                  <a:lnTo>
                    <a:pt x="189" y="435"/>
                  </a:lnTo>
                  <a:lnTo>
                    <a:pt x="189" y="435"/>
                  </a:lnTo>
                  <a:lnTo>
                    <a:pt x="187" y="433"/>
                  </a:lnTo>
                  <a:lnTo>
                    <a:pt x="187" y="431"/>
                  </a:lnTo>
                  <a:lnTo>
                    <a:pt x="185" y="429"/>
                  </a:lnTo>
                  <a:lnTo>
                    <a:pt x="184" y="427"/>
                  </a:lnTo>
                  <a:lnTo>
                    <a:pt x="182" y="425"/>
                  </a:lnTo>
                  <a:lnTo>
                    <a:pt x="182" y="424"/>
                  </a:lnTo>
                  <a:lnTo>
                    <a:pt x="180" y="420"/>
                  </a:lnTo>
                  <a:lnTo>
                    <a:pt x="180" y="418"/>
                  </a:lnTo>
                  <a:lnTo>
                    <a:pt x="180" y="418"/>
                  </a:lnTo>
                  <a:lnTo>
                    <a:pt x="182" y="414"/>
                  </a:lnTo>
                  <a:lnTo>
                    <a:pt x="182" y="410"/>
                  </a:lnTo>
                  <a:lnTo>
                    <a:pt x="184" y="408"/>
                  </a:lnTo>
                  <a:lnTo>
                    <a:pt x="185" y="404"/>
                  </a:lnTo>
                  <a:lnTo>
                    <a:pt x="187" y="403"/>
                  </a:lnTo>
                  <a:lnTo>
                    <a:pt x="189" y="403"/>
                  </a:lnTo>
                  <a:lnTo>
                    <a:pt x="191" y="401"/>
                  </a:lnTo>
                  <a:lnTo>
                    <a:pt x="193" y="399"/>
                  </a:lnTo>
                  <a:lnTo>
                    <a:pt x="193" y="399"/>
                  </a:lnTo>
                  <a:lnTo>
                    <a:pt x="195" y="397"/>
                  </a:lnTo>
                  <a:lnTo>
                    <a:pt x="197" y="393"/>
                  </a:lnTo>
                  <a:lnTo>
                    <a:pt x="197" y="391"/>
                  </a:lnTo>
                  <a:lnTo>
                    <a:pt x="199" y="387"/>
                  </a:lnTo>
                  <a:lnTo>
                    <a:pt x="199" y="383"/>
                  </a:lnTo>
                  <a:lnTo>
                    <a:pt x="199" y="380"/>
                  </a:lnTo>
                  <a:lnTo>
                    <a:pt x="201" y="378"/>
                  </a:lnTo>
                  <a:lnTo>
                    <a:pt x="201" y="374"/>
                  </a:lnTo>
                  <a:lnTo>
                    <a:pt x="201" y="374"/>
                  </a:lnTo>
                  <a:lnTo>
                    <a:pt x="203" y="370"/>
                  </a:lnTo>
                  <a:lnTo>
                    <a:pt x="206" y="368"/>
                  </a:lnTo>
                  <a:lnTo>
                    <a:pt x="212" y="366"/>
                  </a:lnTo>
                  <a:lnTo>
                    <a:pt x="220" y="362"/>
                  </a:lnTo>
                  <a:lnTo>
                    <a:pt x="227" y="361"/>
                  </a:lnTo>
                  <a:lnTo>
                    <a:pt x="233" y="359"/>
                  </a:lnTo>
                  <a:lnTo>
                    <a:pt x="237" y="357"/>
                  </a:lnTo>
                  <a:lnTo>
                    <a:pt x="239" y="355"/>
                  </a:lnTo>
                  <a:lnTo>
                    <a:pt x="239" y="355"/>
                  </a:lnTo>
                  <a:lnTo>
                    <a:pt x="241" y="357"/>
                  </a:lnTo>
                  <a:lnTo>
                    <a:pt x="243" y="357"/>
                  </a:lnTo>
                  <a:lnTo>
                    <a:pt x="245" y="355"/>
                  </a:lnTo>
                  <a:lnTo>
                    <a:pt x="246" y="355"/>
                  </a:lnTo>
                  <a:lnTo>
                    <a:pt x="246" y="355"/>
                  </a:lnTo>
                  <a:lnTo>
                    <a:pt x="248" y="355"/>
                  </a:lnTo>
                  <a:lnTo>
                    <a:pt x="250" y="355"/>
                  </a:lnTo>
                  <a:lnTo>
                    <a:pt x="252" y="351"/>
                  </a:lnTo>
                  <a:lnTo>
                    <a:pt x="254" y="349"/>
                  </a:lnTo>
                  <a:lnTo>
                    <a:pt x="256" y="347"/>
                  </a:lnTo>
                  <a:lnTo>
                    <a:pt x="260" y="345"/>
                  </a:lnTo>
                  <a:lnTo>
                    <a:pt x="262" y="345"/>
                  </a:lnTo>
                  <a:lnTo>
                    <a:pt x="266" y="343"/>
                  </a:lnTo>
                  <a:lnTo>
                    <a:pt x="266" y="343"/>
                  </a:lnTo>
                  <a:lnTo>
                    <a:pt x="267" y="345"/>
                  </a:lnTo>
                  <a:lnTo>
                    <a:pt x="271" y="345"/>
                  </a:lnTo>
                  <a:lnTo>
                    <a:pt x="273" y="347"/>
                  </a:lnTo>
                  <a:lnTo>
                    <a:pt x="277" y="349"/>
                  </a:lnTo>
                  <a:lnTo>
                    <a:pt x="277" y="349"/>
                  </a:lnTo>
                  <a:lnTo>
                    <a:pt x="279" y="347"/>
                  </a:lnTo>
                  <a:lnTo>
                    <a:pt x="283" y="347"/>
                  </a:lnTo>
                  <a:lnTo>
                    <a:pt x="285" y="345"/>
                  </a:lnTo>
                  <a:lnTo>
                    <a:pt x="287" y="343"/>
                  </a:lnTo>
                  <a:lnTo>
                    <a:pt x="288" y="341"/>
                  </a:lnTo>
                  <a:lnTo>
                    <a:pt x="288" y="340"/>
                  </a:lnTo>
                  <a:lnTo>
                    <a:pt x="290" y="338"/>
                  </a:lnTo>
                  <a:lnTo>
                    <a:pt x="292" y="336"/>
                  </a:lnTo>
                  <a:lnTo>
                    <a:pt x="292" y="336"/>
                  </a:lnTo>
                  <a:lnTo>
                    <a:pt x="294" y="338"/>
                  </a:lnTo>
                  <a:lnTo>
                    <a:pt x="296" y="341"/>
                  </a:lnTo>
                  <a:lnTo>
                    <a:pt x="300" y="343"/>
                  </a:lnTo>
                  <a:lnTo>
                    <a:pt x="302" y="343"/>
                  </a:lnTo>
                  <a:lnTo>
                    <a:pt x="302" y="343"/>
                  </a:lnTo>
                  <a:lnTo>
                    <a:pt x="308" y="343"/>
                  </a:lnTo>
                  <a:lnTo>
                    <a:pt x="311" y="341"/>
                  </a:lnTo>
                  <a:lnTo>
                    <a:pt x="313" y="338"/>
                  </a:lnTo>
                  <a:lnTo>
                    <a:pt x="315" y="334"/>
                  </a:lnTo>
                  <a:lnTo>
                    <a:pt x="317" y="330"/>
                  </a:lnTo>
                  <a:lnTo>
                    <a:pt x="319" y="326"/>
                  </a:lnTo>
                  <a:lnTo>
                    <a:pt x="321" y="322"/>
                  </a:lnTo>
                  <a:lnTo>
                    <a:pt x="323" y="322"/>
                  </a:lnTo>
                  <a:lnTo>
                    <a:pt x="323" y="322"/>
                  </a:lnTo>
                  <a:lnTo>
                    <a:pt x="327" y="322"/>
                  </a:lnTo>
                  <a:lnTo>
                    <a:pt x="329" y="322"/>
                  </a:lnTo>
                  <a:lnTo>
                    <a:pt x="332" y="322"/>
                  </a:lnTo>
                  <a:lnTo>
                    <a:pt x="334" y="322"/>
                  </a:lnTo>
                  <a:lnTo>
                    <a:pt x="334" y="322"/>
                  </a:lnTo>
                  <a:lnTo>
                    <a:pt x="334" y="328"/>
                  </a:lnTo>
                  <a:lnTo>
                    <a:pt x="336" y="336"/>
                  </a:lnTo>
                  <a:lnTo>
                    <a:pt x="340" y="341"/>
                  </a:lnTo>
                  <a:lnTo>
                    <a:pt x="344" y="347"/>
                  </a:lnTo>
                  <a:lnTo>
                    <a:pt x="348" y="353"/>
                  </a:lnTo>
                  <a:lnTo>
                    <a:pt x="351" y="357"/>
                  </a:lnTo>
                  <a:lnTo>
                    <a:pt x="355" y="361"/>
                  </a:lnTo>
                  <a:lnTo>
                    <a:pt x="359" y="362"/>
                  </a:lnTo>
                  <a:lnTo>
                    <a:pt x="359" y="362"/>
                  </a:lnTo>
                  <a:lnTo>
                    <a:pt x="359" y="359"/>
                  </a:lnTo>
                  <a:lnTo>
                    <a:pt x="359" y="355"/>
                  </a:lnTo>
                  <a:lnTo>
                    <a:pt x="361" y="351"/>
                  </a:lnTo>
                  <a:lnTo>
                    <a:pt x="361" y="347"/>
                  </a:lnTo>
                  <a:lnTo>
                    <a:pt x="361" y="345"/>
                  </a:lnTo>
                  <a:lnTo>
                    <a:pt x="361" y="341"/>
                  </a:lnTo>
                  <a:lnTo>
                    <a:pt x="363" y="336"/>
                  </a:lnTo>
                  <a:lnTo>
                    <a:pt x="363" y="332"/>
                  </a:lnTo>
                  <a:lnTo>
                    <a:pt x="363" y="332"/>
                  </a:lnTo>
                  <a:lnTo>
                    <a:pt x="367" y="322"/>
                  </a:lnTo>
                  <a:lnTo>
                    <a:pt x="372" y="313"/>
                  </a:lnTo>
                  <a:lnTo>
                    <a:pt x="378" y="303"/>
                  </a:lnTo>
                  <a:lnTo>
                    <a:pt x="384" y="296"/>
                  </a:lnTo>
                  <a:lnTo>
                    <a:pt x="390" y="288"/>
                  </a:lnTo>
                  <a:lnTo>
                    <a:pt x="395" y="280"/>
                  </a:lnTo>
                  <a:lnTo>
                    <a:pt x="403" y="273"/>
                  </a:lnTo>
                  <a:lnTo>
                    <a:pt x="409" y="265"/>
                  </a:lnTo>
                  <a:lnTo>
                    <a:pt x="414" y="258"/>
                  </a:lnTo>
                  <a:lnTo>
                    <a:pt x="420" y="250"/>
                  </a:lnTo>
                  <a:lnTo>
                    <a:pt x="426" y="240"/>
                  </a:lnTo>
                  <a:lnTo>
                    <a:pt x="432" y="233"/>
                  </a:lnTo>
                  <a:lnTo>
                    <a:pt x="435" y="223"/>
                  </a:lnTo>
                  <a:lnTo>
                    <a:pt x="437" y="214"/>
                  </a:lnTo>
                  <a:lnTo>
                    <a:pt x="439" y="202"/>
                  </a:lnTo>
                  <a:lnTo>
                    <a:pt x="441" y="191"/>
                  </a:lnTo>
                  <a:lnTo>
                    <a:pt x="441" y="191"/>
                  </a:lnTo>
                  <a:lnTo>
                    <a:pt x="439" y="176"/>
                  </a:lnTo>
                  <a:lnTo>
                    <a:pt x="437" y="162"/>
                  </a:lnTo>
                  <a:lnTo>
                    <a:pt x="435" y="149"/>
                  </a:lnTo>
                  <a:lnTo>
                    <a:pt x="432" y="135"/>
                  </a:lnTo>
                  <a:lnTo>
                    <a:pt x="428" y="124"/>
                  </a:lnTo>
                  <a:lnTo>
                    <a:pt x="422" y="111"/>
                  </a:lnTo>
                  <a:lnTo>
                    <a:pt x="416" y="99"/>
                  </a:lnTo>
                  <a:lnTo>
                    <a:pt x="411" y="86"/>
                  </a:lnTo>
                  <a:lnTo>
                    <a:pt x="403" y="74"/>
                  </a:lnTo>
                  <a:lnTo>
                    <a:pt x="397" y="63"/>
                  </a:lnTo>
                  <a:lnTo>
                    <a:pt x="390" y="52"/>
                  </a:lnTo>
                  <a:lnTo>
                    <a:pt x="384" y="42"/>
                  </a:lnTo>
                  <a:lnTo>
                    <a:pt x="376" y="31"/>
                  </a:lnTo>
                  <a:lnTo>
                    <a:pt x="370" y="21"/>
                  </a:lnTo>
                  <a:lnTo>
                    <a:pt x="367" y="10"/>
                  </a:lnTo>
                  <a:lnTo>
                    <a:pt x="361" y="0"/>
                  </a:lnTo>
                  <a:lnTo>
                    <a:pt x="361" y="0"/>
                  </a:lnTo>
                  <a:lnTo>
                    <a:pt x="353" y="8"/>
                  </a:lnTo>
                  <a:lnTo>
                    <a:pt x="346" y="15"/>
                  </a:lnTo>
                  <a:lnTo>
                    <a:pt x="338" y="21"/>
                  </a:lnTo>
                  <a:lnTo>
                    <a:pt x="329" y="29"/>
                  </a:lnTo>
                  <a:lnTo>
                    <a:pt x="323" y="34"/>
                  </a:lnTo>
                  <a:lnTo>
                    <a:pt x="315" y="38"/>
                  </a:lnTo>
                  <a:lnTo>
                    <a:pt x="309" y="42"/>
                  </a:lnTo>
                  <a:lnTo>
                    <a:pt x="304" y="42"/>
                  </a:lnTo>
                  <a:lnTo>
                    <a:pt x="304" y="42"/>
                  </a:lnTo>
                  <a:lnTo>
                    <a:pt x="300" y="42"/>
                  </a:lnTo>
                  <a:lnTo>
                    <a:pt x="296" y="42"/>
                  </a:lnTo>
                  <a:lnTo>
                    <a:pt x="292" y="42"/>
                  </a:lnTo>
                  <a:lnTo>
                    <a:pt x="288" y="42"/>
                  </a:lnTo>
                  <a:lnTo>
                    <a:pt x="285" y="42"/>
                  </a:lnTo>
                  <a:lnTo>
                    <a:pt x="283" y="42"/>
                  </a:lnTo>
                  <a:lnTo>
                    <a:pt x="279" y="42"/>
                  </a:lnTo>
                  <a:lnTo>
                    <a:pt x="277" y="42"/>
                  </a:lnTo>
                  <a:lnTo>
                    <a:pt x="277" y="42"/>
                  </a:lnTo>
                  <a:lnTo>
                    <a:pt x="273" y="42"/>
                  </a:lnTo>
                  <a:lnTo>
                    <a:pt x="271" y="44"/>
                  </a:lnTo>
                  <a:lnTo>
                    <a:pt x="267" y="44"/>
                  </a:lnTo>
                  <a:lnTo>
                    <a:pt x="264" y="46"/>
                  </a:lnTo>
                  <a:lnTo>
                    <a:pt x="258" y="46"/>
                  </a:lnTo>
                  <a:lnTo>
                    <a:pt x="254" y="48"/>
                  </a:lnTo>
                  <a:lnTo>
                    <a:pt x="250" y="50"/>
                  </a:lnTo>
                  <a:lnTo>
                    <a:pt x="246" y="50"/>
                  </a:lnTo>
                  <a:lnTo>
                    <a:pt x="243" y="52"/>
                  </a:lnTo>
                  <a:lnTo>
                    <a:pt x="237" y="53"/>
                  </a:lnTo>
                  <a:lnTo>
                    <a:pt x="233" y="53"/>
                  </a:lnTo>
                  <a:lnTo>
                    <a:pt x="229" y="55"/>
                  </a:lnTo>
                  <a:lnTo>
                    <a:pt x="224" y="57"/>
                  </a:lnTo>
                  <a:lnTo>
                    <a:pt x="220" y="57"/>
                  </a:lnTo>
                  <a:lnTo>
                    <a:pt x="214" y="57"/>
                  </a:lnTo>
                  <a:lnTo>
                    <a:pt x="210" y="57"/>
                  </a:lnTo>
                  <a:lnTo>
                    <a:pt x="210" y="57"/>
                  </a:lnTo>
                  <a:lnTo>
                    <a:pt x="205" y="57"/>
                  </a:lnTo>
                  <a:lnTo>
                    <a:pt x="199" y="55"/>
                  </a:lnTo>
                  <a:lnTo>
                    <a:pt x="195" y="53"/>
                  </a:lnTo>
                  <a:lnTo>
                    <a:pt x="189" y="52"/>
                  </a:lnTo>
                  <a:lnTo>
                    <a:pt x="184" y="50"/>
                  </a:lnTo>
                  <a:lnTo>
                    <a:pt x="178" y="48"/>
                  </a:lnTo>
                  <a:lnTo>
                    <a:pt x="170" y="46"/>
                  </a:lnTo>
                  <a:lnTo>
                    <a:pt x="163" y="46"/>
                  </a:lnTo>
                  <a:lnTo>
                    <a:pt x="163" y="46"/>
                  </a:lnTo>
                  <a:lnTo>
                    <a:pt x="155" y="46"/>
                  </a:lnTo>
                  <a:lnTo>
                    <a:pt x="149" y="48"/>
                  </a:lnTo>
                  <a:lnTo>
                    <a:pt x="143" y="48"/>
                  </a:lnTo>
                  <a:lnTo>
                    <a:pt x="138" y="50"/>
                  </a:lnTo>
                  <a:lnTo>
                    <a:pt x="134" y="52"/>
                  </a:lnTo>
                  <a:lnTo>
                    <a:pt x="128" y="53"/>
                  </a:lnTo>
                  <a:lnTo>
                    <a:pt x="124" y="55"/>
                  </a:lnTo>
                  <a:lnTo>
                    <a:pt x="121" y="57"/>
                  </a:lnTo>
                  <a:lnTo>
                    <a:pt x="117" y="61"/>
                  </a:lnTo>
                  <a:lnTo>
                    <a:pt x="113" y="63"/>
                  </a:lnTo>
                  <a:lnTo>
                    <a:pt x="109" y="65"/>
                  </a:lnTo>
                  <a:lnTo>
                    <a:pt x="107" y="67"/>
                  </a:lnTo>
                  <a:lnTo>
                    <a:pt x="103" y="67"/>
                  </a:lnTo>
                  <a:lnTo>
                    <a:pt x="100" y="69"/>
                  </a:lnTo>
                  <a:lnTo>
                    <a:pt x="96" y="69"/>
                  </a:lnTo>
                  <a:lnTo>
                    <a:pt x="92" y="71"/>
                  </a:lnTo>
                  <a:lnTo>
                    <a:pt x="94" y="6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17" name="Freeform 61"/>
            <p:cNvSpPr>
              <a:spLocks/>
            </p:cNvSpPr>
            <p:nvPr/>
          </p:nvSpPr>
          <p:spPr bwMode="gray">
            <a:xfrm>
              <a:off x="3178" y="1548"/>
              <a:ext cx="292" cy="242"/>
            </a:xfrm>
            <a:custGeom>
              <a:avLst/>
              <a:gdLst/>
              <a:ahLst/>
              <a:cxnLst>
                <a:cxn ang="0">
                  <a:pos x="74" y="296"/>
                </a:cxn>
                <a:cxn ang="0">
                  <a:pos x="86" y="311"/>
                </a:cxn>
                <a:cxn ang="0">
                  <a:pos x="99" y="315"/>
                </a:cxn>
                <a:cxn ang="0">
                  <a:pos x="116" y="275"/>
                </a:cxn>
                <a:cxn ang="0">
                  <a:pos x="135" y="269"/>
                </a:cxn>
                <a:cxn ang="0">
                  <a:pos x="172" y="290"/>
                </a:cxn>
                <a:cxn ang="0">
                  <a:pos x="193" y="286"/>
                </a:cxn>
                <a:cxn ang="0">
                  <a:pos x="208" y="277"/>
                </a:cxn>
                <a:cxn ang="0">
                  <a:pos x="217" y="283"/>
                </a:cxn>
                <a:cxn ang="0">
                  <a:pos x="221" y="290"/>
                </a:cxn>
                <a:cxn ang="0">
                  <a:pos x="248" y="286"/>
                </a:cxn>
                <a:cxn ang="0">
                  <a:pos x="269" y="286"/>
                </a:cxn>
                <a:cxn ang="0">
                  <a:pos x="301" y="290"/>
                </a:cxn>
                <a:cxn ang="0">
                  <a:pos x="332" y="300"/>
                </a:cxn>
                <a:cxn ang="0">
                  <a:pos x="359" y="319"/>
                </a:cxn>
                <a:cxn ang="0">
                  <a:pos x="366" y="334"/>
                </a:cxn>
                <a:cxn ang="0">
                  <a:pos x="374" y="349"/>
                </a:cxn>
                <a:cxn ang="0">
                  <a:pos x="406" y="374"/>
                </a:cxn>
                <a:cxn ang="0">
                  <a:pos x="441" y="401"/>
                </a:cxn>
                <a:cxn ang="0">
                  <a:pos x="469" y="433"/>
                </a:cxn>
                <a:cxn ang="0">
                  <a:pos x="490" y="431"/>
                </a:cxn>
                <a:cxn ang="0">
                  <a:pos x="515" y="418"/>
                </a:cxn>
                <a:cxn ang="0">
                  <a:pos x="490" y="399"/>
                </a:cxn>
                <a:cxn ang="0">
                  <a:pos x="469" y="378"/>
                </a:cxn>
                <a:cxn ang="0">
                  <a:pos x="462" y="355"/>
                </a:cxn>
                <a:cxn ang="0">
                  <a:pos x="446" y="342"/>
                </a:cxn>
                <a:cxn ang="0">
                  <a:pos x="412" y="328"/>
                </a:cxn>
                <a:cxn ang="0">
                  <a:pos x="389" y="305"/>
                </a:cxn>
                <a:cxn ang="0">
                  <a:pos x="362" y="271"/>
                </a:cxn>
                <a:cxn ang="0">
                  <a:pos x="341" y="262"/>
                </a:cxn>
                <a:cxn ang="0">
                  <a:pos x="320" y="260"/>
                </a:cxn>
                <a:cxn ang="0">
                  <a:pos x="299" y="254"/>
                </a:cxn>
                <a:cxn ang="0">
                  <a:pos x="282" y="243"/>
                </a:cxn>
                <a:cxn ang="0">
                  <a:pos x="271" y="218"/>
                </a:cxn>
                <a:cxn ang="0">
                  <a:pos x="252" y="212"/>
                </a:cxn>
                <a:cxn ang="0">
                  <a:pos x="227" y="187"/>
                </a:cxn>
                <a:cxn ang="0">
                  <a:pos x="204" y="143"/>
                </a:cxn>
                <a:cxn ang="0">
                  <a:pos x="194" y="119"/>
                </a:cxn>
                <a:cxn ang="0">
                  <a:pos x="185" y="77"/>
                </a:cxn>
                <a:cxn ang="0">
                  <a:pos x="168" y="33"/>
                </a:cxn>
                <a:cxn ang="0">
                  <a:pos x="143" y="4"/>
                </a:cxn>
                <a:cxn ang="0">
                  <a:pos x="126" y="33"/>
                </a:cxn>
                <a:cxn ang="0">
                  <a:pos x="80" y="65"/>
                </a:cxn>
                <a:cxn ang="0">
                  <a:pos x="34" y="98"/>
                </a:cxn>
                <a:cxn ang="0">
                  <a:pos x="25" y="130"/>
                </a:cxn>
                <a:cxn ang="0">
                  <a:pos x="25" y="145"/>
                </a:cxn>
                <a:cxn ang="0">
                  <a:pos x="23" y="162"/>
                </a:cxn>
                <a:cxn ang="0">
                  <a:pos x="15" y="191"/>
                </a:cxn>
                <a:cxn ang="0">
                  <a:pos x="4" y="222"/>
                </a:cxn>
                <a:cxn ang="0">
                  <a:pos x="0" y="246"/>
                </a:cxn>
                <a:cxn ang="0">
                  <a:pos x="6" y="285"/>
                </a:cxn>
              </a:cxnLst>
              <a:rect l="0" t="0" r="r" b="b"/>
              <a:pathLst>
                <a:path w="515" h="441">
                  <a:moveTo>
                    <a:pt x="6" y="307"/>
                  </a:moveTo>
                  <a:lnTo>
                    <a:pt x="38" y="304"/>
                  </a:lnTo>
                  <a:lnTo>
                    <a:pt x="50" y="311"/>
                  </a:lnTo>
                  <a:lnTo>
                    <a:pt x="74" y="296"/>
                  </a:lnTo>
                  <a:lnTo>
                    <a:pt x="74" y="296"/>
                  </a:lnTo>
                  <a:lnTo>
                    <a:pt x="78" y="298"/>
                  </a:lnTo>
                  <a:lnTo>
                    <a:pt x="80" y="302"/>
                  </a:lnTo>
                  <a:lnTo>
                    <a:pt x="82" y="305"/>
                  </a:lnTo>
                  <a:lnTo>
                    <a:pt x="84" y="307"/>
                  </a:lnTo>
                  <a:lnTo>
                    <a:pt x="86" y="311"/>
                  </a:lnTo>
                  <a:lnTo>
                    <a:pt x="88" y="315"/>
                  </a:lnTo>
                  <a:lnTo>
                    <a:pt x="91" y="317"/>
                  </a:lnTo>
                  <a:lnTo>
                    <a:pt x="95" y="317"/>
                  </a:lnTo>
                  <a:lnTo>
                    <a:pt x="95" y="317"/>
                  </a:lnTo>
                  <a:lnTo>
                    <a:pt x="99" y="315"/>
                  </a:lnTo>
                  <a:lnTo>
                    <a:pt x="103" y="309"/>
                  </a:lnTo>
                  <a:lnTo>
                    <a:pt x="107" y="302"/>
                  </a:lnTo>
                  <a:lnTo>
                    <a:pt x="111" y="294"/>
                  </a:lnTo>
                  <a:lnTo>
                    <a:pt x="114" y="285"/>
                  </a:lnTo>
                  <a:lnTo>
                    <a:pt x="116" y="275"/>
                  </a:lnTo>
                  <a:lnTo>
                    <a:pt x="120" y="267"/>
                  </a:lnTo>
                  <a:lnTo>
                    <a:pt x="122" y="262"/>
                  </a:lnTo>
                  <a:lnTo>
                    <a:pt x="122" y="262"/>
                  </a:lnTo>
                  <a:lnTo>
                    <a:pt x="130" y="265"/>
                  </a:lnTo>
                  <a:lnTo>
                    <a:pt x="135" y="269"/>
                  </a:lnTo>
                  <a:lnTo>
                    <a:pt x="143" y="275"/>
                  </a:lnTo>
                  <a:lnTo>
                    <a:pt x="149" y="279"/>
                  </a:lnTo>
                  <a:lnTo>
                    <a:pt x="156" y="285"/>
                  </a:lnTo>
                  <a:lnTo>
                    <a:pt x="162" y="288"/>
                  </a:lnTo>
                  <a:lnTo>
                    <a:pt x="172" y="290"/>
                  </a:lnTo>
                  <a:lnTo>
                    <a:pt x="181" y="290"/>
                  </a:lnTo>
                  <a:lnTo>
                    <a:pt x="181" y="290"/>
                  </a:lnTo>
                  <a:lnTo>
                    <a:pt x="187" y="290"/>
                  </a:lnTo>
                  <a:lnTo>
                    <a:pt x="191" y="288"/>
                  </a:lnTo>
                  <a:lnTo>
                    <a:pt x="193" y="286"/>
                  </a:lnTo>
                  <a:lnTo>
                    <a:pt x="196" y="283"/>
                  </a:lnTo>
                  <a:lnTo>
                    <a:pt x="198" y="281"/>
                  </a:lnTo>
                  <a:lnTo>
                    <a:pt x="200" y="279"/>
                  </a:lnTo>
                  <a:lnTo>
                    <a:pt x="204" y="277"/>
                  </a:lnTo>
                  <a:lnTo>
                    <a:pt x="208" y="277"/>
                  </a:lnTo>
                  <a:lnTo>
                    <a:pt x="208" y="277"/>
                  </a:lnTo>
                  <a:lnTo>
                    <a:pt x="212" y="277"/>
                  </a:lnTo>
                  <a:lnTo>
                    <a:pt x="214" y="277"/>
                  </a:lnTo>
                  <a:lnTo>
                    <a:pt x="215" y="279"/>
                  </a:lnTo>
                  <a:lnTo>
                    <a:pt x="217" y="283"/>
                  </a:lnTo>
                  <a:lnTo>
                    <a:pt x="219" y="285"/>
                  </a:lnTo>
                  <a:lnTo>
                    <a:pt x="219" y="286"/>
                  </a:lnTo>
                  <a:lnTo>
                    <a:pt x="221" y="288"/>
                  </a:lnTo>
                  <a:lnTo>
                    <a:pt x="221" y="290"/>
                  </a:lnTo>
                  <a:lnTo>
                    <a:pt x="221" y="290"/>
                  </a:lnTo>
                  <a:lnTo>
                    <a:pt x="227" y="290"/>
                  </a:lnTo>
                  <a:lnTo>
                    <a:pt x="233" y="288"/>
                  </a:lnTo>
                  <a:lnTo>
                    <a:pt x="236" y="286"/>
                  </a:lnTo>
                  <a:lnTo>
                    <a:pt x="242" y="286"/>
                  </a:lnTo>
                  <a:lnTo>
                    <a:pt x="248" y="286"/>
                  </a:lnTo>
                  <a:lnTo>
                    <a:pt x="252" y="286"/>
                  </a:lnTo>
                  <a:lnTo>
                    <a:pt x="257" y="286"/>
                  </a:lnTo>
                  <a:lnTo>
                    <a:pt x="263" y="286"/>
                  </a:lnTo>
                  <a:lnTo>
                    <a:pt x="263" y="286"/>
                  </a:lnTo>
                  <a:lnTo>
                    <a:pt x="269" y="286"/>
                  </a:lnTo>
                  <a:lnTo>
                    <a:pt x="277" y="286"/>
                  </a:lnTo>
                  <a:lnTo>
                    <a:pt x="282" y="286"/>
                  </a:lnTo>
                  <a:lnTo>
                    <a:pt x="290" y="288"/>
                  </a:lnTo>
                  <a:lnTo>
                    <a:pt x="296" y="288"/>
                  </a:lnTo>
                  <a:lnTo>
                    <a:pt x="301" y="290"/>
                  </a:lnTo>
                  <a:lnTo>
                    <a:pt x="307" y="290"/>
                  </a:lnTo>
                  <a:lnTo>
                    <a:pt x="315" y="292"/>
                  </a:lnTo>
                  <a:lnTo>
                    <a:pt x="320" y="294"/>
                  </a:lnTo>
                  <a:lnTo>
                    <a:pt x="326" y="298"/>
                  </a:lnTo>
                  <a:lnTo>
                    <a:pt x="332" y="300"/>
                  </a:lnTo>
                  <a:lnTo>
                    <a:pt x="336" y="304"/>
                  </a:lnTo>
                  <a:lnTo>
                    <a:pt x="341" y="305"/>
                  </a:lnTo>
                  <a:lnTo>
                    <a:pt x="347" y="309"/>
                  </a:lnTo>
                  <a:lnTo>
                    <a:pt x="353" y="315"/>
                  </a:lnTo>
                  <a:lnTo>
                    <a:pt x="359" y="319"/>
                  </a:lnTo>
                  <a:lnTo>
                    <a:pt x="359" y="319"/>
                  </a:lnTo>
                  <a:lnTo>
                    <a:pt x="360" y="323"/>
                  </a:lnTo>
                  <a:lnTo>
                    <a:pt x="362" y="326"/>
                  </a:lnTo>
                  <a:lnTo>
                    <a:pt x="364" y="330"/>
                  </a:lnTo>
                  <a:lnTo>
                    <a:pt x="366" y="334"/>
                  </a:lnTo>
                  <a:lnTo>
                    <a:pt x="368" y="338"/>
                  </a:lnTo>
                  <a:lnTo>
                    <a:pt x="368" y="342"/>
                  </a:lnTo>
                  <a:lnTo>
                    <a:pt x="370" y="346"/>
                  </a:lnTo>
                  <a:lnTo>
                    <a:pt x="374" y="349"/>
                  </a:lnTo>
                  <a:lnTo>
                    <a:pt x="374" y="349"/>
                  </a:lnTo>
                  <a:lnTo>
                    <a:pt x="380" y="353"/>
                  </a:lnTo>
                  <a:lnTo>
                    <a:pt x="385" y="359"/>
                  </a:lnTo>
                  <a:lnTo>
                    <a:pt x="393" y="365"/>
                  </a:lnTo>
                  <a:lnTo>
                    <a:pt x="399" y="370"/>
                  </a:lnTo>
                  <a:lnTo>
                    <a:pt x="406" y="374"/>
                  </a:lnTo>
                  <a:lnTo>
                    <a:pt x="414" y="380"/>
                  </a:lnTo>
                  <a:lnTo>
                    <a:pt x="420" y="386"/>
                  </a:lnTo>
                  <a:lnTo>
                    <a:pt x="427" y="389"/>
                  </a:lnTo>
                  <a:lnTo>
                    <a:pt x="433" y="395"/>
                  </a:lnTo>
                  <a:lnTo>
                    <a:pt x="441" y="401"/>
                  </a:lnTo>
                  <a:lnTo>
                    <a:pt x="446" y="407"/>
                  </a:lnTo>
                  <a:lnTo>
                    <a:pt x="454" y="412"/>
                  </a:lnTo>
                  <a:lnTo>
                    <a:pt x="460" y="420"/>
                  </a:lnTo>
                  <a:lnTo>
                    <a:pt x="463" y="426"/>
                  </a:lnTo>
                  <a:lnTo>
                    <a:pt x="469" y="433"/>
                  </a:lnTo>
                  <a:lnTo>
                    <a:pt x="473" y="441"/>
                  </a:lnTo>
                  <a:lnTo>
                    <a:pt x="473" y="441"/>
                  </a:lnTo>
                  <a:lnTo>
                    <a:pt x="479" y="437"/>
                  </a:lnTo>
                  <a:lnTo>
                    <a:pt x="484" y="433"/>
                  </a:lnTo>
                  <a:lnTo>
                    <a:pt x="490" y="431"/>
                  </a:lnTo>
                  <a:lnTo>
                    <a:pt x="496" y="428"/>
                  </a:lnTo>
                  <a:lnTo>
                    <a:pt x="500" y="426"/>
                  </a:lnTo>
                  <a:lnTo>
                    <a:pt x="505" y="424"/>
                  </a:lnTo>
                  <a:lnTo>
                    <a:pt x="509" y="420"/>
                  </a:lnTo>
                  <a:lnTo>
                    <a:pt x="515" y="418"/>
                  </a:lnTo>
                  <a:lnTo>
                    <a:pt x="515" y="418"/>
                  </a:lnTo>
                  <a:lnTo>
                    <a:pt x="509" y="414"/>
                  </a:lnTo>
                  <a:lnTo>
                    <a:pt x="504" y="410"/>
                  </a:lnTo>
                  <a:lnTo>
                    <a:pt x="498" y="405"/>
                  </a:lnTo>
                  <a:lnTo>
                    <a:pt x="490" y="399"/>
                  </a:lnTo>
                  <a:lnTo>
                    <a:pt x="483" y="393"/>
                  </a:lnTo>
                  <a:lnTo>
                    <a:pt x="477" y="389"/>
                  </a:lnTo>
                  <a:lnTo>
                    <a:pt x="473" y="384"/>
                  </a:lnTo>
                  <a:lnTo>
                    <a:pt x="469" y="378"/>
                  </a:lnTo>
                  <a:lnTo>
                    <a:pt x="469" y="378"/>
                  </a:lnTo>
                  <a:lnTo>
                    <a:pt x="467" y="374"/>
                  </a:lnTo>
                  <a:lnTo>
                    <a:pt x="467" y="370"/>
                  </a:lnTo>
                  <a:lnTo>
                    <a:pt x="465" y="365"/>
                  </a:lnTo>
                  <a:lnTo>
                    <a:pt x="463" y="361"/>
                  </a:lnTo>
                  <a:lnTo>
                    <a:pt x="462" y="355"/>
                  </a:lnTo>
                  <a:lnTo>
                    <a:pt x="460" y="351"/>
                  </a:lnTo>
                  <a:lnTo>
                    <a:pt x="458" y="349"/>
                  </a:lnTo>
                  <a:lnTo>
                    <a:pt x="456" y="347"/>
                  </a:lnTo>
                  <a:lnTo>
                    <a:pt x="456" y="347"/>
                  </a:lnTo>
                  <a:lnTo>
                    <a:pt x="446" y="342"/>
                  </a:lnTo>
                  <a:lnTo>
                    <a:pt x="439" y="340"/>
                  </a:lnTo>
                  <a:lnTo>
                    <a:pt x="431" y="336"/>
                  </a:lnTo>
                  <a:lnTo>
                    <a:pt x="425" y="334"/>
                  </a:lnTo>
                  <a:lnTo>
                    <a:pt x="418" y="330"/>
                  </a:lnTo>
                  <a:lnTo>
                    <a:pt x="412" y="328"/>
                  </a:lnTo>
                  <a:lnTo>
                    <a:pt x="404" y="325"/>
                  </a:lnTo>
                  <a:lnTo>
                    <a:pt x="399" y="317"/>
                  </a:lnTo>
                  <a:lnTo>
                    <a:pt x="399" y="317"/>
                  </a:lnTo>
                  <a:lnTo>
                    <a:pt x="393" y="311"/>
                  </a:lnTo>
                  <a:lnTo>
                    <a:pt x="389" y="305"/>
                  </a:lnTo>
                  <a:lnTo>
                    <a:pt x="383" y="298"/>
                  </a:lnTo>
                  <a:lnTo>
                    <a:pt x="380" y="290"/>
                  </a:lnTo>
                  <a:lnTo>
                    <a:pt x="374" y="283"/>
                  </a:lnTo>
                  <a:lnTo>
                    <a:pt x="368" y="277"/>
                  </a:lnTo>
                  <a:lnTo>
                    <a:pt x="362" y="271"/>
                  </a:lnTo>
                  <a:lnTo>
                    <a:pt x="355" y="267"/>
                  </a:lnTo>
                  <a:lnTo>
                    <a:pt x="355" y="267"/>
                  </a:lnTo>
                  <a:lnTo>
                    <a:pt x="351" y="265"/>
                  </a:lnTo>
                  <a:lnTo>
                    <a:pt x="345" y="264"/>
                  </a:lnTo>
                  <a:lnTo>
                    <a:pt x="341" y="262"/>
                  </a:lnTo>
                  <a:lnTo>
                    <a:pt x="338" y="262"/>
                  </a:lnTo>
                  <a:lnTo>
                    <a:pt x="334" y="262"/>
                  </a:lnTo>
                  <a:lnTo>
                    <a:pt x="328" y="260"/>
                  </a:lnTo>
                  <a:lnTo>
                    <a:pt x="324" y="260"/>
                  </a:lnTo>
                  <a:lnTo>
                    <a:pt x="320" y="260"/>
                  </a:lnTo>
                  <a:lnTo>
                    <a:pt x="317" y="258"/>
                  </a:lnTo>
                  <a:lnTo>
                    <a:pt x="311" y="258"/>
                  </a:lnTo>
                  <a:lnTo>
                    <a:pt x="307" y="256"/>
                  </a:lnTo>
                  <a:lnTo>
                    <a:pt x="303" y="256"/>
                  </a:lnTo>
                  <a:lnTo>
                    <a:pt x="299" y="254"/>
                  </a:lnTo>
                  <a:lnTo>
                    <a:pt x="296" y="252"/>
                  </a:lnTo>
                  <a:lnTo>
                    <a:pt x="290" y="248"/>
                  </a:lnTo>
                  <a:lnTo>
                    <a:pt x="286" y="246"/>
                  </a:lnTo>
                  <a:lnTo>
                    <a:pt x="286" y="246"/>
                  </a:lnTo>
                  <a:lnTo>
                    <a:pt x="282" y="243"/>
                  </a:lnTo>
                  <a:lnTo>
                    <a:pt x="278" y="239"/>
                  </a:lnTo>
                  <a:lnTo>
                    <a:pt x="277" y="233"/>
                  </a:lnTo>
                  <a:lnTo>
                    <a:pt x="275" y="227"/>
                  </a:lnTo>
                  <a:lnTo>
                    <a:pt x="273" y="223"/>
                  </a:lnTo>
                  <a:lnTo>
                    <a:pt x="271" y="218"/>
                  </a:lnTo>
                  <a:lnTo>
                    <a:pt x="265" y="214"/>
                  </a:lnTo>
                  <a:lnTo>
                    <a:pt x="259" y="210"/>
                  </a:lnTo>
                  <a:lnTo>
                    <a:pt x="259" y="210"/>
                  </a:lnTo>
                  <a:lnTo>
                    <a:pt x="256" y="212"/>
                  </a:lnTo>
                  <a:lnTo>
                    <a:pt x="252" y="212"/>
                  </a:lnTo>
                  <a:lnTo>
                    <a:pt x="248" y="210"/>
                  </a:lnTo>
                  <a:lnTo>
                    <a:pt x="242" y="206"/>
                  </a:lnTo>
                  <a:lnTo>
                    <a:pt x="238" y="201"/>
                  </a:lnTo>
                  <a:lnTo>
                    <a:pt x="233" y="195"/>
                  </a:lnTo>
                  <a:lnTo>
                    <a:pt x="227" y="187"/>
                  </a:lnTo>
                  <a:lnTo>
                    <a:pt x="221" y="180"/>
                  </a:lnTo>
                  <a:lnTo>
                    <a:pt x="217" y="170"/>
                  </a:lnTo>
                  <a:lnTo>
                    <a:pt x="212" y="162"/>
                  </a:lnTo>
                  <a:lnTo>
                    <a:pt x="208" y="153"/>
                  </a:lnTo>
                  <a:lnTo>
                    <a:pt x="204" y="143"/>
                  </a:lnTo>
                  <a:lnTo>
                    <a:pt x="200" y="136"/>
                  </a:lnTo>
                  <a:lnTo>
                    <a:pt x="198" y="130"/>
                  </a:lnTo>
                  <a:lnTo>
                    <a:pt x="196" y="124"/>
                  </a:lnTo>
                  <a:lnTo>
                    <a:pt x="194" y="119"/>
                  </a:lnTo>
                  <a:lnTo>
                    <a:pt x="194" y="119"/>
                  </a:lnTo>
                  <a:lnTo>
                    <a:pt x="194" y="111"/>
                  </a:lnTo>
                  <a:lnTo>
                    <a:pt x="193" y="103"/>
                  </a:lnTo>
                  <a:lnTo>
                    <a:pt x="191" y="94"/>
                  </a:lnTo>
                  <a:lnTo>
                    <a:pt x="189" y="86"/>
                  </a:lnTo>
                  <a:lnTo>
                    <a:pt x="185" y="77"/>
                  </a:lnTo>
                  <a:lnTo>
                    <a:pt x="183" y="67"/>
                  </a:lnTo>
                  <a:lnTo>
                    <a:pt x="179" y="59"/>
                  </a:lnTo>
                  <a:lnTo>
                    <a:pt x="175" y="50"/>
                  </a:lnTo>
                  <a:lnTo>
                    <a:pt x="172" y="42"/>
                  </a:lnTo>
                  <a:lnTo>
                    <a:pt x="168" y="33"/>
                  </a:lnTo>
                  <a:lnTo>
                    <a:pt x="164" y="25"/>
                  </a:lnTo>
                  <a:lnTo>
                    <a:pt x="158" y="19"/>
                  </a:lnTo>
                  <a:lnTo>
                    <a:pt x="153" y="14"/>
                  </a:lnTo>
                  <a:lnTo>
                    <a:pt x="149" y="8"/>
                  </a:lnTo>
                  <a:lnTo>
                    <a:pt x="143" y="4"/>
                  </a:lnTo>
                  <a:lnTo>
                    <a:pt x="135" y="0"/>
                  </a:lnTo>
                  <a:lnTo>
                    <a:pt x="135" y="0"/>
                  </a:lnTo>
                  <a:lnTo>
                    <a:pt x="135" y="12"/>
                  </a:lnTo>
                  <a:lnTo>
                    <a:pt x="132" y="23"/>
                  </a:lnTo>
                  <a:lnTo>
                    <a:pt x="126" y="33"/>
                  </a:lnTo>
                  <a:lnTo>
                    <a:pt x="118" y="40"/>
                  </a:lnTo>
                  <a:lnTo>
                    <a:pt x="111" y="46"/>
                  </a:lnTo>
                  <a:lnTo>
                    <a:pt x="101" y="54"/>
                  </a:lnTo>
                  <a:lnTo>
                    <a:pt x="91" y="59"/>
                  </a:lnTo>
                  <a:lnTo>
                    <a:pt x="80" y="65"/>
                  </a:lnTo>
                  <a:lnTo>
                    <a:pt x="69" y="71"/>
                  </a:lnTo>
                  <a:lnTo>
                    <a:pt x="59" y="77"/>
                  </a:lnTo>
                  <a:lnTo>
                    <a:pt x="50" y="82"/>
                  </a:lnTo>
                  <a:lnTo>
                    <a:pt x="42" y="90"/>
                  </a:lnTo>
                  <a:lnTo>
                    <a:pt x="34" y="98"/>
                  </a:lnTo>
                  <a:lnTo>
                    <a:pt x="29" y="105"/>
                  </a:lnTo>
                  <a:lnTo>
                    <a:pt x="25" y="117"/>
                  </a:lnTo>
                  <a:lnTo>
                    <a:pt x="25" y="128"/>
                  </a:lnTo>
                  <a:lnTo>
                    <a:pt x="25" y="128"/>
                  </a:lnTo>
                  <a:lnTo>
                    <a:pt x="25" y="130"/>
                  </a:lnTo>
                  <a:lnTo>
                    <a:pt x="25" y="134"/>
                  </a:lnTo>
                  <a:lnTo>
                    <a:pt x="25" y="138"/>
                  </a:lnTo>
                  <a:lnTo>
                    <a:pt x="25" y="140"/>
                  </a:lnTo>
                  <a:lnTo>
                    <a:pt x="25" y="143"/>
                  </a:lnTo>
                  <a:lnTo>
                    <a:pt x="25" y="145"/>
                  </a:lnTo>
                  <a:lnTo>
                    <a:pt x="25" y="149"/>
                  </a:lnTo>
                  <a:lnTo>
                    <a:pt x="25" y="153"/>
                  </a:lnTo>
                  <a:lnTo>
                    <a:pt x="25" y="153"/>
                  </a:lnTo>
                  <a:lnTo>
                    <a:pt x="23" y="157"/>
                  </a:lnTo>
                  <a:lnTo>
                    <a:pt x="23" y="162"/>
                  </a:lnTo>
                  <a:lnTo>
                    <a:pt x="23" y="166"/>
                  </a:lnTo>
                  <a:lnTo>
                    <a:pt x="21" y="172"/>
                  </a:lnTo>
                  <a:lnTo>
                    <a:pt x="19" y="178"/>
                  </a:lnTo>
                  <a:lnTo>
                    <a:pt x="17" y="183"/>
                  </a:lnTo>
                  <a:lnTo>
                    <a:pt x="15" y="191"/>
                  </a:lnTo>
                  <a:lnTo>
                    <a:pt x="13" y="197"/>
                  </a:lnTo>
                  <a:lnTo>
                    <a:pt x="9" y="202"/>
                  </a:lnTo>
                  <a:lnTo>
                    <a:pt x="8" y="208"/>
                  </a:lnTo>
                  <a:lnTo>
                    <a:pt x="6" y="216"/>
                  </a:lnTo>
                  <a:lnTo>
                    <a:pt x="4" y="222"/>
                  </a:lnTo>
                  <a:lnTo>
                    <a:pt x="2" y="227"/>
                  </a:lnTo>
                  <a:lnTo>
                    <a:pt x="2" y="235"/>
                  </a:lnTo>
                  <a:lnTo>
                    <a:pt x="0" y="241"/>
                  </a:lnTo>
                  <a:lnTo>
                    <a:pt x="0" y="246"/>
                  </a:lnTo>
                  <a:lnTo>
                    <a:pt x="0" y="246"/>
                  </a:lnTo>
                  <a:lnTo>
                    <a:pt x="0" y="254"/>
                  </a:lnTo>
                  <a:lnTo>
                    <a:pt x="2" y="262"/>
                  </a:lnTo>
                  <a:lnTo>
                    <a:pt x="2" y="269"/>
                  </a:lnTo>
                  <a:lnTo>
                    <a:pt x="4" y="277"/>
                  </a:lnTo>
                  <a:lnTo>
                    <a:pt x="6" y="285"/>
                  </a:lnTo>
                  <a:lnTo>
                    <a:pt x="6" y="292"/>
                  </a:lnTo>
                  <a:lnTo>
                    <a:pt x="8" y="300"/>
                  </a:lnTo>
                  <a:lnTo>
                    <a:pt x="8" y="307"/>
                  </a:lnTo>
                  <a:lnTo>
                    <a:pt x="6" y="307"/>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18" name="Freeform 62"/>
            <p:cNvSpPr>
              <a:spLocks/>
            </p:cNvSpPr>
            <p:nvPr/>
          </p:nvSpPr>
          <p:spPr bwMode="gray">
            <a:xfrm>
              <a:off x="3044" y="1692"/>
              <a:ext cx="656" cy="506"/>
            </a:xfrm>
            <a:custGeom>
              <a:avLst/>
              <a:gdLst/>
              <a:ahLst/>
              <a:cxnLst>
                <a:cxn ang="0">
                  <a:pos x="246" y="55"/>
                </a:cxn>
                <a:cxn ang="0">
                  <a:pos x="229" y="108"/>
                </a:cxn>
                <a:cxn ang="0">
                  <a:pos x="231" y="154"/>
                </a:cxn>
                <a:cxn ang="0">
                  <a:pos x="216" y="181"/>
                </a:cxn>
                <a:cxn ang="0">
                  <a:pos x="193" y="185"/>
                </a:cxn>
                <a:cxn ang="0">
                  <a:pos x="174" y="217"/>
                </a:cxn>
                <a:cxn ang="0">
                  <a:pos x="157" y="257"/>
                </a:cxn>
                <a:cxn ang="0">
                  <a:pos x="147" y="309"/>
                </a:cxn>
                <a:cxn ang="0">
                  <a:pos x="126" y="337"/>
                </a:cxn>
                <a:cxn ang="0">
                  <a:pos x="98" y="362"/>
                </a:cxn>
                <a:cxn ang="0">
                  <a:pos x="98" y="383"/>
                </a:cxn>
                <a:cxn ang="0">
                  <a:pos x="82" y="429"/>
                </a:cxn>
                <a:cxn ang="0">
                  <a:pos x="80" y="475"/>
                </a:cxn>
                <a:cxn ang="0">
                  <a:pos x="77" y="511"/>
                </a:cxn>
                <a:cxn ang="0">
                  <a:pos x="40" y="530"/>
                </a:cxn>
                <a:cxn ang="0">
                  <a:pos x="14" y="547"/>
                </a:cxn>
                <a:cxn ang="0">
                  <a:pos x="2" y="562"/>
                </a:cxn>
                <a:cxn ang="0">
                  <a:pos x="18" y="581"/>
                </a:cxn>
                <a:cxn ang="0">
                  <a:pos x="58" y="591"/>
                </a:cxn>
                <a:cxn ang="0">
                  <a:pos x="101" y="629"/>
                </a:cxn>
                <a:cxn ang="0">
                  <a:pos x="140" y="673"/>
                </a:cxn>
                <a:cxn ang="0">
                  <a:pos x="151" y="702"/>
                </a:cxn>
                <a:cxn ang="0">
                  <a:pos x="161" y="738"/>
                </a:cxn>
                <a:cxn ang="0">
                  <a:pos x="182" y="761"/>
                </a:cxn>
                <a:cxn ang="0">
                  <a:pos x="216" y="768"/>
                </a:cxn>
                <a:cxn ang="0">
                  <a:pos x="227" y="814"/>
                </a:cxn>
                <a:cxn ang="0">
                  <a:pos x="233" y="828"/>
                </a:cxn>
                <a:cxn ang="0">
                  <a:pos x="281" y="849"/>
                </a:cxn>
                <a:cxn ang="0">
                  <a:pos x="348" y="873"/>
                </a:cxn>
                <a:cxn ang="0">
                  <a:pos x="456" y="906"/>
                </a:cxn>
                <a:cxn ang="0">
                  <a:pos x="504" y="919"/>
                </a:cxn>
                <a:cxn ang="0">
                  <a:pos x="542" y="904"/>
                </a:cxn>
                <a:cxn ang="0">
                  <a:pos x="582" y="860"/>
                </a:cxn>
                <a:cxn ang="0">
                  <a:pos x="624" y="852"/>
                </a:cxn>
                <a:cxn ang="0">
                  <a:pos x="657" y="873"/>
                </a:cxn>
                <a:cxn ang="0">
                  <a:pos x="754" y="850"/>
                </a:cxn>
                <a:cxn ang="0">
                  <a:pos x="830" y="799"/>
                </a:cxn>
                <a:cxn ang="0">
                  <a:pos x="853" y="454"/>
                </a:cxn>
                <a:cxn ang="0">
                  <a:pos x="813" y="425"/>
                </a:cxn>
                <a:cxn ang="0">
                  <a:pos x="779" y="379"/>
                </a:cxn>
                <a:cxn ang="0">
                  <a:pos x="754" y="347"/>
                </a:cxn>
                <a:cxn ang="0">
                  <a:pos x="737" y="322"/>
                </a:cxn>
                <a:cxn ang="0">
                  <a:pos x="765" y="284"/>
                </a:cxn>
                <a:cxn ang="0">
                  <a:pos x="748" y="276"/>
                </a:cxn>
                <a:cxn ang="0">
                  <a:pos x="693" y="299"/>
                </a:cxn>
                <a:cxn ang="0">
                  <a:pos x="668" y="265"/>
                </a:cxn>
                <a:cxn ang="0">
                  <a:pos x="674" y="215"/>
                </a:cxn>
                <a:cxn ang="0">
                  <a:pos x="706" y="171"/>
                </a:cxn>
                <a:cxn ang="0">
                  <a:pos x="664" y="127"/>
                </a:cxn>
                <a:cxn ang="0">
                  <a:pos x="617" y="91"/>
                </a:cxn>
                <a:cxn ang="0">
                  <a:pos x="601" y="68"/>
                </a:cxn>
                <a:cxn ang="0">
                  <a:pos x="578" y="43"/>
                </a:cxn>
                <a:cxn ang="0">
                  <a:pos x="538" y="28"/>
                </a:cxn>
                <a:cxn ang="0">
                  <a:pos x="500" y="24"/>
                </a:cxn>
                <a:cxn ang="0">
                  <a:pos x="464" y="28"/>
                </a:cxn>
                <a:cxn ang="0">
                  <a:pos x="452" y="17"/>
                </a:cxn>
                <a:cxn ang="0">
                  <a:pos x="435" y="19"/>
                </a:cxn>
                <a:cxn ang="0">
                  <a:pos x="409" y="28"/>
                </a:cxn>
                <a:cxn ang="0">
                  <a:pos x="359" y="0"/>
                </a:cxn>
                <a:cxn ang="0">
                  <a:pos x="340" y="47"/>
                </a:cxn>
                <a:cxn ang="0">
                  <a:pos x="321" y="45"/>
                </a:cxn>
                <a:cxn ang="0">
                  <a:pos x="245" y="45"/>
                </a:cxn>
              </a:cxnLst>
              <a:rect l="0" t="0" r="r" b="b"/>
              <a:pathLst>
                <a:path w="1158" h="919">
                  <a:moveTo>
                    <a:pt x="245" y="45"/>
                  </a:moveTo>
                  <a:lnTo>
                    <a:pt x="245" y="45"/>
                  </a:lnTo>
                  <a:lnTo>
                    <a:pt x="245" y="47"/>
                  </a:lnTo>
                  <a:lnTo>
                    <a:pt x="246" y="49"/>
                  </a:lnTo>
                  <a:lnTo>
                    <a:pt x="246" y="53"/>
                  </a:lnTo>
                  <a:lnTo>
                    <a:pt x="246" y="55"/>
                  </a:lnTo>
                  <a:lnTo>
                    <a:pt x="246" y="55"/>
                  </a:lnTo>
                  <a:lnTo>
                    <a:pt x="245" y="64"/>
                  </a:lnTo>
                  <a:lnTo>
                    <a:pt x="243" y="74"/>
                  </a:lnTo>
                  <a:lnTo>
                    <a:pt x="241" y="82"/>
                  </a:lnTo>
                  <a:lnTo>
                    <a:pt x="237" y="87"/>
                  </a:lnTo>
                  <a:lnTo>
                    <a:pt x="235" y="95"/>
                  </a:lnTo>
                  <a:lnTo>
                    <a:pt x="231" y="103"/>
                  </a:lnTo>
                  <a:lnTo>
                    <a:pt x="229" y="108"/>
                  </a:lnTo>
                  <a:lnTo>
                    <a:pt x="227" y="114"/>
                  </a:lnTo>
                  <a:lnTo>
                    <a:pt x="227" y="114"/>
                  </a:lnTo>
                  <a:lnTo>
                    <a:pt x="227" y="122"/>
                  </a:lnTo>
                  <a:lnTo>
                    <a:pt x="227" y="131"/>
                  </a:lnTo>
                  <a:lnTo>
                    <a:pt x="229" y="139"/>
                  </a:lnTo>
                  <a:lnTo>
                    <a:pt x="231" y="147"/>
                  </a:lnTo>
                  <a:lnTo>
                    <a:pt x="231" y="154"/>
                  </a:lnTo>
                  <a:lnTo>
                    <a:pt x="231" y="162"/>
                  </a:lnTo>
                  <a:lnTo>
                    <a:pt x="229" y="169"/>
                  </a:lnTo>
                  <a:lnTo>
                    <a:pt x="225" y="175"/>
                  </a:lnTo>
                  <a:lnTo>
                    <a:pt x="225" y="175"/>
                  </a:lnTo>
                  <a:lnTo>
                    <a:pt x="224" y="177"/>
                  </a:lnTo>
                  <a:lnTo>
                    <a:pt x="220" y="179"/>
                  </a:lnTo>
                  <a:lnTo>
                    <a:pt x="216" y="181"/>
                  </a:lnTo>
                  <a:lnTo>
                    <a:pt x="212" y="181"/>
                  </a:lnTo>
                  <a:lnTo>
                    <a:pt x="208" y="181"/>
                  </a:lnTo>
                  <a:lnTo>
                    <a:pt x="204" y="181"/>
                  </a:lnTo>
                  <a:lnTo>
                    <a:pt x="201" y="181"/>
                  </a:lnTo>
                  <a:lnTo>
                    <a:pt x="199" y="181"/>
                  </a:lnTo>
                  <a:lnTo>
                    <a:pt x="199" y="181"/>
                  </a:lnTo>
                  <a:lnTo>
                    <a:pt x="193" y="185"/>
                  </a:lnTo>
                  <a:lnTo>
                    <a:pt x="189" y="190"/>
                  </a:lnTo>
                  <a:lnTo>
                    <a:pt x="185" y="194"/>
                  </a:lnTo>
                  <a:lnTo>
                    <a:pt x="184" y="198"/>
                  </a:lnTo>
                  <a:lnTo>
                    <a:pt x="182" y="202"/>
                  </a:lnTo>
                  <a:lnTo>
                    <a:pt x="180" y="208"/>
                  </a:lnTo>
                  <a:lnTo>
                    <a:pt x="178" y="211"/>
                  </a:lnTo>
                  <a:lnTo>
                    <a:pt x="174" y="217"/>
                  </a:lnTo>
                  <a:lnTo>
                    <a:pt x="174" y="217"/>
                  </a:lnTo>
                  <a:lnTo>
                    <a:pt x="170" y="225"/>
                  </a:lnTo>
                  <a:lnTo>
                    <a:pt x="166" y="230"/>
                  </a:lnTo>
                  <a:lnTo>
                    <a:pt x="163" y="236"/>
                  </a:lnTo>
                  <a:lnTo>
                    <a:pt x="161" y="244"/>
                  </a:lnTo>
                  <a:lnTo>
                    <a:pt x="157" y="251"/>
                  </a:lnTo>
                  <a:lnTo>
                    <a:pt x="157" y="257"/>
                  </a:lnTo>
                  <a:lnTo>
                    <a:pt x="155" y="265"/>
                  </a:lnTo>
                  <a:lnTo>
                    <a:pt x="153" y="271"/>
                  </a:lnTo>
                  <a:lnTo>
                    <a:pt x="151" y="278"/>
                  </a:lnTo>
                  <a:lnTo>
                    <a:pt x="151" y="286"/>
                  </a:lnTo>
                  <a:lnTo>
                    <a:pt x="149" y="293"/>
                  </a:lnTo>
                  <a:lnTo>
                    <a:pt x="149" y="301"/>
                  </a:lnTo>
                  <a:lnTo>
                    <a:pt x="147" y="309"/>
                  </a:lnTo>
                  <a:lnTo>
                    <a:pt x="145" y="316"/>
                  </a:lnTo>
                  <a:lnTo>
                    <a:pt x="142" y="324"/>
                  </a:lnTo>
                  <a:lnTo>
                    <a:pt x="140" y="333"/>
                  </a:lnTo>
                  <a:lnTo>
                    <a:pt x="140" y="333"/>
                  </a:lnTo>
                  <a:lnTo>
                    <a:pt x="138" y="335"/>
                  </a:lnTo>
                  <a:lnTo>
                    <a:pt x="132" y="335"/>
                  </a:lnTo>
                  <a:lnTo>
                    <a:pt x="126" y="337"/>
                  </a:lnTo>
                  <a:lnTo>
                    <a:pt x="119" y="337"/>
                  </a:lnTo>
                  <a:lnTo>
                    <a:pt x="111" y="339"/>
                  </a:lnTo>
                  <a:lnTo>
                    <a:pt x="103" y="343"/>
                  </a:lnTo>
                  <a:lnTo>
                    <a:pt x="100" y="351"/>
                  </a:lnTo>
                  <a:lnTo>
                    <a:pt x="98" y="358"/>
                  </a:lnTo>
                  <a:lnTo>
                    <a:pt x="98" y="358"/>
                  </a:lnTo>
                  <a:lnTo>
                    <a:pt x="98" y="362"/>
                  </a:lnTo>
                  <a:lnTo>
                    <a:pt x="98" y="368"/>
                  </a:lnTo>
                  <a:lnTo>
                    <a:pt x="98" y="370"/>
                  </a:lnTo>
                  <a:lnTo>
                    <a:pt x="98" y="374"/>
                  </a:lnTo>
                  <a:lnTo>
                    <a:pt x="98" y="377"/>
                  </a:lnTo>
                  <a:lnTo>
                    <a:pt x="98" y="379"/>
                  </a:lnTo>
                  <a:lnTo>
                    <a:pt x="98" y="381"/>
                  </a:lnTo>
                  <a:lnTo>
                    <a:pt x="98" y="383"/>
                  </a:lnTo>
                  <a:lnTo>
                    <a:pt x="98" y="383"/>
                  </a:lnTo>
                  <a:lnTo>
                    <a:pt x="96" y="391"/>
                  </a:lnTo>
                  <a:lnTo>
                    <a:pt x="92" y="398"/>
                  </a:lnTo>
                  <a:lnTo>
                    <a:pt x="90" y="406"/>
                  </a:lnTo>
                  <a:lnTo>
                    <a:pt x="86" y="414"/>
                  </a:lnTo>
                  <a:lnTo>
                    <a:pt x="84" y="421"/>
                  </a:lnTo>
                  <a:lnTo>
                    <a:pt x="82" y="429"/>
                  </a:lnTo>
                  <a:lnTo>
                    <a:pt x="80" y="436"/>
                  </a:lnTo>
                  <a:lnTo>
                    <a:pt x="80" y="444"/>
                  </a:lnTo>
                  <a:lnTo>
                    <a:pt x="80" y="444"/>
                  </a:lnTo>
                  <a:lnTo>
                    <a:pt x="80" y="454"/>
                  </a:lnTo>
                  <a:lnTo>
                    <a:pt x="80" y="461"/>
                  </a:lnTo>
                  <a:lnTo>
                    <a:pt x="80" y="469"/>
                  </a:lnTo>
                  <a:lnTo>
                    <a:pt x="80" y="475"/>
                  </a:lnTo>
                  <a:lnTo>
                    <a:pt x="80" y="482"/>
                  </a:lnTo>
                  <a:lnTo>
                    <a:pt x="80" y="488"/>
                  </a:lnTo>
                  <a:lnTo>
                    <a:pt x="80" y="494"/>
                  </a:lnTo>
                  <a:lnTo>
                    <a:pt x="80" y="498"/>
                  </a:lnTo>
                  <a:lnTo>
                    <a:pt x="80" y="498"/>
                  </a:lnTo>
                  <a:lnTo>
                    <a:pt x="79" y="505"/>
                  </a:lnTo>
                  <a:lnTo>
                    <a:pt x="77" y="511"/>
                  </a:lnTo>
                  <a:lnTo>
                    <a:pt x="75" y="517"/>
                  </a:lnTo>
                  <a:lnTo>
                    <a:pt x="69" y="520"/>
                  </a:lnTo>
                  <a:lnTo>
                    <a:pt x="65" y="522"/>
                  </a:lnTo>
                  <a:lnTo>
                    <a:pt x="60" y="524"/>
                  </a:lnTo>
                  <a:lnTo>
                    <a:pt x="54" y="526"/>
                  </a:lnTo>
                  <a:lnTo>
                    <a:pt x="46" y="528"/>
                  </a:lnTo>
                  <a:lnTo>
                    <a:pt x="40" y="530"/>
                  </a:lnTo>
                  <a:lnTo>
                    <a:pt x="35" y="530"/>
                  </a:lnTo>
                  <a:lnTo>
                    <a:pt x="29" y="532"/>
                  </a:lnTo>
                  <a:lnTo>
                    <a:pt x="23" y="534"/>
                  </a:lnTo>
                  <a:lnTo>
                    <a:pt x="19" y="536"/>
                  </a:lnTo>
                  <a:lnTo>
                    <a:pt x="16" y="539"/>
                  </a:lnTo>
                  <a:lnTo>
                    <a:pt x="14" y="543"/>
                  </a:lnTo>
                  <a:lnTo>
                    <a:pt x="14" y="547"/>
                  </a:lnTo>
                  <a:lnTo>
                    <a:pt x="14" y="547"/>
                  </a:lnTo>
                  <a:lnTo>
                    <a:pt x="12" y="551"/>
                  </a:lnTo>
                  <a:lnTo>
                    <a:pt x="10" y="555"/>
                  </a:lnTo>
                  <a:lnTo>
                    <a:pt x="10" y="557"/>
                  </a:lnTo>
                  <a:lnTo>
                    <a:pt x="8" y="559"/>
                  </a:lnTo>
                  <a:lnTo>
                    <a:pt x="4" y="560"/>
                  </a:lnTo>
                  <a:lnTo>
                    <a:pt x="2" y="562"/>
                  </a:lnTo>
                  <a:lnTo>
                    <a:pt x="2" y="566"/>
                  </a:lnTo>
                  <a:lnTo>
                    <a:pt x="0" y="570"/>
                  </a:lnTo>
                  <a:lnTo>
                    <a:pt x="0" y="570"/>
                  </a:lnTo>
                  <a:lnTo>
                    <a:pt x="2" y="576"/>
                  </a:lnTo>
                  <a:lnTo>
                    <a:pt x="6" y="580"/>
                  </a:lnTo>
                  <a:lnTo>
                    <a:pt x="12" y="581"/>
                  </a:lnTo>
                  <a:lnTo>
                    <a:pt x="18" y="581"/>
                  </a:lnTo>
                  <a:lnTo>
                    <a:pt x="25" y="581"/>
                  </a:lnTo>
                  <a:lnTo>
                    <a:pt x="33" y="581"/>
                  </a:lnTo>
                  <a:lnTo>
                    <a:pt x="39" y="581"/>
                  </a:lnTo>
                  <a:lnTo>
                    <a:pt x="44" y="583"/>
                  </a:lnTo>
                  <a:lnTo>
                    <a:pt x="44" y="583"/>
                  </a:lnTo>
                  <a:lnTo>
                    <a:pt x="50" y="587"/>
                  </a:lnTo>
                  <a:lnTo>
                    <a:pt x="58" y="591"/>
                  </a:lnTo>
                  <a:lnTo>
                    <a:pt x="63" y="595"/>
                  </a:lnTo>
                  <a:lnTo>
                    <a:pt x="69" y="601"/>
                  </a:lnTo>
                  <a:lnTo>
                    <a:pt x="77" y="606"/>
                  </a:lnTo>
                  <a:lnTo>
                    <a:pt x="82" y="612"/>
                  </a:lnTo>
                  <a:lnTo>
                    <a:pt x="88" y="618"/>
                  </a:lnTo>
                  <a:lnTo>
                    <a:pt x="96" y="623"/>
                  </a:lnTo>
                  <a:lnTo>
                    <a:pt x="101" y="629"/>
                  </a:lnTo>
                  <a:lnTo>
                    <a:pt x="107" y="637"/>
                  </a:lnTo>
                  <a:lnTo>
                    <a:pt x="115" y="643"/>
                  </a:lnTo>
                  <a:lnTo>
                    <a:pt x="121" y="648"/>
                  </a:lnTo>
                  <a:lnTo>
                    <a:pt x="126" y="654"/>
                  </a:lnTo>
                  <a:lnTo>
                    <a:pt x="130" y="662"/>
                  </a:lnTo>
                  <a:lnTo>
                    <a:pt x="136" y="667"/>
                  </a:lnTo>
                  <a:lnTo>
                    <a:pt x="140" y="673"/>
                  </a:lnTo>
                  <a:lnTo>
                    <a:pt x="140" y="673"/>
                  </a:lnTo>
                  <a:lnTo>
                    <a:pt x="142" y="677"/>
                  </a:lnTo>
                  <a:lnTo>
                    <a:pt x="145" y="681"/>
                  </a:lnTo>
                  <a:lnTo>
                    <a:pt x="147" y="686"/>
                  </a:lnTo>
                  <a:lnTo>
                    <a:pt x="149" y="690"/>
                  </a:lnTo>
                  <a:lnTo>
                    <a:pt x="151" y="696"/>
                  </a:lnTo>
                  <a:lnTo>
                    <a:pt x="151" y="702"/>
                  </a:lnTo>
                  <a:lnTo>
                    <a:pt x="153" y="707"/>
                  </a:lnTo>
                  <a:lnTo>
                    <a:pt x="153" y="711"/>
                  </a:lnTo>
                  <a:lnTo>
                    <a:pt x="155" y="717"/>
                  </a:lnTo>
                  <a:lnTo>
                    <a:pt x="157" y="723"/>
                  </a:lnTo>
                  <a:lnTo>
                    <a:pt x="157" y="728"/>
                  </a:lnTo>
                  <a:lnTo>
                    <a:pt x="159" y="732"/>
                  </a:lnTo>
                  <a:lnTo>
                    <a:pt x="161" y="738"/>
                  </a:lnTo>
                  <a:lnTo>
                    <a:pt x="163" y="744"/>
                  </a:lnTo>
                  <a:lnTo>
                    <a:pt x="166" y="747"/>
                  </a:lnTo>
                  <a:lnTo>
                    <a:pt x="168" y="753"/>
                  </a:lnTo>
                  <a:lnTo>
                    <a:pt x="168" y="753"/>
                  </a:lnTo>
                  <a:lnTo>
                    <a:pt x="172" y="757"/>
                  </a:lnTo>
                  <a:lnTo>
                    <a:pt x="178" y="759"/>
                  </a:lnTo>
                  <a:lnTo>
                    <a:pt x="182" y="761"/>
                  </a:lnTo>
                  <a:lnTo>
                    <a:pt x="187" y="761"/>
                  </a:lnTo>
                  <a:lnTo>
                    <a:pt x="193" y="763"/>
                  </a:lnTo>
                  <a:lnTo>
                    <a:pt x="199" y="763"/>
                  </a:lnTo>
                  <a:lnTo>
                    <a:pt x="204" y="763"/>
                  </a:lnTo>
                  <a:lnTo>
                    <a:pt x="210" y="765"/>
                  </a:lnTo>
                  <a:lnTo>
                    <a:pt x="210" y="765"/>
                  </a:lnTo>
                  <a:lnTo>
                    <a:pt x="216" y="768"/>
                  </a:lnTo>
                  <a:lnTo>
                    <a:pt x="222" y="772"/>
                  </a:lnTo>
                  <a:lnTo>
                    <a:pt x="224" y="778"/>
                  </a:lnTo>
                  <a:lnTo>
                    <a:pt x="225" y="786"/>
                  </a:lnTo>
                  <a:lnTo>
                    <a:pt x="227" y="793"/>
                  </a:lnTo>
                  <a:lnTo>
                    <a:pt x="227" y="801"/>
                  </a:lnTo>
                  <a:lnTo>
                    <a:pt x="227" y="808"/>
                  </a:lnTo>
                  <a:lnTo>
                    <a:pt x="227" y="814"/>
                  </a:lnTo>
                  <a:lnTo>
                    <a:pt x="227" y="814"/>
                  </a:lnTo>
                  <a:lnTo>
                    <a:pt x="227" y="816"/>
                  </a:lnTo>
                  <a:lnTo>
                    <a:pt x="229" y="818"/>
                  </a:lnTo>
                  <a:lnTo>
                    <a:pt x="229" y="822"/>
                  </a:lnTo>
                  <a:lnTo>
                    <a:pt x="231" y="824"/>
                  </a:lnTo>
                  <a:lnTo>
                    <a:pt x="231" y="826"/>
                  </a:lnTo>
                  <a:lnTo>
                    <a:pt x="233" y="828"/>
                  </a:lnTo>
                  <a:lnTo>
                    <a:pt x="233" y="829"/>
                  </a:lnTo>
                  <a:lnTo>
                    <a:pt x="233" y="831"/>
                  </a:lnTo>
                  <a:lnTo>
                    <a:pt x="233" y="831"/>
                  </a:lnTo>
                  <a:lnTo>
                    <a:pt x="246" y="837"/>
                  </a:lnTo>
                  <a:lnTo>
                    <a:pt x="260" y="841"/>
                  </a:lnTo>
                  <a:lnTo>
                    <a:pt x="269" y="845"/>
                  </a:lnTo>
                  <a:lnTo>
                    <a:pt x="281" y="849"/>
                  </a:lnTo>
                  <a:lnTo>
                    <a:pt x="292" y="852"/>
                  </a:lnTo>
                  <a:lnTo>
                    <a:pt x="302" y="854"/>
                  </a:lnTo>
                  <a:lnTo>
                    <a:pt x="311" y="858"/>
                  </a:lnTo>
                  <a:lnTo>
                    <a:pt x="321" y="862"/>
                  </a:lnTo>
                  <a:lnTo>
                    <a:pt x="330" y="866"/>
                  </a:lnTo>
                  <a:lnTo>
                    <a:pt x="340" y="870"/>
                  </a:lnTo>
                  <a:lnTo>
                    <a:pt x="348" y="873"/>
                  </a:lnTo>
                  <a:lnTo>
                    <a:pt x="357" y="877"/>
                  </a:lnTo>
                  <a:lnTo>
                    <a:pt x="367" y="885"/>
                  </a:lnTo>
                  <a:lnTo>
                    <a:pt x="376" y="891"/>
                  </a:lnTo>
                  <a:lnTo>
                    <a:pt x="388" y="898"/>
                  </a:lnTo>
                  <a:lnTo>
                    <a:pt x="397" y="906"/>
                  </a:lnTo>
                  <a:lnTo>
                    <a:pt x="456" y="906"/>
                  </a:lnTo>
                  <a:lnTo>
                    <a:pt x="456" y="906"/>
                  </a:lnTo>
                  <a:lnTo>
                    <a:pt x="460" y="908"/>
                  </a:lnTo>
                  <a:lnTo>
                    <a:pt x="466" y="912"/>
                  </a:lnTo>
                  <a:lnTo>
                    <a:pt x="473" y="913"/>
                  </a:lnTo>
                  <a:lnTo>
                    <a:pt x="481" y="915"/>
                  </a:lnTo>
                  <a:lnTo>
                    <a:pt x="489" y="917"/>
                  </a:lnTo>
                  <a:lnTo>
                    <a:pt x="496" y="919"/>
                  </a:lnTo>
                  <a:lnTo>
                    <a:pt x="504" y="919"/>
                  </a:lnTo>
                  <a:lnTo>
                    <a:pt x="512" y="919"/>
                  </a:lnTo>
                  <a:lnTo>
                    <a:pt x="512" y="919"/>
                  </a:lnTo>
                  <a:lnTo>
                    <a:pt x="517" y="919"/>
                  </a:lnTo>
                  <a:lnTo>
                    <a:pt x="525" y="917"/>
                  </a:lnTo>
                  <a:lnTo>
                    <a:pt x="531" y="913"/>
                  </a:lnTo>
                  <a:lnTo>
                    <a:pt x="536" y="910"/>
                  </a:lnTo>
                  <a:lnTo>
                    <a:pt x="542" y="904"/>
                  </a:lnTo>
                  <a:lnTo>
                    <a:pt x="548" y="898"/>
                  </a:lnTo>
                  <a:lnTo>
                    <a:pt x="552" y="891"/>
                  </a:lnTo>
                  <a:lnTo>
                    <a:pt x="557" y="885"/>
                  </a:lnTo>
                  <a:lnTo>
                    <a:pt x="563" y="877"/>
                  </a:lnTo>
                  <a:lnTo>
                    <a:pt x="569" y="871"/>
                  </a:lnTo>
                  <a:lnTo>
                    <a:pt x="575" y="866"/>
                  </a:lnTo>
                  <a:lnTo>
                    <a:pt x="582" y="860"/>
                  </a:lnTo>
                  <a:lnTo>
                    <a:pt x="588" y="856"/>
                  </a:lnTo>
                  <a:lnTo>
                    <a:pt x="596" y="852"/>
                  </a:lnTo>
                  <a:lnTo>
                    <a:pt x="603" y="850"/>
                  </a:lnTo>
                  <a:lnTo>
                    <a:pt x="611" y="849"/>
                  </a:lnTo>
                  <a:lnTo>
                    <a:pt x="611" y="849"/>
                  </a:lnTo>
                  <a:lnTo>
                    <a:pt x="618" y="850"/>
                  </a:lnTo>
                  <a:lnTo>
                    <a:pt x="624" y="852"/>
                  </a:lnTo>
                  <a:lnTo>
                    <a:pt x="630" y="856"/>
                  </a:lnTo>
                  <a:lnTo>
                    <a:pt x="634" y="860"/>
                  </a:lnTo>
                  <a:lnTo>
                    <a:pt x="637" y="866"/>
                  </a:lnTo>
                  <a:lnTo>
                    <a:pt x="641" y="870"/>
                  </a:lnTo>
                  <a:lnTo>
                    <a:pt x="649" y="871"/>
                  </a:lnTo>
                  <a:lnTo>
                    <a:pt x="657" y="873"/>
                  </a:lnTo>
                  <a:lnTo>
                    <a:pt x="657" y="873"/>
                  </a:lnTo>
                  <a:lnTo>
                    <a:pt x="672" y="871"/>
                  </a:lnTo>
                  <a:lnTo>
                    <a:pt x="685" y="871"/>
                  </a:lnTo>
                  <a:lnTo>
                    <a:pt x="700" y="868"/>
                  </a:lnTo>
                  <a:lnTo>
                    <a:pt x="714" y="866"/>
                  </a:lnTo>
                  <a:lnTo>
                    <a:pt x="727" y="860"/>
                  </a:lnTo>
                  <a:lnTo>
                    <a:pt x="741" y="856"/>
                  </a:lnTo>
                  <a:lnTo>
                    <a:pt x="754" y="850"/>
                  </a:lnTo>
                  <a:lnTo>
                    <a:pt x="765" y="843"/>
                  </a:lnTo>
                  <a:lnTo>
                    <a:pt x="779" y="837"/>
                  </a:lnTo>
                  <a:lnTo>
                    <a:pt x="790" y="831"/>
                  </a:lnTo>
                  <a:lnTo>
                    <a:pt x="802" y="824"/>
                  </a:lnTo>
                  <a:lnTo>
                    <a:pt x="811" y="816"/>
                  </a:lnTo>
                  <a:lnTo>
                    <a:pt x="823" y="808"/>
                  </a:lnTo>
                  <a:lnTo>
                    <a:pt x="830" y="799"/>
                  </a:lnTo>
                  <a:lnTo>
                    <a:pt x="840" y="791"/>
                  </a:lnTo>
                  <a:lnTo>
                    <a:pt x="847" y="784"/>
                  </a:lnTo>
                  <a:lnTo>
                    <a:pt x="943" y="784"/>
                  </a:lnTo>
                  <a:lnTo>
                    <a:pt x="1158" y="519"/>
                  </a:lnTo>
                  <a:lnTo>
                    <a:pt x="1158" y="522"/>
                  </a:lnTo>
                  <a:lnTo>
                    <a:pt x="1072" y="522"/>
                  </a:lnTo>
                  <a:lnTo>
                    <a:pt x="853" y="454"/>
                  </a:lnTo>
                  <a:lnTo>
                    <a:pt x="853" y="454"/>
                  </a:lnTo>
                  <a:lnTo>
                    <a:pt x="845" y="450"/>
                  </a:lnTo>
                  <a:lnTo>
                    <a:pt x="838" y="446"/>
                  </a:lnTo>
                  <a:lnTo>
                    <a:pt x="830" y="442"/>
                  </a:lnTo>
                  <a:lnTo>
                    <a:pt x="824" y="436"/>
                  </a:lnTo>
                  <a:lnTo>
                    <a:pt x="819" y="431"/>
                  </a:lnTo>
                  <a:lnTo>
                    <a:pt x="813" y="425"/>
                  </a:lnTo>
                  <a:lnTo>
                    <a:pt x="807" y="419"/>
                  </a:lnTo>
                  <a:lnTo>
                    <a:pt x="802" y="414"/>
                  </a:lnTo>
                  <a:lnTo>
                    <a:pt x="798" y="408"/>
                  </a:lnTo>
                  <a:lnTo>
                    <a:pt x="792" y="400"/>
                  </a:lnTo>
                  <a:lnTo>
                    <a:pt x="788" y="393"/>
                  </a:lnTo>
                  <a:lnTo>
                    <a:pt x="782" y="385"/>
                  </a:lnTo>
                  <a:lnTo>
                    <a:pt x="779" y="379"/>
                  </a:lnTo>
                  <a:lnTo>
                    <a:pt x="773" y="372"/>
                  </a:lnTo>
                  <a:lnTo>
                    <a:pt x="769" y="364"/>
                  </a:lnTo>
                  <a:lnTo>
                    <a:pt x="763" y="356"/>
                  </a:lnTo>
                  <a:lnTo>
                    <a:pt x="763" y="356"/>
                  </a:lnTo>
                  <a:lnTo>
                    <a:pt x="761" y="354"/>
                  </a:lnTo>
                  <a:lnTo>
                    <a:pt x="758" y="351"/>
                  </a:lnTo>
                  <a:lnTo>
                    <a:pt x="754" y="347"/>
                  </a:lnTo>
                  <a:lnTo>
                    <a:pt x="748" y="341"/>
                  </a:lnTo>
                  <a:lnTo>
                    <a:pt x="744" y="335"/>
                  </a:lnTo>
                  <a:lnTo>
                    <a:pt x="741" y="332"/>
                  </a:lnTo>
                  <a:lnTo>
                    <a:pt x="737" y="328"/>
                  </a:lnTo>
                  <a:lnTo>
                    <a:pt x="735" y="328"/>
                  </a:lnTo>
                  <a:lnTo>
                    <a:pt x="735" y="328"/>
                  </a:lnTo>
                  <a:lnTo>
                    <a:pt x="737" y="322"/>
                  </a:lnTo>
                  <a:lnTo>
                    <a:pt x="739" y="316"/>
                  </a:lnTo>
                  <a:lnTo>
                    <a:pt x="742" y="311"/>
                  </a:lnTo>
                  <a:lnTo>
                    <a:pt x="746" y="305"/>
                  </a:lnTo>
                  <a:lnTo>
                    <a:pt x="752" y="299"/>
                  </a:lnTo>
                  <a:lnTo>
                    <a:pt x="756" y="293"/>
                  </a:lnTo>
                  <a:lnTo>
                    <a:pt x="760" y="288"/>
                  </a:lnTo>
                  <a:lnTo>
                    <a:pt x="765" y="284"/>
                  </a:lnTo>
                  <a:lnTo>
                    <a:pt x="765" y="284"/>
                  </a:lnTo>
                  <a:lnTo>
                    <a:pt x="761" y="282"/>
                  </a:lnTo>
                  <a:lnTo>
                    <a:pt x="760" y="280"/>
                  </a:lnTo>
                  <a:lnTo>
                    <a:pt x="758" y="276"/>
                  </a:lnTo>
                  <a:lnTo>
                    <a:pt x="754" y="276"/>
                  </a:lnTo>
                  <a:lnTo>
                    <a:pt x="754" y="276"/>
                  </a:lnTo>
                  <a:lnTo>
                    <a:pt x="748" y="276"/>
                  </a:lnTo>
                  <a:lnTo>
                    <a:pt x="741" y="280"/>
                  </a:lnTo>
                  <a:lnTo>
                    <a:pt x="735" y="282"/>
                  </a:lnTo>
                  <a:lnTo>
                    <a:pt x="725" y="286"/>
                  </a:lnTo>
                  <a:lnTo>
                    <a:pt x="716" y="290"/>
                  </a:lnTo>
                  <a:lnTo>
                    <a:pt x="708" y="293"/>
                  </a:lnTo>
                  <a:lnTo>
                    <a:pt x="700" y="297"/>
                  </a:lnTo>
                  <a:lnTo>
                    <a:pt x="693" y="299"/>
                  </a:lnTo>
                  <a:lnTo>
                    <a:pt x="664" y="299"/>
                  </a:lnTo>
                  <a:lnTo>
                    <a:pt x="664" y="299"/>
                  </a:lnTo>
                  <a:lnTo>
                    <a:pt x="668" y="293"/>
                  </a:lnTo>
                  <a:lnTo>
                    <a:pt x="670" y="288"/>
                  </a:lnTo>
                  <a:lnTo>
                    <a:pt x="670" y="280"/>
                  </a:lnTo>
                  <a:lnTo>
                    <a:pt x="668" y="272"/>
                  </a:lnTo>
                  <a:lnTo>
                    <a:pt x="668" y="265"/>
                  </a:lnTo>
                  <a:lnTo>
                    <a:pt x="666" y="255"/>
                  </a:lnTo>
                  <a:lnTo>
                    <a:pt x="666" y="248"/>
                  </a:lnTo>
                  <a:lnTo>
                    <a:pt x="664" y="238"/>
                  </a:lnTo>
                  <a:lnTo>
                    <a:pt x="664" y="238"/>
                  </a:lnTo>
                  <a:lnTo>
                    <a:pt x="666" y="230"/>
                  </a:lnTo>
                  <a:lnTo>
                    <a:pt x="668" y="223"/>
                  </a:lnTo>
                  <a:lnTo>
                    <a:pt x="674" y="215"/>
                  </a:lnTo>
                  <a:lnTo>
                    <a:pt x="679" y="208"/>
                  </a:lnTo>
                  <a:lnTo>
                    <a:pt x="685" y="200"/>
                  </a:lnTo>
                  <a:lnTo>
                    <a:pt x="693" y="192"/>
                  </a:lnTo>
                  <a:lnTo>
                    <a:pt x="702" y="187"/>
                  </a:lnTo>
                  <a:lnTo>
                    <a:pt x="710" y="179"/>
                  </a:lnTo>
                  <a:lnTo>
                    <a:pt x="710" y="179"/>
                  </a:lnTo>
                  <a:lnTo>
                    <a:pt x="706" y="171"/>
                  </a:lnTo>
                  <a:lnTo>
                    <a:pt x="700" y="164"/>
                  </a:lnTo>
                  <a:lnTo>
                    <a:pt x="697" y="158"/>
                  </a:lnTo>
                  <a:lnTo>
                    <a:pt x="691" y="150"/>
                  </a:lnTo>
                  <a:lnTo>
                    <a:pt x="683" y="145"/>
                  </a:lnTo>
                  <a:lnTo>
                    <a:pt x="678" y="139"/>
                  </a:lnTo>
                  <a:lnTo>
                    <a:pt x="670" y="133"/>
                  </a:lnTo>
                  <a:lnTo>
                    <a:pt x="664" y="127"/>
                  </a:lnTo>
                  <a:lnTo>
                    <a:pt x="657" y="124"/>
                  </a:lnTo>
                  <a:lnTo>
                    <a:pt x="651" y="118"/>
                  </a:lnTo>
                  <a:lnTo>
                    <a:pt x="643" y="112"/>
                  </a:lnTo>
                  <a:lnTo>
                    <a:pt x="636" y="108"/>
                  </a:lnTo>
                  <a:lnTo>
                    <a:pt x="630" y="103"/>
                  </a:lnTo>
                  <a:lnTo>
                    <a:pt x="622" y="97"/>
                  </a:lnTo>
                  <a:lnTo>
                    <a:pt x="617" y="91"/>
                  </a:lnTo>
                  <a:lnTo>
                    <a:pt x="611" y="87"/>
                  </a:lnTo>
                  <a:lnTo>
                    <a:pt x="611" y="87"/>
                  </a:lnTo>
                  <a:lnTo>
                    <a:pt x="607" y="84"/>
                  </a:lnTo>
                  <a:lnTo>
                    <a:pt x="605" y="80"/>
                  </a:lnTo>
                  <a:lnTo>
                    <a:pt x="605" y="76"/>
                  </a:lnTo>
                  <a:lnTo>
                    <a:pt x="603" y="72"/>
                  </a:lnTo>
                  <a:lnTo>
                    <a:pt x="601" y="68"/>
                  </a:lnTo>
                  <a:lnTo>
                    <a:pt x="599" y="64"/>
                  </a:lnTo>
                  <a:lnTo>
                    <a:pt x="597" y="61"/>
                  </a:lnTo>
                  <a:lnTo>
                    <a:pt x="596" y="57"/>
                  </a:lnTo>
                  <a:lnTo>
                    <a:pt x="596" y="57"/>
                  </a:lnTo>
                  <a:lnTo>
                    <a:pt x="590" y="53"/>
                  </a:lnTo>
                  <a:lnTo>
                    <a:pt x="584" y="47"/>
                  </a:lnTo>
                  <a:lnTo>
                    <a:pt x="578" y="43"/>
                  </a:lnTo>
                  <a:lnTo>
                    <a:pt x="573" y="42"/>
                  </a:lnTo>
                  <a:lnTo>
                    <a:pt x="569" y="38"/>
                  </a:lnTo>
                  <a:lnTo>
                    <a:pt x="563" y="36"/>
                  </a:lnTo>
                  <a:lnTo>
                    <a:pt x="557" y="32"/>
                  </a:lnTo>
                  <a:lnTo>
                    <a:pt x="552" y="30"/>
                  </a:lnTo>
                  <a:lnTo>
                    <a:pt x="544" y="28"/>
                  </a:lnTo>
                  <a:lnTo>
                    <a:pt x="538" y="28"/>
                  </a:lnTo>
                  <a:lnTo>
                    <a:pt x="533" y="26"/>
                  </a:lnTo>
                  <a:lnTo>
                    <a:pt x="527" y="26"/>
                  </a:lnTo>
                  <a:lnTo>
                    <a:pt x="519" y="24"/>
                  </a:lnTo>
                  <a:lnTo>
                    <a:pt x="514" y="24"/>
                  </a:lnTo>
                  <a:lnTo>
                    <a:pt x="506" y="24"/>
                  </a:lnTo>
                  <a:lnTo>
                    <a:pt x="500" y="24"/>
                  </a:lnTo>
                  <a:lnTo>
                    <a:pt x="500" y="24"/>
                  </a:lnTo>
                  <a:lnTo>
                    <a:pt x="494" y="24"/>
                  </a:lnTo>
                  <a:lnTo>
                    <a:pt x="489" y="24"/>
                  </a:lnTo>
                  <a:lnTo>
                    <a:pt x="485" y="24"/>
                  </a:lnTo>
                  <a:lnTo>
                    <a:pt x="479" y="24"/>
                  </a:lnTo>
                  <a:lnTo>
                    <a:pt x="473" y="24"/>
                  </a:lnTo>
                  <a:lnTo>
                    <a:pt x="470" y="26"/>
                  </a:lnTo>
                  <a:lnTo>
                    <a:pt x="464" y="28"/>
                  </a:lnTo>
                  <a:lnTo>
                    <a:pt x="458" y="28"/>
                  </a:lnTo>
                  <a:lnTo>
                    <a:pt x="458" y="28"/>
                  </a:lnTo>
                  <a:lnTo>
                    <a:pt x="458" y="26"/>
                  </a:lnTo>
                  <a:lnTo>
                    <a:pt x="456" y="24"/>
                  </a:lnTo>
                  <a:lnTo>
                    <a:pt x="456" y="23"/>
                  </a:lnTo>
                  <a:lnTo>
                    <a:pt x="454" y="21"/>
                  </a:lnTo>
                  <a:lnTo>
                    <a:pt x="452" y="17"/>
                  </a:lnTo>
                  <a:lnTo>
                    <a:pt x="451" y="15"/>
                  </a:lnTo>
                  <a:lnTo>
                    <a:pt x="449" y="15"/>
                  </a:lnTo>
                  <a:lnTo>
                    <a:pt x="445" y="15"/>
                  </a:lnTo>
                  <a:lnTo>
                    <a:pt x="445" y="15"/>
                  </a:lnTo>
                  <a:lnTo>
                    <a:pt x="441" y="15"/>
                  </a:lnTo>
                  <a:lnTo>
                    <a:pt x="437" y="17"/>
                  </a:lnTo>
                  <a:lnTo>
                    <a:pt x="435" y="19"/>
                  </a:lnTo>
                  <a:lnTo>
                    <a:pt x="433" y="21"/>
                  </a:lnTo>
                  <a:lnTo>
                    <a:pt x="430" y="24"/>
                  </a:lnTo>
                  <a:lnTo>
                    <a:pt x="428" y="26"/>
                  </a:lnTo>
                  <a:lnTo>
                    <a:pt x="424" y="28"/>
                  </a:lnTo>
                  <a:lnTo>
                    <a:pt x="418" y="28"/>
                  </a:lnTo>
                  <a:lnTo>
                    <a:pt x="418" y="28"/>
                  </a:lnTo>
                  <a:lnTo>
                    <a:pt x="409" y="28"/>
                  </a:lnTo>
                  <a:lnTo>
                    <a:pt x="399" y="26"/>
                  </a:lnTo>
                  <a:lnTo>
                    <a:pt x="393" y="23"/>
                  </a:lnTo>
                  <a:lnTo>
                    <a:pt x="386" y="17"/>
                  </a:lnTo>
                  <a:lnTo>
                    <a:pt x="380" y="13"/>
                  </a:lnTo>
                  <a:lnTo>
                    <a:pt x="372" y="7"/>
                  </a:lnTo>
                  <a:lnTo>
                    <a:pt x="367" y="3"/>
                  </a:lnTo>
                  <a:lnTo>
                    <a:pt x="359" y="0"/>
                  </a:lnTo>
                  <a:lnTo>
                    <a:pt x="359" y="0"/>
                  </a:lnTo>
                  <a:lnTo>
                    <a:pt x="357" y="5"/>
                  </a:lnTo>
                  <a:lnTo>
                    <a:pt x="353" y="13"/>
                  </a:lnTo>
                  <a:lnTo>
                    <a:pt x="351" y="23"/>
                  </a:lnTo>
                  <a:lnTo>
                    <a:pt x="348" y="32"/>
                  </a:lnTo>
                  <a:lnTo>
                    <a:pt x="344" y="40"/>
                  </a:lnTo>
                  <a:lnTo>
                    <a:pt x="340" y="47"/>
                  </a:lnTo>
                  <a:lnTo>
                    <a:pt x="336" y="53"/>
                  </a:lnTo>
                  <a:lnTo>
                    <a:pt x="332" y="55"/>
                  </a:lnTo>
                  <a:lnTo>
                    <a:pt x="332" y="55"/>
                  </a:lnTo>
                  <a:lnTo>
                    <a:pt x="328" y="55"/>
                  </a:lnTo>
                  <a:lnTo>
                    <a:pt x="325" y="53"/>
                  </a:lnTo>
                  <a:lnTo>
                    <a:pt x="323" y="49"/>
                  </a:lnTo>
                  <a:lnTo>
                    <a:pt x="321" y="45"/>
                  </a:lnTo>
                  <a:lnTo>
                    <a:pt x="319" y="43"/>
                  </a:lnTo>
                  <a:lnTo>
                    <a:pt x="317" y="40"/>
                  </a:lnTo>
                  <a:lnTo>
                    <a:pt x="315" y="36"/>
                  </a:lnTo>
                  <a:lnTo>
                    <a:pt x="311" y="34"/>
                  </a:lnTo>
                  <a:lnTo>
                    <a:pt x="287" y="49"/>
                  </a:lnTo>
                  <a:lnTo>
                    <a:pt x="275" y="42"/>
                  </a:lnTo>
                  <a:lnTo>
                    <a:pt x="245" y="45"/>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19" name="Freeform 63"/>
            <p:cNvSpPr>
              <a:spLocks/>
            </p:cNvSpPr>
            <p:nvPr/>
          </p:nvSpPr>
          <p:spPr bwMode="gray">
            <a:xfrm>
              <a:off x="2874" y="2531"/>
              <a:ext cx="95" cy="212"/>
            </a:xfrm>
            <a:custGeom>
              <a:avLst/>
              <a:gdLst/>
              <a:ahLst/>
              <a:cxnLst>
                <a:cxn ang="0">
                  <a:pos x="25" y="21"/>
                </a:cxn>
                <a:cxn ang="0">
                  <a:pos x="34" y="34"/>
                </a:cxn>
                <a:cxn ang="0">
                  <a:pos x="40" y="51"/>
                </a:cxn>
                <a:cxn ang="0">
                  <a:pos x="46" y="68"/>
                </a:cxn>
                <a:cxn ang="0">
                  <a:pos x="49" y="84"/>
                </a:cxn>
                <a:cxn ang="0">
                  <a:pos x="55" y="105"/>
                </a:cxn>
                <a:cxn ang="0">
                  <a:pos x="55" y="128"/>
                </a:cxn>
                <a:cxn ang="0">
                  <a:pos x="61" y="143"/>
                </a:cxn>
                <a:cxn ang="0">
                  <a:pos x="63" y="160"/>
                </a:cxn>
                <a:cxn ang="0">
                  <a:pos x="55" y="171"/>
                </a:cxn>
                <a:cxn ang="0">
                  <a:pos x="51" y="185"/>
                </a:cxn>
                <a:cxn ang="0">
                  <a:pos x="61" y="200"/>
                </a:cxn>
                <a:cxn ang="0">
                  <a:pos x="80" y="210"/>
                </a:cxn>
                <a:cxn ang="0">
                  <a:pos x="95" y="223"/>
                </a:cxn>
                <a:cxn ang="0">
                  <a:pos x="107" y="246"/>
                </a:cxn>
                <a:cxn ang="0">
                  <a:pos x="114" y="269"/>
                </a:cxn>
                <a:cxn ang="0">
                  <a:pos x="126" y="296"/>
                </a:cxn>
                <a:cxn ang="0">
                  <a:pos x="133" y="318"/>
                </a:cxn>
                <a:cxn ang="0">
                  <a:pos x="143" y="343"/>
                </a:cxn>
                <a:cxn ang="0">
                  <a:pos x="154" y="358"/>
                </a:cxn>
                <a:cxn ang="0">
                  <a:pos x="166" y="374"/>
                </a:cxn>
                <a:cxn ang="0">
                  <a:pos x="166" y="385"/>
                </a:cxn>
                <a:cxn ang="0">
                  <a:pos x="160" y="385"/>
                </a:cxn>
                <a:cxn ang="0">
                  <a:pos x="151" y="381"/>
                </a:cxn>
                <a:cxn ang="0">
                  <a:pos x="141" y="370"/>
                </a:cxn>
                <a:cxn ang="0">
                  <a:pos x="126" y="353"/>
                </a:cxn>
                <a:cxn ang="0">
                  <a:pos x="112" y="339"/>
                </a:cxn>
                <a:cxn ang="0">
                  <a:pos x="95" y="320"/>
                </a:cxn>
                <a:cxn ang="0">
                  <a:pos x="88" y="297"/>
                </a:cxn>
                <a:cxn ang="0">
                  <a:pos x="78" y="275"/>
                </a:cxn>
                <a:cxn ang="0">
                  <a:pos x="63" y="261"/>
                </a:cxn>
                <a:cxn ang="0">
                  <a:pos x="48" y="250"/>
                </a:cxn>
                <a:cxn ang="0">
                  <a:pos x="38" y="240"/>
                </a:cxn>
                <a:cxn ang="0">
                  <a:pos x="30" y="227"/>
                </a:cxn>
                <a:cxn ang="0">
                  <a:pos x="25" y="213"/>
                </a:cxn>
                <a:cxn ang="0">
                  <a:pos x="19" y="198"/>
                </a:cxn>
                <a:cxn ang="0">
                  <a:pos x="15" y="183"/>
                </a:cxn>
                <a:cxn ang="0">
                  <a:pos x="13" y="170"/>
                </a:cxn>
                <a:cxn ang="0">
                  <a:pos x="13" y="158"/>
                </a:cxn>
                <a:cxn ang="0">
                  <a:pos x="13" y="152"/>
                </a:cxn>
                <a:cxn ang="0">
                  <a:pos x="13" y="143"/>
                </a:cxn>
                <a:cxn ang="0">
                  <a:pos x="11" y="131"/>
                </a:cxn>
                <a:cxn ang="0">
                  <a:pos x="8" y="120"/>
                </a:cxn>
                <a:cxn ang="0">
                  <a:pos x="4" y="109"/>
                </a:cxn>
                <a:cxn ang="0">
                  <a:pos x="0" y="93"/>
                </a:cxn>
                <a:cxn ang="0">
                  <a:pos x="0" y="78"/>
                </a:cxn>
                <a:cxn ang="0">
                  <a:pos x="2" y="63"/>
                </a:cxn>
                <a:cxn ang="0">
                  <a:pos x="6" y="49"/>
                </a:cxn>
                <a:cxn ang="0">
                  <a:pos x="6" y="36"/>
                </a:cxn>
                <a:cxn ang="0">
                  <a:pos x="2" y="25"/>
                </a:cxn>
                <a:cxn ang="0">
                  <a:pos x="0" y="13"/>
                </a:cxn>
                <a:cxn ang="0">
                  <a:pos x="0" y="7"/>
                </a:cxn>
                <a:cxn ang="0">
                  <a:pos x="0" y="4"/>
                </a:cxn>
                <a:cxn ang="0">
                  <a:pos x="8" y="0"/>
                </a:cxn>
                <a:cxn ang="0">
                  <a:pos x="11" y="7"/>
                </a:cxn>
                <a:cxn ang="0">
                  <a:pos x="15" y="13"/>
                </a:cxn>
              </a:cxnLst>
              <a:rect l="0" t="0" r="r" b="b"/>
              <a:pathLst>
                <a:path w="168" h="385">
                  <a:moveTo>
                    <a:pt x="17" y="15"/>
                  </a:moveTo>
                  <a:lnTo>
                    <a:pt x="21" y="19"/>
                  </a:lnTo>
                  <a:lnTo>
                    <a:pt x="25" y="21"/>
                  </a:lnTo>
                  <a:lnTo>
                    <a:pt x="29" y="25"/>
                  </a:lnTo>
                  <a:lnTo>
                    <a:pt x="30" y="30"/>
                  </a:lnTo>
                  <a:lnTo>
                    <a:pt x="34" y="34"/>
                  </a:lnTo>
                  <a:lnTo>
                    <a:pt x="36" y="40"/>
                  </a:lnTo>
                  <a:lnTo>
                    <a:pt x="38" y="46"/>
                  </a:lnTo>
                  <a:lnTo>
                    <a:pt x="40" y="51"/>
                  </a:lnTo>
                  <a:lnTo>
                    <a:pt x="42" y="55"/>
                  </a:lnTo>
                  <a:lnTo>
                    <a:pt x="44" y="61"/>
                  </a:lnTo>
                  <a:lnTo>
                    <a:pt x="46" y="68"/>
                  </a:lnTo>
                  <a:lnTo>
                    <a:pt x="48" y="72"/>
                  </a:lnTo>
                  <a:lnTo>
                    <a:pt x="48" y="78"/>
                  </a:lnTo>
                  <a:lnTo>
                    <a:pt x="49" y="84"/>
                  </a:lnTo>
                  <a:lnTo>
                    <a:pt x="51" y="89"/>
                  </a:lnTo>
                  <a:lnTo>
                    <a:pt x="53" y="93"/>
                  </a:lnTo>
                  <a:lnTo>
                    <a:pt x="55" y="105"/>
                  </a:lnTo>
                  <a:lnTo>
                    <a:pt x="55" y="114"/>
                  </a:lnTo>
                  <a:lnTo>
                    <a:pt x="55" y="122"/>
                  </a:lnTo>
                  <a:lnTo>
                    <a:pt x="55" y="128"/>
                  </a:lnTo>
                  <a:lnTo>
                    <a:pt x="55" y="133"/>
                  </a:lnTo>
                  <a:lnTo>
                    <a:pt x="57" y="139"/>
                  </a:lnTo>
                  <a:lnTo>
                    <a:pt x="61" y="143"/>
                  </a:lnTo>
                  <a:lnTo>
                    <a:pt x="67" y="149"/>
                  </a:lnTo>
                  <a:lnTo>
                    <a:pt x="65" y="154"/>
                  </a:lnTo>
                  <a:lnTo>
                    <a:pt x="63" y="160"/>
                  </a:lnTo>
                  <a:lnTo>
                    <a:pt x="61" y="164"/>
                  </a:lnTo>
                  <a:lnTo>
                    <a:pt x="57" y="168"/>
                  </a:lnTo>
                  <a:lnTo>
                    <a:pt x="55" y="171"/>
                  </a:lnTo>
                  <a:lnTo>
                    <a:pt x="53" y="175"/>
                  </a:lnTo>
                  <a:lnTo>
                    <a:pt x="51" y="179"/>
                  </a:lnTo>
                  <a:lnTo>
                    <a:pt x="51" y="185"/>
                  </a:lnTo>
                  <a:lnTo>
                    <a:pt x="53" y="191"/>
                  </a:lnTo>
                  <a:lnTo>
                    <a:pt x="57" y="196"/>
                  </a:lnTo>
                  <a:lnTo>
                    <a:pt x="61" y="200"/>
                  </a:lnTo>
                  <a:lnTo>
                    <a:pt x="67" y="204"/>
                  </a:lnTo>
                  <a:lnTo>
                    <a:pt x="74" y="208"/>
                  </a:lnTo>
                  <a:lnTo>
                    <a:pt x="80" y="210"/>
                  </a:lnTo>
                  <a:lnTo>
                    <a:pt x="84" y="213"/>
                  </a:lnTo>
                  <a:lnTo>
                    <a:pt x="88" y="215"/>
                  </a:lnTo>
                  <a:lnTo>
                    <a:pt x="95" y="223"/>
                  </a:lnTo>
                  <a:lnTo>
                    <a:pt x="101" y="231"/>
                  </a:lnTo>
                  <a:lnTo>
                    <a:pt x="105" y="238"/>
                  </a:lnTo>
                  <a:lnTo>
                    <a:pt x="107" y="246"/>
                  </a:lnTo>
                  <a:lnTo>
                    <a:pt x="109" y="254"/>
                  </a:lnTo>
                  <a:lnTo>
                    <a:pt x="111" y="261"/>
                  </a:lnTo>
                  <a:lnTo>
                    <a:pt x="114" y="269"/>
                  </a:lnTo>
                  <a:lnTo>
                    <a:pt x="118" y="278"/>
                  </a:lnTo>
                  <a:lnTo>
                    <a:pt x="122" y="286"/>
                  </a:lnTo>
                  <a:lnTo>
                    <a:pt x="126" y="296"/>
                  </a:lnTo>
                  <a:lnTo>
                    <a:pt x="128" y="303"/>
                  </a:lnTo>
                  <a:lnTo>
                    <a:pt x="132" y="311"/>
                  </a:lnTo>
                  <a:lnTo>
                    <a:pt x="133" y="318"/>
                  </a:lnTo>
                  <a:lnTo>
                    <a:pt x="137" y="326"/>
                  </a:lnTo>
                  <a:lnTo>
                    <a:pt x="139" y="336"/>
                  </a:lnTo>
                  <a:lnTo>
                    <a:pt x="143" y="343"/>
                  </a:lnTo>
                  <a:lnTo>
                    <a:pt x="147" y="349"/>
                  </a:lnTo>
                  <a:lnTo>
                    <a:pt x="151" y="355"/>
                  </a:lnTo>
                  <a:lnTo>
                    <a:pt x="154" y="358"/>
                  </a:lnTo>
                  <a:lnTo>
                    <a:pt x="158" y="364"/>
                  </a:lnTo>
                  <a:lnTo>
                    <a:pt x="162" y="368"/>
                  </a:lnTo>
                  <a:lnTo>
                    <a:pt x="166" y="374"/>
                  </a:lnTo>
                  <a:lnTo>
                    <a:pt x="166" y="378"/>
                  </a:lnTo>
                  <a:lnTo>
                    <a:pt x="168" y="385"/>
                  </a:lnTo>
                  <a:lnTo>
                    <a:pt x="166" y="385"/>
                  </a:lnTo>
                  <a:lnTo>
                    <a:pt x="166" y="385"/>
                  </a:lnTo>
                  <a:lnTo>
                    <a:pt x="162" y="385"/>
                  </a:lnTo>
                  <a:lnTo>
                    <a:pt x="160" y="385"/>
                  </a:lnTo>
                  <a:lnTo>
                    <a:pt x="156" y="383"/>
                  </a:lnTo>
                  <a:lnTo>
                    <a:pt x="154" y="383"/>
                  </a:lnTo>
                  <a:lnTo>
                    <a:pt x="151" y="381"/>
                  </a:lnTo>
                  <a:lnTo>
                    <a:pt x="151" y="379"/>
                  </a:lnTo>
                  <a:lnTo>
                    <a:pt x="145" y="374"/>
                  </a:lnTo>
                  <a:lnTo>
                    <a:pt x="141" y="370"/>
                  </a:lnTo>
                  <a:lnTo>
                    <a:pt x="135" y="364"/>
                  </a:lnTo>
                  <a:lnTo>
                    <a:pt x="132" y="358"/>
                  </a:lnTo>
                  <a:lnTo>
                    <a:pt x="126" y="353"/>
                  </a:lnTo>
                  <a:lnTo>
                    <a:pt x="122" y="347"/>
                  </a:lnTo>
                  <a:lnTo>
                    <a:pt x="118" y="343"/>
                  </a:lnTo>
                  <a:lnTo>
                    <a:pt x="112" y="339"/>
                  </a:lnTo>
                  <a:lnTo>
                    <a:pt x="105" y="334"/>
                  </a:lnTo>
                  <a:lnTo>
                    <a:pt x="99" y="328"/>
                  </a:lnTo>
                  <a:lnTo>
                    <a:pt x="95" y="320"/>
                  </a:lnTo>
                  <a:lnTo>
                    <a:pt x="93" y="315"/>
                  </a:lnTo>
                  <a:lnTo>
                    <a:pt x="90" y="307"/>
                  </a:lnTo>
                  <a:lnTo>
                    <a:pt x="88" y="297"/>
                  </a:lnTo>
                  <a:lnTo>
                    <a:pt x="86" y="290"/>
                  </a:lnTo>
                  <a:lnTo>
                    <a:pt x="82" y="280"/>
                  </a:lnTo>
                  <a:lnTo>
                    <a:pt x="78" y="275"/>
                  </a:lnTo>
                  <a:lnTo>
                    <a:pt x="74" y="271"/>
                  </a:lnTo>
                  <a:lnTo>
                    <a:pt x="69" y="265"/>
                  </a:lnTo>
                  <a:lnTo>
                    <a:pt x="63" y="261"/>
                  </a:lnTo>
                  <a:lnTo>
                    <a:pt x="57" y="257"/>
                  </a:lnTo>
                  <a:lnTo>
                    <a:pt x="51" y="254"/>
                  </a:lnTo>
                  <a:lnTo>
                    <a:pt x="48" y="250"/>
                  </a:lnTo>
                  <a:lnTo>
                    <a:pt x="42" y="246"/>
                  </a:lnTo>
                  <a:lnTo>
                    <a:pt x="40" y="242"/>
                  </a:lnTo>
                  <a:lnTo>
                    <a:pt x="38" y="240"/>
                  </a:lnTo>
                  <a:lnTo>
                    <a:pt x="36" y="236"/>
                  </a:lnTo>
                  <a:lnTo>
                    <a:pt x="32" y="233"/>
                  </a:lnTo>
                  <a:lnTo>
                    <a:pt x="30" y="227"/>
                  </a:lnTo>
                  <a:lnTo>
                    <a:pt x="29" y="223"/>
                  </a:lnTo>
                  <a:lnTo>
                    <a:pt x="27" y="217"/>
                  </a:lnTo>
                  <a:lnTo>
                    <a:pt x="25" y="213"/>
                  </a:lnTo>
                  <a:lnTo>
                    <a:pt x="23" y="208"/>
                  </a:lnTo>
                  <a:lnTo>
                    <a:pt x="21" y="202"/>
                  </a:lnTo>
                  <a:lnTo>
                    <a:pt x="19" y="198"/>
                  </a:lnTo>
                  <a:lnTo>
                    <a:pt x="17" y="192"/>
                  </a:lnTo>
                  <a:lnTo>
                    <a:pt x="15" y="187"/>
                  </a:lnTo>
                  <a:lnTo>
                    <a:pt x="15" y="183"/>
                  </a:lnTo>
                  <a:lnTo>
                    <a:pt x="13" y="179"/>
                  </a:lnTo>
                  <a:lnTo>
                    <a:pt x="13" y="173"/>
                  </a:lnTo>
                  <a:lnTo>
                    <a:pt x="13" y="170"/>
                  </a:lnTo>
                  <a:lnTo>
                    <a:pt x="13" y="166"/>
                  </a:lnTo>
                  <a:lnTo>
                    <a:pt x="13" y="162"/>
                  </a:lnTo>
                  <a:lnTo>
                    <a:pt x="13" y="158"/>
                  </a:lnTo>
                  <a:lnTo>
                    <a:pt x="13" y="156"/>
                  </a:lnTo>
                  <a:lnTo>
                    <a:pt x="13" y="154"/>
                  </a:lnTo>
                  <a:lnTo>
                    <a:pt x="13" y="152"/>
                  </a:lnTo>
                  <a:lnTo>
                    <a:pt x="13" y="149"/>
                  </a:lnTo>
                  <a:lnTo>
                    <a:pt x="13" y="147"/>
                  </a:lnTo>
                  <a:lnTo>
                    <a:pt x="13" y="143"/>
                  </a:lnTo>
                  <a:lnTo>
                    <a:pt x="13" y="139"/>
                  </a:lnTo>
                  <a:lnTo>
                    <a:pt x="11" y="135"/>
                  </a:lnTo>
                  <a:lnTo>
                    <a:pt x="11" y="131"/>
                  </a:lnTo>
                  <a:lnTo>
                    <a:pt x="9" y="128"/>
                  </a:lnTo>
                  <a:lnTo>
                    <a:pt x="8" y="124"/>
                  </a:lnTo>
                  <a:lnTo>
                    <a:pt x="8" y="120"/>
                  </a:lnTo>
                  <a:lnTo>
                    <a:pt x="6" y="116"/>
                  </a:lnTo>
                  <a:lnTo>
                    <a:pt x="4" y="112"/>
                  </a:lnTo>
                  <a:lnTo>
                    <a:pt x="4" y="109"/>
                  </a:lnTo>
                  <a:lnTo>
                    <a:pt x="2" y="103"/>
                  </a:lnTo>
                  <a:lnTo>
                    <a:pt x="2" y="99"/>
                  </a:lnTo>
                  <a:lnTo>
                    <a:pt x="0" y="93"/>
                  </a:lnTo>
                  <a:lnTo>
                    <a:pt x="0" y="89"/>
                  </a:lnTo>
                  <a:lnTo>
                    <a:pt x="0" y="84"/>
                  </a:lnTo>
                  <a:lnTo>
                    <a:pt x="0" y="78"/>
                  </a:lnTo>
                  <a:lnTo>
                    <a:pt x="0" y="72"/>
                  </a:lnTo>
                  <a:lnTo>
                    <a:pt x="2" y="67"/>
                  </a:lnTo>
                  <a:lnTo>
                    <a:pt x="2" y="63"/>
                  </a:lnTo>
                  <a:lnTo>
                    <a:pt x="4" y="59"/>
                  </a:lnTo>
                  <a:lnTo>
                    <a:pt x="6" y="53"/>
                  </a:lnTo>
                  <a:lnTo>
                    <a:pt x="6" y="49"/>
                  </a:lnTo>
                  <a:lnTo>
                    <a:pt x="6" y="44"/>
                  </a:lnTo>
                  <a:lnTo>
                    <a:pt x="6" y="40"/>
                  </a:lnTo>
                  <a:lnTo>
                    <a:pt x="6" y="36"/>
                  </a:lnTo>
                  <a:lnTo>
                    <a:pt x="4" y="32"/>
                  </a:lnTo>
                  <a:lnTo>
                    <a:pt x="2" y="28"/>
                  </a:lnTo>
                  <a:lnTo>
                    <a:pt x="2" y="25"/>
                  </a:lnTo>
                  <a:lnTo>
                    <a:pt x="0" y="21"/>
                  </a:lnTo>
                  <a:lnTo>
                    <a:pt x="0" y="17"/>
                  </a:lnTo>
                  <a:lnTo>
                    <a:pt x="0" y="13"/>
                  </a:lnTo>
                  <a:lnTo>
                    <a:pt x="0" y="11"/>
                  </a:lnTo>
                  <a:lnTo>
                    <a:pt x="0" y="9"/>
                  </a:lnTo>
                  <a:lnTo>
                    <a:pt x="0" y="7"/>
                  </a:lnTo>
                  <a:lnTo>
                    <a:pt x="0" y="6"/>
                  </a:lnTo>
                  <a:lnTo>
                    <a:pt x="0" y="4"/>
                  </a:lnTo>
                  <a:lnTo>
                    <a:pt x="0" y="4"/>
                  </a:lnTo>
                  <a:lnTo>
                    <a:pt x="0" y="2"/>
                  </a:lnTo>
                  <a:lnTo>
                    <a:pt x="0" y="0"/>
                  </a:lnTo>
                  <a:lnTo>
                    <a:pt x="8" y="0"/>
                  </a:lnTo>
                  <a:lnTo>
                    <a:pt x="9" y="2"/>
                  </a:lnTo>
                  <a:lnTo>
                    <a:pt x="11" y="4"/>
                  </a:lnTo>
                  <a:lnTo>
                    <a:pt x="11" y="7"/>
                  </a:lnTo>
                  <a:lnTo>
                    <a:pt x="13" y="9"/>
                  </a:lnTo>
                  <a:lnTo>
                    <a:pt x="15" y="11"/>
                  </a:lnTo>
                  <a:lnTo>
                    <a:pt x="15" y="13"/>
                  </a:lnTo>
                  <a:lnTo>
                    <a:pt x="17" y="15"/>
                  </a:lnTo>
                  <a:lnTo>
                    <a:pt x="17" y="15"/>
                  </a:lnTo>
                  <a:close/>
                </a:path>
              </a:pathLst>
            </a:custGeom>
            <a:no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320" name="Freeform 64"/>
            <p:cNvSpPr>
              <a:spLocks/>
            </p:cNvSpPr>
            <p:nvPr/>
          </p:nvSpPr>
          <p:spPr bwMode="gray">
            <a:xfrm>
              <a:off x="3086" y="2779"/>
              <a:ext cx="45" cy="208"/>
            </a:xfrm>
            <a:custGeom>
              <a:avLst/>
              <a:gdLst/>
              <a:ahLst/>
              <a:cxnLst>
                <a:cxn ang="0">
                  <a:pos x="9" y="53"/>
                </a:cxn>
                <a:cxn ang="0">
                  <a:pos x="7" y="42"/>
                </a:cxn>
                <a:cxn ang="0">
                  <a:pos x="2" y="27"/>
                </a:cxn>
                <a:cxn ang="0">
                  <a:pos x="0" y="8"/>
                </a:cxn>
                <a:cxn ang="0">
                  <a:pos x="2" y="0"/>
                </a:cxn>
                <a:cxn ang="0">
                  <a:pos x="15" y="8"/>
                </a:cxn>
                <a:cxn ang="0">
                  <a:pos x="32" y="27"/>
                </a:cxn>
                <a:cxn ang="0">
                  <a:pos x="44" y="51"/>
                </a:cxn>
                <a:cxn ang="0">
                  <a:pos x="49" y="103"/>
                </a:cxn>
                <a:cxn ang="0">
                  <a:pos x="51" y="114"/>
                </a:cxn>
                <a:cxn ang="0">
                  <a:pos x="51" y="126"/>
                </a:cxn>
                <a:cxn ang="0">
                  <a:pos x="55" y="141"/>
                </a:cxn>
                <a:cxn ang="0">
                  <a:pos x="67" y="154"/>
                </a:cxn>
                <a:cxn ang="0">
                  <a:pos x="74" y="170"/>
                </a:cxn>
                <a:cxn ang="0">
                  <a:pos x="68" y="189"/>
                </a:cxn>
                <a:cxn ang="0">
                  <a:pos x="57" y="204"/>
                </a:cxn>
                <a:cxn ang="0">
                  <a:pos x="51" y="219"/>
                </a:cxn>
                <a:cxn ang="0">
                  <a:pos x="53" y="235"/>
                </a:cxn>
                <a:cxn ang="0">
                  <a:pos x="55" y="252"/>
                </a:cxn>
                <a:cxn ang="0">
                  <a:pos x="57" y="311"/>
                </a:cxn>
                <a:cxn ang="0">
                  <a:pos x="68" y="334"/>
                </a:cxn>
                <a:cxn ang="0">
                  <a:pos x="80" y="351"/>
                </a:cxn>
                <a:cxn ang="0">
                  <a:pos x="80" y="364"/>
                </a:cxn>
                <a:cxn ang="0">
                  <a:pos x="78" y="370"/>
                </a:cxn>
                <a:cxn ang="0">
                  <a:pos x="80" y="376"/>
                </a:cxn>
                <a:cxn ang="0">
                  <a:pos x="72" y="372"/>
                </a:cxn>
                <a:cxn ang="0">
                  <a:pos x="63" y="366"/>
                </a:cxn>
                <a:cxn ang="0">
                  <a:pos x="55" y="364"/>
                </a:cxn>
                <a:cxn ang="0">
                  <a:pos x="51" y="370"/>
                </a:cxn>
                <a:cxn ang="0">
                  <a:pos x="51" y="376"/>
                </a:cxn>
                <a:cxn ang="0">
                  <a:pos x="44" y="376"/>
                </a:cxn>
                <a:cxn ang="0">
                  <a:pos x="36" y="368"/>
                </a:cxn>
                <a:cxn ang="0">
                  <a:pos x="34" y="359"/>
                </a:cxn>
                <a:cxn ang="0">
                  <a:pos x="34" y="351"/>
                </a:cxn>
                <a:cxn ang="0">
                  <a:pos x="38" y="343"/>
                </a:cxn>
                <a:cxn ang="0">
                  <a:pos x="38" y="336"/>
                </a:cxn>
                <a:cxn ang="0">
                  <a:pos x="34" y="328"/>
                </a:cxn>
                <a:cxn ang="0">
                  <a:pos x="28" y="324"/>
                </a:cxn>
                <a:cxn ang="0">
                  <a:pos x="21" y="307"/>
                </a:cxn>
                <a:cxn ang="0">
                  <a:pos x="17" y="282"/>
                </a:cxn>
                <a:cxn ang="0">
                  <a:pos x="17" y="259"/>
                </a:cxn>
                <a:cxn ang="0">
                  <a:pos x="11" y="242"/>
                </a:cxn>
                <a:cxn ang="0">
                  <a:pos x="4" y="231"/>
                </a:cxn>
                <a:cxn ang="0">
                  <a:pos x="2" y="221"/>
                </a:cxn>
                <a:cxn ang="0">
                  <a:pos x="7" y="214"/>
                </a:cxn>
                <a:cxn ang="0">
                  <a:pos x="13" y="198"/>
                </a:cxn>
                <a:cxn ang="0">
                  <a:pos x="19" y="181"/>
                </a:cxn>
                <a:cxn ang="0">
                  <a:pos x="23" y="166"/>
                </a:cxn>
                <a:cxn ang="0">
                  <a:pos x="26" y="156"/>
                </a:cxn>
                <a:cxn ang="0">
                  <a:pos x="21" y="67"/>
                </a:cxn>
                <a:cxn ang="0">
                  <a:pos x="17" y="61"/>
                </a:cxn>
                <a:cxn ang="0">
                  <a:pos x="11" y="57"/>
                </a:cxn>
              </a:cxnLst>
              <a:rect l="0" t="0" r="r" b="b"/>
              <a:pathLst>
                <a:path w="80" h="378">
                  <a:moveTo>
                    <a:pt x="11" y="57"/>
                  </a:moveTo>
                  <a:lnTo>
                    <a:pt x="11" y="55"/>
                  </a:lnTo>
                  <a:lnTo>
                    <a:pt x="9" y="53"/>
                  </a:lnTo>
                  <a:lnTo>
                    <a:pt x="9" y="50"/>
                  </a:lnTo>
                  <a:lnTo>
                    <a:pt x="9" y="48"/>
                  </a:lnTo>
                  <a:lnTo>
                    <a:pt x="7" y="42"/>
                  </a:lnTo>
                  <a:lnTo>
                    <a:pt x="5" y="36"/>
                  </a:lnTo>
                  <a:lnTo>
                    <a:pt x="4" y="32"/>
                  </a:lnTo>
                  <a:lnTo>
                    <a:pt x="2" y="27"/>
                  </a:lnTo>
                  <a:lnTo>
                    <a:pt x="0" y="21"/>
                  </a:lnTo>
                  <a:lnTo>
                    <a:pt x="0" y="15"/>
                  </a:lnTo>
                  <a:lnTo>
                    <a:pt x="0" y="8"/>
                  </a:lnTo>
                  <a:lnTo>
                    <a:pt x="0" y="0"/>
                  </a:lnTo>
                  <a:lnTo>
                    <a:pt x="0" y="0"/>
                  </a:lnTo>
                  <a:lnTo>
                    <a:pt x="2" y="0"/>
                  </a:lnTo>
                  <a:lnTo>
                    <a:pt x="4" y="0"/>
                  </a:lnTo>
                  <a:lnTo>
                    <a:pt x="5" y="0"/>
                  </a:lnTo>
                  <a:lnTo>
                    <a:pt x="15" y="8"/>
                  </a:lnTo>
                  <a:lnTo>
                    <a:pt x="23" y="13"/>
                  </a:lnTo>
                  <a:lnTo>
                    <a:pt x="28" y="21"/>
                  </a:lnTo>
                  <a:lnTo>
                    <a:pt x="32" y="27"/>
                  </a:lnTo>
                  <a:lnTo>
                    <a:pt x="36" y="34"/>
                  </a:lnTo>
                  <a:lnTo>
                    <a:pt x="40" y="42"/>
                  </a:lnTo>
                  <a:lnTo>
                    <a:pt x="44" y="51"/>
                  </a:lnTo>
                  <a:lnTo>
                    <a:pt x="47" y="61"/>
                  </a:lnTo>
                  <a:lnTo>
                    <a:pt x="47" y="99"/>
                  </a:lnTo>
                  <a:lnTo>
                    <a:pt x="49" y="103"/>
                  </a:lnTo>
                  <a:lnTo>
                    <a:pt x="51" y="107"/>
                  </a:lnTo>
                  <a:lnTo>
                    <a:pt x="51" y="111"/>
                  </a:lnTo>
                  <a:lnTo>
                    <a:pt x="51" y="114"/>
                  </a:lnTo>
                  <a:lnTo>
                    <a:pt x="51" y="118"/>
                  </a:lnTo>
                  <a:lnTo>
                    <a:pt x="51" y="122"/>
                  </a:lnTo>
                  <a:lnTo>
                    <a:pt x="51" y="126"/>
                  </a:lnTo>
                  <a:lnTo>
                    <a:pt x="51" y="130"/>
                  </a:lnTo>
                  <a:lnTo>
                    <a:pt x="53" y="135"/>
                  </a:lnTo>
                  <a:lnTo>
                    <a:pt x="55" y="141"/>
                  </a:lnTo>
                  <a:lnTo>
                    <a:pt x="59" y="145"/>
                  </a:lnTo>
                  <a:lnTo>
                    <a:pt x="63" y="151"/>
                  </a:lnTo>
                  <a:lnTo>
                    <a:pt x="67" y="154"/>
                  </a:lnTo>
                  <a:lnTo>
                    <a:pt x="70" y="158"/>
                  </a:lnTo>
                  <a:lnTo>
                    <a:pt x="72" y="164"/>
                  </a:lnTo>
                  <a:lnTo>
                    <a:pt x="74" y="170"/>
                  </a:lnTo>
                  <a:lnTo>
                    <a:pt x="72" y="177"/>
                  </a:lnTo>
                  <a:lnTo>
                    <a:pt x="70" y="183"/>
                  </a:lnTo>
                  <a:lnTo>
                    <a:pt x="68" y="189"/>
                  </a:lnTo>
                  <a:lnTo>
                    <a:pt x="65" y="195"/>
                  </a:lnTo>
                  <a:lnTo>
                    <a:pt x="61" y="198"/>
                  </a:lnTo>
                  <a:lnTo>
                    <a:pt x="57" y="204"/>
                  </a:lnTo>
                  <a:lnTo>
                    <a:pt x="55" y="208"/>
                  </a:lnTo>
                  <a:lnTo>
                    <a:pt x="53" y="212"/>
                  </a:lnTo>
                  <a:lnTo>
                    <a:pt x="51" y="219"/>
                  </a:lnTo>
                  <a:lnTo>
                    <a:pt x="51" y="223"/>
                  </a:lnTo>
                  <a:lnTo>
                    <a:pt x="51" y="229"/>
                  </a:lnTo>
                  <a:lnTo>
                    <a:pt x="53" y="235"/>
                  </a:lnTo>
                  <a:lnTo>
                    <a:pt x="53" y="240"/>
                  </a:lnTo>
                  <a:lnTo>
                    <a:pt x="55" y="246"/>
                  </a:lnTo>
                  <a:lnTo>
                    <a:pt x="55" y="252"/>
                  </a:lnTo>
                  <a:lnTo>
                    <a:pt x="55" y="257"/>
                  </a:lnTo>
                  <a:lnTo>
                    <a:pt x="55" y="301"/>
                  </a:lnTo>
                  <a:lnTo>
                    <a:pt x="57" y="311"/>
                  </a:lnTo>
                  <a:lnTo>
                    <a:pt x="59" y="320"/>
                  </a:lnTo>
                  <a:lnTo>
                    <a:pt x="63" y="328"/>
                  </a:lnTo>
                  <a:lnTo>
                    <a:pt x="68" y="334"/>
                  </a:lnTo>
                  <a:lnTo>
                    <a:pt x="72" y="340"/>
                  </a:lnTo>
                  <a:lnTo>
                    <a:pt x="76" y="345"/>
                  </a:lnTo>
                  <a:lnTo>
                    <a:pt x="80" y="351"/>
                  </a:lnTo>
                  <a:lnTo>
                    <a:pt x="80" y="359"/>
                  </a:lnTo>
                  <a:lnTo>
                    <a:pt x="80" y="362"/>
                  </a:lnTo>
                  <a:lnTo>
                    <a:pt x="80" y="364"/>
                  </a:lnTo>
                  <a:lnTo>
                    <a:pt x="78" y="366"/>
                  </a:lnTo>
                  <a:lnTo>
                    <a:pt x="78" y="368"/>
                  </a:lnTo>
                  <a:lnTo>
                    <a:pt x="78" y="370"/>
                  </a:lnTo>
                  <a:lnTo>
                    <a:pt x="78" y="372"/>
                  </a:lnTo>
                  <a:lnTo>
                    <a:pt x="78" y="374"/>
                  </a:lnTo>
                  <a:lnTo>
                    <a:pt x="80" y="376"/>
                  </a:lnTo>
                  <a:lnTo>
                    <a:pt x="78" y="376"/>
                  </a:lnTo>
                  <a:lnTo>
                    <a:pt x="74" y="374"/>
                  </a:lnTo>
                  <a:lnTo>
                    <a:pt x="72" y="372"/>
                  </a:lnTo>
                  <a:lnTo>
                    <a:pt x="68" y="370"/>
                  </a:lnTo>
                  <a:lnTo>
                    <a:pt x="67" y="368"/>
                  </a:lnTo>
                  <a:lnTo>
                    <a:pt x="63" y="366"/>
                  </a:lnTo>
                  <a:lnTo>
                    <a:pt x="61" y="364"/>
                  </a:lnTo>
                  <a:lnTo>
                    <a:pt x="57" y="362"/>
                  </a:lnTo>
                  <a:lnTo>
                    <a:pt x="55" y="364"/>
                  </a:lnTo>
                  <a:lnTo>
                    <a:pt x="53" y="366"/>
                  </a:lnTo>
                  <a:lnTo>
                    <a:pt x="53" y="368"/>
                  </a:lnTo>
                  <a:lnTo>
                    <a:pt x="51" y="370"/>
                  </a:lnTo>
                  <a:lnTo>
                    <a:pt x="51" y="372"/>
                  </a:lnTo>
                  <a:lnTo>
                    <a:pt x="51" y="374"/>
                  </a:lnTo>
                  <a:lnTo>
                    <a:pt x="51" y="376"/>
                  </a:lnTo>
                  <a:lnTo>
                    <a:pt x="51" y="378"/>
                  </a:lnTo>
                  <a:lnTo>
                    <a:pt x="47" y="378"/>
                  </a:lnTo>
                  <a:lnTo>
                    <a:pt x="44" y="376"/>
                  </a:lnTo>
                  <a:lnTo>
                    <a:pt x="42" y="374"/>
                  </a:lnTo>
                  <a:lnTo>
                    <a:pt x="38" y="372"/>
                  </a:lnTo>
                  <a:lnTo>
                    <a:pt x="36" y="368"/>
                  </a:lnTo>
                  <a:lnTo>
                    <a:pt x="34" y="364"/>
                  </a:lnTo>
                  <a:lnTo>
                    <a:pt x="34" y="362"/>
                  </a:lnTo>
                  <a:lnTo>
                    <a:pt x="34" y="359"/>
                  </a:lnTo>
                  <a:lnTo>
                    <a:pt x="34" y="355"/>
                  </a:lnTo>
                  <a:lnTo>
                    <a:pt x="34" y="353"/>
                  </a:lnTo>
                  <a:lnTo>
                    <a:pt x="34" y="351"/>
                  </a:lnTo>
                  <a:lnTo>
                    <a:pt x="36" y="347"/>
                  </a:lnTo>
                  <a:lnTo>
                    <a:pt x="36" y="345"/>
                  </a:lnTo>
                  <a:lnTo>
                    <a:pt x="38" y="343"/>
                  </a:lnTo>
                  <a:lnTo>
                    <a:pt x="38" y="341"/>
                  </a:lnTo>
                  <a:lnTo>
                    <a:pt x="38" y="340"/>
                  </a:lnTo>
                  <a:lnTo>
                    <a:pt x="38" y="336"/>
                  </a:lnTo>
                  <a:lnTo>
                    <a:pt x="36" y="332"/>
                  </a:lnTo>
                  <a:lnTo>
                    <a:pt x="36" y="330"/>
                  </a:lnTo>
                  <a:lnTo>
                    <a:pt x="34" y="328"/>
                  </a:lnTo>
                  <a:lnTo>
                    <a:pt x="32" y="328"/>
                  </a:lnTo>
                  <a:lnTo>
                    <a:pt x="30" y="326"/>
                  </a:lnTo>
                  <a:lnTo>
                    <a:pt x="28" y="324"/>
                  </a:lnTo>
                  <a:lnTo>
                    <a:pt x="26" y="322"/>
                  </a:lnTo>
                  <a:lnTo>
                    <a:pt x="25" y="315"/>
                  </a:lnTo>
                  <a:lnTo>
                    <a:pt x="21" y="307"/>
                  </a:lnTo>
                  <a:lnTo>
                    <a:pt x="19" y="299"/>
                  </a:lnTo>
                  <a:lnTo>
                    <a:pt x="19" y="292"/>
                  </a:lnTo>
                  <a:lnTo>
                    <a:pt x="17" y="282"/>
                  </a:lnTo>
                  <a:lnTo>
                    <a:pt x="17" y="275"/>
                  </a:lnTo>
                  <a:lnTo>
                    <a:pt x="17" y="267"/>
                  </a:lnTo>
                  <a:lnTo>
                    <a:pt x="17" y="259"/>
                  </a:lnTo>
                  <a:lnTo>
                    <a:pt x="17" y="252"/>
                  </a:lnTo>
                  <a:lnTo>
                    <a:pt x="15" y="248"/>
                  </a:lnTo>
                  <a:lnTo>
                    <a:pt x="11" y="242"/>
                  </a:lnTo>
                  <a:lnTo>
                    <a:pt x="9" y="238"/>
                  </a:lnTo>
                  <a:lnTo>
                    <a:pt x="5" y="235"/>
                  </a:lnTo>
                  <a:lnTo>
                    <a:pt x="4" y="231"/>
                  </a:lnTo>
                  <a:lnTo>
                    <a:pt x="2" y="227"/>
                  </a:lnTo>
                  <a:lnTo>
                    <a:pt x="0" y="221"/>
                  </a:lnTo>
                  <a:lnTo>
                    <a:pt x="2" y="221"/>
                  </a:lnTo>
                  <a:lnTo>
                    <a:pt x="4" y="219"/>
                  </a:lnTo>
                  <a:lnTo>
                    <a:pt x="5" y="217"/>
                  </a:lnTo>
                  <a:lnTo>
                    <a:pt x="7" y="214"/>
                  </a:lnTo>
                  <a:lnTo>
                    <a:pt x="9" y="208"/>
                  </a:lnTo>
                  <a:lnTo>
                    <a:pt x="11" y="204"/>
                  </a:lnTo>
                  <a:lnTo>
                    <a:pt x="13" y="198"/>
                  </a:lnTo>
                  <a:lnTo>
                    <a:pt x="15" y="193"/>
                  </a:lnTo>
                  <a:lnTo>
                    <a:pt x="17" y="187"/>
                  </a:lnTo>
                  <a:lnTo>
                    <a:pt x="19" y="181"/>
                  </a:lnTo>
                  <a:lnTo>
                    <a:pt x="21" y="175"/>
                  </a:lnTo>
                  <a:lnTo>
                    <a:pt x="23" y="170"/>
                  </a:lnTo>
                  <a:lnTo>
                    <a:pt x="23" y="166"/>
                  </a:lnTo>
                  <a:lnTo>
                    <a:pt x="25" y="162"/>
                  </a:lnTo>
                  <a:lnTo>
                    <a:pt x="26" y="158"/>
                  </a:lnTo>
                  <a:lnTo>
                    <a:pt x="26" y="156"/>
                  </a:lnTo>
                  <a:lnTo>
                    <a:pt x="26" y="71"/>
                  </a:lnTo>
                  <a:lnTo>
                    <a:pt x="23" y="69"/>
                  </a:lnTo>
                  <a:lnTo>
                    <a:pt x="21" y="67"/>
                  </a:lnTo>
                  <a:lnTo>
                    <a:pt x="19" y="65"/>
                  </a:lnTo>
                  <a:lnTo>
                    <a:pt x="19" y="63"/>
                  </a:lnTo>
                  <a:lnTo>
                    <a:pt x="17" y="61"/>
                  </a:lnTo>
                  <a:lnTo>
                    <a:pt x="15" y="59"/>
                  </a:lnTo>
                  <a:lnTo>
                    <a:pt x="13" y="57"/>
                  </a:lnTo>
                  <a:lnTo>
                    <a:pt x="11" y="57"/>
                  </a:lnTo>
                  <a:close/>
                </a:path>
              </a:pathLst>
            </a:custGeom>
            <a:noFill/>
            <a:ln w="9525" cmpd="sng">
              <a:solidFill>
                <a:srgbClr val="808080"/>
              </a:solidFill>
              <a:round/>
              <a:headEnd/>
              <a:tailEnd/>
            </a:ln>
          </p:spPr>
          <p:txBody>
            <a:bodyPr/>
            <a:lstStyle/>
            <a:p>
              <a:endParaRPr lang="en-US" dirty="0">
                <a:solidFill>
                  <a:srgbClr val="000000"/>
                </a:solidFill>
                <a:latin typeface="Arial" charset="0"/>
              </a:endParaRPr>
            </a:p>
          </p:txBody>
        </p:sp>
        <p:sp>
          <p:nvSpPr>
            <p:cNvPr id="608321" name="Freeform 65"/>
            <p:cNvSpPr>
              <a:spLocks/>
            </p:cNvSpPr>
            <p:nvPr/>
          </p:nvSpPr>
          <p:spPr bwMode="gray">
            <a:xfrm>
              <a:off x="2993" y="2342"/>
              <a:ext cx="137" cy="133"/>
            </a:xfrm>
            <a:custGeom>
              <a:avLst/>
              <a:gdLst/>
              <a:ahLst/>
              <a:cxnLst>
                <a:cxn ang="0">
                  <a:pos x="181" y="105"/>
                </a:cxn>
                <a:cxn ang="0">
                  <a:pos x="187" y="79"/>
                </a:cxn>
                <a:cxn ang="0">
                  <a:pos x="204" y="61"/>
                </a:cxn>
                <a:cxn ang="0">
                  <a:pos x="225" y="60"/>
                </a:cxn>
                <a:cxn ang="0">
                  <a:pos x="234" y="44"/>
                </a:cxn>
                <a:cxn ang="0">
                  <a:pos x="208" y="44"/>
                </a:cxn>
                <a:cxn ang="0">
                  <a:pos x="175" y="39"/>
                </a:cxn>
                <a:cxn ang="0">
                  <a:pos x="160" y="19"/>
                </a:cxn>
                <a:cxn ang="0">
                  <a:pos x="152" y="0"/>
                </a:cxn>
                <a:cxn ang="0">
                  <a:pos x="141" y="0"/>
                </a:cxn>
                <a:cxn ang="0">
                  <a:pos x="133" y="16"/>
                </a:cxn>
                <a:cxn ang="0">
                  <a:pos x="120" y="21"/>
                </a:cxn>
                <a:cxn ang="0">
                  <a:pos x="110" y="16"/>
                </a:cxn>
                <a:cxn ang="0">
                  <a:pos x="105" y="23"/>
                </a:cxn>
                <a:cxn ang="0">
                  <a:pos x="93" y="25"/>
                </a:cxn>
                <a:cxn ang="0">
                  <a:pos x="82" y="23"/>
                </a:cxn>
                <a:cxn ang="0">
                  <a:pos x="72" y="29"/>
                </a:cxn>
                <a:cxn ang="0">
                  <a:pos x="65" y="33"/>
                </a:cxn>
                <a:cxn ang="0">
                  <a:pos x="57" y="35"/>
                </a:cxn>
                <a:cxn ang="0">
                  <a:pos x="34" y="44"/>
                </a:cxn>
                <a:cxn ang="0">
                  <a:pos x="21" y="56"/>
                </a:cxn>
                <a:cxn ang="0">
                  <a:pos x="19" y="69"/>
                </a:cxn>
                <a:cxn ang="0">
                  <a:pos x="11" y="79"/>
                </a:cxn>
                <a:cxn ang="0">
                  <a:pos x="4" y="86"/>
                </a:cxn>
                <a:cxn ang="0">
                  <a:pos x="2" y="102"/>
                </a:cxn>
                <a:cxn ang="0">
                  <a:pos x="11" y="113"/>
                </a:cxn>
                <a:cxn ang="0">
                  <a:pos x="15" y="136"/>
                </a:cxn>
                <a:cxn ang="0">
                  <a:pos x="4" y="163"/>
                </a:cxn>
                <a:cxn ang="0">
                  <a:pos x="0" y="187"/>
                </a:cxn>
                <a:cxn ang="0">
                  <a:pos x="0" y="203"/>
                </a:cxn>
                <a:cxn ang="0">
                  <a:pos x="5" y="212"/>
                </a:cxn>
                <a:cxn ang="0">
                  <a:pos x="13" y="220"/>
                </a:cxn>
                <a:cxn ang="0">
                  <a:pos x="9" y="229"/>
                </a:cxn>
                <a:cxn ang="0">
                  <a:pos x="9" y="239"/>
                </a:cxn>
                <a:cxn ang="0">
                  <a:pos x="17" y="239"/>
                </a:cxn>
                <a:cxn ang="0">
                  <a:pos x="30" y="222"/>
                </a:cxn>
                <a:cxn ang="0">
                  <a:pos x="49" y="218"/>
                </a:cxn>
                <a:cxn ang="0">
                  <a:pos x="70" y="229"/>
                </a:cxn>
                <a:cxn ang="0">
                  <a:pos x="86" y="235"/>
                </a:cxn>
                <a:cxn ang="0">
                  <a:pos x="93" y="227"/>
                </a:cxn>
                <a:cxn ang="0">
                  <a:pos x="107" y="224"/>
                </a:cxn>
                <a:cxn ang="0">
                  <a:pos x="114" y="227"/>
                </a:cxn>
                <a:cxn ang="0">
                  <a:pos x="122" y="231"/>
                </a:cxn>
                <a:cxn ang="0">
                  <a:pos x="135" y="233"/>
                </a:cxn>
                <a:cxn ang="0">
                  <a:pos x="149" y="218"/>
                </a:cxn>
                <a:cxn ang="0">
                  <a:pos x="110" y="201"/>
                </a:cxn>
                <a:cxn ang="0">
                  <a:pos x="126" y="187"/>
                </a:cxn>
                <a:cxn ang="0">
                  <a:pos x="143" y="172"/>
                </a:cxn>
                <a:cxn ang="0">
                  <a:pos x="150" y="157"/>
                </a:cxn>
                <a:cxn ang="0">
                  <a:pos x="160" y="140"/>
                </a:cxn>
                <a:cxn ang="0">
                  <a:pos x="169" y="123"/>
                </a:cxn>
                <a:cxn ang="0">
                  <a:pos x="179" y="105"/>
                </a:cxn>
              </a:cxnLst>
              <a:rect l="0" t="0" r="r" b="b"/>
              <a:pathLst>
                <a:path w="240" h="243">
                  <a:moveTo>
                    <a:pt x="185" y="111"/>
                  </a:moveTo>
                  <a:lnTo>
                    <a:pt x="185" y="111"/>
                  </a:lnTo>
                  <a:lnTo>
                    <a:pt x="179" y="107"/>
                  </a:lnTo>
                  <a:lnTo>
                    <a:pt x="181" y="105"/>
                  </a:lnTo>
                  <a:lnTo>
                    <a:pt x="183" y="100"/>
                  </a:lnTo>
                  <a:lnTo>
                    <a:pt x="185" y="94"/>
                  </a:lnTo>
                  <a:lnTo>
                    <a:pt x="187" y="86"/>
                  </a:lnTo>
                  <a:lnTo>
                    <a:pt x="187" y="79"/>
                  </a:lnTo>
                  <a:lnTo>
                    <a:pt x="189" y="73"/>
                  </a:lnTo>
                  <a:lnTo>
                    <a:pt x="192" y="67"/>
                  </a:lnTo>
                  <a:lnTo>
                    <a:pt x="198" y="63"/>
                  </a:lnTo>
                  <a:lnTo>
                    <a:pt x="204" y="61"/>
                  </a:lnTo>
                  <a:lnTo>
                    <a:pt x="210" y="61"/>
                  </a:lnTo>
                  <a:lnTo>
                    <a:pt x="215" y="60"/>
                  </a:lnTo>
                  <a:lnTo>
                    <a:pt x="221" y="60"/>
                  </a:lnTo>
                  <a:lnTo>
                    <a:pt x="225" y="60"/>
                  </a:lnTo>
                  <a:lnTo>
                    <a:pt x="231" y="58"/>
                  </a:lnTo>
                  <a:lnTo>
                    <a:pt x="234" y="54"/>
                  </a:lnTo>
                  <a:lnTo>
                    <a:pt x="240" y="50"/>
                  </a:lnTo>
                  <a:lnTo>
                    <a:pt x="234" y="44"/>
                  </a:lnTo>
                  <a:lnTo>
                    <a:pt x="229" y="44"/>
                  </a:lnTo>
                  <a:lnTo>
                    <a:pt x="223" y="42"/>
                  </a:lnTo>
                  <a:lnTo>
                    <a:pt x="215" y="44"/>
                  </a:lnTo>
                  <a:lnTo>
                    <a:pt x="208" y="44"/>
                  </a:lnTo>
                  <a:lnTo>
                    <a:pt x="200" y="44"/>
                  </a:lnTo>
                  <a:lnTo>
                    <a:pt x="190" y="42"/>
                  </a:lnTo>
                  <a:lnTo>
                    <a:pt x="179" y="40"/>
                  </a:lnTo>
                  <a:lnTo>
                    <a:pt x="175" y="39"/>
                  </a:lnTo>
                  <a:lnTo>
                    <a:pt x="171" y="35"/>
                  </a:lnTo>
                  <a:lnTo>
                    <a:pt x="168" y="31"/>
                  </a:lnTo>
                  <a:lnTo>
                    <a:pt x="164" y="25"/>
                  </a:lnTo>
                  <a:lnTo>
                    <a:pt x="160" y="19"/>
                  </a:lnTo>
                  <a:lnTo>
                    <a:pt x="158" y="14"/>
                  </a:lnTo>
                  <a:lnTo>
                    <a:pt x="156" y="6"/>
                  </a:lnTo>
                  <a:lnTo>
                    <a:pt x="154" y="0"/>
                  </a:lnTo>
                  <a:lnTo>
                    <a:pt x="152" y="0"/>
                  </a:lnTo>
                  <a:lnTo>
                    <a:pt x="149" y="0"/>
                  </a:lnTo>
                  <a:lnTo>
                    <a:pt x="147" y="0"/>
                  </a:lnTo>
                  <a:lnTo>
                    <a:pt x="145" y="0"/>
                  </a:lnTo>
                  <a:lnTo>
                    <a:pt x="141" y="0"/>
                  </a:lnTo>
                  <a:lnTo>
                    <a:pt x="139" y="4"/>
                  </a:lnTo>
                  <a:lnTo>
                    <a:pt x="137" y="8"/>
                  </a:lnTo>
                  <a:lnTo>
                    <a:pt x="137" y="12"/>
                  </a:lnTo>
                  <a:lnTo>
                    <a:pt x="133" y="16"/>
                  </a:lnTo>
                  <a:lnTo>
                    <a:pt x="131" y="19"/>
                  </a:lnTo>
                  <a:lnTo>
                    <a:pt x="128" y="21"/>
                  </a:lnTo>
                  <a:lnTo>
                    <a:pt x="124" y="21"/>
                  </a:lnTo>
                  <a:lnTo>
                    <a:pt x="120" y="21"/>
                  </a:lnTo>
                  <a:lnTo>
                    <a:pt x="118" y="19"/>
                  </a:lnTo>
                  <a:lnTo>
                    <a:pt x="114" y="18"/>
                  </a:lnTo>
                  <a:lnTo>
                    <a:pt x="112" y="16"/>
                  </a:lnTo>
                  <a:lnTo>
                    <a:pt x="110" y="16"/>
                  </a:lnTo>
                  <a:lnTo>
                    <a:pt x="110" y="18"/>
                  </a:lnTo>
                  <a:lnTo>
                    <a:pt x="108" y="19"/>
                  </a:lnTo>
                  <a:lnTo>
                    <a:pt x="107" y="21"/>
                  </a:lnTo>
                  <a:lnTo>
                    <a:pt x="105" y="23"/>
                  </a:lnTo>
                  <a:lnTo>
                    <a:pt x="103" y="25"/>
                  </a:lnTo>
                  <a:lnTo>
                    <a:pt x="101" y="25"/>
                  </a:lnTo>
                  <a:lnTo>
                    <a:pt x="97" y="27"/>
                  </a:lnTo>
                  <a:lnTo>
                    <a:pt x="93" y="25"/>
                  </a:lnTo>
                  <a:lnTo>
                    <a:pt x="91" y="23"/>
                  </a:lnTo>
                  <a:lnTo>
                    <a:pt x="89" y="23"/>
                  </a:lnTo>
                  <a:lnTo>
                    <a:pt x="86" y="21"/>
                  </a:lnTo>
                  <a:lnTo>
                    <a:pt x="82" y="23"/>
                  </a:lnTo>
                  <a:lnTo>
                    <a:pt x="80" y="23"/>
                  </a:lnTo>
                  <a:lnTo>
                    <a:pt x="78" y="25"/>
                  </a:lnTo>
                  <a:lnTo>
                    <a:pt x="74" y="27"/>
                  </a:lnTo>
                  <a:lnTo>
                    <a:pt x="72" y="29"/>
                  </a:lnTo>
                  <a:lnTo>
                    <a:pt x="72" y="33"/>
                  </a:lnTo>
                  <a:lnTo>
                    <a:pt x="68" y="33"/>
                  </a:lnTo>
                  <a:lnTo>
                    <a:pt x="66" y="33"/>
                  </a:lnTo>
                  <a:lnTo>
                    <a:pt x="65" y="33"/>
                  </a:lnTo>
                  <a:lnTo>
                    <a:pt x="63" y="35"/>
                  </a:lnTo>
                  <a:lnTo>
                    <a:pt x="61" y="35"/>
                  </a:lnTo>
                  <a:lnTo>
                    <a:pt x="61" y="33"/>
                  </a:lnTo>
                  <a:lnTo>
                    <a:pt x="57" y="35"/>
                  </a:lnTo>
                  <a:lnTo>
                    <a:pt x="53" y="37"/>
                  </a:lnTo>
                  <a:lnTo>
                    <a:pt x="47" y="39"/>
                  </a:lnTo>
                  <a:lnTo>
                    <a:pt x="40" y="40"/>
                  </a:lnTo>
                  <a:lnTo>
                    <a:pt x="34" y="44"/>
                  </a:lnTo>
                  <a:lnTo>
                    <a:pt x="28" y="46"/>
                  </a:lnTo>
                  <a:lnTo>
                    <a:pt x="23" y="48"/>
                  </a:lnTo>
                  <a:lnTo>
                    <a:pt x="21" y="52"/>
                  </a:lnTo>
                  <a:lnTo>
                    <a:pt x="21" y="56"/>
                  </a:lnTo>
                  <a:lnTo>
                    <a:pt x="21" y="58"/>
                  </a:lnTo>
                  <a:lnTo>
                    <a:pt x="19" y="61"/>
                  </a:lnTo>
                  <a:lnTo>
                    <a:pt x="19" y="65"/>
                  </a:lnTo>
                  <a:lnTo>
                    <a:pt x="19" y="69"/>
                  </a:lnTo>
                  <a:lnTo>
                    <a:pt x="17" y="71"/>
                  </a:lnTo>
                  <a:lnTo>
                    <a:pt x="15" y="75"/>
                  </a:lnTo>
                  <a:lnTo>
                    <a:pt x="13" y="77"/>
                  </a:lnTo>
                  <a:lnTo>
                    <a:pt x="11" y="79"/>
                  </a:lnTo>
                  <a:lnTo>
                    <a:pt x="9" y="81"/>
                  </a:lnTo>
                  <a:lnTo>
                    <a:pt x="7" y="81"/>
                  </a:lnTo>
                  <a:lnTo>
                    <a:pt x="5" y="82"/>
                  </a:lnTo>
                  <a:lnTo>
                    <a:pt x="4" y="86"/>
                  </a:lnTo>
                  <a:lnTo>
                    <a:pt x="4" y="88"/>
                  </a:lnTo>
                  <a:lnTo>
                    <a:pt x="2" y="92"/>
                  </a:lnTo>
                  <a:lnTo>
                    <a:pt x="2" y="96"/>
                  </a:lnTo>
                  <a:lnTo>
                    <a:pt x="2" y="102"/>
                  </a:lnTo>
                  <a:lnTo>
                    <a:pt x="4" y="105"/>
                  </a:lnTo>
                  <a:lnTo>
                    <a:pt x="5" y="107"/>
                  </a:lnTo>
                  <a:lnTo>
                    <a:pt x="9" y="111"/>
                  </a:lnTo>
                  <a:lnTo>
                    <a:pt x="11" y="113"/>
                  </a:lnTo>
                  <a:lnTo>
                    <a:pt x="13" y="117"/>
                  </a:lnTo>
                  <a:lnTo>
                    <a:pt x="15" y="123"/>
                  </a:lnTo>
                  <a:lnTo>
                    <a:pt x="15" y="128"/>
                  </a:lnTo>
                  <a:lnTo>
                    <a:pt x="15" y="136"/>
                  </a:lnTo>
                  <a:lnTo>
                    <a:pt x="13" y="143"/>
                  </a:lnTo>
                  <a:lnTo>
                    <a:pt x="9" y="151"/>
                  </a:lnTo>
                  <a:lnTo>
                    <a:pt x="7" y="157"/>
                  </a:lnTo>
                  <a:lnTo>
                    <a:pt x="4" y="163"/>
                  </a:lnTo>
                  <a:lnTo>
                    <a:pt x="2" y="168"/>
                  </a:lnTo>
                  <a:lnTo>
                    <a:pt x="0" y="176"/>
                  </a:lnTo>
                  <a:lnTo>
                    <a:pt x="0" y="185"/>
                  </a:lnTo>
                  <a:lnTo>
                    <a:pt x="0" y="187"/>
                  </a:lnTo>
                  <a:lnTo>
                    <a:pt x="0" y="191"/>
                  </a:lnTo>
                  <a:lnTo>
                    <a:pt x="0" y="195"/>
                  </a:lnTo>
                  <a:lnTo>
                    <a:pt x="0" y="199"/>
                  </a:lnTo>
                  <a:lnTo>
                    <a:pt x="0" y="203"/>
                  </a:lnTo>
                  <a:lnTo>
                    <a:pt x="0" y="206"/>
                  </a:lnTo>
                  <a:lnTo>
                    <a:pt x="2" y="208"/>
                  </a:lnTo>
                  <a:lnTo>
                    <a:pt x="2" y="210"/>
                  </a:lnTo>
                  <a:lnTo>
                    <a:pt x="5" y="212"/>
                  </a:lnTo>
                  <a:lnTo>
                    <a:pt x="9" y="212"/>
                  </a:lnTo>
                  <a:lnTo>
                    <a:pt x="13" y="212"/>
                  </a:lnTo>
                  <a:lnTo>
                    <a:pt x="15" y="216"/>
                  </a:lnTo>
                  <a:lnTo>
                    <a:pt x="13" y="220"/>
                  </a:lnTo>
                  <a:lnTo>
                    <a:pt x="13" y="222"/>
                  </a:lnTo>
                  <a:lnTo>
                    <a:pt x="13" y="226"/>
                  </a:lnTo>
                  <a:lnTo>
                    <a:pt x="11" y="227"/>
                  </a:lnTo>
                  <a:lnTo>
                    <a:pt x="9" y="229"/>
                  </a:lnTo>
                  <a:lnTo>
                    <a:pt x="9" y="231"/>
                  </a:lnTo>
                  <a:lnTo>
                    <a:pt x="9" y="235"/>
                  </a:lnTo>
                  <a:lnTo>
                    <a:pt x="7" y="239"/>
                  </a:lnTo>
                  <a:lnTo>
                    <a:pt x="9" y="239"/>
                  </a:lnTo>
                  <a:lnTo>
                    <a:pt x="9" y="241"/>
                  </a:lnTo>
                  <a:lnTo>
                    <a:pt x="11" y="243"/>
                  </a:lnTo>
                  <a:lnTo>
                    <a:pt x="13" y="243"/>
                  </a:lnTo>
                  <a:lnTo>
                    <a:pt x="17" y="239"/>
                  </a:lnTo>
                  <a:lnTo>
                    <a:pt x="19" y="235"/>
                  </a:lnTo>
                  <a:lnTo>
                    <a:pt x="23" y="231"/>
                  </a:lnTo>
                  <a:lnTo>
                    <a:pt x="26" y="226"/>
                  </a:lnTo>
                  <a:lnTo>
                    <a:pt x="30" y="222"/>
                  </a:lnTo>
                  <a:lnTo>
                    <a:pt x="34" y="220"/>
                  </a:lnTo>
                  <a:lnTo>
                    <a:pt x="38" y="218"/>
                  </a:lnTo>
                  <a:lnTo>
                    <a:pt x="44" y="216"/>
                  </a:lnTo>
                  <a:lnTo>
                    <a:pt x="49" y="218"/>
                  </a:lnTo>
                  <a:lnTo>
                    <a:pt x="53" y="220"/>
                  </a:lnTo>
                  <a:lnTo>
                    <a:pt x="59" y="222"/>
                  </a:lnTo>
                  <a:lnTo>
                    <a:pt x="65" y="226"/>
                  </a:lnTo>
                  <a:lnTo>
                    <a:pt x="70" y="229"/>
                  </a:lnTo>
                  <a:lnTo>
                    <a:pt x="76" y="231"/>
                  </a:lnTo>
                  <a:lnTo>
                    <a:pt x="80" y="233"/>
                  </a:lnTo>
                  <a:lnTo>
                    <a:pt x="84" y="235"/>
                  </a:lnTo>
                  <a:lnTo>
                    <a:pt x="86" y="235"/>
                  </a:lnTo>
                  <a:lnTo>
                    <a:pt x="87" y="233"/>
                  </a:lnTo>
                  <a:lnTo>
                    <a:pt x="89" y="231"/>
                  </a:lnTo>
                  <a:lnTo>
                    <a:pt x="91" y="229"/>
                  </a:lnTo>
                  <a:lnTo>
                    <a:pt x="93" y="227"/>
                  </a:lnTo>
                  <a:lnTo>
                    <a:pt x="97" y="226"/>
                  </a:lnTo>
                  <a:lnTo>
                    <a:pt x="99" y="224"/>
                  </a:lnTo>
                  <a:lnTo>
                    <a:pt x="105" y="224"/>
                  </a:lnTo>
                  <a:lnTo>
                    <a:pt x="107" y="224"/>
                  </a:lnTo>
                  <a:lnTo>
                    <a:pt x="108" y="224"/>
                  </a:lnTo>
                  <a:lnTo>
                    <a:pt x="110" y="226"/>
                  </a:lnTo>
                  <a:lnTo>
                    <a:pt x="112" y="226"/>
                  </a:lnTo>
                  <a:lnTo>
                    <a:pt x="114" y="227"/>
                  </a:lnTo>
                  <a:lnTo>
                    <a:pt x="118" y="227"/>
                  </a:lnTo>
                  <a:lnTo>
                    <a:pt x="120" y="227"/>
                  </a:lnTo>
                  <a:lnTo>
                    <a:pt x="122" y="229"/>
                  </a:lnTo>
                  <a:lnTo>
                    <a:pt x="122" y="231"/>
                  </a:lnTo>
                  <a:lnTo>
                    <a:pt x="126" y="233"/>
                  </a:lnTo>
                  <a:lnTo>
                    <a:pt x="128" y="235"/>
                  </a:lnTo>
                  <a:lnTo>
                    <a:pt x="131" y="237"/>
                  </a:lnTo>
                  <a:lnTo>
                    <a:pt x="135" y="233"/>
                  </a:lnTo>
                  <a:lnTo>
                    <a:pt x="137" y="229"/>
                  </a:lnTo>
                  <a:lnTo>
                    <a:pt x="141" y="226"/>
                  </a:lnTo>
                  <a:lnTo>
                    <a:pt x="147" y="222"/>
                  </a:lnTo>
                  <a:lnTo>
                    <a:pt x="149" y="218"/>
                  </a:lnTo>
                  <a:lnTo>
                    <a:pt x="152" y="212"/>
                  </a:lnTo>
                  <a:lnTo>
                    <a:pt x="156" y="206"/>
                  </a:lnTo>
                  <a:lnTo>
                    <a:pt x="156" y="201"/>
                  </a:lnTo>
                  <a:lnTo>
                    <a:pt x="110" y="201"/>
                  </a:lnTo>
                  <a:lnTo>
                    <a:pt x="112" y="197"/>
                  </a:lnTo>
                  <a:lnTo>
                    <a:pt x="116" y="193"/>
                  </a:lnTo>
                  <a:lnTo>
                    <a:pt x="120" y="189"/>
                  </a:lnTo>
                  <a:lnTo>
                    <a:pt x="126" y="187"/>
                  </a:lnTo>
                  <a:lnTo>
                    <a:pt x="129" y="184"/>
                  </a:lnTo>
                  <a:lnTo>
                    <a:pt x="135" y="182"/>
                  </a:lnTo>
                  <a:lnTo>
                    <a:pt x="139" y="178"/>
                  </a:lnTo>
                  <a:lnTo>
                    <a:pt x="143" y="172"/>
                  </a:lnTo>
                  <a:lnTo>
                    <a:pt x="145" y="168"/>
                  </a:lnTo>
                  <a:lnTo>
                    <a:pt x="147" y="164"/>
                  </a:lnTo>
                  <a:lnTo>
                    <a:pt x="149" y="161"/>
                  </a:lnTo>
                  <a:lnTo>
                    <a:pt x="150" y="157"/>
                  </a:lnTo>
                  <a:lnTo>
                    <a:pt x="152" y="153"/>
                  </a:lnTo>
                  <a:lnTo>
                    <a:pt x="156" y="147"/>
                  </a:lnTo>
                  <a:lnTo>
                    <a:pt x="158" y="143"/>
                  </a:lnTo>
                  <a:lnTo>
                    <a:pt x="160" y="140"/>
                  </a:lnTo>
                  <a:lnTo>
                    <a:pt x="162" y="136"/>
                  </a:lnTo>
                  <a:lnTo>
                    <a:pt x="164" y="132"/>
                  </a:lnTo>
                  <a:lnTo>
                    <a:pt x="166" y="128"/>
                  </a:lnTo>
                  <a:lnTo>
                    <a:pt x="169" y="123"/>
                  </a:lnTo>
                  <a:lnTo>
                    <a:pt x="171" y="119"/>
                  </a:lnTo>
                  <a:lnTo>
                    <a:pt x="175" y="115"/>
                  </a:lnTo>
                  <a:lnTo>
                    <a:pt x="177" y="109"/>
                  </a:lnTo>
                  <a:lnTo>
                    <a:pt x="179" y="105"/>
                  </a:lnTo>
                  <a:lnTo>
                    <a:pt x="185" y="111"/>
                  </a:lnTo>
                  <a:close/>
                </a:path>
              </a:pathLst>
            </a:custGeom>
            <a:no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322" name="Rectangle 66"/>
            <p:cNvSpPr>
              <a:spLocks noChangeArrowheads="1"/>
            </p:cNvSpPr>
            <p:nvPr/>
          </p:nvSpPr>
          <p:spPr bwMode="gray">
            <a:xfrm>
              <a:off x="2268" y="1144"/>
              <a:ext cx="13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23" name="Rectangle 67"/>
            <p:cNvSpPr>
              <a:spLocks noChangeArrowheads="1"/>
            </p:cNvSpPr>
            <p:nvPr/>
          </p:nvSpPr>
          <p:spPr bwMode="gray">
            <a:xfrm>
              <a:off x="1620" y="1088"/>
              <a:ext cx="17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24" name="Rectangle 68"/>
            <p:cNvSpPr>
              <a:spLocks noChangeArrowheads="1"/>
            </p:cNvSpPr>
            <p:nvPr/>
          </p:nvSpPr>
          <p:spPr bwMode="gray">
            <a:xfrm>
              <a:off x="1324" y="876"/>
              <a:ext cx="21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25" name="Rectangle 69"/>
            <p:cNvSpPr>
              <a:spLocks noChangeArrowheads="1"/>
            </p:cNvSpPr>
            <p:nvPr/>
          </p:nvSpPr>
          <p:spPr bwMode="gray">
            <a:xfrm>
              <a:off x="988" y="1432"/>
              <a:ext cx="26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26" name="Rectangle 70"/>
            <p:cNvSpPr>
              <a:spLocks noChangeArrowheads="1"/>
            </p:cNvSpPr>
            <p:nvPr/>
          </p:nvSpPr>
          <p:spPr bwMode="gray">
            <a:xfrm>
              <a:off x="2748" y="1166"/>
              <a:ext cx="14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27" name="Rectangle 71"/>
            <p:cNvSpPr>
              <a:spLocks noChangeArrowheads="1"/>
            </p:cNvSpPr>
            <p:nvPr/>
          </p:nvSpPr>
          <p:spPr bwMode="gray">
            <a:xfrm>
              <a:off x="2332" y="1632"/>
              <a:ext cx="13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28" name="Rectangle 72"/>
            <p:cNvSpPr>
              <a:spLocks noChangeArrowheads="1"/>
            </p:cNvSpPr>
            <p:nvPr/>
          </p:nvSpPr>
          <p:spPr bwMode="gray">
            <a:xfrm>
              <a:off x="1948" y="1544"/>
              <a:ext cx="13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29" name="Rectangle 73"/>
            <p:cNvSpPr>
              <a:spLocks noChangeArrowheads="1"/>
            </p:cNvSpPr>
            <p:nvPr/>
          </p:nvSpPr>
          <p:spPr bwMode="gray">
            <a:xfrm>
              <a:off x="2852" y="1520"/>
              <a:ext cx="18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0" name="Rectangle 74"/>
            <p:cNvSpPr>
              <a:spLocks noChangeArrowheads="1"/>
            </p:cNvSpPr>
            <p:nvPr/>
          </p:nvSpPr>
          <p:spPr bwMode="gray">
            <a:xfrm>
              <a:off x="2664" y="1804"/>
              <a:ext cx="372" cy="134"/>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1" name="Rectangle 75"/>
            <p:cNvSpPr>
              <a:spLocks noChangeArrowheads="1"/>
            </p:cNvSpPr>
            <p:nvPr/>
          </p:nvSpPr>
          <p:spPr bwMode="gray">
            <a:xfrm>
              <a:off x="1852" y="1880"/>
              <a:ext cx="17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2" name="Rectangle 76"/>
            <p:cNvSpPr>
              <a:spLocks noChangeArrowheads="1"/>
            </p:cNvSpPr>
            <p:nvPr/>
          </p:nvSpPr>
          <p:spPr bwMode="gray">
            <a:xfrm>
              <a:off x="1484" y="1512"/>
              <a:ext cx="10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3" name="Rectangle 77"/>
            <p:cNvSpPr>
              <a:spLocks noChangeArrowheads="1"/>
            </p:cNvSpPr>
            <p:nvPr/>
          </p:nvSpPr>
          <p:spPr bwMode="gray">
            <a:xfrm>
              <a:off x="1956" y="2112"/>
              <a:ext cx="26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4" name="Rectangle 78"/>
            <p:cNvSpPr>
              <a:spLocks noChangeArrowheads="1"/>
            </p:cNvSpPr>
            <p:nvPr/>
          </p:nvSpPr>
          <p:spPr bwMode="gray">
            <a:xfrm>
              <a:off x="3220" y="1936"/>
              <a:ext cx="23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5" name="Rectangle 79"/>
            <p:cNvSpPr>
              <a:spLocks noChangeArrowheads="1"/>
            </p:cNvSpPr>
            <p:nvPr/>
          </p:nvSpPr>
          <p:spPr bwMode="gray">
            <a:xfrm>
              <a:off x="3572" y="1880"/>
              <a:ext cx="22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6" name="Rectangle 80"/>
            <p:cNvSpPr>
              <a:spLocks noChangeArrowheads="1"/>
            </p:cNvSpPr>
            <p:nvPr/>
          </p:nvSpPr>
          <p:spPr bwMode="gray">
            <a:xfrm>
              <a:off x="956" y="1832"/>
              <a:ext cx="20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7" name="Rectangle 81"/>
            <p:cNvSpPr>
              <a:spLocks noChangeArrowheads="1"/>
            </p:cNvSpPr>
            <p:nvPr/>
          </p:nvSpPr>
          <p:spPr bwMode="gray">
            <a:xfrm>
              <a:off x="2572" y="2264"/>
              <a:ext cx="12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8" name="Rectangle 82"/>
            <p:cNvSpPr>
              <a:spLocks noChangeArrowheads="1"/>
            </p:cNvSpPr>
            <p:nvPr/>
          </p:nvSpPr>
          <p:spPr bwMode="gray">
            <a:xfrm>
              <a:off x="2940" y="2204"/>
              <a:ext cx="20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39" name="Rectangle 83"/>
            <p:cNvSpPr>
              <a:spLocks noChangeArrowheads="1"/>
            </p:cNvSpPr>
            <p:nvPr/>
          </p:nvSpPr>
          <p:spPr bwMode="gray">
            <a:xfrm>
              <a:off x="1980" y="2352"/>
              <a:ext cx="16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0" name="Rectangle 84"/>
            <p:cNvSpPr>
              <a:spLocks noChangeArrowheads="1"/>
            </p:cNvSpPr>
            <p:nvPr/>
          </p:nvSpPr>
          <p:spPr bwMode="gray">
            <a:xfrm>
              <a:off x="3184" y="2292"/>
              <a:ext cx="160"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1" name="Rectangle 85"/>
            <p:cNvSpPr>
              <a:spLocks noChangeArrowheads="1"/>
            </p:cNvSpPr>
            <p:nvPr/>
          </p:nvSpPr>
          <p:spPr bwMode="gray">
            <a:xfrm>
              <a:off x="2100" y="2472"/>
              <a:ext cx="180"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2" name="Rectangle 86"/>
            <p:cNvSpPr>
              <a:spLocks noChangeArrowheads="1"/>
            </p:cNvSpPr>
            <p:nvPr/>
          </p:nvSpPr>
          <p:spPr bwMode="gray">
            <a:xfrm>
              <a:off x="2596" y="2400"/>
              <a:ext cx="20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3" name="Rectangle 87"/>
            <p:cNvSpPr>
              <a:spLocks noChangeArrowheads="1"/>
            </p:cNvSpPr>
            <p:nvPr/>
          </p:nvSpPr>
          <p:spPr bwMode="gray">
            <a:xfrm>
              <a:off x="3020" y="2600"/>
              <a:ext cx="232"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4" name="Rectangle 88"/>
            <p:cNvSpPr>
              <a:spLocks noChangeArrowheads="1"/>
            </p:cNvSpPr>
            <p:nvPr/>
          </p:nvSpPr>
          <p:spPr bwMode="gray">
            <a:xfrm>
              <a:off x="2236" y="2840"/>
              <a:ext cx="17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5" name="Rectangle 89"/>
            <p:cNvSpPr>
              <a:spLocks noChangeArrowheads="1"/>
            </p:cNvSpPr>
            <p:nvPr/>
          </p:nvSpPr>
          <p:spPr bwMode="gray">
            <a:xfrm>
              <a:off x="2604" y="2960"/>
              <a:ext cx="22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6" name="Rectangle 90"/>
            <p:cNvSpPr>
              <a:spLocks noChangeArrowheads="1"/>
            </p:cNvSpPr>
            <p:nvPr/>
          </p:nvSpPr>
          <p:spPr bwMode="gray">
            <a:xfrm>
              <a:off x="2596" y="2480"/>
              <a:ext cx="192"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7" name="Rectangle 91"/>
            <p:cNvSpPr>
              <a:spLocks noChangeArrowheads="1"/>
            </p:cNvSpPr>
            <p:nvPr/>
          </p:nvSpPr>
          <p:spPr bwMode="gray">
            <a:xfrm>
              <a:off x="2516" y="3280"/>
              <a:ext cx="24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8" name="Rectangle 92"/>
            <p:cNvSpPr>
              <a:spLocks noChangeArrowheads="1"/>
            </p:cNvSpPr>
            <p:nvPr/>
          </p:nvSpPr>
          <p:spPr bwMode="gray">
            <a:xfrm>
              <a:off x="2748" y="3152"/>
              <a:ext cx="280"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49" name="Rectangle 93"/>
            <p:cNvSpPr>
              <a:spLocks noChangeArrowheads="1"/>
            </p:cNvSpPr>
            <p:nvPr/>
          </p:nvSpPr>
          <p:spPr bwMode="gray">
            <a:xfrm>
              <a:off x="2220" y="3208"/>
              <a:ext cx="20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350" name="Rectangle 94"/>
            <p:cNvSpPr>
              <a:spLocks noChangeArrowheads="1"/>
            </p:cNvSpPr>
            <p:nvPr/>
          </p:nvSpPr>
          <p:spPr bwMode="gray">
            <a:xfrm>
              <a:off x="2472" y="3539"/>
              <a:ext cx="36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grpSp>
          <p:nvGrpSpPr>
            <p:cNvPr id="4" name="Group 95"/>
            <p:cNvGrpSpPr>
              <a:grpSpLocks/>
            </p:cNvGrpSpPr>
            <p:nvPr/>
          </p:nvGrpSpPr>
          <p:grpSpPr bwMode="auto">
            <a:xfrm>
              <a:off x="266" y="1621"/>
              <a:ext cx="278" cy="294"/>
              <a:chOff x="1944" y="2777"/>
              <a:chExt cx="975" cy="1033"/>
            </a:xfrm>
          </p:grpSpPr>
          <p:sp>
            <p:nvSpPr>
              <p:cNvPr id="608352" name="Freeform 96"/>
              <p:cNvSpPr>
                <a:spLocks/>
              </p:cNvSpPr>
              <p:nvPr/>
            </p:nvSpPr>
            <p:spPr bwMode="auto">
              <a:xfrm>
                <a:off x="2129" y="2990"/>
                <a:ext cx="52" cy="63"/>
              </a:xfrm>
              <a:custGeom>
                <a:avLst/>
                <a:gdLst/>
                <a:ahLst/>
                <a:cxnLst>
                  <a:cxn ang="0">
                    <a:pos x="7" y="0"/>
                  </a:cxn>
                  <a:cxn ang="0">
                    <a:pos x="18" y="16"/>
                  </a:cxn>
                  <a:cxn ang="0">
                    <a:pos x="33" y="28"/>
                  </a:cxn>
                  <a:cxn ang="0">
                    <a:pos x="33" y="45"/>
                  </a:cxn>
                  <a:cxn ang="0">
                    <a:pos x="52" y="63"/>
                  </a:cxn>
                  <a:cxn ang="0">
                    <a:pos x="27" y="48"/>
                  </a:cxn>
                  <a:cxn ang="0">
                    <a:pos x="27" y="33"/>
                  </a:cxn>
                  <a:cxn ang="0">
                    <a:pos x="13" y="19"/>
                  </a:cxn>
                  <a:cxn ang="0">
                    <a:pos x="0" y="9"/>
                  </a:cxn>
                  <a:cxn ang="0">
                    <a:pos x="7" y="0"/>
                  </a:cxn>
                </a:cxnLst>
                <a:rect l="0" t="0" r="r" b="b"/>
                <a:pathLst>
                  <a:path w="52" h="63">
                    <a:moveTo>
                      <a:pt x="7" y="0"/>
                    </a:moveTo>
                    <a:lnTo>
                      <a:pt x="18" y="16"/>
                    </a:lnTo>
                    <a:lnTo>
                      <a:pt x="33" y="28"/>
                    </a:lnTo>
                    <a:lnTo>
                      <a:pt x="33" y="45"/>
                    </a:lnTo>
                    <a:lnTo>
                      <a:pt x="52" y="63"/>
                    </a:lnTo>
                    <a:lnTo>
                      <a:pt x="27" y="48"/>
                    </a:lnTo>
                    <a:lnTo>
                      <a:pt x="27" y="33"/>
                    </a:lnTo>
                    <a:lnTo>
                      <a:pt x="13" y="19"/>
                    </a:lnTo>
                    <a:lnTo>
                      <a:pt x="0" y="9"/>
                    </a:lnTo>
                    <a:lnTo>
                      <a:pt x="7" y="0"/>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grpSp>
            <p:nvGrpSpPr>
              <p:cNvPr id="5" name="Group 97"/>
              <p:cNvGrpSpPr>
                <a:grpSpLocks/>
              </p:cNvGrpSpPr>
              <p:nvPr/>
            </p:nvGrpSpPr>
            <p:grpSpPr bwMode="auto">
              <a:xfrm>
                <a:off x="1944" y="2777"/>
                <a:ext cx="975" cy="1033"/>
                <a:chOff x="1944" y="2777"/>
                <a:chExt cx="975" cy="1033"/>
              </a:xfrm>
            </p:grpSpPr>
            <p:sp>
              <p:nvSpPr>
                <p:cNvPr id="608354" name="Freeform 98"/>
                <p:cNvSpPr>
                  <a:spLocks/>
                </p:cNvSpPr>
                <p:nvPr/>
              </p:nvSpPr>
              <p:spPr bwMode="auto">
                <a:xfrm>
                  <a:off x="1944" y="2777"/>
                  <a:ext cx="168" cy="174"/>
                </a:xfrm>
                <a:custGeom>
                  <a:avLst/>
                  <a:gdLst/>
                  <a:ahLst/>
                  <a:cxnLst>
                    <a:cxn ang="0">
                      <a:pos x="33" y="162"/>
                    </a:cxn>
                    <a:cxn ang="0">
                      <a:pos x="33" y="150"/>
                    </a:cxn>
                    <a:cxn ang="0">
                      <a:pos x="23" y="139"/>
                    </a:cxn>
                    <a:cxn ang="0">
                      <a:pos x="26" y="117"/>
                    </a:cxn>
                    <a:cxn ang="0">
                      <a:pos x="0" y="108"/>
                    </a:cxn>
                    <a:cxn ang="0">
                      <a:pos x="21" y="88"/>
                    </a:cxn>
                    <a:cxn ang="0">
                      <a:pos x="68" y="36"/>
                    </a:cxn>
                    <a:cxn ang="0">
                      <a:pos x="86" y="30"/>
                    </a:cxn>
                    <a:cxn ang="0">
                      <a:pos x="102" y="0"/>
                    </a:cxn>
                    <a:cxn ang="0">
                      <a:pos x="110" y="25"/>
                    </a:cxn>
                    <a:cxn ang="0">
                      <a:pos x="119" y="30"/>
                    </a:cxn>
                    <a:cxn ang="0">
                      <a:pos x="119" y="43"/>
                    </a:cxn>
                    <a:cxn ang="0">
                      <a:pos x="156" y="72"/>
                    </a:cxn>
                    <a:cxn ang="0">
                      <a:pos x="168" y="84"/>
                    </a:cxn>
                    <a:cxn ang="0">
                      <a:pos x="134" y="100"/>
                    </a:cxn>
                    <a:cxn ang="0">
                      <a:pos x="123" y="115"/>
                    </a:cxn>
                    <a:cxn ang="0">
                      <a:pos x="114" y="129"/>
                    </a:cxn>
                    <a:cxn ang="0">
                      <a:pos x="108" y="147"/>
                    </a:cxn>
                    <a:cxn ang="0">
                      <a:pos x="83" y="154"/>
                    </a:cxn>
                    <a:cxn ang="0">
                      <a:pos x="78" y="174"/>
                    </a:cxn>
                    <a:cxn ang="0">
                      <a:pos x="33" y="162"/>
                    </a:cxn>
                  </a:cxnLst>
                  <a:rect l="0" t="0" r="r" b="b"/>
                  <a:pathLst>
                    <a:path w="168" h="174">
                      <a:moveTo>
                        <a:pt x="33" y="162"/>
                      </a:moveTo>
                      <a:lnTo>
                        <a:pt x="33" y="150"/>
                      </a:lnTo>
                      <a:lnTo>
                        <a:pt x="23" y="139"/>
                      </a:lnTo>
                      <a:lnTo>
                        <a:pt x="26" y="117"/>
                      </a:lnTo>
                      <a:lnTo>
                        <a:pt x="0" y="108"/>
                      </a:lnTo>
                      <a:lnTo>
                        <a:pt x="21" y="88"/>
                      </a:lnTo>
                      <a:lnTo>
                        <a:pt x="68" y="36"/>
                      </a:lnTo>
                      <a:lnTo>
                        <a:pt x="86" y="30"/>
                      </a:lnTo>
                      <a:lnTo>
                        <a:pt x="102" y="0"/>
                      </a:lnTo>
                      <a:lnTo>
                        <a:pt x="110" y="25"/>
                      </a:lnTo>
                      <a:lnTo>
                        <a:pt x="119" y="30"/>
                      </a:lnTo>
                      <a:lnTo>
                        <a:pt x="119" y="43"/>
                      </a:lnTo>
                      <a:lnTo>
                        <a:pt x="156" y="72"/>
                      </a:lnTo>
                      <a:lnTo>
                        <a:pt x="168" y="84"/>
                      </a:lnTo>
                      <a:lnTo>
                        <a:pt x="134" y="100"/>
                      </a:lnTo>
                      <a:lnTo>
                        <a:pt x="123" y="115"/>
                      </a:lnTo>
                      <a:lnTo>
                        <a:pt x="114" y="129"/>
                      </a:lnTo>
                      <a:lnTo>
                        <a:pt x="108" y="147"/>
                      </a:lnTo>
                      <a:lnTo>
                        <a:pt x="83" y="154"/>
                      </a:lnTo>
                      <a:lnTo>
                        <a:pt x="78" y="174"/>
                      </a:lnTo>
                      <a:lnTo>
                        <a:pt x="33" y="162"/>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355" name="Freeform 99"/>
                <p:cNvSpPr>
                  <a:spLocks/>
                </p:cNvSpPr>
                <p:nvPr/>
              </p:nvSpPr>
              <p:spPr bwMode="auto">
                <a:xfrm>
                  <a:off x="2049" y="2951"/>
                  <a:ext cx="87" cy="57"/>
                </a:xfrm>
                <a:custGeom>
                  <a:avLst/>
                  <a:gdLst/>
                  <a:ahLst/>
                  <a:cxnLst>
                    <a:cxn ang="0">
                      <a:pos x="0" y="39"/>
                    </a:cxn>
                    <a:cxn ang="0">
                      <a:pos x="6" y="25"/>
                    </a:cxn>
                    <a:cxn ang="0">
                      <a:pos x="20" y="25"/>
                    </a:cxn>
                    <a:cxn ang="0">
                      <a:pos x="29" y="10"/>
                    </a:cxn>
                    <a:cxn ang="0">
                      <a:pos x="45" y="0"/>
                    </a:cxn>
                    <a:cxn ang="0">
                      <a:pos x="65" y="24"/>
                    </a:cxn>
                    <a:cxn ang="0">
                      <a:pos x="87" y="34"/>
                    </a:cxn>
                    <a:cxn ang="0">
                      <a:pos x="68" y="45"/>
                    </a:cxn>
                    <a:cxn ang="0">
                      <a:pos x="59" y="57"/>
                    </a:cxn>
                    <a:cxn ang="0">
                      <a:pos x="33" y="57"/>
                    </a:cxn>
                    <a:cxn ang="0">
                      <a:pos x="14" y="57"/>
                    </a:cxn>
                    <a:cxn ang="0">
                      <a:pos x="0" y="39"/>
                    </a:cxn>
                  </a:cxnLst>
                  <a:rect l="0" t="0" r="r" b="b"/>
                  <a:pathLst>
                    <a:path w="87" h="57">
                      <a:moveTo>
                        <a:pt x="0" y="39"/>
                      </a:moveTo>
                      <a:lnTo>
                        <a:pt x="6" y="25"/>
                      </a:lnTo>
                      <a:lnTo>
                        <a:pt x="20" y="25"/>
                      </a:lnTo>
                      <a:lnTo>
                        <a:pt x="29" y="10"/>
                      </a:lnTo>
                      <a:lnTo>
                        <a:pt x="45" y="0"/>
                      </a:lnTo>
                      <a:lnTo>
                        <a:pt x="65" y="24"/>
                      </a:lnTo>
                      <a:lnTo>
                        <a:pt x="87" y="34"/>
                      </a:lnTo>
                      <a:lnTo>
                        <a:pt x="68" y="45"/>
                      </a:lnTo>
                      <a:lnTo>
                        <a:pt x="59" y="57"/>
                      </a:lnTo>
                      <a:lnTo>
                        <a:pt x="33" y="57"/>
                      </a:lnTo>
                      <a:lnTo>
                        <a:pt x="14" y="57"/>
                      </a:lnTo>
                      <a:lnTo>
                        <a:pt x="0" y="39"/>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356" name="Freeform 100"/>
                <p:cNvSpPr>
                  <a:spLocks/>
                </p:cNvSpPr>
                <p:nvPr/>
              </p:nvSpPr>
              <p:spPr bwMode="auto">
                <a:xfrm>
                  <a:off x="2190" y="3018"/>
                  <a:ext cx="167" cy="81"/>
                </a:xfrm>
                <a:custGeom>
                  <a:avLst/>
                  <a:gdLst/>
                  <a:ahLst/>
                  <a:cxnLst>
                    <a:cxn ang="0">
                      <a:pos x="0" y="23"/>
                    </a:cxn>
                    <a:cxn ang="0">
                      <a:pos x="30" y="0"/>
                    </a:cxn>
                    <a:cxn ang="0">
                      <a:pos x="48" y="12"/>
                    </a:cxn>
                    <a:cxn ang="0">
                      <a:pos x="72" y="27"/>
                    </a:cxn>
                    <a:cxn ang="0">
                      <a:pos x="78" y="50"/>
                    </a:cxn>
                    <a:cxn ang="0">
                      <a:pos x="138" y="50"/>
                    </a:cxn>
                    <a:cxn ang="0">
                      <a:pos x="167" y="56"/>
                    </a:cxn>
                    <a:cxn ang="0">
                      <a:pos x="150" y="66"/>
                    </a:cxn>
                    <a:cxn ang="0">
                      <a:pos x="101" y="60"/>
                    </a:cxn>
                    <a:cxn ang="0">
                      <a:pos x="92" y="66"/>
                    </a:cxn>
                    <a:cxn ang="0">
                      <a:pos x="71" y="57"/>
                    </a:cxn>
                    <a:cxn ang="0">
                      <a:pos x="47" y="81"/>
                    </a:cxn>
                    <a:cxn ang="0">
                      <a:pos x="45" y="47"/>
                    </a:cxn>
                    <a:cxn ang="0">
                      <a:pos x="29" y="47"/>
                    </a:cxn>
                    <a:cxn ang="0">
                      <a:pos x="15" y="48"/>
                    </a:cxn>
                    <a:cxn ang="0">
                      <a:pos x="0" y="23"/>
                    </a:cxn>
                  </a:cxnLst>
                  <a:rect l="0" t="0" r="r" b="b"/>
                  <a:pathLst>
                    <a:path w="167" h="81">
                      <a:moveTo>
                        <a:pt x="0" y="23"/>
                      </a:moveTo>
                      <a:lnTo>
                        <a:pt x="30" y="0"/>
                      </a:lnTo>
                      <a:lnTo>
                        <a:pt x="48" y="12"/>
                      </a:lnTo>
                      <a:lnTo>
                        <a:pt x="72" y="27"/>
                      </a:lnTo>
                      <a:lnTo>
                        <a:pt x="78" y="50"/>
                      </a:lnTo>
                      <a:lnTo>
                        <a:pt x="138" y="50"/>
                      </a:lnTo>
                      <a:lnTo>
                        <a:pt x="167" y="56"/>
                      </a:lnTo>
                      <a:lnTo>
                        <a:pt x="150" y="66"/>
                      </a:lnTo>
                      <a:lnTo>
                        <a:pt x="101" y="60"/>
                      </a:lnTo>
                      <a:lnTo>
                        <a:pt x="92" y="66"/>
                      </a:lnTo>
                      <a:lnTo>
                        <a:pt x="71" y="57"/>
                      </a:lnTo>
                      <a:lnTo>
                        <a:pt x="47" y="81"/>
                      </a:lnTo>
                      <a:lnTo>
                        <a:pt x="45" y="47"/>
                      </a:lnTo>
                      <a:lnTo>
                        <a:pt x="29" y="47"/>
                      </a:lnTo>
                      <a:lnTo>
                        <a:pt x="15" y="48"/>
                      </a:lnTo>
                      <a:lnTo>
                        <a:pt x="0" y="23"/>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357" name="Freeform 101"/>
                <p:cNvSpPr>
                  <a:spLocks/>
                </p:cNvSpPr>
                <p:nvPr/>
              </p:nvSpPr>
              <p:spPr bwMode="auto">
                <a:xfrm>
                  <a:off x="2796" y="2912"/>
                  <a:ext cx="45" cy="124"/>
                </a:xfrm>
                <a:custGeom>
                  <a:avLst/>
                  <a:gdLst/>
                  <a:ahLst/>
                  <a:cxnLst>
                    <a:cxn ang="0">
                      <a:pos x="42" y="124"/>
                    </a:cxn>
                    <a:cxn ang="0">
                      <a:pos x="17" y="94"/>
                    </a:cxn>
                    <a:cxn ang="0">
                      <a:pos x="3" y="61"/>
                    </a:cxn>
                    <a:cxn ang="0">
                      <a:pos x="0" y="31"/>
                    </a:cxn>
                    <a:cxn ang="0">
                      <a:pos x="3" y="4"/>
                    </a:cxn>
                    <a:cxn ang="0">
                      <a:pos x="29" y="0"/>
                    </a:cxn>
                    <a:cxn ang="0">
                      <a:pos x="35" y="22"/>
                    </a:cxn>
                    <a:cxn ang="0">
                      <a:pos x="45" y="49"/>
                    </a:cxn>
                    <a:cxn ang="0">
                      <a:pos x="38" y="73"/>
                    </a:cxn>
                    <a:cxn ang="0">
                      <a:pos x="42" y="124"/>
                    </a:cxn>
                  </a:cxnLst>
                  <a:rect l="0" t="0" r="r" b="b"/>
                  <a:pathLst>
                    <a:path w="45" h="124">
                      <a:moveTo>
                        <a:pt x="42" y="124"/>
                      </a:moveTo>
                      <a:lnTo>
                        <a:pt x="17" y="94"/>
                      </a:lnTo>
                      <a:lnTo>
                        <a:pt x="3" y="61"/>
                      </a:lnTo>
                      <a:lnTo>
                        <a:pt x="0" y="31"/>
                      </a:lnTo>
                      <a:lnTo>
                        <a:pt x="3" y="4"/>
                      </a:lnTo>
                      <a:lnTo>
                        <a:pt x="29" y="0"/>
                      </a:lnTo>
                      <a:lnTo>
                        <a:pt x="35" y="22"/>
                      </a:lnTo>
                      <a:lnTo>
                        <a:pt x="45" y="49"/>
                      </a:lnTo>
                      <a:lnTo>
                        <a:pt x="38" y="73"/>
                      </a:lnTo>
                      <a:lnTo>
                        <a:pt x="42" y="124"/>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358" name="Freeform 102"/>
                <p:cNvSpPr>
                  <a:spLocks/>
                </p:cNvSpPr>
                <p:nvPr/>
              </p:nvSpPr>
              <p:spPr bwMode="auto">
                <a:xfrm>
                  <a:off x="2783" y="3167"/>
                  <a:ext cx="136" cy="169"/>
                </a:xfrm>
                <a:custGeom>
                  <a:avLst/>
                  <a:gdLst/>
                  <a:ahLst/>
                  <a:cxnLst>
                    <a:cxn ang="0">
                      <a:pos x="0" y="132"/>
                    </a:cxn>
                    <a:cxn ang="0">
                      <a:pos x="10" y="97"/>
                    </a:cxn>
                    <a:cxn ang="0">
                      <a:pos x="18" y="88"/>
                    </a:cxn>
                    <a:cxn ang="0">
                      <a:pos x="18" y="58"/>
                    </a:cxn>
                    <a:cxn ang="0">
                      <a:pos x="16" y="19"/>
                    </a:cxn>
                    <a:cxn ang="0">
                      <a:pos x="24" y="9"/>
                    </a:cxn>
                    <a:cxn ang="0">
                      <a:pos x="36" y="18"/>
                    </a:cxn>
                    <a:cxn ang="0">
                      <a:pos x="63" y="0"/>
                    </a:cxn>
                    <a:cxn ang="0">
                      <a:pos x="96" y="7"/>
                    </a:cxn>
                    <a:cxn ang="0">
                      <a:pos x="87" y="30"/>
                    </a:cxn>
                    <a:cxn ang="0">
                      <a:pos x="124" y="61"/>
                    </a:cxn>
                    <a:cxn ang="0">
                      <a:pos x="136" y="75"/>
                    </a:cxn>
                    <a:cxn ang="0">
                      <a:pos x="117" y="94"/>
                    </a:cxn>
                    <a:cxn ang="0">
                      <a:pos x="117" y="105"/>
                    </a:cxn>
                    <a:cxn ang="0">
                      <a:pos x="96" y="129"/>
                    </a:cxn>
                    <a:cxn ang="0">
                      <a:pos x="97" y="153"/>
                    </a:cxn>
                    <a:cxn ang="0">
                      <a:pos x="73" y="169"/>
                    </a:cxn>
                    <a:cxn ang="0">
                      <a:pos x="34" y="156"/>
                    </a:cxn>
                    <a:cxn ang="0">
                      <a:pos x="0" y="132"/>
                    </a:cxn>
                  </a:cxnLst>
                  <a:rect l="0" t="0" r="r" b="b"/>
                  <a:pathLst>
                    <a:path w="136" h="169">
                      <a:moveTo>
                        <a:pt x="0" y="132"/>
                      </a:moveTo>
                      <a:lnTo>
                        <a:pt x="10" y="97"/>
                      </a:lnTo>
                      <a:lnTo>
                        <a:pt x="18" y="88"/>
                      </a:lnTo>
                      <a:lnTo>
                        <a:pt x="18" y="58"/>
                      </a:lnTo>
                      <a:lnTo>
                        <a:pt x="16" y="19"/>
                      </a:lnTo>
                      <a:lnTo>
                        <a:pt x="24" y="9"/>
                      </a:lnTo>
                      <a:lnTo>
                        <a:pt x="36" y="18"/>
                      </a:lnTo>
                      <a:lnTo>
                        <a:pt x="63" y="0"/>
                      </a:lnTo>
                      <a:lnTo>
                        <a:pt x="96" y="7"/>
                      </a:lnTo>
                      <a:lnTo>
                        <a:pt x="87" y="30"/>
                      </a:lnTo>
                      <a:lnTo>
                        <a:pt x="124" y="61"/>
                      </a:lnTo>
                      <a:lnTo>
                        <a:pt x="136" y="75"/>
                      </a:lnTo>
                      <a:lnTo>
                        <a:pt x="117" y="94"/>
                      </a:lnTo>
                      <a:lnTo>
                        <a:pt x="117" y="105"/>
                      </a:lnTo>
                      <a:lnTo>
                        <a:pt x="96" y="129"/>
                      </a:lnTo>
                      <a:lnTo>
                        <a:pt x="97" y="153"/>
                      </a:lnTo>
                      <a:lnTo>
                        <a:pt x="73" y="169"/>
                      </a:lnTo>
                      <a:lnTo>
                        <a:pt x="34" y="156"/>
                      </a:lnTo>
                      <a:lnTo>
                        <a:pt x="0" y="132"/>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359" name="Freeform 103"/>
                <p:cNvSpPr>
                  <a:spLocks/>
                </p:cNvSpPr>
                <p:nvPr/>
              </p:nvSpPr>
              <p:spPr bwMode="auto">
                <a:xfrm>
                  <a:off x="2183" y="3699"/>
                  <a:ext cx="82" cy="111"/>
                </a:xfrm>
                <a:custGeom>
                  <a:avLst/>
                  <a:gdLst/>
                  <a:ahLst/>
                  <a:cxnLst>
                    <a:cxn ang="0">
                      <a:pos x="0" y="72"/>
                    </a:cxn>
                    <a:cxn ang="0">
                      <a:pos x="7" y="47"/>
                    </a:cxn>
                    <a:cxn ang="0">
                      <a:pos x="7" y="18"/>
                    </a:cxn>
                    <a:cxn ang="0">
                      <a:pos x="31" y="0"/>
                    </a:cxn>
                    <a:cxn ang="0">
                      <a:pos x="64" y="0"/>
                    </a:cxn>
                    <a:cxn ang="0">
                      <a:pos x="76" y="8"/>
                    </a:cxn>
                    <a:cxn ang="0">
                      <a:pos x="76" y="42"/>
                    </a:cxn>
                    <a:cxn ang="0">
                      <a:pos x="82" y="62"/>
                    </a:cxn>
                    <a:cxn ang="0">
                      <a:pos x="78" y="93"/>
                    </a:cxn>
                    <a:cxn ang="0">
                      <a:pos x="48" y="111"/>
                    </a:cxn>
                    <a:cxn ang="0">
                      <a:pos x="0" y="72"/>
                    </a:cxn>
                  </a:cxnLst>
                  <a:rect l="0" t="0" r="r" b="b"/>
                  <a:pathLst>
                    <a:path w="82" h="111">
                      <a:moveTo>
                        <a:pt x="0" y="72"/>
                      </a:moveTo>
                      <a:lnTo>
                        <a:pt x="7" y="47"/>
                      </a:lnTo>
                      <a:lnTo>
                        <a:pt x="7" y="18"/>
                      </a:lnTo>
                      <a:lnTo>
                        <a:pt x="31" y="0"/>
                      </a:lnTo>
                      <a:lnTo>
                        <a:pt x="64" y="0"/>
                      </a:lnTo>
                      <a:lnTo>
                        <a:pt x="76" y="8"/>
                      </a:lnTo>
                      <a:lnTo>
                        <a:pt x="76" y="42"/>
                      </a:lnTo>
                      <a:lnTo>
                        <a:pt x="82" y="62"/>
                      </a:lnTo>
                      <a:lnTo>
                        <a:pt x="78" y="93"/>
                      </a:lnTo>
                      <a:lnTo>
                        <a:pt x="48" y="111"/>
                      </a:lnTo>
                      <a:lnTo>
                        <a:pt x="0" y="72"/>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360" name="Freeform 104"/>
                <p:cNvSpPr>
                  <a:spLocks/>
                </p:cNvSpPr>
                <p:nvPr/>
              </p:nvSpPr>
              <p:spPr bwMode="auto">
                <a:xfrm>
                  <a:off x="2120" y="3777"/>
                  <a:ext cx="21" cy="20"/>
                </a:xfrm>
                <a:custGeom>
                  <a:avLst/>
                  <a:gdLst/>
                  <a:ahLst/>
                  <a:cxnLst>
                    <a:cxn ang="0">
                      <a:pos x="10" y="0"/>
                    </a:cxn>
                    <a:cxn ang="0">
                      <a:pos x="0" y="15"/>
                    </a:cxn>
                    <a:cxn ang="0">
                      <a:pos x="9" y="20"/>
                    </a:cxn>
                    <a:cxn ang="0">
                      <a:pos x="21" y="14"/>
                    </a:cxn>
                    <a:cxn ang="0">
                      <a:pos x="10" y="0"/>
                    </a:cxn>
                  </a:cxnLst>
                  <a:rect l="0" t="0" r="r" b="b"/>
                  <a:pathLst>
                    <a:path w="21" h="20">
                      <a:moveTo>
                        <a:pt x="10" y="0"/>
                      </a:moveTo>
                      <a:lnTo>
                        <a:pt x="0" y="15"/>
                      </a:lnTo>
                      <a:lnTo>
                        <a:pt x="9" y="20"/>
                      </a:lnTo>
                      <a:lnTo>
                        <a:pt x="21" y="14"/>
                      </a:lnTo>
                      <a:lnTo>
                        <a:pt x="10" y="0"/>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361" name="Freeform 105"/>
                <p:cNvSpPr>
                  <a:spLocks/>
                </p:cNvSpPr>
                <p:nvPr/>
              </p:nvSpPr>
              <p:spPr bwMode="auto">
                <a:xfrm>
                  <a:off x="2405" y="3549"/>
                  <a:ext cx="159" cy="221"/>
                </a:xfrm>
                <a:custGeom>
                  <a:avLst/>
                  <a:gdLst/>
                  <a:ahLst/>
                  <a:cxnLst>
                    <a:cxn ang="0">
                      <a:pos x="16" y="0"/>
                    </a:cxn>
                    <a:cxn ang="0">
                      <a:pos x="10" y="21"/>
                    </a:cxn>
                    <a:cxn ang="0">
                      <a:pos x="0" y="32"/>
                    </a:cxn>
                    <a:cxn ang="0">
                      <a:pos x="16" y="54"/>
                    </a:cxn>
                    <a:cxn ang="0">
                      <a:pos x="16" y="86"/>
                    </a:cxn>
                    <a:cxn ang="0">
                      <a:pos x="3" y="108"/>
                    </a:cxn>
                    <a:cxn ang="0">
                      <a:pos x="19" y="137"/>
                    </a:cxn>
                    <a:cxn ang="0">
                      <a:pos x="51" y="168"/>
                    </a:cxn>
                    <a:cxn ang="0">
                      <a:pos x="55" y="204"/>
                    </a:cxn>
                    <a:cxn ang="0">
                      <a:pos x="85" y="204"/>
                    </a:cxn>
                    <a:cxn ang="0">
                      <a:pos x="109" y="221"/>
                    </a:cxn>
                    <a:cxn ang="0">
                      <a:pos x="130" y="216"/>
                    </a:cxn>
                    <a:cxn ang="0">
                      <a:pos x="138" y="185"/>
                    </a:cxn>
                    <a:cxn ang="0">
                      <a:pos x="157" y="179"/>
                    </a:cxn>
                    <a:cxn ang="0">
                      <a:pos x="159" y="137"/>
                    </a:cxn>
                    <a:cxn ang="0">
                      <a:pos x="118" y="105"/>
                    </a:cxn>
                    <a:cxn ang="0">
                      <a:pos x="102" y="74"/>
                    </a:cxn>
                    <a:cxn ang="0">
                      <a:pos x="87" y="74"/>
                    </a:cxn>
                    <a:cxn ang="0">
                      <a:pos x="67" y="51"/>
                    </a:cxn>
                    <a:cxn ang="0">
                      <a:pos x="48" y="29"/>
                    </a:cxn>
                    <a:cxn ang="0">
                      <a:pos x="34" y="35"/>
                    </a:cxn>
                    <a:cxn ang="0">
                      <a:pos x="16" y="0"/>
                    </a:cxn>
                  </a:cxnLst>
                  <a:rect l="0" t="0" r="r" b="b"/>
                  <a:pathLst>
                    <a:path w="159" h="221">
                      <a:moveTo>
                        <a:pt x="16" y="0"/>
                      </a:moveTo>
                      <a:lnTo>
                        <a:pt x="10" y="21"/>
                      </a:lnTo>
                      <a:lnTo>
                        <a:pt x="0" y="32"/>
                      </a:lnTo>
                      <a:lnTo>
                        <a:pt x="16" y="54"/>
                      </a:lnTo>
                      <a:lnTo>
                        <a:pt x="16" y="86"/>
                      </a:lnTo>
                      <a:lnTo>
                        <a:pt x="3" y="108"/>
                      </a:lnTo>
                      <a:lnTo>
                        <a:pt x="19" y="137"/>
                      </a:lnTo>
                      <a:lnTo>
                        <a:pt x="51" y="168"/>
                      </a:lnTo>
                      <a:lnTo>
                        <a:pt x="55" y="204"/>
                      </a:lnTo>
                      <a:lnTo>
                        <a:pt x="85" y="204"/>
                      </a:lnTo>
                      <a:lnTo>
                        <a:pt x="109" y="221"/>
                      </a:lnTo>
                      <a:lnTo>
                        <a:pt x="130" y="216"/>
                      </a:lnTo>
                      <a:lnTo>
                        <a:pt x="138" y="185"/>
                      </a:lnTo>
                      <a:lnTo>
                        <a:pt x="157" y="179"/>
                      </a:lnTo>
                      <a:lnTo>
                        <a:pt x="159" y="137"/>
                      </a:lnTo>
                      <a:lnTo>
                        <a:pt x="118" y="105"/>
                      </a:lnTo>
                      <a:lnTo>
                        <a:pt x="102" y="74"/>
                      </a:lnTo>
                      <a:lnTo>
                        <a:pt x="87" y="74"/>
                      </a:lnTo>
                      <a:lnTo>
                        <a:pt x="67" y="51"/>
                      </a:lnTo>
                      <a:lnTo>
                        <a:pt x="48" y="29"/>
                      </a:lnTo>
                      <a:lnTo>
                        <a:pt x="34" y="35"/>
                      </a:lnTo>
                      <a:lnTo>
                        <a:pt x="16" y="0"/>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362" name="Freeform 106"/>
                <p:cNvSpPr>
                  <a:spLocks/>
                </p:cNvSpPr>
                <p:nvPr/>
              </p:nvSpPr>
              <p:spPr bwMode="auto">
                <a:xfrm>
                  <a:off x="2607" y="3545"/>
                  <a:ext cx="60" cy="82"/>
                </a:xfrm>
                <a:custGeom>
                  <a:avLst/>
                  <a:gdLst/>
                  <a:ahLst/>
                  <a:cxnLst>
                    <a:cxn ang="0">
                      <a:pos x="14" y="0"/>
                    </a:cxn>
                    <a:cxn ang="0">
                      <a:pos x="2" y="15"/>
                    </a:cxn>
                    <a:cxn ang="0">
                      <a:pos x="12" y="27"/>
                    </a:cxn>
                    <a:cxn ang="0">
                      <a:pos x="8" y="42"/>
                    </a:cxn>
                    <a:cxn ang="0">
                      <a:pos x="20" y="54"/>
                    </a:cxn>
                    <a:cxn ang="0">
                      <a:pos x="0" y="67"/>
                    </a:cxn>
                    <a:cxn ang="0">
                      <a:pos x="29" y="82"/>
                    </a:cxn>
                    <a:cxn ang="0">
                      <a:pos x="48" y="76"/>
                    </a:cxn>
                    <a:cxn ang="0">
                      <a:pos x="60" y="54"/>
                    </a:cxn>
                    <a:cxn ang="0">
                      <a:pos x="60" y="36"/>
                    </a:cxn>
                    <a:cxn ang="0">
                      <a:pos x="48" y="25"/>
                    </a:cxn>
                    <a:cxn ang="0">
                      <a:pos x="39" y="13"/>
                    </a:cxn>
                    <a:cxn ang="0">
                      <a:pos x="39" y="1"/>
                    </a:cxn>
                    <a:cxn ang="0">
                      <a:pos x="27" y="7"/>
                    </a:cxn>
                    <a:cxn ang="0">
                      <a:pos x="14" y="0"/>
                    </a:cxn>
                  </a:cxnLst>
                  <a:rect l="0" t="0" r="r" b="b"/>
                  <a:pathLst>
                    <a:path w="60" h="82">
                      <a:moveTo>
                        <a:pt x="14" y="0"/>
                      </a:moveTo>
                      <a:lnTo>
                        <a:pt x="2" y="15"/>
                      </a:lnTo>
                      <a:lnTo>
                        <a:pt x="12" y="27"/>
                      </a:lnTo>
                      <a:lnTo>
                        <a:pt x="8" y="42"/>
                      </a:lnTo>
                      <a:lnTo>
                        <a:pt x="20" y="54"/>
                      </a:lnTo>
                      <a:lnTo>
                        <a:pt x="0" y="67"/>
                      </a:lnTo>
                      <a:lnTo>
                        <a:pt x="29" y="82"/>
                      </a:lnTo>
                      <a:lnTo>
                        <a:pt x="48" y="76"/>
                      </a:lnTo>
                      <a:lnTo>
                        <a:pt x="60" y="54"/>
                      </a:lnTo>
                      <a:lnTo>
                        <a:pt x="60" y="36"/>
                      </a:lnTo>
                      <a:lnTo>
                        <a:pt x="48" y="25"/>
                      </a:lnTo>
                      <a:lnTo>
                        <a:pt x="39" y="13"/>
                      </a:lnTo>
                      <a:lnTo>
                        <a:pt x="39" y="1"/>
                      </a:lnTo>
                      <a:lnTo>
                        <a:pt x="27" y="7"/>
                      </a:lnTo>
                      <a:lnTo>
                        <a:pt x="14" y="0"/>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grpSp>
        </p:grpSp>
        <p:sp>
          <p:nvSpPr>
            <p:cNvPr id="608363" name="Rectangle 107"/>
            <p:cNvSpPr>
              <a:spLocks noChangeArrowheads="1"/>
            </p:cNvSpPr>
            <p:nvPr/>
          </p:nvSpPr>
          <p:spPr bwMode="gray">
            <a:xfrm>
              <a:off x="144" y="1742"/>
              <a:ext cx="0" cy="142"/>
            </a:xfrm>
            <a:prstGeom prst="rect">
              <a:avLst/>
            </a:prstGeom>
            <a:solidFill>
              <a:srgbClr val="F8F8F8"/>
            </a:solidFill>
            <a:ln w="9525">
              <a:noFill/>
              <a:miter lim="800000"/>
              <a:headEnd/>
              <a:tailEnd/>
            </a:ln>
            <a:effectLst/>
          </p:spPr>
          <p:txBody>
            <a:bodyPr wrap="none" lIns="0" tIns="0" rIns="0" bIns="0">
              <a:spAutoFit/>
            </a:bodyPr>
            <a:lstStyle/>
            <a:p>
              <a:pPr defTabSz="912705">
                <a:buClr>
                  <a:srgbClr val="4F2100"/>
                </a:buClr>
              </a:pPr>
              <a:endParaRPr lang="de-DE" sz="700" dirty="0">
                <a:solidFill>
                  <a:srgbClr val="000000"/>
                </a:solidFill>
                <a:latin typeface="Arial" charset="0"/>
              </a:endParaRPr>
            </a:p>
          </p:txBody>
        </p:sp>
        <p:sp>
          <p:nvSpPr>
            <p:cNvPr id="608364" name="Rectangle 108"/>
            <p:cNvSpPr>
              <a:spLocks noChangeArrowheads="1"/>
            </p:cNvSpPr>
            <p:nvPr/>
          </p:nvSpPr>
          <p:spPr bwMode="gray">
            <a:xfrm>
              <a:off x="2852" y="2818"/>
              <a:ext cx="17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grpSp>
      <p:grpSp>
        <p:nvGrpSpPr>
          <p:cNvPr id="6" name="Group 109"/>
          <p:cNvGrpSpPr>
            <a:grpSpLocks/>
          </p:cNvGrpSpPr>
          <p:nvPr/>
        </p:nvGrpSpPr>
        <p:grpSpPr bwMode="auto">
          <a:xfrm>
            <a:off x="3173276" y="1961513"/>
            <a:ext cx="2794224" cy="2364828"/>
            <a:chOff x="144" y="740"/>
            <a:chExt cx="3686" cy="3120"/>
          </a:xfrm>
        </p:grpSpPr>
        <p:sp>
          <p:nvSpPr>
            <p:cNvPr id="608366" name="Freeform 110"/>
            <p:cNvSpPr>
              <a:spLocks/>
            </p:cNvSpPr>
            <p:nvPr/>
          </p:nvSpPr>
          <p:spPr bwMode="gray">
            <a:xfrm>
              <a:off x="2637" y="972"/>
              <a:ext cx="477" cy="424"/>
            </a:xfrm>
            <a:custGeom>
              <a:avLst/>
              <a:gdLst/>
              <a:ahLst/>
              <a:cxnLst>
                <a:cxn ang="0">
                  <a:pos x="10" y="70"/>
                </a:cxn>
                <a:cxn ang="0">
                  <a:pos x="17" y="99"/>
                </a:cxn>
                <a:cxn ang="0">
                  <a:pos x="2" y="130"/>
                </a:cxn>
                <a:cxn ang="0">
                  <a:pos x="10" y="170"/>
                </a:cxn>
                <a:cxn ang="0">
                  <a:pos x="660" y="755"/>
                </a:cxn>
                <a:cxn ang="0">
                  <a:pos x="683" y="765"/>
                </a:cxn>
                <a:cxn ang="0">
                  <a:pos x="710" y="763"/>
                </a:cxn>
                <a:cxn ang="0">
                  <a:pos x="721" y="734"/>
                </a:cxn>
                <a:cxn ang="0">
                  <a:pos x="750" y="729"/>
                </a:cxn>
                <a:cxn ang="0">
                  <a:pos x="771" y="719"/>
                </a:cxn>
                <a:cxn ang="0">
                  <a:pos x="784" y="694"/>
                </a:cxn>
                <a:cxn ang="0">
                  <a:pos x="820" y="664"/>
                </a:cxn>
                <a:cxn ang="0">
                  <a:pos x="838" y="645"/>
                </a:cxn>
                <a:cxn ang="0">
                  <a:pos x="822" y="610"/>
                </a:cxn>
                <a:cxn ang="0">
                  <a:pos x="832" y="591"/>
                </a:cxn>
                <a:cxn ang="0">
                  <a:pos x="826" y="570"/>
                </a:cxn>
                <a:cxn ang="0">
                  <a:pos x="790" y="521"/>
                </a:cxn>
                <a:cxn ang="0">
                  <a:pos x="754" y="467"/>
                </a:cxn>
                <a:cxn ang="0">
                  <a:pos x="731" y="437"/>
                </a:cxn>
                <a:cxn ang="0">
                  <a:pos x="704" y="406"/>
                </a:cxn>
                <a:cxn ang="0">
                  <a:pos x="691" y="370"/>
                </a:cxn>
                <a:cxn ang="0">
                  <a:pos x="670" y="332"/>
                </a:cxn>
                <a:cxn ang="0">
                  <a:pos x="649" y="309"/>
                </a:cxn>
                <a:cxn ang="0">
                  <a:pos x="639" y="282"/>
                </a:cxn>
                <a:cxn ang="0">
                  <a:pos x="613" y="259"/>
                </a:cxn>
                <a:cxn ang="0">
                  <a:pos x="588" y="221"/>
                </a:cxn>
                <a:cxn ang="0">
                  <a:pos x="569" y="174"/>
                </a:cxn>
                <a:cxn ang="0">
                  <a:pos x="555" y="160"/>
                </a:cxn>
                <a:cxn ang="0">
                  <a:pos x="552" y="139"/>
                </a:cxn>
                <a:cxn ang="0">
                  <a:pos x="550" y="132"/>
                </a:cxn>
                <a:cxn ang="0">
                  <a:pos x="586" y="164"/>
                </a:cxn>
                <a:cxn ang="0">
                  <a:pos x="614" y="214"/>
                </a:cxn>
                <a:cxn ang="0">
                  <a:pos x="645" y="250"/>
                </a:cxn>
                <a:cxn ang="0">
                  <a:pos x="679" y="284"/>
                </a:cxn>
                <a:cxn ang="0">
                  <a:pos x="698" y="278"/>
                </a:cxn>
                <a:cxn ang="0">
                  <a:pos x="716" y="250"/>
                </a:cxn>
                <a:cxn ang="0">
                  <a:pos x="716" y="206"/>
                </a:cxn>
                <a:cxn ang="0">
                  <a:pos x="717" y="177"/>
                </a:cxn>
                <a:cxn ang="0">
                  <a:pos x="721" y="156"/>
                </a:cxn>
                <a:cxn ang="0">
                  <a:pos x="708" y="135"/>
                </a:cxn>
                <a:cxn ang="0">
                  <a:pos x="695" y="111"/>
                </a:cxn>
                <a:cxn ang="0">
                  <a:pos x="676" y="70"/>
                </a:cxn>
                <a:cxn ang="0">
                  <a:pos x="656" y="30"/>
                </a:cxn>
                <a:cxn ang="0">
                  <a:pos x="630" y="29"/>
                </a:cxn>
                <a:cxn ang="0">
                  <a:pos x="593" y="36"/>
                </a:cxn>
                <a:cxn ang="0">
                  <a:pos x="555" y="42"/>
                </a:cxn>
                <a:cxn ang="0">
                  <a:pos x="517" y="32"/>
                </a:cxn>
                <a:cxn ang="0">
                  <a:pos x="477" y="9"/>
                </a:cxn>
                <a:cxn ang="0">
                  <a:pos x="441" y="0"/>
                </a:cxn>
                <a:cxn ang="0">
                  <a:pos x="389" y="19"/>
                </a:cxn>
                <a:cxn ang="0">
                  <a:pos x="346" y="51"/>
                </a:cxn>
                <a:cxn ang="0">
                  <a:pos x="290" y="61"/>
                </a:cxn>
                <a:cxn ang="0">
                  <a:pos x="204" y="42"/>
                </a:cxn>
                <a:cxn ang="0">
                  <a:pos x="124" y="19"/>
                </a:cxn>
                <a:cxn ang="0">
                  <a:pos x="69" y="15"/>
                </a:cxn>
                <a:cxn ang="0">
                  <a:pos x="46" y="23"/>
                </a:cxn>
                <a:cxn ang="0">
                  <a:pos x="8" y="30"/>
                </a:cxn>
              </a:cxnLst>
              <a:rect l="0" t="0" r="r" b="b"/>
              <a:pathLst>
                <a:path w="843" h="771">
                  <a:moveTo>
                    <a:pt x="0" y="49"/>
                  </a:moveTo>
                  <a:lnTo>
                    <a:pt x="0" y="49"/>
                  </a:lnTo>
                  <a:lnTo>
                    <a:pt x="2" y="55"/>
                  </a:lnTo>
                  <a:lnTo>
                    <a:pt x="4" y="61"/>
                  </a:lnTo>
                  <a:lnTo>
                    <a:pt x="6" y="67"/>
                  </a:lnTo>
                  <a:lnTo>
                    <a:pt x="10" y="70"/>
                  </a:lnTo>
                  <a:lnTo>
                    <a:pt x="14" y="74"/>
                  </a:lnTo>
                  <a:lnTo>
                    <a:pt x="16" y="80"/>
                  </a:lnTo>
                  <a:lnTo>
                    <a:pt x="17" y="86"/>
                  </a:lnTo>
                  <a:lnTo>
                    <a:pt x="19" y="91"/>
                  </a:lnTo>
                  <a:lnTo>
                    <a:pt x="19" y="91"/>
                  </a:lnTo>
                  <a:lnTo>
                    <a:pt x="17" y="99"/>
                  </a:lnTo>
                  <a:lnTo>
                    <a:pt x="16" y="105"/>
                  </a:lnTo>
                  <a:lnTo>
                    <a:pt x="14" y="111"/>
                  </a:lnTo>
                  <a:lnTo>
                    <a:pt x="10" y="114"/>
                  </a:lnTo>
                  <a:lnTo>
                    <a:pt x="6" y="118"/>
                  </a:lnTo>
                  <a:lnTo>
                    <a:pt x="4" y="124"/>
                  </a:lnTo>
                  <a:lnTo>
                    <a:pt x="2" y="130"/>
                  </a:lnTo>
                  <a:lnTo>
                    <a:pt x="0" y="135"/>
                  </a:lnTo>
                  <a:lnTo>
                    <a:pt x="0" y="135"/>
                  </a:lnTo>
                  <a:lnTo>
                    <a:pt x="2" y="145"/>
                  </a:lnTo>
                  <a:lnTo>
                    <a:pt x="4" y="153"/>
                  </a:lnTo>
                  <a:lnTo>
                    <a:pt x="6" y="162"/>
                  </a:lnTo>
                  <a:lnTo>
                    <a:pt x="10" y="170"/>
                  </a:lnTo>
                  <a:lnTo>
                    <a:pt x="14" y="177"/>
                  </a:lnTo>
                  <a:lnTo>
                    <a:pt x="16" y="183"/>
                  </a:lnTo>
                  <a:lnTo>
                    <a:pt x="17" y="189"/>
                  </a:lnTo>
                  <a:lnTo>
                    <a:pt x="19" y="194"/>
                  </a:lnTo>
                  <a:lnTo>
                    <a:pt x="48" y="771"/>
                  </a:lnTo>
                  <a:lnTo>
                    <a:pt x="660" y="755"/>
                  </a:lnTo>
                  <a:lnTo>
                    <a:pt x="660" y="755"/>
                  </a:lnTo>
                  <a:lnTo>
                    <a:pt x="668" y="757"/>
                  </a:lnTo>
                  <a:lnTo>
                    <a:pt x="672" y="759"/>
                  </a:lnTo>
                  <a:lnTo>
                    <a:pt x="677" y="761"/>
                  </a:lnTo>
                  <a:lnTo>
                    <a:pt x="679" y="763"/>
                  </a:lnTo>
                  <a:lnTo>
                    <a:pt x="683" y="765"/>
                  </a:lnTo>
                  <a:lnTo>
                    <a:pt x="687" y="767"/>
                  </a:lnTo>
                  <a:lnTo>
                    <a:pt x="693" y="767"/>
                  </a:lnTo>
                  <a:lnTo>
                    <a:pt x="698" y="769"/>
                  </a:lnTo>
                  <a:lnTo>
                    <a:pt x="698" y="769"/>
                  </a:lnTo>
                  <a:lnTo>
                    <a:pt x="704" y="767"/>
                  </a:lnTo>
                  <a:lnTo>
                    <a:pt x="710" y="763"/>
                  </a:lnTo>
                  <a:lnTo>
                    <a:pt x="714" y="759"/>
                  </a:lnTo>
                  <a:lnTo>
                    <a:pt x="714" y="753"/>
                  </a:lnTo>
                  <a:lnTo>
                    <a:pt x="716" y="748"/>
                  </a:lnTo>
                  <a:lnTo>
                    <a:pt x="717" y="744"/>
                  </a:lnTo>
                  <a:lnTo>
                    <a:pt x="719" y="738"/>
                  </a:lnTo>
                  <a:lnTo>
                    <a:pt x="721" y="734"/>
                  </a:lnTo>
                  <a:lnTo>
                    <a:pt x="721" y="734"/>
                  </a:lnTo>
                  <a:lnTo>
                    <a:pt x="727" y="732"/>
                  </a:lnTo>
                  <a:lnTo>
                    <a:pt x="733" y="731"/>
                  </a:lnTo>
                  <a:lnTo>
                    <a:pt x="738" y="731"/>
                  </a:lnTo>
                  <a:lnTo>
                    <a:pt x="744" y="729"/>
                  </a:lnTo>
                  <a:lnTo>
                    <a:pt x="750" y="729"/>
                  </a:lnTo>
                  <a:lnTo>
                    <a:pt x="754" y="729"/>
                  </a:lnTo>
                  <a:lnTo>
                    <a:pt x="759" y="729"/>
                  </a:lnTo>
                  <a:lnTo>
                    <a:pt x="763" y="727"/>
                  </a:lnTo>
                  <a:lnTo>
                    <a:pt x="763" y="727"/>
                  </a:lnTo>
                  <a:lnTo>
                    <a:pt x="767" y="723"/>
                  </a:lnTo>
                  <a:lnTo>
                    <a:pt x="771" y="719"/>
                  </a:lnTo>
                  <a:lnTo>
                    <a:pt x="773" y="717"/>
                  </a:lnTo>
                  <a:lnTo>
                    <a:pt x="777" y="711"/>
                  </a:lnTo>
                  <a:lnTo>
                    <a:pt x="777" y="708"/>
                  </a:lnTo>
                  <a:lnTo>
                    <a:pt x="779" y="704"/>
                  </a:lnTo>
                  <a:lnTo>
                    <a:pt x="780" y="698"/>
                  </a:lnTo>
                  <a:lnTo>
                    <a:pt x="784" y="694"/>
                  </a:lnTo>
                  <a:lnTo>
                    <a:pt x="784" y="694"/>
                  </a:lnTo>
                  <a:lnTo>
                    <a:pt x="790" y="687"/>
                  </a:lnTo>
                  <a:lnTo>
                    <a:pt x="796" y="679"/>
                  </a:lnTo>
                  <a:lnTo>
                    <a:pt x="803" y="673"/>
                  </a:lnTo>
                  <a:lnTo>
                    <a:pt x="811" y="670"/>
                  </a:lnTo>
                  <a:lnTo>
                    <a:pt x="820" y="664"/>
                  </a:lnTo>
                  <a:lnTo>
                    <a:pt x="828" y="660"/>
                  </a:lnTo>
                  <a:lnTo>
                    <a:pt x="836" y="654"/>
                  </a:lnTo>
                  <a:lnTo>
                    <a:pt x="843" y="650"/>
                  </a:lnTo>
                  <a:lnTo>
                    <a:pt x="843" y="650"/>
                  </a:lnTo>
                  <a:lnTo>
                    <a:pt x="841" y="649"/>
                  </a:lnTo>
                  <a:lnTo>
                    <a:pt x="838" y="645"/>
                  </a:lnTo>
                  <a:lnTo>
                    <a:pt x="834" y="639"/>
                  </a:lnTo>
                  <a:lnTo>
                    <a:pt x="830" y="633"/>
                  </a:lnTo>
                  <a:lnTo>
                    <a:pt x="826" y="628"/>
                  </a:lnTo>
                  <a:lnTo>
                    <a:pt x="824" y="622"/>
                  </a:lnTo>
                  <a:lnTo>
                    <a:pt x="822" y="616"/>
                  </a:lnTo>
                  <a:lnTo>
                    <a:pt x="822" y="610"/>
                  </a:lnTo>
                  <a:lnTo>
                    <a:pt x="822" y="610"/>
                  </a:lnTo>
                  <a:lnTo>
                    <a:pt x="822" y="605"/>
                  </a:lnTo>
                  <a:lnTo>
                    <a:pt x="824" y="601"/>
                  </a:lnTo>
                  <a:lnTo>
                    <a:pt x="826" y="597"/>
                  </a:lnTo>
                  <a:lnTo>
                    <a:pt x="828" y="595"/>
                  </a:lnTo>
                  <a:lnTo>
                    <a:pt x="832" y="591"/>
                  </a:lnTo>
                  <a:lnTo>
                    <a:pt x="834" y="589"/>
                  </a:lnTo>
                  <a:lnTo>
                    <a:pt x="838" y="587"/>
                  </a:lnTo>
                  <a:lnTo>
                    <a:pt x="840" y="586"/>
                  </a:lnTo>
                  <a:lnTo>
                    <a:pt x="840" y="586"/>
                  </a:lnTo>
                  <a:lnTo>
                    <a:pt x="832" y="578"/>
                  </a:lnTo>
                  <a:lnTo>
                    <a:pt x="826" y="570"/>
                  </a:lnTo>
                  <a:lnTo>
                    <a:pt x="820" y="563"/>
                  </a:lnTo>
                  <a:lnTo>
                    <a:pt x="813" y="555"/>
                  </a:lnTo>
                  <a:lnTo>
                    <a:pt x="807" y="546"/>
                  </a:lnTo>
                  <a:lnTo>
                    <a:pt x="801" y="538"/>
                  </a:lnTo>
                  <a:lnTo>
                    <a:pt x="796" y="530"/>
                  </a:lnTo>
                  <a:lnTo>
                    <a:pt x="790" y="521"/>
                  </a:lnTo>
                  <a:lnTo>
                    <a:pt x="784" y="511"/>
                  </a:lnTo>
                  <a:lnTo>
                    <a:pt x="779" y="504"/>
                  </a:lnTo>
                  <a:lnTo>
                    <a:pt x="773" y="494"/>
                  </a:lnTo>
                  <a:lnTo>
                    <a:pt x="767" y="486"/>
                  </a:lnTo>
                  <a:lnTo>
                    <a:pt x="761" y="477"/>
                  </a:lnTo>
                  <a:lnTo>
                    <a:pt x="754" y="467"/>
                  </a:lnTo>
                  <a:lnTo>
                    <a:pt x="748" y="460"/>
                  </a:lnTo>
                  <a:lnTo>
                    <a:pt x="742" y="452"/>
                  </a:lnTo>
                  <a:lnTo>
                    <a:pt x="742" y="452"/>
                  </a:lnTo>
                  <a:lnTo>
                    <a:pt x="738" y="446"/>
                  </a:lnTo>
                  <a:lnTo>
                    <a:pt x="735" y="441"/>
                  </a:lnTo>
                  <a:lnTo>
                    <a:pt x="731" y="437"/>
                  </a:lnTo>
                  <a:lnTo>
                    <a:pt x="727" y="431"/>
                  </a:lnTo>
                  <a:lnTo>
                    <a:pt x="721" y="425"/>
                  </a:lnTo>
                  <a:lnTo>
                    <a:pt x="717" y="422"/>
                  </a:lnTo>
                  <a:lnTo>
                    <a:pt x="714" y="416"/>
                  </a:lnTo>
                  <a:lnTo>
                    <a:pt x="708" y="410"/>
                  </a:lnTo>
                  <a:lnTo>
                    <a:pt x="704" y="406"/>
                  </a:lnTo>
                  <a:lnTo>
                    <a:pt x="702" y="401"/>
                  </a:lnTo>
                  <a:lnTo>
                    <a:pt x="698" y="395"/>
                  </a:lnTo>
                  <a:lnTo>
                    <a:pt x="695" y="389"/>
                  </a:lnTo>
                  <a:lnTo>
                    <a:pt x="693" y="381"/>
                  </a:lnTo>
                  <a:lnTo>
                    <a:pt x="691" y="376"/>
                  </a:lnTo>
                  <a:lnTo>
                    <a:pt x="691" y="370"/>
                  </a:lnTo>
                  <a:lnTo>
                    <a:pt x="689" y="362"/>
                  </a:lnTo>
                  <a:lnTo>
                    <a:pt x="689" y="362"/>
                  </a:lnTo>
                  <a:lnTo>
                    <a:pt x="689" y="357"/>
                  </a:lnTo>
                  <a:lnTo>
                    <a:pt x="683" y="349"/>
                  </a:lnTo>
                  <a:lnTo>
                    <a:pt x="677" y="341"/>
                  </a:lnTo>
                  <a:lnTo>
                    <a:pt x="670" y="332"/>
                  </a:lnTo>
                  <a:lnTo>
                    <a:pt x="664" y="324"/>
                  </a:lnTo>
                  <a:lnTo>
                    <a:pt x="658" y="317"/>
                  </a:lnTo>
                  <a:lnTo>
                    <a:pt x="653" y="311"/>
                  </a:lnTo>
                  <a:lnTo>
                    <a:pt x="651" y="309"/>
                  </a:lnTo>
                  <a:lnTo>
                    <a:pt x="651" y="309"/>
                  </a:lnTo>
                  <a:lnTo>
                    <a:pt x="649" y="309"/>
                  </a:lnTo>
                  <a:lnTo>
                    <a:pt x="645" y="305"/>
                  </a:lnTo>
                  <a:lnTo>
                    <a:pt x="643" y="301"/>
                  </a:lnTo>
                  <a:lnTo>
                    <a:pt x="643" y="296"/>
                  </a:lnTo>
                  <a:lnTo>
                    <a:pt x="641" y="292"/>
                  </a:lnTo>
                  <a:lnTo>
                    <a:pt x="639" y="286"/>
                  </a:lnTo>
                  <a:lnTo>
                    <a:pt x="639" y="282"/>
                  </a:lnTo>
                  <a:lnTo>
                    <a:pt x="637" y="280"/>
                  </a:lnTo>
                  <a:lnTo>
                    <a:pt x="637" y="280"/>
                  </a:lnTo>
                  <a:lnTo>
                    <a:pt x="630" y="275"/>
                  </a:lnTo>
                  <a:lnTo>
                    <a:pt x="624" y="269"/>
                  </a:lnTo>
                  <a:lnTo>
                    <a:pt x="618" y="263"/>
                  </a:lnTo>
                  <a:lnTo>
                    <a:pt x="613" y="259"/>
                  </a:lnTo>
                  <a:lnTo>
                    <a:pt x="607" y="254"/>
                  </a:lnTo>
                  <a:lnTo>
                    <a:pt x="603" y="246"/>
                  </a:lnTo>
                  <a:lnTo>
                    <a:pt x="599" y="240"/>
                  </a:lnTo>
                  <a:lnTo>
                    <a:pt x="595" y="235"/>
                  </a:lnTo>
                  <a:lnTo>
                    <a:pt x="592" y="229"/>
                  </a:lnTo>
                  <a:lnTo>
                    <a:pt x="588" y="221"/>
                  </a:lnTo>
                  <a:lnTo>
                    <a:pt x="584" y="214"/>
                  </a:lnTo>
                  <a:lnTo>
                    <a:pt x="582" y="206"/>
                  </a:lnTo>
                  <a:lnTo>
                    <a:pt x="578" y="198"/>
                  </a:lnTo>
                  <a:lnTo>
                    <a:pt x="574" y="191"/>
                  </a:lnTo>
                  <a:lnTo>
                    <a:pt x="571" y="183"/>
                  </a:lnTo>
                  <a:lnTo>
                    <a:pt x="569" y="174"/>
                  </a:lnTo>
                  <a:lnTo>
                    <a:pt x="569" y="174"/>
                  </a:lnTo>
                  <a:lnTo>
                    <a:pt x="567" y="170"/>
                  </a:lnTo>
                  <a:lnTo>
                    <a:pt x="563" y="168"/>
                  </a:lnTo>
                  <a:lnTo>
                    <a:pt x="561" y="166"/>
                  </a:lnTo>
                  <a:lnTo>
                    <a:pt x="557" y="162"/>
                  </a:lnTo>
                  <a:lnTo>
                    <a:pt x="555" y="160"/>
                  </a:lnTo>
                  <a:lnTo>
                    <a:pt x="553" y="156"/>
                  </a:lnTo>
                  <a:lnTo>
                    <a:pt x="552" y="153"/>
                  </a:lnTo>
                  <a:lnTo>
                    <a:pt x="550" y="147"/>
                  </a:lnTo>
                  <a:lnTo>
                    <a:pt x="550" y="147"/>
                  </a:lnTo>
                  <a:lnTo>
                    <a:pt x="550" y="141"/>
                  </a:lnTo>
                  <a:lnTo>
                    <a:pt x="552" y="139"/>
                  </a:lnTo>
                  <a:lnTo>
                    <a:pt x="552" y="137"/>
                  </a:lnTo>
                  <a:lnTo>
                    <a:pt x="552" y="137"/>
                  </a:lnTo>
                  <a:lnTo>
                    <a:pt x="553" y="137"/>
                  </a:lnTo>
                  <a:lnTo>
                    <a:pt x="553" y="137"/>
                  </a:lnTo>
                  <a:lnTo>
                    <a:pt x="552" y="135"/>
                  </a:lnTo>
                  <a:lnTo>
                    <a:pt x="550" y="132"/>
                  </a:lnTo>
                  <a:lnTo>
                    <a:pt x="550" y="132"/>
                  </a:lnTo>
                  <a:lnTo>
                    <a:pt x="559" y="137"/>
                  </a:lnTo>
                  <a:lnTo>
                    <a:pt x="567" y="143"/>
                  </a:lnTo>
                  <a:lnTo>
                    <a:pt x="574" y="151"/>
                  </a:lnTo>
                  <a:lnTo>
                    <a:pt x="580" y="156"/>
                  </a:lnTo>
                  <a:lnTo>
                    <a:pt x="586" y="164"/>
                  </a:lnTo>
                  <a:lnTo>
                    <a:pt x="592" y="172"/>
                  </a:lnTo>
                  <a:lnTo>
                    <a:pt x="597" y="179"/>
                  </a:lnTo>
                  <a:lnTo>
                    <a:pt x="601" y="189"/>
                  </a:lnTo>
                  <a:lnTo>
                    <a:pt x="605" y="196"/>
                  </a:lnTo>
                  <a:lnTo>
                    <a:pt x="611" y="206"/>
                  </a:lnTo>
                  <a:lnTo>
                    <a:pt x="614" y="214"/>
                  </a:lnTo>
                  <a:lnTo>
                    <a:pt x="620" y="221"/>
                  </a:lnTo>
                  <a:lnTo>
                    <a:pt x="624" y="229"/>
                  </a:lnTo>
                  <a:lnTo>
                    <a:pt x="632" y="236"/>
                  </a:lnTo>
                  <a:lnTo>
                    <a:pt x="637" y="244"/>
                  </a:lnTo>
                  <a:lnTo>
                    <a:pt x="645" y="250"/>
                  </a:lnTo>
                  <a:lnTo>
                    <a:pt x="645" y="250"/>
                  </a:lnTo>
                  <a:lnTo>
                    <a:pt x="649" y="256"/>
                  </a:lnTo>
                  <a:lnTo>
                    <a:pt x="655" y="261"/>
                  </a:lnTo>
                  <a:lnTo>
                    <a:pt x="660" y="267"/>
                  </a:lnTo>
                  <a:lnTo>
                    <a:pt x="666" y="275"/>
                  </a:lnTo>
                  <a:lnTo>
                    <a:pt x="674" y="280"/>
                  </a:lnTo>
                  <a:lnTo>
                    <a:pt x="679" y="284"/>
                  </a:lnTo>
                  <a:lnTo>
                    <a:pt x="685" y="288"/>
                  </a:lnTo>
                  <a:lnTo>
                    <a:pt x="689" y="290"/>
                  </a:lnTo>
                  <a:lnTo>
                    <a:pt x="689" y="290"/>
                  </a:lnTo>
                  <a:lnTo>
                    <a:pt x="693" y="288"/>
                  </a:lnTo>
                  <a:lnTo>
                    <a:pt x="695" y="284"/>
                  </a:lnTo>
                  <a:lnTo>
                    <a:pt x="698" y="278"/>
                  </a:lnTo>
                  <a:lnTo>
                    <a:pt x="704" y="273"/>
                  </a:lnTo>
                  <a:lnTo>
                    <a:pt x="708" y="265"/>
                  </a:lnTo>
                  <a:lnTo>
                    <a:pt x="712" y="259"/>
                  </a:lnTo>
                  <a:lnTo>
                    <a:pt x="716" y="254"/>
                  </a:lnTo>
                  <a:lnTo>
                    <a:pt x="716" y="250"/>
                  </a:lnTo>
                  <a:lnTo>
                    <a:pt x="716" y="250"/>
                  </a:lnTo>
                  <a:lnTo>
                    <a:pt x="716" y="242"/>
                  </a:lnTo>
                  <a:lnTo>
                    <a:pt x="716" y="235"/>
                  </a:lnTo>
                  <a:lnTo>
                    <a:pt x="716" y="227"/>
                  </a:lnTo>
                  <a:lnTo>
                    <a:pt x="716" y="219"/>
                  </a:lnTo>
                  <a:lnTo>
                    <a:pt x="716" y="212"/>
                  </a:lnTo>
                  <a:lnTo>
                    <a:pt x="716" y="206"/>
                  </a:lnTo>
                  <a:lnTo>
                    <a:pt x="717" y="196"/>
                  </a:lnTo>
                  <a:lnTo>
                    <a:pt x="717" y="189"/>
                  </a:lnTo>
                  <a:lnTo>
                    <a:pt x="717" y="189"/>
                  </a:lnTo>
                  <a:lnTo>
                    <a:pt x="717" y="185"/>
                  </a:lnTo>
                  <a:lnTo>
                    <a:pt x="717" y="181"/>
                  </a:lnTo>
                  <a:lnTo>
                    <a:pt x="717" y="177"/>
                  </a:lnTo>
                  <a:lnTo>
                    <a:pt x="719" y="174"/>
                  </a:lnTo>
                  <a:lnTo>
                    <a:pt x="719" y="168"/>
                  </a:lnTo>
                  <a:lnTo>
                    <a:pt x="721" y="164"/>
                  </a:lnTo>
                  <a:lnTo>
                    <a:pt x="721" y="160"/>
                  </a:lnTo>
                  <a:lnTo>
                    <a:pt x="721" y="156"/>
                  </a:lnTo>
                  <a:lnTo>
                    <a:pt x="721" y="156"/>
                  </a:lnTo>
                  <a:lnTo>
                    <a:pt x="721" y="153"/>
                  </a:lnTo>
                  <a:lnTo>
                    <a:pt x="719" y="149"/>
                  </a:lnTo>
                  <a:lnTo>
                    <a:pt x="716" y="145"/>
                  </a:lnTo>
                  <a:lnTo>
                    <a:pt x="714" y="141"/>
                  </a:lnTo>
                  <a:lnTo>
                    <a:pt x="710" y="137"/>
                  </a:lnTo>
                  <a:lnTo>
                    <a:pt x="708" y="135"/>
                  </a:lnTo>
                  <a:lnTo>
                    <a:pt x="704" y="132"/>
                  </a:lnTo>
                  <a:lnTo>
                    <a:pt x="704" y="130"/>
                  </a:lnTo>
                  <a:lnTo>
                    <a:pt x="704" y="130"/>
                  </a:lnTo>
                  <a:lnTo>
                    <a:pt x="700" y="124"/>
                  </a:lnTo>
                  <a:lnTo>
                    <a:pt x="698" y="116"/>
                  </a:lnTo>
                  <a:lnTo>
                    <a:pt x="695" y="111"/>
                  </a:lnTo>
                  <a:lnTo>
                    <a:pt x="693" y="103"/>
                  </a:lnTo>
                  <a:lnTo>
                    <a:pt x="689" y="97"/>
                  </a:lnTo>
                  <a:lnTo>
                    <a:pt x="685" y="91"/>
                  </a:lnTo>
                  <a:lnTo>
                    <a:pt x="683" y="84"/>
                  </a:lnTo>
                  <a:lnTo>
                    <a:pt x="679" y="78"/>
                  </a:lnTo>
                  <a:lnTo>
                    <a:pt x="676" y="70"/>
                  </a:lnTo>
                  <a:lnTo>
                    <a:pt x="672" y="65"/>
                  </a:lnTo>
                  <a:lnTo>
                    <a:pt x="670" y="57"/>
                  </a:lnTo>
                  <a:lnTo>
                    <a:pt x="666" y="51"/>
                  </a:lnTo>
                  <a:lnTo>
                    <a:pt x="662" y="44"/>
                  </a:lnTo>
                  <a:lnTo>
                    <a:pt x="660" y="38"/>
                  </a:lnTo>
                  <a:lnTo>
                    <a:pt x="656" y="30"/>
                  </a:lnTo>
                  <a:lnTo>
                    <a:pt x="655" y="23"/>
                  </a:lnTo>
                  <a:lnTo>
                    <a:pt x="655" y="23"/>
                  </a:lnTo>
                  <a:lnTo>
                    <a:pt x="649" y="25"/>
                  </a:lnTo>
                  <a:lnTo>
                    <a:pt x="641" y="25"/>
                  </a:lnTo>
                  <a:lnTo>
                    <a:pt x="635" y="27"/>
                  </a:lnTo>
                  <a:lnTo>
                    <a:pt x="630" y="29"/>
                  </a:lnTo>
                  <a:lnTo>
                    <a:pt x="624" y="29"/>
                  </a:lnTo>
                  <a:lnTo>
                    <a:pt x="618" y="30"/>
                  </a:lnTo>
                  <a:lnTo>
                    <a:pt x="613" y="32"/>
                  </a:lnTo>
                  <a:lnTo>
                    <a:pt x="607" y="34"/>
                  </a:lnTo>
                  <a:lnTo>
                    <a:pt x="599" y="34"/>
                  </a:lnTo>
                  <a:lnTo>
                    <a:pt x="593" y="36"/>
                  </a:lnTo>
                  <a:lnTo>
                    <a:pt x="588" y="38"/>
                  </a:lnTo>
                  <a:lnTo>
                    <a:pt x="582" y="40"/>
                  </a:lnTo>
                  <a:lnTo>
                    <a:pt x="576" y="40"/>
                  </a:lnTo>
                  <a:lnTo>
                    <a:pt x="569" y="42"/>
                  </a:lnTo>
                  <a:lnTo>
                    <a:pt x="563" y="42"/>
                  </a:lnTo>
                  <a:lnTo>
                    <a:pt x="555" y="42"/>
                  </a:lnTo>
                  <a:lnTo>
                    <a:pt x="555" y="42"/>
                  </a:lnTo>
                  <a:lnTo>
                    <a:pt x="548" y="42"/>
                  </a:lnTo>
                  <a:lnTo>
                    <a:pt x="540" y="40"/>
                  </a:lnTo>
                  <a:lnTo>
                    <a:pt x="532" y="38"/>
                  </a:lnTo>
                  <a:lnTo>
                    <a:pt x="525" y="34"/>
                  </a:lnTo>
                  <a:lnTo>
                    <a:pt x="517" y="32"/>
                  </a:lnTo>
                  <a:lnTo>
                    <a:pt x="510" y="29"/>
                  </a:lnTo>
                  <a:lnTo>
                    <a:pt x="504" y="25"/>
                  </a:lnTo>
                  <a:lnTo>
                    <a:pt x="496" y="21"/>
                  </a:lnTo>
                  <a:lnTo>
                    <a:pt x="490" y="17"/>
                  </a:lnTo>
                  <a:lnTo>
                    <a:pt x="485" y="13"/>
                  </a:lnTo>
                  <a:lnTo>
                    <a:pt x="477" y="9"/>
                  </a:lnTo>
                  <a:lnTo>
                    <a:pt x="471" y="8"/>
                  </a:lnTo>
                  <a:lnTo>
                    <a:pt x="464" y="4"/>
                  </a:lnTo>
                  <a:lnTo>
                    <a:pt x="456" y="2"/>
                  </a:lnTo>
                  <a:lnTo>
                    <a:pt x="450" y="0"/>
                  </a:lnTo>
                  <a:lnTo>
                    <a:pt x="441" y="0"/>
                  </a:lnTo>
                  <a:lnTo>
                    <a:pt x="441" y="0"/>
                  </a:lnTo>
                  <a:lnTo>
                    <a:pt x="431" y="0"/>
                  </a:lnTo>
                  <a:lnTo>
                    <a:pt x="422" y="2"/>
                  </a:lnTo>
                  <a:lnTo>
                    <a:pt x="412" y="6"/>
                  </a:lnTo>
                  <a:lnTo>
                    <a:pt x="405" y="9"/>
                  </a:lnTo>
                  <a:lnTo>
                    <a:pt x="397" y="15"/>
                  </a:lnTo>
                  <a:lnTo>
                    <a:pt x="389" y="19"/>
                  </a:lnTo>
                  <a:lnTo>
                    <a:pt x="382" y="25"/>
                  </a:lnTo>
                  <a:lnTo>
                    <a:pt x="376" y="30"/>
                  </a:lnTo>
                  <a:lnTo>
                    <a:pt x="368" y="36"/>
                  </a:lnTo>
                  <a:lnTo>
                    <a:pt x="361" y="42"/>
                  </a:lnTo>
                  <a:lnTo>
                    <a:pt x="353" y="48"/>
                  </a:lnTo>
                  <a:lnTo>
                    <a:pt x="346" y="51"/>
                  </a:lnTo>
                  <a:lnTo>
                    <a:pt x="336" y="55"/>
                  </a:lnTo>
                  <a:lnTo>
                    <a:pt x="328" y="59"/>
                  </a:lnTo>
                  <a:lnTo>
                    <a:pt x="319" y="61"/>
                  </a:lnTo>
                  <a:lnTo>
                    <a:pt x="307" y="61"/>
                  </a:lnTo>
                  <a:lnTo>
                    <a:pt x="307" y="61"/>
                  </a:lnTo>
                  <a:lnTo>
                    <a:pt x="290" y="61"/>
                  </a:lnTo>
                  <a:lnTo>
                    <a:pt x="275" y="59"/>
                  </a:lnTo>
                  <a:lnTo>
                    <a:pt x="260" y="57"/>
                  </a:lnTo>
                  <a:lnTo>
                    <a:pt x="244" y="53"/>
                  </a:lnTo>
                  <a:lnTo>
                    <a:pt x="231" y="51"/>
                  </a:lnTo>
                  <a:lnTo>
                    <a:pt x="218" y="48"/>
                  </a:lnTo>
                  <a:lnTo>
                    <a:pt x="204" y="42"/>
                  </a:lnTo>
                  <a:lnTo>
                    <a:pt x="191" y="38"/>
                  </a:lnTo>
                  <a:lnTo>
                    <a:pt x="178" y="34"/>
                  </a:lnTo>
                  <a:lnTo>
                    <a:pt x="166" y="29"/>
                  </a:lnTo>
                  <a:lnTo>
                    <a:pt x="153" y="25"/>
                  </a:lnTo>
                  <a:lnTo>
                    <a:pt x="139" y="21"/>
                  </a:lnTo>
                  <a:lnTo>
                    <a:pt x="124" y="19"/>
                  </a:lnTo>
                  <a:lnTo>
                    <a:pt x="111" y="17"/>
                  </a:lnTo>
                  <a:lnTo>
                    <a:pt x="94" y="15"/>
                  </a:lnTo>
                  <a:lnTo>
                    <a:pt x="78" y="13"/>
                  </a:lnTo>
                  <a:lnTo>
                    <a:pt x="78" y="13"/>
                  </a:lnTo>
                  <a:lnTo>
                    <a:pt x="73" y="15"/>
                  </a:lnTo>
                  <a:lnTo>
                    <a:pt x="69" y="15"/>
                  </a:lnTo>
                  <a:lnTo>
                    <a:pt x="65" y="17"/>
                  </a:lnTo>
                  <a:lnTo>
                    <a:pt x="61" y="19"/>
                  </a:lnTo>
                  <a:lnTo>
                    <a:pt x="57" y="21"/>
                  </a:lnTo>
                  <a:lnTo>
                    <a:pt x="54" y="23"/>
                  </a:lnTo>
                  <a:lnTo>
                    <a:pt x="50" y="23"/>
                  </a:lnTo>
                  <a:lnTo>
                    <a:pt x="46" y="23"/>
                  </a:lnTo>
                  <a:lnTo>
                    <a:pt x="46" y="23"/>
                  </a:lnTo>
                  <a:lnTo>
                    <a:pt x="35" y="23"/>
                  </a:lnTo>
                  <a:lnTo>
                    <a:pt x="27" y="25"/>
                  </a:lnTo>
                  <a:lnTo>
                    <a:pt x="17" y="25"/>
                  </a:lnTo>
                  <a:lnTo>
                    <a:pt x="12" y="27"/>
                  </a:lnTo>
                  <a:lnTo>
                    <a:pt x="8" y="30"/>
                  </a:lnTo>
                  <a:lnTo>
                    <a:pt x="4" y="34"/>
                  </a:lnTo>
                  <a:lnTo>
                    <a:pt x="2" y="42"/>
                  </a:lnTo>
                  <a:lnTo>
                    <a:pt x="0" y="4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67" name="Freeform 111"/>
            <p:cNvSpPr>
              <a:spLocks/>
            </p:cNvSpPr>
            <p:nvPr/>
          </p:nvSpPr>
          <p:spPr bwMode="gray">
            <a:xfrm>
              <a:off x="3420" y="1779"/>
              <a:ext cx="73" cy="79"/>
            </a:xfrm>
            <a:custGeom>
              <a:avLst/>
              <a:gdLst/>
              <a:ahLst/>
              <a:cxnLst>
                <a:cxn ang="0">
                  <a:pos x="103" y="130"/>
                </a:cxn>
                <a:cxn ang="0">
                  <a:pos x="101" y="126"/>
                </a:cxn>
                <a:cxn ang="0">
                  <a:pos x="97" y="122"/>
                </a:cxn>
                <a:cxn ang="0">
                  <a:pos x="94" y="120"/>
                </a:cxn>
                <a:cxn ang="0">
                  <a:pos x="88" y="118"/>
                </a:cxn>
                <a:cxn ang="0">
                  <a:pos x="82" y="120"/>
                </a:cxn>
                <a:cxn ang="0">
                  <a:pos x="69" y="126"/>
                </a:cxn>
                <a:cxn ang="0">
                  <a:pos x="52" y="133"/>
                </a:cxn>
                <a:cxn ang="0">
                  <a:pos x="35" y="139"/>
                </a:cxn>
                <a:cxn ang="0">
                  <a:pos x="0" y="143"/>
                </a:cxn>
                <a:cxn ang="0">
                  <a:pos x="2" y="137"/>
                </a:cxn>
                <a:cxn ang="0">
                  <a:pos x="4" y="122"/>
                </a:cxn>
                <a:cxn ang="0">
                  <a:pos x="2" y="107"/>
                </a:cxn>
                <a:cxn ang="0">
                  <a:pos x="0" y="90"/>
                </a:cxn>
                <a:cxn ang="0">
                  <a:pos x="0" y="82"/>
                </a:cxn>
                <a:cxn ang="0">
                  <a:pos x="2" y="69"/>
                </a:cxn>
                <a:cxn ang="0">
                  <a:pos x="10" y="55"/>
                </a:cxn>
                <a:cxn ang="0">
                  <a:pos x="19" y="44"/>
                </a:cxn>
                <a:cxn ang="0">
                  <a:pos x="33" y="32"/>
                </a:cxn>
                <a:cxn ang="0">
                  <a:pos x="46" y="21"/>
                </a:cxn>
                <a:cxn ang="0">
                  <a:pos x="61" y="13"/>
                </a:cxn>
                <a:cxn ang="0">
                  <a:pos x="75" y="6"/>
                </a:cxn>
                <a:cxn ang="0">
                  <a:pos x="86" y="0"/>
                </a:cxn>
                <a:cxn ang="0">
                  <a:pos x="94" y="0"/>
                </a:cxn>
                <a:cxn ang="0">
                  <a:pos x="107" y="9"/>
                </a:cxn>
                <a:cxn ang="0">
                  <a:pos x="118" y="21"/>
                </a:cxn>
                <a:cxn ang="0">
                  <a:pos x="126" y="34"/>
                </a:cxn>
                <a:cxn ang="0">
                  <a:pos x="128" y="42"/>
                </a:cxn>
                <a:cxn ang="0">
                  <a:pos x="120" y="53"/>
                </a:cxn>
                <a:cxn ang="0">
                  <a:pos x="103" y="67"/>
                </a:cxn>
                <a:cxn ang="0">
                  <a:pos x="84" y="82"/>
                </a:cxn>
                <a:cxn ang="0">
                  <a:pos x="71" y="92"/>
                </a:cxn>
                <a:cxn ang="0">
                  <a:pos x="77" y="92"/>
                </a:cxn>
                <a:cxn ang="0">
                  <a:pos x="90" y="93"/>
                </a:cxn>
                <a:cxn ang="0">
                  <a:pos x="103" y="95"/>
                </a:cxn>
                <a:cxn ang="0">
                  <a:pos x="115" y="97"/>
                </a:cxn>
                <a:cxn ang="0">
                  <a:pos x="118" y="97"/>
                </a:cxn>
                <a:cxn ang="0">
                  <a:pos x="117" y="107"/>
                </a:cxn>
                <a:cxn ang="0">
                  <a:pos x="113" y="113"/>
                </a:cxn>
                <a:cxn ang="0">
                  <a:pos x="107" y="118"/>
                </a:cxn>
                <a:cxn ang="0">
                  <a:pos x="101" y="122"/>
                </a:cxn>
                <a:cxn ang="0">
                  <a:pos x="103" y="130"/>
                </a:cxn>
              </a:cxnLst>
              <a:rect l="0" t="0" r="r" b="b"/>
              <a:pathLst>
                <a:path w="128" h="143">
                  <a:moveTo>
                    <a:pt x="103" y="130"/>
                  </a:moveTo>
                  <a:lnTo>
                    <a:pt x="103" y="130"/>
                  </a:lnTo>
                  <a:lnTo>
                    <a:pt x="103" y="128"/>
                  </a:lnTo>
                  <a:lnTo>
                    <a:pt x="101" y="126"/>
                  </a:lnTo>
                  <a:lnTo>
                    <a:pt x="99" y="124"/>
                  </a:lnTo>
                  <a:lnTo>
                    <a:pt x="97" y="122"/>
                  </a:lnTo>
                  <a:lnTo>
                    <a:pt x="96" y="122"/>
                  </a:lnTo>
                  <a:lnTo>
                    <a:pt x="94" y="120"/>
                  </a:lnTo>
                  <a:lnTo>
                    <a:pt x="90" y="118"/>
                  </a:lnTo>
                  <a:lnTo>
                    <a:pt x="88" y="118"/>
                  </a:lnTo>
                  <a:lnTo>
                    <a:pt x="88" y="118"/>
                  </a:lnTo>
                  <a:lnTo>
                    <a:pt x="82" y="120"/>
                  </a:lnTo>
                  <a:lnTo>
                    <a:pt x="77" y="122"/>
                  </a:lnTo>
                  <a:lnTo>
                    <a:pt x="69" y="126"/>
                  </a:lnTo>
                  <a:lnTo>
                    <a:pt x="61" y="128"/>
                  </a:lnTo>
                  <a:lnTo>
                    <a:pt x="52" y="133"/>
                  </a:lnTo>
                  <a:lnTo>
                    <a:pt x="42" y="137"/>
                  </a:lnTo>
                  <a:lnTo>
                    <a:pt x="35" y="139"/>
                  </a:lnTo>
                  <a:lnTo>
                    <a:pt x="27" y="143"/>
                  </a:lnTo>
                  <a:lnTo>
                    <a:pt x="0" y="143"/>
                  </a:lnTo>
                  <a:lnTo>
                    <a:pt x="0" y="143"/>
                  </a:lnTo>
                  <a:lnTo>
                    <a:pt x="2" y="137"/>
                  </a:lnTo>
                  <a:lnTo>
                    <a:pt x="4" y="130"/>
                  </a:lnTo>
                  <a:lnTo>
                    <a:pt x="4" y="122"/>
                  </a:lnTo>
                  <a:lnTo>
                    <a:pt x="4" y="114"/>
                  </a:lnTo>
                  <a:lnTo>
                    <a:pt x="2" y="107"/>
                  </a:lnTo>
                  <a:lnTo>
                    <a:pt x="2" y="97"/>
                  </a:lnTo>
                  <a:lnTo>
                    <a:pt x="0" y="90"/>
                  </a:lnTo>
                  <a:lnTo>
                    <a:pt x="0" y="82"/>
                  </a:lnTo>
                  <a:lnTo>
                    <a:pt x="0" y="82"/>
                  </a:lnTo>
                  <a:lnTo>
                    <a:pt x="0" y="74"/>
                  </a:lnTo>
                  <a:lnTo>
                    <a:pt x="2" y="69"/>
                  </a:lnTo>
                  <a:lnTo>
                    <a:pt x="6" y="63"/>
                  </a:lnTo>
                  <a:lnTo>
                    <a:pt x="10" y="55"/>
                  </a:lnTo>
                  <a:lnTo>
                    <a:pt x="14" y="50"/>
                  </a:lnTo>
                  <a:lnTo>
                    <a:pt x="19" y="44"/>
                  </a:lnTo>
                  <a:lnTo>
                    <a:pt x="25" y="38"/>
                  </a:lnTo>
                  <a:lnTo>
                    <a:pt x="33" y="32"/>
                  </a:lnTo>
                  <a:lnTo>
                    <a:pt x="38" y="27"/>
                  </a:lnTo>
                  <a:lnTo>
                    <a:pt x="46" y="21"/>
                  </a:lnTo>
                  <a:lnTo>
                    <a:pt x="54" y="17"/>
                  </a:lnTo>
                  <a:lnTo>
                    <a:pt x="61" y="13"/>
                  </a:lnTo>
                  <a:lnTo>
                    <a:pt x="67" y="8"/>
                  </a:lnTo>
                  <a:lnTo>
                    <a:pt x="75" y="6"/>
                  </a:lnTo>
                  <a:lnTo>
                    <a:pt x="80" y="2"/>
                  </a:lnTo>
                  <a:lnTo>
                    <a:pt x="86" y="0"/>
                  </a:lnTo>
                  <a:lnTo>
                    <a:pt x="86" y="0"/>
                  </a:lnTo>
                  <a:lnTo>
                    <a:pt x="94" y="0"/>
                  </a:lnTo>
                  <a:lnTo>
                    <a:pt x="101" y="4"/>
                  </a:lnTo>
                  <a:lnTo>
                    <a:pt x="107" y="9"/>
                  </a:lnTo>
                  <a:lnTo>
                    <a:pt x="115" y="13"/>
                  </a:lnTo>
                  <a:lnTo>
                    <a:pt x="118" y="21"/>
                  </a:lnTo>
                  <a:lnTo>
                    <a:pt x="124" y="27"/>
                  </a:lnTo>
                  <a:lnTo>
                    <a:pt x="126" y="34"/>
                  </a:lnTo>
                  <a:lnTo>
                    <a:pt x="128" y="42"/>
                  </a:lnTo>
                  <a:lnTo>
                    <a:pt x="128" y="42"/>
                  </a:lnTo>
                  <a:lnTo>
                    <a:pt x="126" y="48"/>
                  </a:lnTo>
                  <a:lnTo>
                    <a:pt x="120" y="53"/>
                  </a:lnTo>
                  <a:lnTo>
                    <a:pt x="113" y="59"/>
                  </a:lnTo>
                  <a:lnTo>
                    <a:pt x="103" y="67"/>
                  </a:lnTo>
                  <a:lnTo>
                    <a:pt x="94" y="74"/>
                  </a:lnTo>
                  <a:lnTo>
                    <a:pt x="84" y="82"/>
                  </a:lnTo>
                  <a:lnTo>
                    <a:pt x="77" y="88"/>
                  </a:lnTo>
                  <a:lnTo>
                    <a:pt x="71" y="92"/>
                  </a:lnTo>
                  <a:lnTo>
                    <a:pt x="71" y="92"/>
                  </a:lnTo>
                  <a:lnTo>
                    <a:pt x="77" y="92"/>
                  </a:lnTo>
                  <a:lnTo>
                    <a:pt x="84" y="93"/>
                  </a:lnTo>
                  <a:lnTo>
                    <a:pt x="90" y="93"/>
                  </a:lnTo>
                  <a:lnTo>
                    <a:pt x="97" y="95"/>
                  </a:lnTo>
                  <a:lnTo>
                    <a:pt x="103" y="95"/>
                  </a:lnTo>
                  <a:lnTo>
                    <a:pt x="109" y="97"/>
                  </a:lnTo>
                  <a:lnTo>
                    <a:pt x="115" y="97"/>
                  </a:lnTo>
                  <a:lnTo>
                    <a:pt x="118" y="97"/>
                  </a:lnTo>
                  <a:lnTo>
                    <a:pt x="118" y="97"/>
                  </a:lnTo>
                  <a:lnTo>
                    <a:pt x="117" y="103"/>
                  </a:lnTo>
                  <a:lnTo>
                    <a:pt x="117" y="107"/>
                  </a:lnTo>
                  <a:lnTo>
                    <a:pt x="115" y="111"/>
                  </a:lnTo>
                  <a:lnTo>
                    <a:pt x="113" y="113"/>
                  </a:lnTo>
                  <a:lnTo>
                    <a:pt x="111" y="116"/>
                  </a:lnTo>
                  <a:lnTo>
                    <a:pt x="107" y="118"/>
                  </a:lnTo>
                  <a:lnTo>
                    <a:pt x="105" y="120"/>
                  </a:lnTo>
                  <a:lnTo>
                    <a:pt x="101" y="122"/>
                  </a:lnTo>
                  <a:lnTo>
                    <a:pt x="103" y="122"/>
                  </a:lnTo>
                  <a:lnTo>
                    <a:pt x="103" y="13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68" name="Freeform 112"/>
            <p:cNvSpPr>
              <a:spLocks/>
            </p:cNvSpPr>
            <p:nvPr/>
          </p:nvSpPr>
          <p:spPr bwMode="gray">
            <a:xfrm>
              <a:off x="3405" y="1788"/>
              <a:ext cx="425" cy="637"/>
            </a:xfrm>
            <a:custGeom>
              <a:avLst/>
              <a:gdLst/>
              <a:ahLst/>
              <a:cxnLst>
                <a:cxn ang="0">
                  <a:pos x="54" y="723"/>
                </a:cxn>
                <a:cxn ang="0">
                  <a:pos x="29" y="763"/>
                </a:cxn>
                <a:cxn ang="0">
                  <a:pos x="0" y="788"/>
                </a:cxn>
                <a:cxn ang="0">
                  <a:pos x="60" y="1147"/>
                </a:cxn>
                <a:cxn ang="0">
                  <a:pos x="81" y="1122"/>
                </a:cxn>
                <a:cxn ang="0">
                  <a:pos x="104" y="1080"/>
                </a:cxn>
                <a:cxn ang="0">
                  <a:pos x="138" y="1048"/>
                </a:cxn>
                <a:cxn ang="0">
                  <a:pos x="168" y="1013"/>
                </a:cxn>
                <a:cxn ang="0">
                  <a:pos x="218" y="962"/>
                </a:cxn>
                <a:cxn ang="0">
                  <a:pos x="271" y="914"/>
                </a:cxn>
                <a:cxn ang="0">
                  <a:pos x="329" y="866"/>
                </a:cxn>
                <a:cxn ang="0">
                  <a:pos x="384" y="819"/>
                </a:cxn>
                <a:cxn ang="0">
                  <a:pos x="434" y="767"/>
                </a:cxn>
                <a:cxn ang="0">
                  <a:pos x="472" y="727"/>
                </a:cxn>
                <a:cxn ang="0">
                  <a:pos x="508" y="685"/>
                </a:cxn>
                <a:cxn ang="0">
                  <a:pos x="550" y="622"/>
                </a:cxn>
                <a:cxn ang="0">
                  <a:pos x="590" y="555"/>
                </a:cxn>
                <a:cxn ang="0">
                  <a:pos x="607" y="508"/>
                </a:cxn>
                <a:cxn ang="0">
                  <a:pos x="619" y="468"/>
                </a:cxn>
                <a:cxn ang="0">
                  <a:pos x="632" y="429"/>
                </a:cxn>
                <a:cxn ang="0">
                  <a:pos x="651" y="389"/>
                </a:cxn>
                <a:cxn ang="0">
                  <a:pos x="680" y="334"/>
                </a:cxn>
                <a:cxn ang="0">
                  <a:pos x="704" y="283"/>
                </a:cxn>
                <a:cxn ang="0">
                  <a:pos x="718" y="250"/>
                </a:cxn>
                <a:cxn ang="0">
                  <a:pos x="729" y="218"/>
                </a:cxn>
                <a:cxn ang="0">
                  <a:pos x="731" y="174"/>
                </a:cxn>
                <a:cxn ang="0">
                  <a:pos x="737" y="138"/>
                </a:cxn>
                <a:cxn ang="0">
                  <a:pos x="750" y="122"/>
                </a:cxn>
                <a:cxn ang="0">
                  <a:pos x="744" y="88"/>
                </a:cxn>
                <a:cxn ang="0">
                  <a:pos x="741" y="54"/>
                </a:cxn>
                <a:cxn ang="0">
                  <a:pos x="743" y="31"/>
                </a:cxn>
                <a:cxn ang="0">
                  <a:pos x="750" y="0"/>
                </a:cxn>
                <a:cxn ang="0">
                  <a:pos x="737" y="0"/>
                </a:cxn>
                <a:cxn ang="0">
                  <a:pos x="710" y="4"/>
                </a:cxn>
                <a:cxn ang="0">
                  <a:pos x="687" y="25"/>
                </a:cxn>
                <a:cxn ang="0">
                  <a:pos x="664" y="46"/>
                </a:cxn>
                <a:cxn ang="0">
                  <a:pos x="611" y="59"/>
                </a:cxn>
                <a:cxn ang="0">
                  <a:pos x="540" y="67"/>
                </a:cxn>
                <a:cxn ang="0">
                  <a:pos x="464" y="84"/>
                </a:cxn>
                <a:cxn ang="0">
                  <a:pos x="441" y="98"/>
                </a:cxn>
                <a:cxn ang="0">
                  <a:pos x="414" y="118"/>
                </a:cxn>
                <a:cxn ang="0">
                  <a:pos x="386" y="128"/>
                </a:cxn>
                <a:cxn ang="0">
                  <a:pos x="355" y="120"/>
                </a:cxn>
                <a:cxn ang="0">
                  <a:pos x="325" y="122"/>
                </a:cxn>
                <a:cxn ang="0">
                  <a:pos x="294" y="145"/>
                </a:cxn>
                <a:cxn ang="0">
                  <a:pos x="254" y="162"/>
                </a:cxn>
                <a:cxn ang="0">
                  <a:pos x="212" y="153"/>
                </a:cxn>
                <a:cxn ang="0">
                  <a:pos x="176" y="118"/>
                </a:cxn>
                <a:cxn ang="0">
                  <a:pos x="145" y="82"/>
                </a:cxn>
                <a:cxn ang="0">
                  <a:pos x="138" y="101"/>
                </a:cxn>
                <a:cxn ang="0">
                  <a:pos x="119" y="117"/>
                </a:cxn>
                <a:cxn ang="0">
                  <a:pos x="98" y="155"/>
                </a:cxn>
                <a:cxn ang="0">
                  <a:pos x="117" y="174"/>
                </a:cxn>
                <a:cxn ang="0">
                  <a:pos x="136" y="199"/>
                </a:cxn>
                <a:cxn ang="0">
                  <a:pos x="165" y="241"/>
                </a:cxn>
                <a:cxn ang="0">
                  <a:pos x="201" y="273"/>
                </a:cxn>
                <a:cxn ang="0">
                  <a:pos x="304" y="611"/>
                </a:cxn>
                <a:cxn ang="0">
                  <a:pos x="184" y="635"/>
                </a:cxn>
                <a:cxn ang="0">
                  <a:pos x="130" y="670"/>
                </a:cxn>
                <a:cxn ang="0">
                  <a:pos x="69" y="693"/>
                </a:cxn>
              </a:cxnLst>
              <a:rect l="0" t="0" r="r" b="b"/>
              <a:pathLst>
                <a:path w="750" h="1160">
                  <a:moveTo>
                    <a:pt x="60" y="695"/>
                  </a:moveTo>
                  <a:lnTo>
                    <a:pt x="60" y="695"/>
                  </a:lnTo>
                  <a:lnTo>
                    <a:pt x="60" y="702"/>
                  </a:lnTo>
                  <a:lnTo>
                    <a:pt x="58" y="708"/>
                  </a:lnTo>
                  <a:lnTo>
                    <a:pt x="58" y="716"/>
                  </a:lnTo>
                  <a:lnTo>
                    <a:pt x="54" y="723"/>
                  </a:lnTo>
                  <a:lnTo>
                    <a:pt x="52" y="729"/>
                  </a:lnTo>
                  <a:lnTo>
                    <a:pt x="48" y="737"/>
                  </a:lnTo>
                  <a:lnTo>
                    <a:pt x="44" y="744"/>
                  </a:lnTo>
                  <a:lnTo>
                    <a:pt x="39" y="750"/>
                  </a:lnTo>
                  <a:lnTo>
                    <a:pt x="35" y="758"/>
                  </a:lnTo>
                  <a:lnTo>
                    <a:pt x="29" y="763"/>
                  </a:lnTo>
                  <a:lnTo>
                    <a:pt x="25" y="769"/>
                  </a:lnTo>
                  <a:lnTo>
                    <a:pt x="20" y="773"/>
                  </a:lnTo>
                  <a:lnTo>
                    <a:pt x="16" y="779"/>
                  </a:lnTo>
                  <a:lnTo>
                    <a:pt x="10" y="782"/>
                  </a:lnTo>
                  <a:lnTo>
                    <a:pt x="6" y="786"/>
                  </a:lnTo>
                  <a:lnTo>
                    <a:pt x="0" y="788"/>
                  </a:lnTo>
                  <a:lnTo>
                    <a:pt x="0" y="1090"/>
                  </a:lnTo>
                  <a:lnTo>
                    <a:pt x="50" y="1160"/>
                  </a:lnTo>
                  <a:lnTo>
                    <a:pt x="50" y="1160"/>
                  </a:lnTo>
                  <a:lnTo>
                    <a:pt x="54" y="1156"/>
                  </a:lnTo>
                  <a:lnTo>
                    <a:pt x="58" y="1151"/>
                  </a:lnTo>
                  <a:lnTo>
                    <a:pt x="60" y="1147"/>
                  </a:lnTo>
                  <a:lnTo>
                    <a:pt x="63" y="1143"/>
                  </a:lnTo>
                  <a:lnTo>
                    <a:pt x="67" y="1137"/>
                  </a:lnTo>
                  <a:lnTo>
                    <a:pt x="73" y="1133"/>
                  </a:lnTo>
                  <a:lnTo>
                    <a:pt x="77" y="1128"/>
                  </a:lnTo>
                  <a:lnTo>
                    <a:pt x="81" y="1122"/>
                  </a:lnTo>
                  <a:lnTo>
                    <a:pt x="81" y="1122"/>
                  </a:lnTo>
                  <a:lnTo>
                    <a:pt x="83" y="1114"/>
                  </a:lnTo>
                  <a:lnTo>
                    <a:pt x="86" y="1107"/>
                  </a:lnTo>
                  <a:lnTo>
                    <a:pt x="90" y="1099"/>
                  </a:lnTo>
                  <a:lnTo>
                    <a:pt x="94" y="1091"/>
                  </a:lnTo>
                  <a:lnTo>
                    <a:pt x="100" y="1086"/>
                  </a:lnTo>
                  <a:lnTo>
                    <a:pt x="104" y="1080"/>
                  </a:lnTo>
                  <a:lnTo>
                    <a:pt x="109" y="1074"/>
                  </a:lnTo>
                  <a:lnTo>
                    <a:pt x="115" y="1069"/>
                  </a:lnTo>
                  <a:lnTo>
                    <a:pt x="119" y="1063"/>
                  </a:lnTo>
                  <a:lnTo>
                    <a:pt x="126" y="1059"/>
                  </a:lnTo>
                  <a:lnTo>
                    <a:pt x="132" y="1053"/>
                  </a:lnTo>
                  <a:lnTo>
                    <a:pt x="138" y="1048"/>
                  </a:lnTo>
                  <a:lnTo>
                    <a:pt x="144" y="1042"/>
                  </a:lnTo>
                  <a:lnTo>
                    <a:pt x="149" y="1036"/>
                  </a:lnTo>
                  <a:lnTo>
                    <a:pt x="155" y="1030"/>
                  </a:lnTo>
                  <a:lnTo>
                    <a:pt x="161" y="1023"/>
                  </a:lnTo>
                  <a:lnTo>
                    <a:pt x="161" y="1023"/>
                  </a:lnTo>
                  <a:lnTo>
                    <a:pt x="168" y="1013"/>
                  </a:lnTo>
                  <a:lnTo>
                    <a:pt x="176" y="1004"/>
                  </a:lnTo>
                  <a:lnTo>
                    <a:pt x="184" y="996"/>
                  </a:lnTo>
                  <a:lnTo>
                    <a:pt x="191" y="987"/>
                  </a:lnTo>
                  <a:lnTo>
                    <a:pt x="201" y="979"/>
                  </a:lnTo>
                  <a:lnTo>
                    <a:pt x="208" y="969"/>
                  </a:lnTo>
                  <a:lnTo>
                    <a:pt x="218" y="962"/>
                  </a:lnTo>
                  <a:lnTo>
                    <a:pt x="226" y="954"/>
                  </a:lnTo>
                  <a:lnTo>
                    <a:pt x="235" y="945"/>
                  </a:lnTo>
                  <a:lnTo>
                    <a:pt x="245" y="937"/>
                  </a:lnTo>
                  <a:lnTo>
                    <a:pt x="254" y="929"/>
                  </a:lnTo>
                  <a:lnTo>
                    <a:pt x="262" y="922"/>
                  </a:lnTo>
                  <a:lnTo>
                    <a:pt x="271" y="914"/>
                  </a:lnTo>
                  <a:lnTo>
                    <a:pt x="281" y="906"/>
                  </a:lnTo>
                  <a:lnTo>
                    <a:pt x="290" y="899"/>
                  </a:lnTo>
                  <a:lnTo>
                    <a:pt x="300" y="891"/>
                  </a:lnTo>
                  <a:lnTo>
                    <a:pt x="310" y="883"/>
                  </a:lnTo>
                  <a:lnTo>
                    <a:pt x="319" y="876"/>
                  </a:lnTo>
                  <a:lnTo>
                    <a:pt x="329" y="866"/>
                  </a:lnTo>
                  <a:lnTo>
                    <a:pt x="338" y="859"/>
                  </a:lnTo>
                  <a:lnTo>
                    <a:pt x="346" y="851"/>
                  </a:lnTo>
                  <a:lnTo>
                    <a:pt x="355" y="843"/>
                  </a:lnTo>
                  <a:lnTo>
                    <a:pt x="365" y="836"/>
                  </a:lnTo>
                  <a:lnTo>
                    <a:pt x="374" y="826"/>
                  </a:lnTo>
                  <a:lnTo>
                    <a:pt x="384" y="819"/>
                  </a:lnTo>
                  <a:lnTo>
                    <a:pt x="392" y="811"/>
                  </a:lnTo>
                  <a:lnTo>
                    <a:pt x="401" y="801"/>
                  </a:lnTo>
                  <a:lnTo>
                    <a:pt x="409" y="794"/>
                  </a:lnTo>
                  <a:lnTo>
                    <a:pt x="416" y="784"/>
                  </a:lnTo>
                  <a:lnTo>
                    <a:pt x="426" y="775"/>
                  </a:lnTo>
                  <a:lnTo>
                    <a:pt x="434" y="767"/>
                  </a:lnTo>
                  <a:lnTo>
                    <a:pt x="441" y="758"/>
                  </a:lnTo>
                  <a:lnTo>
                    <a:pt x="441" y="758"/>
                  </a:lnTo>
                  <a:lnTo>
                    <a:pt x="449" y="748"/>
                  </a:lnTo>
                  <a:lnTo>
                    <a:pt x="456" y="740"/>
                  </a:lnTo>
                  <a:lnTo>
                    <a:pt x="464" y="735"/>
                  </a:lnTo>
                  <a:lnTo>
                    <a:pt x="472" y="727"/>
                  </a:lnTo>
                  <a:lnTo>
                    <a:pt x="481" y="719"/>
                  </a:lnTo>
                  <a:lnTo>
                    <a:pt x="489" y="712"/>
                  </a:lnTo>
                  <a:lnTo>
                    <a:pt x="496" y="704"/>
                  </a:lnTo>
                  <a:lnTo>
                    <a:pt x="502" y="695"/>
                  </a:lnTo>
                  <a:lnTo>
                    <a:pt x="502" y="695"/>
                  </a:lnTo>
                  <a:lnTo>
                    <a:pt x="508" y="685"/>
                  </a:lnTo>
                  <a:lnTo>
                    <a:pt x="514" y="676"/>
                  </a:lnTo>
                  <a:lnTo>
                    <a:pt x="521" y="664"/>
                  </a:lnTo>
                  <a:lnTo>
                    <a:pt x="529" y="655"/>
                  </a:lnTo>
                  <a:lnTo>
                    <a:pt x="535" y="643"/>
                  </a:lnTo>
                  <a:lnTo>
                    <a:pt x="542" y="634"/>
                  </a:lnTo>
                  <a:lnTo>
                    <a:pt x="550" y="622"/>
                  </a:lnTo>
                  <a:lnTo>
                    <a:pt x="557" y="611"/>
                  </a:lnTo>
                  <a:lnTo>
                    <a:pt x="565" y="599"/>
                  </a:lnTo>
                  <a:lnTo>
                    <a:pt x="571" y="588"/>
                  </a:lnTo>
                  <a:lnTo>
                    <a:pt x="578" y="576"/>
                  </a:lnTo>
                  <a:lnTo>
                    <a:pt x="584" y="567"/>
                  </a:lnTo>
                  <a:lnTo>
                    <a:pt x="590" y="555"/>
                  </a:lnTo>
                  <a:lnTo>
                    <a:pt x="596" y="544"/>
                  </a:lnTo>
                  <a:lnTo>
                    <a:pt x="599" y="534"/>
                  </a:lnTo>
                  <a:lnTo>
                    <a:pt x="603" y="523"/>
                  </a:lnTo>
                  <a:lnTo>
                    <a:pt x="603" y="523"/>
                  </a:lnTo>
                  <a:lnTo>
                    <a:pt x="605" y="515"/>
                  </a:lnTo>
                  <a:lnTo>
                    <a:pt x="607" y="508"/>
                  </a:lnTo>
                  <a:lnTo>
                    <a:pt x="611" y="500"/>
                  </a:lnTo>
                  <a:lnTo>
                    <a:pt x="613" y="492"/>
                  </a:lnTo>
                  <a:lnTo>
                    <a:pt x="613" y="487"/>
                  </a:lnTo>
                  <a:lnTo>
                    <a:pt x="615" y="481"/>
                  </a:lnTo>
                  <a:lnTo>
                    <a:pt x="617" y="473"/>
                  </a:lnTo>
                  <a:lnTo>
                    <a:pt x="619" y="468"/>
                  </a:lnTo>
                  <a:lnTo>
                    <a:pt x="620" y="462"/>
                  </a:lnTo>
                  <a:lnTo>
                    <a:pt x="622" y="456"/>
                  </a:lnTo>
                  <a:lnTo>
                    <a:pt x="624" y="449"/>
                  </a:lnTo>
                  <a:lnTo>
                    <a:pt x="626" y="443"/>
                  </a:lnTo>
                  <a:lnTo>
                    <a:pt x="630" y="435"/>
                  </a:lnTo>
                  <a:lnTo>
                    <a:pt x="632" y="429"/>
                  </a:lnTo>
                  <a:lnTo>
                    <a:pt x="636" y="422"/>
                  </a:lnTo>
                  <a:lnTo>
                    <a:pt x="640" y="414"/>
                  </a:lnTo>
                  <a:lnTo>
                    <a:pt x="640" y="414"/>
                  </a:lnTo>
                  <a:lnTo>
                    <a:pt x="643" y="407"/>
                  </a:lnTo>
                  <a:lnTo>
                    <a:pt x="647" y="399"/>
                  </a:lnTo>
                  <a:lnTo>
                    <a:pt x="651" y="389"/>
                  </a:lnTo>
                  <a:lnTo>
                    <a:pt x="655" y="382"/>
                  </a:lnTo>
                  <a:lnTo>
                    <a:pt x="661" y="372"/>
                  </a:lnTo>
                  <a:lnTo>
                    <a:pt x="664" y="363"/>
                  </a:lnTo>
                  <a:lnTo>
                    <a:pt x="670" y="353"/>
                  </a:lnTo>
                  <a:lnTo>
                    <a:pt x="674" y="344"/>
                  </a:lnTo>
                  <a:lnTo>
                    <a:pt x="680" y="334"/>
                  </a:lnTo>
                  <a:lnTo>
                    <a:pt x="683" y="325"/>
                  </a:lnTo>
                  <a:lnTo>
                    <a:pt x="687" y="315"/>
                  </a:lnTo>
                  <a:lnTo>
                    <a:pt x="693" y="305"/>
                  </a:lnTo>
                  <a:lnTo>
                    <a:pt x="697" y="298"/>
                  </a:lnTo>
                  <a:lnTo>
                    <a:pt x="701" y="290"/>
                  </a:lnTo>
                  <a:lnTo>
                    <a:pt x="704" y="283"/>
                  </a:lnTo>
                  <a:lnTo>
                    <a:pt x="706" y="275"/>
                  </a:lnTo>
                  <a:lnTo>
                    <a:pt x="706" y="275"/>
                  </a:lnTo>
                  <a:lnTo>
                    <a:pt x="708" y="269"/>
                  </a:lnTo>
                  <a:lnTo>
                    <a:pt x="712" y="262"/>
                  </a:lnTo>
                  <a:lnTo>
                    <a:pt x="714" y="256"/>
                  </a:lnTo>
                  <a:lnTo>
                    <a:pt x="718" y="250"/>
                  </a:lnTo>
                  <a:lnTo>
                    <a:pt x="720" y="244"/>
                  </a:lnTo>
                  <a:lnTo>
                    <a:pt x="723" y="239"/>
                  </a:lnTo>
                  <a:lnTo>
                    <a:pt x="725" y="231"/>
                  </a:lnTo>
                  <a:lnTo>
                    <a:pt x="727" y="225"/>
                  </a:lnTo>
                  <a:lnTo>
                    <a:pt x="727" y="225"/>
                  </a:lnTo>
                  <a:lnTo>
                    <a:pt x="729" y="218"/>
                  </a:lnTo>
                  <a:lnTo>
                    <a:pt x="731" y="210"/>
                  </a:lnTo>
                  <a:lnTo>
                    <a:pt x="731" y="202"/>
                  </a:lnTo>
                  <a:lnTo>
                    <a:pt x="731" y="195"/>
                  </a:lnTo>
                  <a:lnTo>
                    <a:pt x="731" y="187"/>
                  </a:lnTo>
                  <a:lnTo>
                    <a:pt x="731" y="180"/>
                  </a:lnTo>
                  <a:lnTo>
                    <a:pt x="731" y="174"/>
                  </a:lnTo>
                  <a:lnTo>
                    <a:pt x="731" y="166"/>
                  </a:lnTo>
                  <a:lnTo>
                    <a:pt x="731" y="160"/>
                  </a:lnTo>
                  <a:lnTo>
                    <a:pt x="731" y="155"/>
                  </a:lnTo>
                  <a:lnTo>
                    <a:pt x="733" y="149"/>
                  </a:lnTo>
                  <a:lnTo>
                    <a:pt x="735" y="143"/>
                  </a:lnTo>
                  <a:lnTo>
                    <a:pt x="737" y="138"/>
                  </a:lnTo>
                  <a:lnTo>
                    <a:pt x="741" y="134"/>
                  </a:lnTo>
                  <a:lnTo>
                    <a:pt x="744" y="128"/>
                  </a:lnTo>
                  <a:lnTo>
                    <a:pt x="750" y="124"/>
                  </a:lnTo>
                  <a:lnTo>
                    <a:pt x="750" y="124"/>
                  </a:lnTo>
                  <a:lnTo>
                    <a:pt x="750" y="124"/>
                  </a:lnTo>
                  <a:lnTo>
                    <a:pt x="750" y="122"/>
                  </a:lnTo>
                  <a:lnTo>
                    <a:pt x="750" y="118"/>
                  </a:lnTo>
                  <a:lnTo>
                    <a:pt x="750" y="113"/>
                  </a:lnTo>
                  <a:lnTo>
                    <a:pt x="748" y="109"/>
                  </a:lnTo>
                  <a:lnTo>
                    <a:pt x="746" y="101"/>
                  </a:lnTo>
                  <a:lnTo>
                    <a:pt x="746" y="96"/>
                  </a:lnTo>
                  <a:lnTo>
                    <a:pt x="744" y="88"/>
                  </a:lnTo>
                  <a:lnTo>
                    <a:pt x="744" y="82"/>
                  </a:lnTo>
                  <a:lnTo>
                    <a:pt x="743" y="75"/>
                  </a:lnTo>
                  <a:lnTo>
                    <a:pt x="743" y="69"/>
                  </a:lnTo>
                  <a:lnTo>
                    <a:pt x="741" y="63"/>
                  </a:lnTo>
                  <a:lnTo>
                    <a:pt x="741" y="57"/>
                  </a:lnTo>
                  <a:lnTo>
                    <a:pt x="741" y="54"/>
                  </a:lnTo>
                  <a:lnTo>
                    <a:pt x="739" y="50"/>
                  </a:lnTo>
                  <a:lnTo>
                    <a:pt x="739" y="48"/>
                  </a:lnTo>
                  <a:lnTo>
                    <a:pt x="739" y="48"/>
                  </a:lnTo>
                  <a:lnTo>
                    <a:pt x="741" y="42"/>
                  </a:lnTo>
                  <a:lnTo>
                    <a:pt x="741" y="35"/>
                  </a:lnTo>
                  <a:lnTo>
                    <a:pt x="743" y="31"/>
                  </a:lnTo>
                  <a:lnTo>
                    <a:pt x="744" y="25"/>
                  </a:lnTo>
                  <a:lnTo>
                    <a:pt x="746" y="21"/>
                  </a:lnTo>
                  <a:lnTo>
                    <a:pt x="748" y="15"/>
                  </a:lnTo>
                  <a:lnTo>
                    <a:pt x="750" y="10"/>
                  </a:lnTo>
                  <a:lnTo>
                    <a:pt x="750" y="0"/>
                  </a:lnTo>
                  <a:lnTo>
                    <a:pt x="750" y="0"/>
                  </a:lnTo>
                  <a:lnTo>
                    <a:pt x="748" y="2"/>
                  </a:lnTo>
                  <a:lnTo>
                    <a:pt x="746" y="2"/>
                  </a:lnTo>
                  <a:lnTo>
                    <a:pt x="744" y="2"/>
                  </a:lnTo>
                  <a:lnTo>
                    <a:pt x="743" y="2"/>
                  </a:lnTo>
                  <a:lnTo>
                    <a:pt x="741" y="2"/>
                  </a:lnTo>
                  <a:lnTo>
                    <a:pt x="737" y="0"/>
                  </a:lnTo>
                  <a:lnTo>
                    <a:pt x="733" y="0"/>
                  </a:lnTo>
                  <a:lnTo>
                    <a:pt x="727" y="0"/>
                  </a:lnTo>
                  <a:lnTo>
                    <a:pt x="727" y="0"/>
                  </a:lnTo>
                  <a:lnTo>
                    <a:pt x="722" y="0"/>
                  </a:lnTo>
                  <a:lnTo>
                    <a:pt x="716" y="2"/>
                  </a:lnTo>
                  <a:lnTo>
                    <a:pt x="710" y="4"/>
                  </a:lnTo>
                  <a:lnTo>
                    <a:pt x="706" y="8"/>
                  </a:lnTo>
                  <a:lnTo>
                    <a:pt x="702" y="10"/>
                  </a:lnTo>
                  <a:lnTo>
                    <a:pt x="699" y="14"/>
                  </a:lnTo>
                  <a:lnTo>
                    <a:pt x="695" y="17"/>
                  </a:lnTo>
                  <a:lnTo>
                    <a:pt x="691" y="21"/>
                  </a:lnTo>
                  <a:lnTo>
                    <a:pt x="687" y="25"/>
                  </a:lnTo>
                  <a:lnTo>
                    <a:pt x="683" y="29"/>
                  </a:lnTo>
                  <a:lnTo>
                    <a:pt x="681" y="33"/>
                  </a:lnTo>
                  <a:lnTo>
                    <a:pt x="678" y="36"/>
                  </a:lnTo>
                  <a:lnTo>
                    <a:pt x="674" y="40"/>
                  </a:lnTo>
                  <a:lnTo>
                    <a:pt x="668" y="44"/>
                  </a:lnTo>
                  <a:lnTo>
                    <a:pt x="664" y="46"/>
                  </a:lnTo>
                  <a:lnTo>
                    <a:pt x="659" y="48"/>
                  </a:lnTo>
                  <a:lnTo>
                    <a:pt x="659" y="48"/>
                  </a:lnTo>
                  <a:lnTo>
                    <a:pt x="647" y="52"/>
                  </a:lnTo>
                  <a:lnTo>
                    <a:pt x="634" y="56"/>
                  </a:lnTo>
                  <a:lnTo>
                    <a:pt x="622" y="57"/>
                  </a:lnTo>
                  <a:lnTo>
                    <a:pt x="611" y="59"/>
                  </a:lnTo>
                  <a:lnTo>
                    <a:pt x="599" y="61"/>
                  </a:lnTo>
                  <a:lnTo>
                    <a:pt x="588" y="63"/>
                  </a:lnTo>
                  <a:lnTo>
                    <a:pt x="577" y="63"/>
                  </a:lnTo>
                  <a:lnTo>
                    <a:pt x="563" y="65"/>
                  </a:lnTo>
                  <a:lnTo>
                    <a:pt x="552" y="67"/>
                  </a:lnTo>
                  <a:lnTo>
                    <a:pt x="540" y="67"/>
                  </a:lnTo>
                  <a:lnTo>
                    <a:pt x="529" y="69"/>
                  </a:lnTo>
                  <a:lnTo>
                    <a:pt x="516" y="71"/>
                  </a:lnTo>
                  <a:lnTo>
                    <a:pt x="504" y="73"/>
                  </a:lnTo>
                  <a:lnTo>
                    <a:pt x="491" y="77"/>
                  </a:lnTo>
                  <a:lnTo>
                    <a:pt x="477" y="78"/>
                  </a:lnTo>
                  <a:lnTo>
                    <a:pt x="464" y="84"/>
                  </a:lnTo>
                  <a:lnTo>
                    <a:pt x="464" y="84"/>
                  </a:lnTo>
                  <a:lnTo>
                    <a:pt x="458" y="86"/>
                  </a:lnTo>
                  <a:lnTo>
                    <a:pt x="454" y="88"/>
                  </a:lnTo>
                  <a:lnTo>
                    <a:pt x="449" y="92"/>
                  </a:lnTo>
                  <a:lnTo>
                    <a:pt x="445" y="94"/>
                  </a:lnTo>
                  <a:lnTo>
                    <a:pt x="441" y="98"/>
                  </a:lnTo>
                  <a:lnTo>
                    <a:pt x="437" y="101"/>
                  </a:lnTo>
                  <a:lnTo>
                    <a:pt x="434" y="105"/>
                  </a:lnTo>
                  <a:lnTo>
                    <a:pt x="428" y="109"/>
                  </a:lnTo>
                  <a:lnTo>
                    <a:pt x="424" y="113"/>
                  </a:lnTo>
                  <a:lnTo>
                    <a:pt x="420" y="117"/>
                  </a:lnTo>
                  <a:lnTo>
                    <a:pt x="414" y="118"/>
                  </a:lnTo>
                  <a:lnTo>
                    <a:pt x="411" y="122"/>
                  </a:lnTo>
                  <a:lnTo>
                    <a:pt x="405" y="124"/>
                  </a:lnTo>
                  <a:lnTo>
                    <a:pt x="399" y="126"/>
                  </a:lnTo>
                  <a:lnTo>
                    <a:pt x="392" y="126"/>
                  </a:lnTo>
                  <a:lnTo>
                    <a:pt x="386" y="128"/>
                  </a:lnTo>
                  <a:lnTo>
                    <a:pt x="386" y="128"/>
                  </a:lnTo>
                  <a:lnTo>
                    <a:pt x="380" y="126"/>
                  </a:lnTo>
                  <a:lnTo>
                    <a:pt x="374" y="126"/>
                  </a:lnTo>
                  <a:lnTo>
                    <a:pt x="371" y="124"/>
                  </a:lnTo>
                  <a:lnTo>
                    <a:pt x="365" y="122"/>
                  </a:lnTo>
                  <a:lnTo>
                    <a:pt x="361" y="122"/>
                  </a:lnTo>
                  <a:lnTo>
                    <a:pt x="355" y="120"/>
                  </a:lnTo>
                  <a:lnTo>
                    <a:pt x="351" y="118"/>
                  </a:lnTo>
                  <a:lnTo>
                    <a:pt x="346" y="118"/>
                  </a:lnTo>
                  <a:lnTo>
                    <a:pt x="346" y="118"/>
                  </a:lnTo>
                  <a:lnTo>
                    <a:pt x="338" y="118"/>
                  </a:lnTo>
                  <a:lnTo>
                    <a:pt x="332" y="120"/>
                  </a:lnTo>
                  <a:lnTo>
                    <a:pt x="325" y="122"/>
                  </a:lnTo>
                  <a:lnTo>
                    <a:pt x="319" y="126"/>
                  </a:lnTo>
                  <a:lnTo>
                    <a:pt x="315" y="130"/>
                  </a:lnTo>
                  <a:lnTo>
                    <a:pt x="310" y="134"/>
                  </a:lnTo>
                  <a:lnTo>
                    <a:pt x="304" y="138"/>
                  </a:lnTo>
                  <a:lnTo>
                    <a:pt x="300" y="141"/>
                  </a:lnTo>
                  <a:lnTo>
                    <a:pt x="294" y="145"/>
                  </a:lnTo>
                  <a:lnTo>
                    <a:pt x="289" y="149"/>
                  </a:lnTo>
                  <a:lnTo>
                    <a:pt x="283" y="153"/>
                  </a:lnTo>
                  <a:lnTo>
                    <a:pt x="277" y="157"/>
                  </a:lnTo>
                  <a:lnTo>
                    <a:pt x="269" y="159"/>
                  </a:lnTo>
                  <a:lnTo>
                    <a:pt x="262" y="160"/>
                  </a:lnTo>
                  <a:lnTo>
                    <a:pt x="254" y="162"/>
                  </a:lnTo>
                  <a:lnTo>
                    <a:pt x="245" y="162"/>
                  </a:lnTo>
                  <a:lnTo>
                    <a:pt x="245" y="162"/>
                  </a:lnTo>
                  <a:lnTo>
                    <a:pt x="237" y="162"/>
                  </a:lnTo>
                  <a:lnTo>
                    <a:pt x="227" y="160"/>
                  </a:lnTo>
                  <a:lnTo>
                    <a:pt x="220" y="157"/>
                  </a:lnTo>
                  <a:lnTo>
                    <a:pt x="212" y="153"/>
                  </a:lnTo>
                  <a:lnTo>
                    <a:pt x="207" y="149"/>
                  </a:lnTo>
                  <a:lnTo>
                    <a:pt x="199" y="143"/>
                  </a:lnTo>
                  <a:lnTo>
                    <a:pt x="193" y="138"/>
                  </a:lnTo>
                  <a:lnTo>
                    <a:pt x="187" y="132"/>
                  </a:lnTo>
                  <a:lnTo>
                    <a:pt x="180" y="126"/>
                  </a:lnTo>
                  <a:lnTo>
                    <a:pt x="176" y="118"/>
                  </a:lnTo>
                  <a:lnTo>
                    <a:pt x="168" y="111"/>
                  </a:lnTo>
                  <a:lnTo>
                    <a:pt x="165" y="105"/>
                  </a:lnTo>
                  <a:lnTo>
                    <a:pt x="159" y="99"/>
                  </a:lnTo>
                  <a:lnTo>
                    <a:pt x="155" y="94"/>
                  </a:lnTo>
                  <a:lnTo>
                    <a:pt x="149" y="88"/>
                  </a:lnTo>
                  <a:lnTo>
                    <a:pt x="145" y="82"/>
                  </a:lnTo>
                  <a:lnTo>
                    <a:pt x="145" y="82"/>
                  </a:lnTo>
                  <a:lnTo>
                    <a:pt x="144" y="88"/>
                  </a:lnTo>
                  <a:lnTo>
                    <a:pt x="144" y="92"/>
                  </a:lnTo>
                  <a:lnTo>
                    <a:pt x="142" y="96"/>
                  </a:lnTo>
                  <a:lnTo>
                    <a:pt x="140" y="98"/>
                  </a:lnTo>
                  <a:lnTo>
                    <a:pt x="138" y="101"/>
                  </a:lnTo>
                  <a:lnTo>
                    <a:pt x="134" y="103"/>
                  </a:lnTo>
                  <a:lnTo>
                    <a:pt x="132" y="105"/>
                  </a:lnTo>
                  <a:lnTo>
                    <a:pt x="128" y="107"/>
                  </a:lnTo>
                  <a:lnTo>
                    <a:pt x="128" y="107"/>
                  </a:lnTo>
                  <a:lnTo>
                    <a:pt x="123" y="111"/>
                  </a:lnTo>
                  <a:lnTo>
                    <a:pt x="119" y="117"/>
                  </a:lnTo>
                  <a:lnTo>
                    <a:pt x="113" y="122"/>
                  </a:lnTo>
                  <a:lnTo>
                    <a:pt x="109" y="130"/>
                  </a:lnTo>
                  <a:lnTo>
                    <a:pt x="105" y="138"/>
                  </a:lnTo>
                  <a:lnTo>
                    <a:pt x="102" y="143"/>
                  </a:lnTo>
                  <a:lnTo>
                    <a:pt x="98" y="149"/>
                  </a:lnTo>
                  <a:lnTo>
                    <a:pt x="98" y="155"/>
                  </a:lnTo>
                  <a:lnTo>
                    <a:pt x="98" y="155"/>
                  </a:lnTo>
                  <a:lnTo>
                    <a:pt x="100" y="157"/>
                  </a:lnTo>
                  <a:lnTo>
                    <a:pt x="102" y="159"/>
                  </a:lnTo>
                  <a:lnTo>
                    <a:pt x="105" y="162"/>
                  </a:lnTo>
                  <a:lnTo>
                    <a:pt x="111" y="168"/>
                  </a:lnTo>
                  <a:lnTo>
                    <a:pt x="117" y="174"/>
                  </a:lnTo>
                  <a:lnTo>
                    <a:pt x="121" y="178"/>
                  </a:lnTo>
                  <a:lnTo>
                    <a:pt x="123" y="181"/>
                  </a:lnTo>
                  <a:lnTo>
                    <a:pt x="124" y="183"/>
                  </a:lnTo>
                  <a:lnTo>
                    <a:pt x="124" y="183"/>
                  </a:lnTo>
                  <a:lnTo>
                    <a:pt x="130" y="191"/>
                  </a:lnTo>
                  <a:lnTo>
                    <a:pt x="136" y="199"/>
                  </a:lnTo>
                  <a:lnTo>
                    <a:pt x="140" y="206"/>
                  </a:lnTo>
                  <a:lnTo>
                    <a:pt x="145" y="214"/>
                  </a:lnTo>
                  <a:lnTo>
                    <a:pt x="149" y="222"/>
                  </a:lnTo>
                  <a:lnTo>
                    <a:pt x="155" y="227"/>
                  </a:lnTo>
                  <a:lnTo>
                    <a:pt x="159" y="235"/>
                  </a:lnTo>
                  <a:lnTo>
                    <a:pt x="165" y="241"/>
                  </a:lnTo>
                  <a:lnTo>
                    <a:pt x="168" y="246"/>
                  </a:lnTo>
                  <a:lnTo>
                    <a:pt x="174" y="254"/>
                  </a:lnTo>
                  <a:lnTo>
                    <a:pt x="180" y="260"/>
                  </a:lnTo>
                  <a:lnTo>
                    <a:pt x="187" y="263"/>
                  </a:lnTo>
                  <a:lnTo>
                    <a:pt x="193" y="269"/>
                  </a:lnTo>
                  <a:lnTo>
                    <a:pt x="201" y="273"/>
                  </a:lnTo>
                  <a:lnTo>
                    <a:pt x="208" y="277"/>
                  </a:lnTo>
                  <a:lnTo>
                    <a:pt x="216" y="281"/>
                  </a:lnTo>
                  <a:lnTo>
                    <a:pt x="435" y="349"/>
                  </a:lnTo>
                  <a:lnTo>
                    <a:pt x="521" y="349"/>
                  </a:lnTo>
                  <a:lnTo>
                    <a:pt x="521" y="346"/>
                  </a:lnTo>
                  <a:lnTo>
                    <a:pt x="304" y="611"/>
                  </a:lnTo>
                  <a:lnTo>
                    <a:pt x="210" y="611"/>
                  </a:lnTo>
                  <a:lnTo>
                    <a:pt x="210" y="611"/>
                  </a:lnTo>
                  <a:lnTo>
                    <a:pt x="205" y="618"/>
                  </a:lnTo>
                  <a:lnTo>
                    <a:pt x="197" y="624"/>
                  </a:lnTo>
                  <a:lnTo>
                    <a:pt x="191" y="630"/>
                  </a:lnTo>
                  <a:lnTo>
                    <a:pt x="184" y="635"/>
                  </a:lnTo>
                  <a:lnTo>
                    <a:pt x="176" y="643"/>
                  </a:lnTo>
                  <a:lnTo>
                    <a:pt x="166" y="649"/>
                  </a:lnTo>
                  <a:lnTo>
                    <a:pt x="159" y="655"/>
                  </a:lnTo>
                  <a:lnTo>
                    <a:pt x="149" y="660"/>
                  </a:lnTo>
                  <a:lnTo>
                    <a:pt x="140" y="664"/>
                  </a:lnTo>
                  <a:lnTo>
                    <a:pt x="130" y="670"/>
                  </a:lnTo>
                  <a:lnTo>
                    <a:pt x="121" y="676"/>
                  </a:lnTo>
                  <a:lnTo>
                    <a:pt x="111" y="679"/>
                  </a:lnTo>
                  <a:lnTo>
                    <a:pt x="102" y="683"/>
                  </a:lnTo>
                  <a:lnTo>
                    <a:pt x="90" y="687"/>
                  </a:lnTo>
                  <a:lnTo>
                    <a:pt x="81" y="691"/>
                  </a:lnTo>
                  <a:lnTo>
                    <a:pt x="69" y="693"/>
                  </a:lnTo>
                  <a:lnTo>
                    <a:pt x="60" y="695"/>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69" name="Freeform 113"/>
            <p:cNvSpPr>
              <a:spLocks/>
            </p:cNvSpPr>
            <p:nvPr/>
          </p:nvSpPr>
          <p:spPr bwMode="gray">
            <a:xfrm>
              <a:off x="3094" y="2139"/>
              <a:ext cx="344" cy="424"/>
            </a:xfrm>
            <a:custGeom>
              <a:avLst/>
              <a:gdLst/>
              <a:ahLst/>
              <a:cxnLst>
                <a:cxn ang="0">
                  <a:pos x="4" y="471"/>
                </a:cxn>
                <a:cxn ang="0">
                  <a:pos x="10" y="447"/>
                </a:cxn>
                <a:cxn ang="0">
                  <a:pos x="21" y="431"/>
                </a:cxn>
                <a:cxn ang="0">
                  <a:pos x="42" y="428"/>
                </a:cxn>
                <a:cxn ang="0">
                  <a:pos x="63" y="416"/>
                </a:cxn>
                <a:cxn ang="0">
                  <a:pos x="46" y="410"/>
                </a:cxn>
                <a:cxn ang="0">
                  <a:pos x="13" y="410"/>
                </a:cxn>
                <a:cxn ang="0">
                  <a:pos x="2" y="401"/>
                </a:cxn>
                <a:cxn ang="0">
                  <a:pos x="4" y="387"/>
                </a:cxn>
                <a:cxn ang="0">
                  <a:pos x="10" y="368"/>
                </a:cxn>
                <a:cxn ang="0">
                  <a:pos x="33" y="334"/>
                </a:cxn>
                <a:cxn ang="0">
                  <a:pos x="57" y="304"/>
                </a:cxn>
                <a:cxn ang="0">
                  <a:pos x="78" y="269"/>
                </a:cxn>
                <a:cxn ang="0">
                  <a:pos x="84" y="237"/>
                </a:cxn>
                <a:cxn ang="0">
                  <a:pos x="75" y="181"/>
                </a:cxn>
                <a:cxn ang="0">
                  <a:pos x="54" y="132"/>
                </a:cxn>
                <a:cxn ang="0">
                  <a:pos x="27" y="88"/>
                </a:cxn>
                <a:cxn ang="0">
                  <a:pos x="4" y="44"/>
                </a:cxn>
                <a:cxn ang="0">
                  <a:pos x="15" y="33"/>
                </a:cxn>
                <a:cxn ang="0">
                  <a:pos x="25" y="19"/>
                </a:cxn>
                <a:cxn ang="0">
                  <a:pos x="139" y="0"/>
                </a:cxn>
                <a:cxn ang="0">
                  <a:pos x="141" y="8"/>
                </a:cxn>
                <a:cxn ang="0">
                  <a:pos x="145" y="17"/>
                </a:cxn>
                <a:cxn ang="0">
                  <a:pos x="170" y="27"/>
                </a:cxn>
                <a:cxn ang="0">
                  <a:pos x="212" y="42"/>
                </a:cxn>
                <a:cxn ang="0">
                  <a:pos x="250" y="56"/>
                </a:cxn>
                <a:cxn ang="0">
                  <a:pos x="288" y="77"/>
                </a:cxn>
                <a:cxn ang="0">
                  <a:pos x="366" y="92"/>
                </a:cxn>
                <a:cxn ang="0">
                  <a:pos x="391" y="101"/>
                </a:cxn>
                <a:cxn ang="0">
                  <a:pos x="422" y="107"/>
                </a:cxn>
                <a:cxn ang="0">
                  <a:pos x="441" y="99"/>
                </a:cxn>
                <a:cxn ang="0">
                  <a:pos x="464" y="78"/>
                </a:cxn>
                <a:cxn ang="0">
                  <a:pos x="487" y="52"/>
                </a:cxn>
                <a:cxn ang="0">
                  <a:pos x="513" y="36"/>
                </a:cxn>
                <a:cxn ang="0">
                  <a:pos x="536" y="40"/>
                </a:cxn>
                <a:cxn ang="0">
                  <a:pos x="553" y="56"/>
                </a:cxn>
                <a:cxn ang="0">
                  <a:pos x="572" y="59"/>
                </a:cxn>
                <a:cxn ang="0">
                  <a:pos x="593" y="57"/>
                </a:cxn>
                <a:cxn ang="0">
                  <a:pos x="609" y="54"/>
                </a:cxn>
                <a:cxn ang="0">
                  <a:pos x="603" y="82"/>
                </a:cxn>
                <a:cxn ang="0">
                  <a:pos x="588" y="109"/>
                </a:cxn>
                <a:cxn ang="0">
                  <a:pos x="569" y="132"/>
                </a:cxn>
                <a:cxn ang="0">
                  <a:pos x="549" y="147"/>
                </a:cxn>
                <a:cxn ang="0">
                  <a:pos x="597" y="523"/>
                </a:cxn>
                <a:cxn ang="0">
                  <a:pos x="586" y="540"/>
                </a:cxn>
                <a:cxn ang="0">
                  <a:pos x="567" y="561"/>
                </a:cxn>
                <a:cxn ang="0">
                  <a:pos x="548" y="580"/>
                </a:cxn>
                <a:cxn ang="0">
                  <a:pos x="538" y="588"/>
                </a:cxn>
                <a:cxn ang="0">
                  <a:pos x="509" y="605"/>
                </a:cxn>
                <a:cxn ang="0">
                  <a:pos x="490" y="637"/>
                </a:cxn>
                <a:cxn ang="0">
                  <a:pos x="485" y="664"/>
                </a:cxn>
                <a:cxn ang="0">
                  <a:pos x="466" y="702"/>
                </a:cxn>
                <a:cxn ang="0">
                  <a:pos x="441" y="739"/>
                </a:cxn>
                <a:cxn ang="0">
                  <a:pos x="416" y="767"/>
                </a:cxn>
                <a:cxn ang="0">
                  <a:pos x="288" y="672"/>
                </a:cxn>
                <a:cxn ang="0">
                  <a:pos x="292" y="655"/>
                </a:cxn>
                <a:cxn ang="0">
                  <a:pos x="6" y="479"/>
                </a:cxn>
              </a:cxnLst>
              <a:rect l="0" t="0" r="r" b="b"/>
              <a:pathLst>
                <a:path w="609" h="771">
                  <a:moveTo>
                    <a:pt x="6" y="479"/>
                  </a:moveTo>
                  <a:lnTo>
                    <a:pt x="0" y="475"/>
                  </a:lnTo>
                  <a:lnTo>
                    <a:pt x="0" y="475"/>
                  </a:lnTo>
                  <a:lnTo>
                    <a:pt x="4" y="471"/>
                  </a:lnTo>
                  <a:lnTo>
                    <a:pt x="6" y="468"/>
                  </a:lnTo>
                  <a:lnTo>
                    <a:pt x="8" y="460"/>
                  </a:lnTo>
                  <a:lnTo>
                    <a:pt x="8" y="454"/>
                  </a:lnTo>
                  <a:lnTo>
                    <a:pt x="10" y="447"/>
                  </a:lnTo>
                  <a:lnTo>
                    <a:pt x="12" y="441"/>
                  </a:lnTo>
                  <a:lnTo>
                    <a:pt x="15" y="435"/>
                  </a:lnTo>
                  <a:lnTo>
                    <a:pt x="21" y="431"/>
                  </a:lnTo>
                  <a:lnTo>
                    <a:pt x="21" y="431"/>
                  </a:lnTo>
                  <a:lnTo>
                    <a:pt x="27" y="429"/>
                  </a:lnTo>
                  <a:lnTo>
                    <a:pt x="33" y="428"/>
                  </a:lnTo>
                  <a:lnTo>
                    <a:pt x="38" y="428"/>
                  </a:lnTo>
                  <a:lnTo>
                    <a:pt x="42" y="428"/>
                  </a:lnTo>
                  <a:lnTo>
                    <a:pt x="48" y="426"/>
                  </a:lnTo>
                  <a:lnTo>
                    <a:pt x="54" y="426"/>
                  </a:lnTo>
                  <a:lnTo>
                    <a:pt x="57" y="422"/>
                  </a:lnTo>
                  <a:lnTo>
                    <a:pt x="63" y="416"/>
                  </a:lnTo>
                  <a:lnTo>
                    <a:pt x="63" y="416"/>
                  </a:lnTo>
                  <a:lnTo>
                    <a:pt x="57" y="412"/>
                  </a:lnTo>
                  <a:lnTo>
                    <a:pt x="52" y="410"/>
                  </a:lnTo>
                  <a:lnTo>
                    <a:pt x="46" y="410"/>
                  </a:lnTo>
                  <a:lnTo>
                    <a:pt x="38" y="412"/>
                  </a:lnTo>
                  <a:lnTo>
                    <a:pt x="31" y="412"/>
                  </a:lnTo>
                  <a:lnTo>
                    <a:pt x="23" y="412"/>
                  </a:lnTo>
                  <a:lnTo>
                    <a:pt x="13" y="410"/>
                  </a:lnTo>
                  <a:lnTo>
                    <a:pt x="2" y="408"/>
                  </a:lnTo>
                  <a:lnTo>
                    <a:pt x="2" y="408"/>
                  </a:lnTo>
                  <a:lnTo>
                    <a:pt x="2" y="405"/>
                  </a:lnTo>
                  <a:lnTo>
                    <a:pt x="2" y="401"/>
                  </a:lnTo>
                  <a:lnTo>
                    <a:pt x="4" y="397"/>
                  </a:lnTo>
                  <a:lnTo>
                    <a:pt x="4" y="393"/>
                  </a:lnTo>
                  <a:lnTo>
                    <a:pt x="4" y="391"/>
                  </a:lnTo>
                  <a:lnTo>
                    <a:pt x="4" y="387"/>
                  </a:lnTo>
                  <a:lnTo>
                    <a:pt x="6" y="382"/>
                  </a:lnTo>
                  <a:lnTo>
                    <a:pt x="6" y="378"/>
                  </a:lnTo>
                  <a:lnTo>
                    <a:pt x="6" y="378"/>
                  </a:lnTo>
                  <a:lnTo>
                    <a:pt x="10" y="368"/>
                  </a:lnTo>
                  <a:lnTo>
                    <a:pt x="15" y="359"/>
                  </a:lnTo>
                  <a:lnTo>
                    <a:pt x="21" y="349"/>
                  </a:lnTo>
                  <a:lnTo>
                    <a:pt x="27" y="342"/>
                  </a:lnTo>
                  <a:lnTo>
                    <a:pt x="33" y="334"/>
                  </a:lnTo>
                  <a:lnTo>
                    <a:pt x="38" y="326"/>
                  </a:lnTo>
                  <a:lnTo>
                    <a:pt x="46" y="319"/>
                  </a:lnTo>
                  <a:lnTo>
                    <a:pt x="52" y="311"/>
                  </a:lnTo>
                  <a:lnTo>
                    <a:pt x="57" y="304"/>
                  </a:lnTo>
                  <a:lnTo>
                    <a:pt x="63" y="296"/>
                  </a:lnTo>
                  <a:lnTo>
                    <a:pt x="69" y="286"/>
                  </a:lnTo>
                  <a:lnTo>
                    <a:pt x="75" y="279"/>
                  </a:lnTo>
                  <a:lnTo>
                    <a:pt x="78" y="269"/>
                  </a:lnTo>
                  <a:lnTo>
                    <a:pt x="80" y="260"/>
                  </a:lnTo>
                  <a:lnTo>
                    <a:pt x="82" y="248"/>
                  </a:lnTo>
                  <a:lnTo>
                    <a:pt x="84" y="237"/>
                  </a:lnTo>
                  <a:lnTo>
                    <a:pt x="84" y="237"/>
                  </a:lnTo>
                  <a:lnTo>
                    <a:pt x="82" y="222"/>
                  </a:lnTo>
                  <a:lnTo>
                    <a:pt x="80" y="208"/>
                  </a:lnTo>
                  <a:lnTo>
                    <a:pt x="78" y="195"/>
                  </a:lnTo>
                  <a:lnTo>
                    <a:pt x="75" y="181"/>
                  </a:lnTo>
                  <a:lnTo>
                    <a:pt x="71" y="170"/>
                  </a:lnTo>
                  <a:lnTo>
                    <a:pt x="65" y="157"/>
                  </a:lnTo>
                  <a:lnTo>
                    <a:pt x="59" y="145"/>
                  </a:lnTo>
                  <a:lnTo>
                    <a:pt x="54" y="132"/>
                  </a:lnTo>
                  <a:lnTo>
                    <a:pt x="46" y="120"/>
                  </a:lnTo>
                  <a:lnTo>
                    <a:pt x="40" y="109"/>
                  </a:lnTo>
                  <a:lnTo>
                    <a:pt x="33" y="98"/>
                  </a:lnTo>
                  <a:lnTo>
                    <a:pt x="27" y="88"/>
                  </a:lnTo>
                  <a:lnTo>
                    <a:pt x="19" y="77"/>
                  </a:lnTo>
                  <a:lnTo>
                    <a:pt x="13" y="65"/>
                  </a:lnTo>
                  <a:lnTo>
                    <a:pt x="10" y="56"/>
                  </a:lnTo>
                  <a:lnTo>
                    <a:pt x="4" y="44"/>
                  </a:lnTo>
                  <a:lnTo>
                    <a:pt x="4" y="44"/>
                  </a:lnTo>
                  <a:lnTo>
                    <a:pt x="8" y="40"/>
                  </a:lnTo>
                  <a:lnTo>
                    <a:pt x="12" y="36"/>
                  </a:lnTo>
                  <a:lnTo>
                    <a:pt x="15" y="33"/>
                  </a:lnTo>
                  <a:lnTo>
                    <a:pt x="17" y="29"/>
                  </a:lnTo>
                  <a:lnTo>
                    <a:pt x="21" y="27"/>
                  </a:lnTo>
                  <a:lnTo>
                    <a:pt x="23" y="23"/>
                  </a:lnTo>
                  <a:lnTo>
                    <a:pt x="25" y="19"/>
                  </a:lnTo>
                  <a:lnTo>
                    <a:pt x="27" y="17"/>
                  </a:lnTo>
                  <a:lnTo>
                    <a:pt x="145" y="17"/>
                  </a:lnTo>
                  <a:lnTo>
                    <a:pt x="139" y="0"/>
                  </a:lnTo>
                  <a:lnTo>
                    <a:pt x="139" y="0"/>
                  </a:lnTo>
                  <a:lnTo>
                    <a:pt x="139" y="0"/>
                  </a:lnTo>
                  <a:lnTo>
                    <a:pt x="139" y="2"/>
                  </a:lnTo>
                  <a:lnTo>
                    <a:pt x="139" y="4"/>
                  </a:lnTo>
                  <a:lnTo>
                    <a:pt x="141" y="8"/>
                  </a:lnTo>
                  <a:lnTo>
                    <a:pt x="141" y="10"/>
                  </a:lnTo>
                  <a:lnTo>
                    <a:pt x="143" y="12"/>
                  </a:lnTo>
                  <a:lnTo>
                    <a:pt x="143" y="14"/>
                  </a:lnTo>
                  <a:lnTo>
                    <a:pt x="145" y="17"/>
                  </a:lnTo>
                  <a:lnTo>
                    <a:pt x="145" y="17"/>
                  </a:lnTo>
                  <a:lnTo>
                    <a:pt x="145" y="17"/>
                  </a:lnTo>
                  <a:lnTo>
                    <a:pt x="158" y="23"/>
                  </a:lnTo>
                  <a:lnTo>
                    <a:pt x="170" y="27"/>
                  </a:lnTo>
                  <a:lnTo>
                    <a:pt x="181" y="31"/>
                  </a:lnTo>
                  <a:lnTo>
                    <a:pt x="193" y="35"/>
                  </a:lnTo>
                  <a:lnTo>
                    <a:pt x="202" y="38"/>
                  </a:lnTo>
                  <a:lnTo>
                    <a:pt x="212" y="42"/>
                  </a:lnTo>
                  <a:lnTo>
                    <a:pt x="221" y="44"/>
                  </a:lnTo>
                  <a:lnTo>
                    <a:pt x="231" y="48"/>
                  </a:lnTo>
                  <a:lnTo>
                    <a:pt x="240" y="52"/>
                  </a:lnTo>
                  <a:lnTo>
                    <a:pt x="250" y="56"/>
                  </a:lnTo>
                  <a:lnTo>
                    <a:pt x="260" y="59"/>
                  </a:lnTo>
                  <a:lnTo>
                    <a:pt x="269" y="65"/>
                  </a:lnTo>
                  <a:lnTo>
                    <a:pt x="279" y="71"/>
                  </a:lnTo>
                  <a:lnTo>
                    <a:pt x="288" y="77"/>
                  </a:lnTo>
                  <a:lnTo>
                    <a:pt x="298" y="84"/>
                  </a:lnTo>
                  <a:lnTo>
                    <a:pt x="307" y="92"/>
                  </a:lnTo>
                  <a:lnTo>
                    <a:pt x="366" y="92"/>
                  </a:lnTo>
                  <a:lnTo>
                    <a:pt x="366" y="92"/>
                  </a:lnTo>
                  <a:lnTo>
                    <a:pt x="372" y="96"/>
                  </a:lnTo>
                  <a:lnTo>
                    <a:pt x="378" y="98"/>
                  </a:lnTo>
                  <a:lnTo>
                    <a:pt x="384" y="99"/>
                  </a:lnTo>
                  <a:lnTo>
                    <a:pt x="391" y="101"/>
                  </a:lnTo>
                  <a:lnTo>
                    <a:pt x="399" y="103"/>
                  </a:lnTo>
                  <a:lnTo>
                    <a:pt x="408" y="105"/>
                  </a:lnTo>
                  <a:lnTo>
                    <a:pt x="414" y="105"/>
                  </a:lnTo>
                  <a:lnTo>
                    <a:pt x="422" y="107"/>
                  </a:lnTo>
                  <a:lnTo>
                    <a:pt x="422" y="107"/>
                  </a:lnTo>
                  <a:lnTo>
                    <a:pt x="429" y="105"/>
                  </a:lnTo>
                  <a:lnTo>
                    <a:pt x="435" y="103"/>
                  </a:lnTo>
                  <a:lnTo>
                    <a:pt x="441" y="99"/>
                  </a:lnTo>
                  <a:lnTo>
                    <a:pt x="448" y="96"/>
                  </a:lnTo>
                  <a:lnTo>
                    <a:pt x="452" y="90"/>
                  </a:lnTo>
                  <a:lnTo>
                    <a:pt x="458" y="84"/>
                  </a:lnTo>
                  <a:lnTo>
                    <a:pt x="464" y="78"/>
                  </a:lnTo>
                  <a:lnTo>
                    <a:pt x="469" y="71"/>
                  </a:lnTo>
                  <a:lnTo>
                    <a:pt x="475" y="65"/>
                  </a:lnTo>
                  <a:lnTo>
                    <a:pt x="481" y="57"/>
                  </a:lnTo>
                  <a:lnTo>
                    <a:pt x="487" y="52"/>
                  </a:lnTo>
                  <a:lnTo>
                    <a:pt x="492" y="48"/>
                  </a:lnTo>
                  <a:lnTo>
                    <a:pt x="500" y="42"/>
                  </a:lnTo>
                  <a:lnTo>
                    <a:pt x="508" y="38"/>
                  </a:lnTo>
                  <a:lnTo>
                    <a:pt x="513" y="36"/>
                  </a:lnTo>
                  <a:lnTo>
                    <a:pt x="523" y="36"/>
                  </a:lnTo>
                  <a:lnTo>
                    <a:pt x="523" y="36"/>
                  </a:lnTo>
                  <a:lnTo>
                    <a:pt x="530" y="36"/>
                  </a:lnTo>
                  <a:lnTo>
                    <a:pt x="536" y="40"/>
                  </a:lnTo>
                  <a:lnTo>
                    <a:pt x="540" y="44"/>
                  </a:lnTo>
                  <a:lnTo>
                    <a:pt x="544" y="48"/>
                  </a:lnTo>
                  <a:lnTo>
                    <a:pt x="548" y="52"/>
                  </a:lnTo>
                  <a:lnTo>
                    <a:pt x="553" y="56"/>
                  </a:lnTo>
                  <a:lnTo>
                    <a:pt x="559" y="57"/>
                  </a:lnTo>
                  <a:lnTo>
                    <a:pt x="569" y="59"/>
                  </a:lnTo>
                  <a:lnTo>
                    <a:pt x="569" y="59"/>
                  </a:lnTo>
                  <a:lnTo>
                    <a:pt x="572" y="59"/>
                  </a:lnTo>
                  <a:lnTo>
                    <a:pt x="578" y="59"/>
                  </a:lnTo>
                  <a:lnTo>
                    <a:pt x="584" y="57"/>
                  </a:lnTo>
                  <a:lnTo>
                    <a:pt x="590" y="57"/>
                  </a:lnTo>
                  <a:lnTo>
                    <a:pt x="593" y="57"/>
                  </a:lnTo>
                  <a:lnTo>
                    <a:pt x="599" y="57"/>
                  </a:lnTo>
                  <a:lnTo>
                    <a:pt x="605" y="56"/>
                  </a:lnTo>
                  <a:lnTo>
                    <a:pt x="609" y="54"/>
                  </a:lnTo>
                  <a:lnTo>
                    <a:pt x="609" y="54"/>
                  </a:lnTo>
                  <a:lnTo>
                    <a:pt x="609" y="61"/>
                  </a:lnTo>
                  <a:lnTo>
                    <a:pt x="607" y="67"/>
                  </a:lnTo>
                  <a:lnTo>
                    <a:pt x="607" y="75"/>
                  </a:lnTo>
                  <a:lnTo>
                    <a:pt x="603" y="82"/>
                  </a:lnTo>
                  <a:lnTo>
                    <a:pt x="601" y="88"/>
                  </a:lnTo>
                  <a:lnTo>
                    <a:pt x="597" y="96"/>
                  </a:lnTo>
                  <a:lnTo>
                    <a:pt x="593" y="103"/>
                  </a:lnTo>
                  <a:lnTo>
                    <a:pt x="588" y="109"/>
                  </a:lnTo>
                  <a:lnTo>
                    <a:pt x="584" y="117"/>
                  </a:lnTo>
                  <a:lnTo>
                    <a:pt x="578" y="122"/>
                  </a:lnTo>
                  <a:lnTo>
                    <a:pt x="574" y="128"/>
                  </a:lnTo>
                  <a:lnTo>
                    <a:pt x="569" y="132"/>
                  </a:lnTo>
                  <a:lnTo>
                    <a:pt x="565" y="138"/>
                  </a:lnTo>
                  <a:lnTo>
                    <a:pt x="559" y="141"/>
                  </a:lnTo>
                  <a:lnTo>
                    <a:pt x="555" y="145"/>
                  </a:lnTo>
                  <a:lnTo>
                    <a:pt x="549" y="147"/>
                  </a:lnTo>
                  <a:lnTo>
                    <a:pt x="549" y="449"/>
                  </a:lnTo>
                  <a:lnTo>
                    <a:pt x="599" y="519"/>
                  </a:lnTo>
                  <a:lnTo>
                    <a:pt x="599" y="519"/>
                  </a:lnTo>
                  <a:lnTo>
                    <a:pt x="597" y="523"/>
                  </a:lnTo>
                  <a:lnTo>
                    <a:pt x="595" y="527"/>
                  </a:lnTo>
                  <a:lnTo>
                    <a:pt x="593" y="531"/>
                  </a:lnTo>
                  <a:lnTo>
                    <a:pt x="590" y="534"/>
                  </a:lnTo>
                  <a:lnTo>
                    <a:pt x="586" y="540"/>
                  </a:lnTo>
                  <a:lnTo>
                    <a:pt x="582" y="546"/>
                  </a:lnTo>
                  <a:lnTo>
                    <a:pt x="576" y="550"/>
                  </a:lnTo>
                  <a:lnTo>
                    <a:pt x="572" y="555"/>
                  </a:lnTo>
                  <a:lnTo>
                    <a:pt x="567" y="561"/>
                  </a:lnTo>
                  <a:lnTo>
                    <a:pt x="563" y="565"/>
                  </a:lnTo>
                  <a:lnTo>
                    <a:pt x="557" y="571"/>
                  </a:lnTo>
                  <a:lnTo>
                    <a:pt x="553" y="574"/>
                  </a:lnTo>
                  <a:lnTo>
                    <a:pt x="548" y="580"/>
                  </a:lnTo>
                  <a:lnTo>
                    <a:pt x="544" y="584"/>
                  </a:lnTo>
                  <a:lnTo>
                    <a:pt x="542" y="586"/>
                  </a:lnTo>
                  <a:lnTo>
                    <a:pt x="538" y="588"/>
                  </a:lnTo>
                  <a:lnTo>
                    <a:pt x="538" y="588"/>
                  </a:lnTo>
                  <a:lnTo>
                    <a:pt x="532" y="594"/>
                  </a:lnTo>
                  <a:lnTo>
                    <a:pt x="525" y="597"/>
                  </a:lnTo>
                  <a:lnTo>
                    <a:pt x="517" y="601"/>
                  </a:lnTo>
                  <a:lnTo>
                    <a:pt x="509" y="605"/>
                  </a:lnTo>
                  <a:lnTo>
                    <a:pt x="504" y="613"/>
                  </a:lnTo>
                  <a:lnTo>
                    <a:pt x="498" y="618"/>
                  </a:lnTo>
                  <a:lnTo>
                    <a:pt x="494" y="628"/>
                  </a:lnTo>
                  <a:lnTo>
                    <a:pt x="490" y="637"/>
                  </a:lnTo>
                  <a:lnTo>
                    <a:pt x="490" y="637"/>
                  </a:lnTo>
                  <a:lnTo>
                    <a:pt x="488" y="647"/>
                  </a:lnTo>
                  <a:lnTo>
                    <a:pt x="487" y="655"/>
                  </a:lnTo>
                  <a:lnTo>
                    <a:pt x="485" y="664"/>
                  </a:lnTo>
                  <a:lnTo>
                    <a:pt x="481" y="674"/>
                  </a:lnTo>
                  <a:lnTo>
                    <a:pt x="475" y="683"/>
                  </a:lnTo>
                  <a:lnTo>
                    <a:pt x="471" y="693"/>
                  </a:lnTo>
                  <a:lnTo>
                    <a:pt x="466" y="702"/>
                  </a:lnTo>
                  <a:lnTo>
                    <a:pt x="460" y="712"/>
                  </a:lnTo>
                  <a:lnTo>
                    <a:pt x="454" y="721"/>
                  </a:lnTo>
                  <a:lnTo>
                    <a:pt x="448" y="729"/>
                  </a:lnTo>
                  <a:lnTo>
                    <a:pt x="441" y="739"/>
                  </a:lnTo>
                  <a:lnTo>
                    <a:pt x="435" y="746"/>
                  </a:lnTo>
                  <a:lnTo>
                    <a:pt x="429" y="754"/>
                  </a:lnTo>
                  <a:lnTo>
                    <a:pt x="422" y="759"/>
                  </a:lnTo>
                  <a:lnTo>
                    <a:pt x="416" y="767"/>
                  </a:lnTo>
                  <a:lnTo>
                    <a:pt x="410" y="771"/>
                  </a:lnTo>
                  <a:lnTo>
                    <a:pt x="286" y="677"/>
                  </a:lnTo>
                  <a:lnTo>
                    <a:pt x="286" y="677"/>
                  </a:lnTo>
                  <a:lnTo>
                    <a:pt x="288" y="672"/>
                  </a:lnTo>
                  <a:lnTo>
                    <a:pt x="290" y="668"/>
                  </a:lnTo>
                  <a:lnTo>
                    <a:pt x="290" y="664"/>
                  </a:lnTo>
                  <a:lnTo>
                    <a:pt x="292" y="658"/>
                  </a:lnTo>
                  <a:lnTo>
                    <a:pt x="292" y="655"/>
                  </a:lnTo>
                  <a:lnTo>
                    <a:pt x="294" y="651"/>
                  </a:lnTo>
                  <a:lnTo>
                    <a:pt x="296" y="647"/>
                  </a:lnTo>
                  <a:lnTo>
                    <a:pt x="296" y="641"/>
                  </a:lnTo>
                  <a:lnTo>
                    <a:pt x="6" y="47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0" name="Freeform 114"/>
            <p:cNvSpPr>
              <a:spLocks/>
            </p:cNvSpPr>
            <p:nvPr/>
          </p:nvSpPr>
          <p:spPr bwMode="gray">
            <a:xfrm>
              <a:off x="2862" y="2411"/>
              <a:ext cx="93" cy="75"/>
            </a:xfrm>
            <a:custGeom>
              <a:avLst/>
              <a:gdLst/>
              <a:ahLst/>
              <a:cxnLst>
                <a:cxn ang="0">
                  <a:pos x="124" y="100"/>
                </a:cxn>
                <a:cxn ang="0">
                  <a:pos x="126" y="100"/>
                </a:cxn>
                <a:cxn ang="0">
                  <a:pos x="132" y="100"/>
                </a:cxn>
                <a:cxn ang="0">
                  <a:pos x="137" y="100"/>
                </a:cxn>
                <a:cxn ang="0">
                  <a:pos x="145" y="100"/>
                </a:cxn>
                <a:cxn ang="0">
                  <a:pos x="151" y="100"/>
                </a:cxn>
                <a:cxn ang="0">
                  <a:pos x="156" y="96"/>
                </a:cxn>
                <a:cxn ang="0">
                  <a:pos x="162" y="88"/>
                </a:cxn>
                <a:cxn ang="0">
                  <a:pos x="164" y="77"/>
                </a:cxn>
                <a:cxn ang="0">
                  <a:pos x="164" y="71"/>
                </a:cxn>
                <a:cxn ang="0">
                  <a:pos x="162" y="65"/>
                </a:cxn>
                <a:cxn ang="0">
                  <a:pos x="158" y="61"/>
                </a:cxn>
                <a:cxn ang="0">
                  <a:pos x="155" y="56"/>
                </a:cxn>
                <a:cxn ang="0">
                  <a:pos x="153" y="48"/>
                </a:cxn>
                <a:cxn ang="0">
                  <a:pos x="153" y="40"/>
                </a:cxn>
                <a:cxn ang="0">
                  <a:pos x="147" y="27"/>
                </a:cxn>
                <a:cxn ang="0">
                  <a:pos x="139" y="17"/>
                </a:cxn>
                <a:cxn ang="0">
                  <a:pos x="132" y="6"/>
                </a:cxn>
                <a:cxn ang="0">
                  <a:pos x="128" y="0"/>
                </a:cxn>
                <a:cxn ang="0">
                  <a:pos x="116" y="6"/>
                </a:cxn>
                <a:cxn ang="0">
                  <a:pos x="109" y="14"/>
                </a:cxn>
                <a:cxn ang="0">
                  <a:pos x="99" y="19"/>
                </a:cxn>
                <a:cxn ang="0">
                  <a:pos x="86" y="23"/>
                </a:cxn>
                <a:cxn ang="0">
                  <a:pos x="84" y="23"/>
                </a:cxn>
                <a:cxn ang="0">
                  <a:pos x="78" y="17"/>
                </a:cxn>
                <a:cxn ang="0">
                  <a:pos x="74" y="17"/>
                </a:cxn>
                <a:cxn ang="0">
                  <a:pos x="57" y="21"/>
                </a:cxn>
                <a:cxn ang="0">
                  <a:pos x="42" y="33"/>
                </a:cxn>
                <a:cxn ang="0">
                  <a:pos x="29" y="46"/>
                </a:cxn>
                <a:cxn ang="0">
                  <a:pos x="25" y="61"/>
                </a:cxn>
                <a:cxn ang="0">
                  <a:pos x="25" y="65"/>
                </a:cxn>
                <a:cxn ang="0">
                  <a:pos x="27" y="71"/>
                </a:cxn>
                <a:cxn ang="0">
                  <a:pos x="27" y="77"/>
                </a:cxn>
                <a:cxn ang="0">
                  <a:pos x="25" y="82"/>
                </a:cxn>
                <a:cxn ang="0">
                  <a:pos x="23" y="84"/>
                </a:cxn>
                <a:cxn ang="0">
                  <a:pos x="15" y="88"/>
                </a:cxn>
                <a:cxn ang="0">
                  <a:pos x="8" y="92"/>
                </a:cxn>
                <a:cxn ang="0">
                  <a:pos x="4" y="100"/>
                </a:cxn>
                <a:cxn ang="0">
                  <a:pos x="0" y="111"/>
                </a:cxn>
                <a:cxn ang="0">
                  <a:pos x="2" y="115"/>
                </a:cxn>
                <a:cxn ang="0">
                  <a:pos x="4" y="121"/>
                </a:cxn>
                <a:cxn ang="0">
                  <a:pos x="6" y="124"/>
                </a:cxn>
                <a:cxn ang="0">
                  <a:pos x="10" y="130"/>
                </a:cxn>
                <a:cxn ang="0">
                  <a:pos x="11" y="132"/>
                </a:cxn>
                <a:cxn ang="0">
                  <a:pos x="11" y="130"/>
                </a:cxn>
                <a:cxn ang="0">
                  <a:pos x="13" y="126"/>
                </a:cxn>
                <a:cxn ang="0">
                  <a:pos x="17" y="122"/>
                </a:cxn>
                <a:cxn ang="0">
                  <a:pos x="23" y="121"/>
                </a:cxn>
                <a:cxn ang="0">
                  <a:pos x="25" y="121"/>
                </a:cxn>
                <a:cxn ang="0">
                  <a:pos x="34" y="122"/>
                </a:cxn>
                <a:cxn ang="0">
                  <a:pos x="40" y="128"/>
                </a:cxn>
                <a:cxn ang="0">
                  <a:pos x="48" y="134"/>
                </a:cxn>
                <a:cxn ang="0">
                  <a:pos x="57" y="136"/>
                </a:cxn>
                <a:cxn ang="0">
                  <a:pos x="69" y="136"/>
                </a:cxn>
                <a:cxn ang="0">
                  <a:pos x="84" y="124"/>
                </a:cxn>
                <a:cxn ang="0">
                  <a:pos x="93" y="109"/>
                </a:cxn>
                <a:cxn ang="0">
                  <a:pos x="107" y="98"/>
                </a:cxn>
                <a:cxn ang="0">
                  <a:pos x="118" y="96"/>
                </a:cxn>
                <a:cxn ang="0">
                  <a:pos x="124" y="98"/>
                </a:cxn>
                <a:cxn ang="0">
                  <a:pos x="128" y="100"/>
                </a:cxn>
              </a:cxnLst>
              <a:rect l="0" t="0" r="r" b="b"/>
              <a:pathLst>
                <a:path w="164" h="136">
                  <a:moveTo>
                    <a:pt x="124" y="100"/>
                  </a:moveTo>
                  <a:lnTo>
                    <a:pt x="124" y="100"/>
                  </a:lnTo>
                  <a:lnTo>
                    <a:pt x="126" y="100"/>
                  </a:lnTo>
                  <a:lnTo>
                    <a:pt x="126" y="100"/>
                  </a:lnTo>
                  <a:lnTo>
                    <a:pt x="128" y="100"/>
                  </a:lnTo>
                  <a:lnTo>
                    <a:pt x="132" y="100"/>
                  </a:lnTo>
                  <a:lnTo>
                    <a:pt x="134" y="100"/>
                  </a:lnTo>
                  <a:lnTo>
                    <a:pt x="137" y="100"/>
                  </a:lnTo>
                  <a:lnTo>
                    <a:pt x="141" y="100"/>
                  </a:lnTo>
                  <a:lnTo>
                    <a:pt x="145" y="100"/>
                  </a:lnTo>
                  <a:lnTo>
                    <a:pt x="145" y="100"/>
                  </a:lnTo>
                  <a:lnTo>
                    <a:pt x="151" y="100"/>
                  </a:lnTo>
                  <a:lnTo>
                    <a:pt x="155" y="98"/>
                  </a:lnTo>
                  <a:lnTo>
                    <a:pt x="156" y="96"/>
                  </a:lnTo>
                  <a:lnTo>
                    <a:pt x="160" y="92"/>
                  </a:lnTo>
                  <a:lnTo>
                    <a:pt x="162" y="88"/>
                  </a:lnTo>
                  <a:lnTo>
                    <a:pt x="162" y="84"/>
                  </a:lnTo>
                  <a:lnTo>
                    <a:pt x="164" y="77"/>
                  </a:lnTo>
                  <a:lnTo>
                    <a:pt x="164" y="71"/>
                  </a:lnTo>
                  <a:lnTo>
                    <a:pt x="164" y="71"/>
                  </a:lnTo>
                  <a:lnTo>
                    <a:pt x="164" y="69"/>
                  </a:lnTo>
                  <a:lnTo>
                    <a:pt x="162" y="65"/>
                  </a:lnTo>
                  <a:lnTo>
                    <a:pt x="160" y="63"/>
                  </a:lnTo>
                  <a:lnTo>
                    <a:pt x="158" y="61"/>
                  </a:lnTo>
                  <a:lnTo>
                    <a:pt x="156" y="59"/>
                  </a:lnTo>
                  <a:lnTo>
                    <a:pt x="155" y="56"/>
                  </a:lnTo>
                  <a:lnTo>
                    <a:pt x="155" y="52"/>
                  </a:lnTo>
                  <a:lnTo>
                    <a:pt x="153" y="48"/>
                  </a:lnTo>
                  <a:lnTo>
                    <a:pt x="153" y="48"/>
                  </a:lnTo>
                  <a:lnTo>
                    <a:pt x="153" y="40"/>
                  </a:lnTo>
                  <a:lnTo>
                    <a:pt x="151" y="33"/>
                  </a:lnTo>
                  <a:lnTo>
                    <a:pt x="147" y="27"/>
                  </a:lnTo>
                  <a:lnTo>
                    <a:pt x="143" y="21"/>
                  </a:lnTo>
                  <a:lnTo>
                    <a:pt x="139" y="17"/>
                  </a:lnTo>
                  <a:lnTo>
                    <a:pt x="135" y="12"/>
                  </a:lnTo>
                  <a:lnTo>
                    <a:pt x="132" y="6"/>
                  </a:lnTo>
                  <a:lnTo>
                    <a:pt x="128" y="0"/>
                  </a:lnTo>
                  <a:lnTo>
                    <a:pt x="128" y="0"/>
                  </a:lnTo>
                  <a:lnTo>
                    <a:pt x="122" y="2"/>
                  </a:lnTo>
                  <a:lnTo>
                    <a:pt x="116" y="6"/>
                  </a:lnTo>
                  <a:lnTo>
                    <a:pt x="113" y="8"/>
                  </a:lnTo>
                  <a:lnTo>
                    <a:pt x="109" y="14"/>
                  </a:lnTo>
                  <a:lnTo>
                    <a:pt x="103" y="17"/>
                  </a:lnTo>
                  <a:lnTo>
                    <a:pt x="99" y="19"/>
                  </a:lnTo>
                  <a:lnTo>
                    <a:pt x="93" y="23"/>
                  </a:lnTo>
                  <a:lnTo>
                    <a:pt x="86" y="23"/>
                  </a:lnTo>
                  <a:lnTo>
                    <a:pt x="86" y="23"/>
                  </a:lnTo>
                  <a:lnTo>
                    <a:pt x="84" y="23"/>
                  </a:lnTo>
                  <a:lnTo>
                    <a:pt x="82" y="21"/>
                  </a:lnTo>
                  <a:lnTo>
                    <a:pt x="78" y="17"/>
                  </a:lnTo>
                  <a:lnTo>
                    <a:pt x="74" y="17"/>
                  </a:lnTo>
                  <a:lnTo>
                    <a:pt x="74" y="17"/>
                  </a:lnTo>
                  <a:lnTo>
                    <a:pt x="67" y="19"/>
                  </a:lnTo>
                  <a:lnTo>
                    <a:pt x="57" y="21"/>
                  </a:lnTo>
                  <a:lnTo>
                    <a:pt x="50" y="27"/>
                  </a:lnTo>
                  <a:lnTo>
                    <a:pt x="42" y="33"/>
                  </a:lnTo>
                  <a:lnTo>
                    <a:pt x="34" y="38"/>
                  </a:lnTo>
                  <a:lnTo>
                    <a:pt x="29" y="46"/>
                  </a:lnTo>
                  <a:lnTo>
                    <a:pt x="25" y="54"/>
                  </a:lnTo>
                  <a:lnTo>
                    <a:pt x="25" y="61"/>
                  </a:lnTo>
                  <a:lnTo>
                    <a:pt x="25" y="61"/>
                  </a:lnTo>
                  <a:lnTo>
                    <a:pt x="25" y="65"/>
                  </a:lnTo>
                  <a:lnTo>
                    <a:pt x="25" y="67"/>
                  </a:lnTo>
                  <a:lnTo>
                    <a:pt x="27" y="71"/>
                  </a:lnTo>
                  <a:lnTo>
                    <a:pt x="27" y="75"/>
                  </a:lnTo>
                  <a:lnTo>
                    <a:pt x="27" y="77"/>
                  </a:lnTo>
                  <a:lnTo>
                    <a:pt x="27" y="80"/>
                  </a:lnTo>
                  <a:lnTo>
                    <a:pt x="25" y="82"/>
                  </a:lnTo>
                  <a:lnTo>
                    <a:pt x="23" y="84"/>
                  </a:lnTo>
                  <a:lnTo>
                    <a:pt x="23" y="84"/>
                  </a:lnTo>
                  <a:lnTo>
                    <a:pt x="19" y="86"/>
                  </a:lnTo>
                  <a:lnTo>
                    <a:pt x="15" y="88"/>
                  </a:lnTo>
                  <a:lnTo>
                    <a:pt x="11" y="90"/>
                  </a:lnTo>
                  <a:lnTo>
                    <a:pt x="8" y="92"/>
                  </a:lnTo>
                  <a:lnTo>
                    <a:pt x="6" y="96"/>
                  </a:lnTo>
                  <a:lnTo>
                    <a:pt x="4" y="100"/>
                  </a:lnTo>
                  <a:lnTo>
                    <a:pt x="2" y="105"/>
                  </a:lnTo>
                  <a:lnTo>
                    <a:pt x="0" y="111"/>
                  </a:lnTo>
                  <a:lnTo>
                    <a:pt x="0" y="111"/>
                  </a:lnTo>
                  <a:lnTo>
                    <a:pt x="2" y="115"/>
                  </a:lnTo>
                  <a:lnTo>
                    <a:pt x="2" y="117"/>
                  </a:lnTo>
                  <a:lnTo>
                    <a:pt x="4" y="121"/>
                  </a:lnTo>
                  <a:lnTo>
                    <a:pt x="4" y="122"/>
                  </a:lnTo>
                  <a:lnTo>
                    <a:pt x="6" y="124"/>
                  </a:lnTo>
                  <a:lnTo>
                    <a:pt x="8" y="128"/>
                  </a:lnTo>
                  <a:lnTo>
                    <a:pt x="10" y="130"/>
                  </a:lnTo>
                  <a:lnTo>
                    <a:pt x="11" y="132"/>
                  </a:lnTo>
                  <a:lnTo>
                    <a:pt x="11" y="132"/>
                  </a:lnTo>
                  <a:lnTo>
                    <a:pt x="11" y="132"/>
                  </a:lnTo>
                  <a:lnTo>
                    <a:pt x="11" y="130"/>
                  </a:lnTo>
                  <a:lnTo>
                    <a:pt x="13" y="128"/>
                  </a:lnTo>
                  <a:lnTo>
                    <a:pt x="13" y="126"/>
                  </a:lnTo>
                  <a:lnTo>
                    <a:pt x="15" y="124"/>
                  </a:lnTo>
                  <a:lnTo>
                    <a:pt x="17" y="122"/>
                  </a:lnTo>
                  <a:lnTo>
                    <a:pt x="19" y="121"/>
                  </a:lnTo>
                  <a:lnTo>
                    <a:pt x="23" y="121"/>
                  </a:lnTo>
                  <a:lnTo>
                    <a:pt x="25" y="121"/>
                  </a:lnTo>
                  <a:lnTo>
                    <a:pt x="25" y="121"/>
                  </a:lnTo>
                  <a:lnTo>
                    <a:pt x="29" y="121"/>
                  </a:lnTo>
                  <a:lnTo>
                    <a:pt x="34" y="122"/>
                  </a:lnTo>
                  <a:lnTo>
                    <a:pt x="38" y="126"/>
                  </a:lnTo>
                  <a:lnTo>
                    <a:pt x="40" y="128"/>
                  </a:lnTo>
                  <a:lnTo>
                    <a:pt x="44" y="132"/>
                  </a:lnTo>
                  <a:lnTo>
                    <a:pt x="48" y="134"/>
                  </a:lnTo>
                  <a:lnTo>
                    <a:pt x="53" y="136"/>
                  </a:lnTo>
                  <a:lnTo>
                    <a:pt x="57" y="136"/>
                  </a:lnTo>
                  <a:lnTo>
                    <a:pt x="57" y="136"/>
                  </a:lnTo>
                  <a:lnTo>
                    <a:pt x="69" y="136"/>
                  </a:lnTo>
                  <a:lnTo>
                    <a:pt x="78" y="130"/>
                  </a:lnTo>
                  <a:lnTo>
                    <a:pt x="84" y="124"/>
                  </a:lnTo>
                  <a:lnTo>
                    <a:pt x="88" y="117"/>
                  </a:lnTo>
                  <a:lnTo>
                    <a:pt x="93" y="109"/>
                  </a:lnTo>
                  <a:lnTo>
                    <a:pt x="99" y="103"/>
                  </a:lnTo>
                  <a:lnTo>
                    <a:pt x="107" y="98"/>
                  </a:lnTo>
                  <a:lnTo>
                    <a:pt x="118" y="96"/>
                  </a:lnTo>
                  <a:lnTo>
                    <a:pt x="118" y="96"/>
                  </a:lnTo>
                  <a:lnTo>
                    <a:pt x="122" y="96"/>
                  </a:lnTo>
                  <a:lnTo>
                    <a:pt x="124" y="98"/>
                  </a:lnTo>
                  <a:lnTo>
                    <a:pt x="126" y="98"/>
                  </a:lnTo>
                  <a:lnTo>
                    <a:pt x="128" y="100"/>
                  </a:lnTo>
                  <a:lnTo>
                    <a:pt x="124" y="10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1" name="Freeform 115"/>
            <p:cNvSpPr>
              <a:spLocks/>
            </p:cNvSpPr>
            <p:nvPr/>
          </p:nvSpPr>
          <p:spPr bwMode="gray">
            <a:xfrm>
              <a:off x="2897" y="2400"/>
              <a:ext cx="468" cy="466"/>
            </a:xfrm>
            <a:custGeom>
              <a:avLst/>
              <a:gdLst/>
              <a:ahLst/>
              <a:cxnLst>
                <a:cxn ang="0">
                  <a:pos x="641" y="178"/>
                </a:cxn>
                <a:cxn ang="0">
                  <a:pos x="341" y="14"/>
                </a:cxn>
                <a:cxn ang="0">
                  <a:pos x="320" y="52"/>
                </a:cxn>
                <a:cxn ang="0">
                  <a:pos x="294" y="82"/>
                </a:cxn>
                <a:cxn ang="0">
                  <a:pos x="319" y="113"/>
                </a:cxn>
                <a:cxn ang="0">
                  <a:pos x="292" y="126"/>
                </a:cxn>
                <a:cxn ang="0">
                  <a:pos x="277" y="119"/>
                </a:cxn>
                <a:cxn ang="0">
                  <a:pos x="256" y="130"/>
                </a:cxn>
                <a:cxn ang="0">
                  <a:pos x="217" y="113"/>
                </a:cxn>
                <a:cxn ang="0">
                  <a:pos x="185" y="134"/>
                </a:cxn>
                <a:cxn ang="0">
                  <a:pos x="179" y="126"/>
                </a:cxn>
                <a:cxn ang="0">
                  <a:pos x="179" y="107"/>
                </a:cxn>
                <a:cxn ang="0">
                  <a:pos x="168" y="86"/>
                </a:cxn>
                <a:cxn ang="0">
                  <a:pos x="183" y="38"/>
                </a:cxn>
                <a:cxn ang="0">
                  <a:pos x="181" y="10"/>
                </a:cxn>
                <a:cxn ang="0">
                  <a:pos x="65" y="21"/>
                </a:cxn>
                <a:cxn ang="0">
                  <a:pos x="90" y="69"/>
                </a:cxn>
                <a:cxn ang="0">
                  <a:pos x="101" y="92"/>
                </a:cxn>
                <a:cxn ang="0">
                  <a:pos x="82" y="121"/>
                </a:cxn>
                <a:cxn ang="0">
                  <a:pos x="61" y="121"/>
                </a:cxn>
                <a:cxn ang="0">
                  <a:pos x="84" y="168"/>
                </a:cxn>
                <a:cxn ang="0">
                  <a:pos x="93" y="174"/>
                </a:cxn>
                <a:cxn ang="0">
                  <a:pos x="69" y="214"/>
                </a:cxn>
                <a:cxn ang="0">
                  <a:pos x="30" y="275"/>
                </a:cxn>
                <a:cxn ang="0">
                  <a:pos x="0" y="286"/>
                </a:cxn>
                <a:cxn ang="0">
                  <a:pos x="11" y="332"/>
                </a:cxn>
                <a:cxn ang="0">
                  <a:pos x="27" y="388"/>
                </a:cxn>
                <a:cxn ang="0">
                  <a:pos x="11" y="424"/>
                </a:cxn>
                <a:cxn ang="0">
                  <a:pos x="48" y="454"/>
                </a:cxn>
                <a:cxn ang="0">
                  <a:pos x="76" y="517"/>
                </a:cxn>
                <a:cxn ang="0">
                  <a:pos x="103" y="582"/>
                </a:cxn>
                <a:cxn ang="0">
                  <a:pos x="126" y="624"/>
                </a:cxn>
                <a:cxn ang="0">
                  <a:pos x="141" y="622"/>
                </a:cxn>
                <a:cxn ang="0">
                  <a:pos x="162" y="639"/>
                </a:cxn>
                <a:cxn ang="0">
                  <a:pos x="219" y="660"/>
                </a:cxn>
                <a:cxn ang="0">
                  <a:pos x="278" y="689"/>
                </a:cxn>
                <a:cxn ang="0">
                  <a:pos x="334" y="691"/>
                </a:cxn>
                <a:cxn ang="0">
                  <a:pos x="370" y="725"/>
                </a:cxn>
                <a:cxn ang="0">
                  <a:pos x="385" y="805"/>
                </a:cxn>
                <a:cxn ang="0">
                  <a:pos x="391" y="836"/>
                </a:cxn>
                <a:cxn ang="0">
                  <a:pos x="420" y="842"/>
                </a:cxn>
                <a:cxn ang="0">
                  <a:pos x="462" y="828"/>
                </a:cxn>
                <a:cxn ang="0">
                  <a:pos x="494" y="836"/>
                </a:cxn>
                <a:cxn ang="0">
                  <a:pos x="540" y="847"/>
                </a:cxn>
                <a:cxn ang="0">
                  <a:pos x="595" y="842"/>
                </a:cxn>
                <a:cxn ang="0">
                  <a:pos x="641" y="819"/>
                </a:cxn>
                <a:cxn ang="0">
                  <a:pos x="675" y="817"/>
                </a:cxn>
                <a:cxn ang="0">
                  <a:pos x="742" y="803"/>
                </a:cxn>
                <a:cxn ang="0">
                  <a:pos x="822" y="750"/>
                </a:cxn>
                <a:cxn ang="0">
                  <a:pos x="795" y="721"/>
                </a:cxn>
                <a:cxn ang="0">
                  <a:pos x="782" y="670"/>
                </a:cxn>
                <a:cxn ang="0">
                  <a:pos x="761" y="605"/>
                </a:cxn>
                <a:cxn ang="0">
                  <a:pos x="771" y="565"/>
                </a:cxn>
                <a:cxn ang="0">
                  <a:pos x="761" y="531"/>
                </a:cxn>
                <a:cxn ang="0">
                  <a:pos x="782" y="493"/>
                </a:cxn>
                <a:cxn ang="0">
                  <a:pos x="782" y="479"/>
                </a:cxn>
                <a:cxn ang="0">
                  <a:pos x="750" y="451"/>
                </a:cxn>
                <a:cxn ang="0">
                  <a:pos x="727" y="410"/>
                </a:cxn>
                <a:cxn ang="0">
                  <a:pos x="746" y="348"/>
                </a:cxn>
              </a:cxnLst>
              <a:rect l="0" t="0" r="r" b="b"/>
              <a:pathLst>
                <a:path w="826" h="849">
                  <a:moveTo>
                    <a:pt x="757" y="298"/>
                  </a:moveTo>
                  <a:lnTo>
                    <a:pt x="633" y="204"/>
                  </a:lnTo>
                  <a:lnTo>
                    <a:pt x="633" y="204"/>
                  </a:lnTo>
                  <a:lnTo>
                    <a:pt x="635" y="199"/>
                  </a:lnTo>
                  <a:lnTo>
                    <a:pt x="637" y="195"/>
                  </a:lnTo>
                  <a:lnTo>
                    <a:pt x="637" y="191"/>
                  </a:lnTo>
                  <a:lnTo>
                    <a:pt x="639" y="185"/>
                  </a:lnTo>
                  <a:lnTo>
                    <a:pt x="639" y="182"/>
                  </a:lnTo>
                  <a:lnTo>
                    <a:pt x="641" y="178"/>
                  </a:lnTo>
                  <a:lnTo>
                    <a:pt x="643" y="174"/>
                  </a:lnTo>
                  <a:lnTo>
                    <a:pt x="643" y="168"/>
                  </a:lnTo>
                  <a:lnTo>
                    <a:pt x="353" y="6"/>
                  </a:lnTo>
                  <a:lnTo>
                    <a:pt x="353" y="6"/>
                  </a:lnTo>
                  <a:lnTo>
                    <a:pt x="349" y="0"/>
                  </a:lnTo>
                  <a:lnTo>
                    <a:pt x="349" y="0"/>
                  </a:lnTo>
                  <a:lnTo>
                    <a:pt x="347" y="4"/>
                  </a:lnTo>
                  <a:lnTo>
                    <a:pt x="343" y="10"/>
                  </a:lnTo>
                  <a:lnTo>
                    <a:pt x="341" y="14"/>
                  </a:lnTo>
                  <a:lnTo>
                    <a:pt x="338" y="18"/>
                  </a:lnTo>
                  <a:lnTo>
                    <a:pt x="336" y="23"/>
                  </a:lnTo>
                  <a:lnTo>
                    <a:pt x="334" y="27"/>
                  </a:lnTo>
                  <a:lnTo>
                    <a:pt x="332" y="31"/>
                  </a:lnTo>
                  <a:lnTo>
                    <a:pt x="328" y="35"/>
                  </a:lnTo>
                  <a:lnTo>
                    <a:pt x="326" y="38"/>
                  </a:lnTo>
                  <a:lnTo>
                    <a:pt x="324" y="42"/>
                  </a:lnTo>
                  <a:lnTo>
                    <a:pt x="322" y="48"/>
                  </a:lnTo>
                  <a:lnTo>
                    <a:pt x="320" y="52"/>
                  </a:lnTo>
                  <a:lnTo>
                    <a:pt x="319" y="56"/>
                  </a:lnTo>
                  <a:lnTo>
                    <a:pt x="317" y="59"/>
                  </a:lnTo>
                  <a:lnTo>
                    <a:pt x="315" y="63"/>
                  </a:lnTo>
                  <a:lnTo>
                    <a:pt x="313" y="67"/>
                  </a:lnTo>
                  <a:lnTo>
                    <a:pt x="313" y="67"/>
                  </a:lnTo>
                  <a:lnTo>
                    <a:pt x="309" y="73"/>
                  </a:lnTo>
                  <a:lnTo>
                    <a:pt x="305" y="77"/>
                  </a:lnTo>
                  <a:lnTo>
                    <a:pt x="299" y="79"/>
                  </a:lnTo>
                  <a:lnTo>
                    <a:pt x="294" y="82"/>
                  </a:lnTo>
                  <a:lnTo>
                    <a:pt x="290" y="84"/>
                  </a:lnTo>
                  <a:lnTo>
                    <a:pt x="286" y="86"/>
                  </a:lnTo>
                  <a:lnTo>
                    <a:pt x="282" y="92"/>
                  </a:lnTo>
                  <a:lnTo>
                    <a:pt x="278" y="96"/>
                  </a:lnTo>
                  <a:lnTo>
                    <a:pt x="326" y="96"/>
                  </a:lnTo>
                  <a:lnTo>
                    <a:pt x="326" y="96"/>
                  </a:lnTo>
                  <a:lnTo>
                    <a:pt x="324" y="101"/>
                  </a:lnTo>
                  <a:lnTo>
                    <a:pt x="322" y="107"/>
                  </a:lnTo>
                  <a:lnTo>
                    <a:pt x="319" y="113"/>
                  </a:lnTo>
                  <a:lnTo>
                    <a:pt x="315" y="117"/>
                  </a:lnTo>
                  <a:lnTo>
                    <a:pt x="311" y="121"/>
                  </a:lnTo>
                  <a:lnTo>
                    <a:pt x="307" y="124"/>
                  </a:lnTo>
                  <a:lnTo>
                    <a:pt x="303" y="128"/>
                  </a:lnTo>
                  <a:lnTo>
                    <a:pt x="301" y="132"/>
                  </a:lnTo>
                  <a:lnTo>
                    <a:pt x="301" y="132"/>
                  </a:lnTo>
                  <a:lnTo>
                    <a:pt x="298" y="130"/>
                  </a:lnTo>
                  <a:lnTo>
                    <a:pt x="294" y="128"/>
                  </a:lnTo>
                  <a:lnTo>
                    <a:pt x="292" y="126"/>
                  </a:lnTo>
                  <a:lnTo>
                    <a:pt x="292" y="124"/>
                  </a:lnTo>
                  <a:lnTo>
                    <a:pt x="292" y="124"/>
                  </a:lnTo>
                  <a:lnTo>
                    <a:pt x="288" y="122"/>
                  </a:lnTo>
                  <a:lnTo>
                    <a:pt x="286" y="122"/>
                  </a:lnTo>
                  <a:lnTo>
                    <a:pt x="284" y="122"/>
                  </a:lnTo>
                  <a:lnTo>
                    <a:pt x="282" y="121"/>
                  </a:lnTo>
                  <a:lnTo>
                    <a:pt x="280" y="121"/>
                  </a:lnTo>
                  <a:lnTo>
                    <a:pt x="278" y="119"/>
                  </a:lnTo>
                  <a:lnTo>
                    <a:pt x="277" y="119"/>
                  </a:lnTo>
                  <a:lnTo>
                    <a:pt x="273" y="117"/>
                  </a:lnTo>
                  <a:lnTo>
                    <a:pt x="273" y="117"/>
                  </a:lnTo>
                  <a:lnTo>
                    <a:pt x="269" y="119"/>
                  </a:lnTo>
                  <a:lnTo>
                    <a:pt x="265" y="121"/>
                  </a:lnTo>
                  <a:lnTo>
                    <a:pt x="263" y="121"/>
                  </a:lnTo>
                  <a:lnTo>
                    <a:pt x="261" y="122"/>
                  </a:lnTo>
                  <a:lnTo>
                    <a:pt x="259" y="126"/>
                  </a:lnTo>
                  <a:lnTo>
                    <a:pt x="257" y="128"/>
                  </a:lnTo>
                  <a:lnTo>
                    <a:pt x="256" y="130"/>
                  </a:lnTo>
                  <a:lnTo>
                    <a:pt x="254" y="130"/>
                  </a:lnTo>
                  <a:lnTo>
                    <a:pt x="254" y="130"/>
                  </a:lnTo>
                  <a:lnTo>
                    <a:pt x="250" y="128"/>
                  </a:lnTo>
                  <a:lnTo>
                    <a:pt x="244" y="126"/>
                  </a:lnTo>
                  <a:lnTo>
                    <a:pt x="240" y="124"/>
                  </a:lnTo>
                  <a:lnTo>
                    <a:pt x="235" y="121"/>
                  </a:lnTo>
                  <a:lnTo>
                    <a:pt x="229" y="117"/>
                  </a:lnTo>
                  <a:lnTo>
                    <a:pt x="223" y="115"/>
                  </a:lnTo>
                  <a:lnTo>
                    <a:pt x="217" y="113"/>
                  </a:lnTo>
                  <a:lnTo>
                    <a:pt x="214" y="111"/>
                  </a:lnTo>
                  <a:lnTo>
                    <a:pt x="214" y="111"/>
                  </a:lnTo>
                  <a:lnTo>
                    <a:pt x="208" y="113"/>
                  </a:lnTo>
                  <a:lnTo>
                    <a:pt x="204" y="115"/>
                  </a:lnTo>
                  <a:lnTo>
                    <a:pt x="198" y="117"/>
                  </a:lnTo>
                  <a:lnTo>
                    <a:pt x="195" y="121"/>
                  </a:lnTo>
                  <a:lnTo>
                    <a:pt x="193" y="126"/>
                  </a:lnTo>
                  <a:lnTo>
                    <a:pt x="189" y="130"/>
                  </a:lnTo>
                  <a:lnTo>
                    <a:pt x="185" y="134"/>
                  </a:lnTo>
                  <a:lnTo>
                    <a:pt x="183" y="138"/>
                  </a:lnTo>
                  <a:lnTo>
                    <a:pt x="183" y="138"/>
                  </a:lnTo>
                  <a:lnTo>
                    <a:pt x="181" y="138"/>
                  </a:lnTo>
                  <a:lnTo>
                    <a:pt x="179" y="136"/>
                  </a:lnTo>
                  <a:lnTo>
                    <a:pt x="177" y="134"/>
                  </a:lnTo>
                  <a:lnTo>
                    <a:pt x="177" y="132"/>
                  </a:lnTo>
                  <a:lnTo>
                    <a:pt x="177" y="132"/>
                  </a:lnTo>
                  <a:lnTo>
                    <a:pt x="177" y="130"/>
                  </a:lnTo>
                  <a:lnTo>
                    <a:pt x="179" y="126"/>
                  </a:lnTo>
                  <a:lnTo>
                    <a:pt x="179" y="124"/>
                  </a:lnTo>
                  <a:lnTo>
                    <a:pt x="181" y="122"/>
                  </a:lnTo>
                  <a:lnTo>
                    <a:pt x="181" y="121"/>
                  </a:lnTo>
                  <a:lnTo>
                    <a:pt x="183" y="117"/>
                  </a:lnTo>
                  <a:lnTo>
                    <a:pt x="183" y="115"/>
                  </a:lnTo>
                  <a:lnTo>
                    <a:pt x="183" y="111"/>
                  </a:lnTo>
                  <a:lnTo>
                    <a:pt x="183" y="111"/>
                  </a:lnTo>
                  <a:lnTo>
                    <a:pt x="183" y="107"/>
                  </a:lnTo>
                  <a:lnTo>
                    <a:pt x="179" y="107"/>
                  </a:lnTo>
                  <a:lnTo>
                    <a:pt x="175" y="105"/>
                  </a:lnTo>
                  <a:lnTo>
                    <a:pt x="172" y="105"/>
                  </a:lnTo>
                  <a:lnTo>
                    <a:pt x="172" y="105"/>
                  </a:lnTo>
                  <a:lnTo>
                    <a:pt x="172" y="103"/>
                  </a:lnTo>
                  <a:lnTo>
                    <a:pt x="170" y="101"/>
                  </a:lnTo>
                  <a:lnTo>
                    <a:pt x="170" y="98"/>
                  </a:lnTo>
                  <a:lnTo>
                    <a:pt x="170" y="94"/>
                  </a:lnTo>
                  <a:lnTo>
                    <a:pt x="168" y="88"/>
                  </a:lnTo>
                  <a:lnTo>
                    <a:pt x="168" y="86"/>
                  </a:lnTo>
                  <a:lnTo>
                    <a:pt x="168" y="82"/>
                  </a:lnTo>
                  <a:lnTo>
                    <a:pt x="168" y="80"/>
                  </a:lnTo>
                  <a:lnTo>
                    <a:pt x="168" y="80"/>
                  </a:lnTo>
                  <a:lnTo>
                    <a:pt x="170" y="71"/>
                  </a:lnTo>
                  <a:lnTo>
                    <a:pt x="170" y="63"/>
                  </a:lnTo>
                  <a:lnTo>
                    <a:pt x="174" y="58"/>
                  </a:lnTo>
                  <a:lnTo>
                    <a:pt x="177" y="52"/>
                  </a:lnTo>
                  <a:lnTo>
                    <a:pt x="179" y="46"/>
                  </a:lnTo>
                  <a:lnTo>
                    <a:pt x="183" y="38"/>
                  </a:lnTo>
                  <a:lnTo>
                    <a:pt x="183" y="31"/>
                  </a:lnTo>
                  <a:lnTo>
                    <a:pt x="185" y="23"/>
                  </a:lnTo>
                  <a:lnTo>
                    <a:pt x="185" y="23"/>
                  </a:lnTo>
                  <a:lnTo>
                    <a:pt x="185" y="19"/>
                  </a:lnTo>
                  <a:lnTo>
                    <a:pt x="185" y="18"/>
                  </a:lnTo>
                  <a:lnTo>
                    <a:pt x="183" y="14"/>
                  </a:lnTo>
                  <a:lnTo>
                    <a:pt x="183" y="12"/>
                  </a:lnTo>
                  <a:lnTo>
                    <a:pt x="181" y="12"/>
                  </a:lnTo>
                  <a:lnTo>
                    <a:pt x="181" y="10"/>
                  </a:lnTo>
                  <a:lnTo>
                    <a:pt x="179" y="8"/>
                  </a:lnTo>
                  <a:lnTo>
                    <a:pt x="179" y="6"/>
                  </a:lnTo>
                  <a:lnTo>
                    <a:pt x="74" y="8"/>
                  </a:lnTo>
                  <a:lnTo>
                    <a:pt x="74" y="8"/>
                  </a:lnTo>
                  <a:lnTo>
                    <a:pt x="71" y="12"/>
                  </a:lnTo>
                  <a:lnTo>
                    <a:pt x="69" y="14"/>
                  </a:lnTo>
                  <a:lnTo>
                    <a:pt x="67" y="16"/>
                  </a:lnTo>
                  <a:lnTo>
                    <a:pt x="67" y="19"/>
                  </a:lnTo>
                  <a:lnTo>
                    <a:pt x="65" y="21"/>
                  </a:lnTo>
                  <a:lnTo>
                    <a:pt x="65" y="21"/>
                  </a:lnTo>
                  <a:lnTo>
                    <a:pt x="69" y="27"/>
                  </a:lnTo>
                  <a:lnTo>
                    <a:pt x="72" y="33"/>
                  </a:lnTo>
                  <a:lnTo>
                    <a:pt x="76" y="38"/>
                  </a:lnTo>
                  <a:lnTo>
                    <a:pt x="80" y="42"/>
                  </a:lnTo>
                  <a:lnTo>
                    <a:pt x="84" y="48"/>
                  </a:lnTo>
                  <a:lnTo>
                    <a:pt x="88" y="54"/>
                  </a:lnTo>
                  <a:lnTo>
                    <a:pt x="90" y="61"/>
                  </a:lnTo>
                  <a:lnTo>
                    <a:pt x="90" y="69"/>
                  </a:lnTo>
                  <a:lnTo>
                    <a:pt x="90" y="69"/>
                  </a:lnTo>
                  <a:lnTo>
                    <a:pt x="92" y="73"/>
                  </a:lnTo>
                  <a:lnTo>
                    <a:pt x="92" y="77"/>
                  </a:lnTo>
                  <a:lnTo>
                    <a:pt x="93" y="80"/>
                  </a:lnTo>
                  <a:lnTo>
                    <a:pt x="95" y="82"/>
                  </a:lnTo>
                  <a:lnTo>
                    <a:pt x="97" y="84"/>
                  </a:lnTo>
                  <a:lnTo>
                    <a:pt x="99" y="86"/>
                  </a:lnTo>
                  <a:lnTo>
                    <a:pt x="101" y="90"/>
                  </a:lnTo>
                  <a:lnTo>
                    <a:pt x="101" y="92"/>
                  </a:lnTo>
                  <a:lnTo>
                    <a:pt x="101" y="92"/>
                  </a:lnTo>
                  <a:lnTo>
                    <a:pt x="101" y="98"/>
                  </a:lnTo>
                  <a:lnTo>
                    <a:pt x="99" y="105"/>
                  </a:lnTo>
                  <a:lnTo>
                    <a:pt x="99" y="109"/>
                  </a:lnTo>
                  <a:lnTo>
                    <a:pt x="97" y="113"/>
                  </a:lnTo>
                  <a:lnTo>
                    <a:pt x="93" y="117"/>
                  </a:lnTo>
                  <a:lnTo>
                    <a:pt x="92" y="119"/>
                  </a:lnTo>
                  <a:lnTo>
                    <a:pt x="88" y="121"/>
                  </a:lnTo>
                  <a:lnTo>
                    <a:pt x="82" y="121"/>
                  </a:lnTo>
                  <a:lnTo>
                    <a:pt x="82" y="121"/>
                  </a:lnTo>
                  <a:lnTo>
                    <a:pt x="78" y="121"/>
                  </a:lnTo>
                  <a:lnTo>
                    <a:pt x="74" y="121"/>
                  </a:lnTo>
                  <a:lnTo>
                    <a:pt x="71" y="121"/>
                  </a:lnTo>
                  <a:lnTo>
                    <a:pt x="69" y="121"/>
                  </a:lnTo>
                  <a:lnTo>
                    <a:pt x="65" y="121"/>
                  </a:lnTo>
                  <a:lnTo>
                    <a:pt x="63" y="121"/>
                  </a:lnTo>
                  <a:lnTo>
                    <a:pt x="63" y="121"/>
                  </a:lnTo>
                  <a:lnTo>
                    <a:pt x="61" y="121"/>
                  </a:lnTo>
                  <a:lnTo>
                    <a:pt x="65" y="121"/>
                  </a:lnTo>
                  <a:lnTo>
                    <a:pt x="65" y="121"/>
                  </a:lnTo>
                  <a:lnTo>
                    <a:pt x="71" y="124"/>
                  </a:lnTo>
                  <a:lnTo>
                    <a:pt x="72" y="132"/>
                  </a:lnTo>
                  <a:lnTo>
                    <a:pt x="72" y="140"/>
                  </a:lnTo>
                  <a:lnTo>
                    <a:pt x="72" y="149"/>
                  </a:lnTo>
                  <a:lnTo>
                    <a:pt x="74" y="157"/>
                  </a:lnTo>
                  <a:lnTo>
                    <a:pt x="78" y="164"/>
                  </a:lnTo>
                  <a:lnTo>
                    <a:pt x="84" y="168"/>
                  </a:lnTo>
                  <a:lnTo>
                    <a:pt x="95" y="170"/>
                  </a:lnTo>
                  <a:lnTo>
                    <a:pt x="95" y="170"/>
                  </a:lnTo>
                  <a:lnTo>
                    <a:pt x="95" y="170"/>
                  </a:lnTo>
                  <a:lnTo>
                    <a:pt x="95" y="172"/>
                  </a:lnTo>
                  <a:lnTo>
                    <a:pt x="95" y="174"/>
                  </a:lnTo>
                  <a:lnTo>
                    <a:pt x="95" y="176"/>
                  </a:lnTo>
                  <a:lnTo>
                    <a:pt x="92" y="170"/>
                  </a:lnTo>
                  <a:lnTo>
                    <a:pt x="92" y="170"/>
                  </a:lnTo>
                  <a:lnTo>
                    <a:pt x="93" y="174"/>
                  </a:lnTo>
                  <a:lnTo>
                    <a:pt x="93" y="176"/>
                  </a:lnTo>
                  <a:lnTo>
                    <a:pt x="95" y="178"/>
                  </a:lnTo>
                  <a:lnTo>
                    <a:pt x="95" y="180"/>
                  </a:lnTo>
                  <a:lnTo>
                    <a:pt x="95" y="180"/>
                  </a:lnTo>
                  <a:lnTo>
                    <a:pt x="95" y="187"/>
                  </a:lnTo>
                  <a:lnTo>
                    <a:pt x="90" y="195"/>
                  </a:lnTo>
                  <a:lnTo>
                    <a:pt x="84" y="201"/>
                  </a:lnTo>
                  <a:lnTo>
                    <a:pt x="76" y="208"/>
                  </a:lnTo>
                  <a:lnTo>
                    <a:pt x="69" y="214"/>
                  </a:lnTo>
                  <a:lnTo>
                    <a:pt x="61" y="222"/>
                  </a:lnTo>
                  <a:lnTo>
                    <a:pt x="55" y="229"/>
                  </a:lnTo>
                  <a:lnTo>
                    <a:pt x="51" y="235"/>
                  </a:lnTo>
                  <a:lnTo>
                    <a:pt x="51" y="235"/>
                  </a:lnTo>
                  <a:lnTo>
                    <a:pt x="50" y="243"/>
                  </a:lnTo>
                  <a:lnTo>
                    <a:pt x="46" y="250"/>
                  </a:lnTo>
                  <a:lnTo>
                    <a:pt x="42" y="258"/>
                  </a:lnTo>
                  <a:lnTo>
                    <a:pt x="36" y="267"/>
                  </a:lnTo>
                  <a:lnTo>
                    <a:pt x="30" y="275"/>
                  </a:lnTo>
                  <a:lnTo>
                    <a:pt x="25" y="281"/>
                  </a:lnTo>
                  <a:lnTo>
                    <a:pt x="17" y="285"/>
                  </a:lnTo>
                  <a:lnTo>
                    <a:pt x="9" y="286"/>
                  </a:lnTo>
                  <a:lnTo>
                    <a:pt x="9" y="286"/>
                  </a:lnTo>
                  <a:lnTo>
                    <a:pt x="6" y="286"/>
                  </a:lnTo>
                  <a:lnTo>
                    <a:pt x="4" y="286"/>
                  </a:lnTo>
                  <a:lnTo>
                    <a:pt x="2" y="286"/>
                  </a:lnTo>
                  <a:lnTo>
                    <a:pt x="0" y="286"/>
                  </a:lnTo>
                  <a:lnTo>
                    <a:pt x="0" y="286"/>
                  </a:lnTo>
                  <a:lnTo>
                    <a:pt x="2" y="292"/>
                  </a:lnTo>
                  <a:lnTo>
                    <a:pt x="4" y="298"/>
                  </a:lnTo>
                  <a:lnTo>
                    <a:pt x="6" y="304"/>
                  </a:lnTo>
                  <a:lnTo>
                    <a:pt x="6" y="311"/>
                  </a:lnTo>
                  <a:lnTo>
                    <a:pt x="8" y="317"/>
                  </a:lnTo>
                  <a:lnTo>
                    <a:pt x="9" y="323"/>
                  </a:lnTo>
                  <a:lnTo>
                    <a:pt x="11" y="328"/>
                  </a:lnTo>
                  <a:lnTo>
                    <a:pt x="11" y="332"/>
                  </a:lnTo>
                  <a:lnTo>
                    <a:pt x="11" y="332"/>
                  </a:lnTo>
                  <a:lnTo>
                    <a:pt x="15" y="344"/>
                  </a:lnTo>
                  <a:lnTo>
                    <a:pt x="15" y="353"/>
                  </a:lnTo>
                  <a:lnTo>
                    <a:pt x="15" y="361"/>
                  </a:lnTo>
                  <a:lnTo>
                    <a:pt x="13" y="367"/>
                  </a:lnTo>
                  <a:lnTo>
                    <a:pt x="15" y="372"/>
                  </a:lnTo>
                  <a:lnTo>
                    <a:pt x="15" y="378"/>
                  </a:lnTo>
                  <a:lnTo>
                    <a:pt x="19" y="382"/>
                  </a:lnTo>
                  <a:lnTo>
                    <a:pt x="27" y="388"/>
                  </a:lnTo>
                  <a:lnTo>
                    <a:pt x="27" y="388"/>
                  </a:lnTo>
                  <a:lnTo>
                    <a:pt x="25" y="393"/>
                  </a:lnTo>
                  <a:lnTo>
                    <a:pt x="23" y="399"/>
                  </a:lnTo>
                  <a:lnTo>
                    <a:pt x="21" y="403"/>
                  </a:lnTo>
                  <a:lnTo>
                    <a:pt x="17" y="407"/>
                  </a:lnTo>
                  <a:lnTo>
                    <a:pt x="15" y="410"/>
                  </a:lnTo>
                  <a:lnTo>
                    <a:pt x="13" y="414"/>
                  </a:lnTo>
                  <a:lnTo>
                    <a:pt x="11" y="418"/>
                  </a:lnTo>
                  <a:lnTo>
                    <a:pt x="11" y="424"/>
                  </a:lnTo>
                  <a:lnTo>
                    <a:pt x="11" y="424"/>
                  </a:lnTo>
                  <a:lnTo>
                    <a:pt x="11" y="430"/>
                  </a:lnTo>
                  <a:lnTo>
                    <a:pt x="15" y="435"/>
                  </a:lnTo>
                  <a:lnTo>
                    <a:pt x="21" y="439"/>
                  </a:lnTo>
                  <a:lnTo>
                    <a:pt x="27" y="443"/>
                  </a:lnTo>
                  <a:lnTo>
                    <a:pt x="32" y="447"/>
                  </a:lnTo>
                  <a:lnTo>
                    <a:pt x="40" y="449"/>
                  </a:lnTo>
                  <a:lnTo>
                    <a:pt x="44" y="452"/>
                  </a:lnTo>
                  <a:lnTo>
                    <a:pt x="48" y="454"/>
                  </a:lnTo>
                  <a:lnTo>
                    <a:pt x="48" y="454"/>
                  </a:lnTo>
                  <a:lnTo>
                    <a:pt x="55" y="462"/>
                  </a:lnTo>
                  <a:lnTo>
                    <a:pt x="59" y="470"/>
                  </a:lnTo>
                  <a:lnTo>
                    <a:pt x="63" y="477"/>
                  </a:lnTo>
                  <a:lnTo>
                    <a:pt x="67" y="485"/>
                  </a:lnTo>
                  <a:lnTo>
                    <a:pt x="69" y="493"/>
                  </a:lnTo>
                  <a:lnTo>
                    <a:pt x="71" y="500"/>
                  </a:lnTo>
                  <a:lnTo>
                    <a:pt x="74" y="508"/>
                  </a:lnTo>
                  <a:lnTo>
                    <a:pt x="76" y="517"/>
                  </a:lnTo>
                  <a:lnTo>
                    <a:pt x="76" y="517"/>
                  </a:lnTo>
                  <a:lnTo>
                    <a:pt x="82" y="525"/>
                  </a:lnTo>
                  <a:lnTo>
                    <a:pt x="84" y="535"/>
                  </a:lnTo>
                  <a:lnTo>
                    <a:pt x="88" y="542"/>
                  </a:lnTo>
                  <a:lnTo>
                    <a:pt x="92" y="550"/>
                  </a:lnTo>
                  <a:lnTo>
                    <a:pt x="93" y="557"/>
                  </a:lnTo>
                  <a:lnTo>
                    <a:pt x="95" y="565"/>
                  </a:lnTo>
                  <a:lnTo>
                    <a:pt x="99" y="575"/>
                  </a:lnTo>
                  <a:lnTo>
                    <a:pt x="103" y="582"/>
                  </a:lnTo>
                  <a:lnTo>
                    <a:pt x="103" y="582"/>
                  </a:lnTo>
                  <a:lnTo>
                    <a:pt x="107" y="588"/>
                  </a:lnTo>
                  <a:lnTo>
                    <a:pt x="111" y="594"/>
                  </a:lnTo>
                  <a:lnTo>
                    <a:pt x="114" y="597"/>
                  </a:lnTo>
                  <a:lnTo>
                    <a:pt x="118" y="603"/>
                  </a:lnTo>
                  <a:lnTo>
                    <a:pt x="122" y="607"/>
                  </a:lnTo>
                  <a:lnTo>
                    <a:pt x="124" y="613"/>
                  </a:lnTo>
                  <a:lnTo>
                    <a:pt x="126" y="617"/>
                  </a:lnTo>
                  <a:lnTo>
                    <a:pt x="126" y="624"/>
                  </a:lnTo>
                  <a:lnTo>
                    <a:pt x="126" y="624"/>
                  </a:lnTo>
                  <a:lnTo>
                    <a:pt x="132" y="622"/>
                  </a:lnTo>
                  <a:lnTo>
                    <a:pt x="133" y="622"/>
                  </a:lnTo>
                  <a:lnTo>
                    <a:pt x="135" y="622"/>
                  </a:lnTo>
                  <a:lnTo>
                    <a:pt x="137" y="622"/>
                  </a:lnTo>
                  <a:lnTo>
                    <a:pt x="137" y="622"/>
                  </a:lnTo>
                  <a:lnTo>
                    <a:pt x="139" y="622"/>
                  </a:lnTo>
                  <a:lnTo>
                    <a:pt x="139" y="622"/>
                  </a:lnTo>
                  <a:lnTo>
                    <a:pt x="141" y="622"/>
                  </a:lnTo>
                  <a:lnTo>
                    <a:pt x="141" y="622"/>
                  </a:lnTo>
                  <a:lnTo>
                    <a:pt x="143" y="622"/>
                  </a:lnTo>
                  <a:lnTo>
                    <a:pt x="145" y="624"/>
                  </a:lnTo>
                  <a:lnTo>
                    <a:pt x="147" y="628"/>
                  </a:lnTo>
                  <a:lnTo>
                    <a:pt x="151" y="630"/>
                  </a:lnTo>
                  <a:lnTo>
                    <a:pt x="154" y="634"/>
                  </a:lnTo>
                  <a:lnTo>
                    <a:pt x="158" y="636"/>
                  </a:lnTo>
                  <a:lnTo>
                    <a:pt x="160" y="638"/>
                  </a:lnTo>
                  <a:lnTo>
                    <a:pt x="162" y="639"/>
                  </a:lnTo>
                  <a:lnTo>
                    <a:pt x="162" y="639"/>
                  </a:lnTo>
                  <a:lnTo>
                    <a:pt x="170" y="643"/>
                  </a:lnTo>
                  <a:lnTo>
                    <a:pt x="177" y="647"/>
                  </a:lnTo>
                  <a:lnTo>
                    <a:pt x="185" y="649"/>
                  </a:lnTo>
                  <a:lnTo>
                    <a:pt x="193" y="651"/>
                  </a:lnTo>
                  <a:lnTo>
                    <a:pt x="198" y="653"/>
                  </a:lnTo>
                  <a:lnTo>
                    <a:pt x="204" y="655"/>
                  </a:lnTo>
                  <a:lnTo>
                    <a:pt x="212" y="659"/>
                  </a:lnTo>
                  <a:lnTo>
                    <a:pt x="219" y="660"/>
                  </a:lnTo>
                  <a:lnTo>
                    <a:pt x="219" y="660"/>
                  </a:lnTo>
                  <a:lnTo>
                    <a:pt x="227" y="664"/>
                  </a:lnTo>
                  <a:lnTo>
                    <a:pt x="233" y="668"/>
                  </a:lnTo>
                  <a:lnTo>
                    <a:pt x="240" y="672"/>
                  </a:lnTo>
                  <a:lnTo>
                    <a:pt x="246" y="676"/>
                  </a:lnTo>
                  <a:lnTo>
                    <a:pt x="254" y="678"/>
                  </a:lnTo>
                  <a:lnTo>
                    <a:pt x="259" y="681"/>
                  </a:lnTo>
                  <a:lnTo>
                    <a:pt x="267" y="685"/>
                  </a:lnTo>
                  <a:lnTo>
                    <a:pt x="273" y="687"/>
                  </a:lnTo>
                  <a:lnTo>
                    <a:pt x="278" y="689"/>
                  </a:lnTo>
                  <a:lnTo>
                    <a:pt x="286" y="691"/>
                  </a:lnTo>
                  <a:lnTo>
                    <a:pt x="294" y="693"/>
                  </a:lnTo>
                  <a:lnTo>
                    <a:pt x="301" y="693"/>
                  </a:lnTo>
                  <a:lnTo>
                    <a:pt x="307" y="693"/>
                  </a:lnTo>
                  <a:lnTo>
                    <a:pt x="317" y="693"/>
                  </a:lnTo>
                  <a:lnTo>
                    <a:pt x="324" y="693"/>
                  </a:lnTo>
                  <a:lnTo>
                    <a:pt x="332" y="691"/>
                  </a:lnTo>
                  <a:lnTo>
                    <a:pt x="332" y="691"/>
                  </a:lnTo>
                  <a:lnTo>
                    <a:pt x="334" y="691"/>
                  </a:lnTo>
                  <a:lnTo>
                    <a:pt x="336" y="691"/>
                  </a:lnTo>
                  <a:lnTo>
                    <a:pt x="338" y="691"/>
                  </a:lnTo>
                  <a:lnTo>
                    <a:pt x="338" y="691"/>
                  </a:lnTo>
                  <a:lnTo>
                    <a:pt x="338" y="691"/>
                  </a:lnTo>
                  <a:lnTo>
                    <a:pt x="349" y="699"/>
                  </a:lnTo>
                  <a:lnTo>
                    <a:pt x="357" y="704"/>
                  </a:lnTo>
                  <a:lnTo>
                    <a:pt x="362" y="712"/>
                  </a:lnTo>
                  <a:lnTo>
                    <a:pt x="366" y="718"/>
                  </a:lnTo>
                  <a:lnTo>
                    <a:pt x="370" y="725"/>
                  </a:lnTo>
                  <a:lnTo>
                    <a:pt x="372" y="733"/>
                  </a:lnTo>
                  <a:lnTo>
                    <a:pt x="376" y="742"/>
                  </a:lnTo>
                  <a:lnTo>
                    <a:pt x="381" y="752"/>
                  </a:lnTo>
                  <a:lnTo>
                    <a:pt x="381" y="790"/>
                  </a:lnTo>
                  <a:lnTo>
                    <a:pt x="381" y="790"/>
                  </a:lnTo>
                  <a:lnTo>
                    <a:pt x="383" y="794"/>
                  </a:lnTo>
                  <a:lnTo>
                    <a:pt x="385" y="798"/>
                  </a:lnTo>
                  <a:lnTo>
                    <a:pt x="385" y="802"/>
                  </a:lnTo>
                  <a:lnTo>
                    <a:pt x="385" y="805"/>
                  </a:lnTo>
                  <a:lnTo>
                    <a:pt x="385" y="809"/>
                  </a:lnTo>
                  <a:lnTo>
                    <a:pt x="385" y="813"/>
                  </a:lnTo>
                  <a:lnTo>
                    <a:pt x="385" y="817"/>
                  </a:lnTo>
                  <a:lnTo>
                    <a:pt x="385" y="821"/>
                  </a:lnTo>
                  <a:lnTo>
                    <a:pt x="385" y="821"/>
                  </a:lnTo>
                  <a:lnTo>
                    <a:pt x="385" y="824"/>
                  </a:lnTo>
                  <a:lnTo>
                    <a:pt x="387" y="828"/>
                  </a:lnTo>
                  <a:lnTo>
                    <a:pt x="389" y="832"/>
                  </a:lnTo>
                  <a:lnTo>
                    <a:pt x="391" y="836"/>
                  </a:lnTo>
                  <a:lnTo>
                    <a:pt x="395" y="838"/>
                  </a:lnTo>
                  <a:lnTo>
                    <a:pt x="397" y="842"/>
                  </a:lnTo>
                  <a:lnTo>
                    <a:pt x="399" y="844"/>
                  </a:lnTo>
                  <a:lnTo>
                    <a:pt x="402" y="847"/>
                  </a:lnTo>
                  <a:lnTo>
                    <a:pt x="402" y="847"/>
                  </a:lnTo>
                  <a:lnTo>
                    <a:pt x="406" y="845"/>
                  </a:lnTo>
                  <a:lnTo>
                    <a:pt x="410" y="844"/>
                  </a:lnTo>
                  <a:lnTo>
                    <a:pt x="416" y="844"/>
                  </a:lnTo>
                  <a:lnTo>
                    <a:pt x="420" y="842"/>
                  </a:lnTo>
                  <a:lnTo>
                    <a:pt x="425" y="840"/>
                  </a:lnTo>
                  <a:lnTo>
                    <a:pt x="429" y="838"/>
                  </a:lnTo>
                  <a:lnTo>
                    <a:pt x="435" y="836"/>
                  </a:lnTo>
                  <a:lnTo>
                    <a:pt x="439" y="834"/>
                  </a:lnTo>
                  <a:lnTo>
                    <a:pt x="444" y="832"/>
                  </a:lnTo>
                  <a:lnTo>
                    <a:pt x="448" y="830"/>
                  </a:lnTo>
                  <a:lnTo>
                    <a:pt x="454" y="830"/>
                  </a:lnTo>
                  <a:lnTo>
                    <a:pt x="458" y="828"/>
                  </a:lnTo>
                  <a:lnTo>
                    <a:pt x="462" y="828"/>
                  </a:lnTo>
                  <a:lnTo>
                    <a:pt x="465" y="826"/>
                  </a:lnTo>
                  <a:lnTo>
                    <a:pt x="469" y="826"/>
                  </a:lnTo>
                  <a:lnTo>
                    <a:pt x="471" y="826"/>
                  </a:lnTo>
                  <a:lnTo>
                    <a:pt x="471" y="826"/>
                  </a:lnTo>
                  <a:lnTo>
                    <a:pt x="477" y="826"/>
                  </a:lnTo>
                  <a:lnTo>
                    <a:pt x="481" y="828"/>
                  </a:lnTo>
                  <a:lnTo>
                    <a:pt x="486" y="830"/>
                  </a:lnTo>
                  <a:lnTo>
                    <a:pt x="490" y="832"/>
                  </a:lnTo>
                  <a:lnTo>
                    <a:pt x="494" y="836"/>
                  </a:lnTo>
                  <a:lnTo>
                    <a:pt x="498" y="838"/>
                  </a:lnTo>
                  <a:lnTo>
                    <a:pt x="500" y="840"/>
                  </a:lnTo>
                  <a:lnTo>
                    <a:pt x="504" y="842"/>
                  </a:lnTo>
                  <a:lnTo>
                    <a:pt x="504" y="842"/>
                  </a:lnTo>
                  <a:lnTo>
                    <a:pt x="511" y="844"/>
                  </a:lnTo>
                  <a:lnTo>
                    <a:pt x="519" y="845"/>
                  </a:lnTo>
                  <a:lnTo>
                    <a:pt x="525" y="845"/>
                  </a:lnTo>
                  <a:lnTo>
                    <a:pt x="532" y="847"/>
                  </a:lnTo>
                  <a:lnTo>
                    <a:pt x="540" y="847"/>
                  </a:lnTo>
                  <a:lnTo>
                    <a:pt x="547" y="849"/>
                  </a:lnTo>
                  <a:lnTo>
                    <a:pt x="555" y="849"/>
                  </a:lnTo>
                  <a:lnTo>
                    <a:pt x="563" y="849"/>
                  </a:lnTo>
                  <a:lnTo>
                    <a:pt x="563" y="849"/>
                  </a:lnTo>
                  <a:lnTo>
                    <a:pt x="570" y="849"/>
                  </a:lnTo>
                  <a:lnTo>
                    <a:pt x="576" y="847"/>
                  </a:lnTo>
                  <a:lnTo>
                    <a:pt x="584" y="845"/>
                  </a:lnTo>
                  <a:lnTo>
                    <a:pt x="589" y="844"/>
                  </a:lnTo>
                  <a:lnTo>
                    <a:pt x="595" y="842"/>
                  </a:lnTo>
                  <a:lnTo>
                    <a:pt x="601" y="840"/>
                  </a:lnTo>
                  <a:lnTo>
                    <a:pt x="605" y="836"/>
                  </a:lnTo>
                  <a:lnTo>
                    <a:pt x="610" y="834"/>
                  </a:lnTo>
                  <a:lnTo>
                    <a:pt x="616" y="830"/>
                  </a:lnTo>
                  <a:lnTo>
                    <a:pt x="620" y="826"/>
                  </a:lnTo>
                  <a:lnTo>
                    <a:pt x="626" y="824"/>
                  </a:lnTo>
                  <a:lnTo>
                    <a:pt x="629" y="823"/>
                  </a:lnTo>
                  <a:lnTo>
                    <a:pt x="635" y="821"/>
                  </a:lnTo>
                  <a:lnTo>
                    <a:pt x="641" y="819"/>
                  </a:lnTo>
                  <a:lnTo>
                    <a:pt x="647" y="817"/>
                  </a:lnTo>
                  <a:lnTo>
                    <a:pt x="652" y="817"/>
                  </a:lnTo>
                  <a:lnTo>
                    <a:pt x="652" y="817"/>
                  </a:lnTo>
                  <a:lnTo>
                    <a:pt x="658" y="817"/>
                  </a:lnTo>
                  <a:lnTo>
                    <a:pt x="662" y="817"/>
                  </a:lnTo>
                  <a:lnTo>
                    <a:pt x="666" y="817"/>
                  </a:lnTo>
                  <a:lnTo>
                    <a:pt x="668" y="817"/>
                  </a:lnTo>
                  <a:lnTo>
                    <a:pt x="671" y="817"/>
                  </a:lnTo>
                  <a:lnTo>
                    <a:pt x="675" y="817"/>
                  </a:lnTo>
                  <a:lnTo>
                    <a:pt x="677" y="817"/>
                  </a:lnTo>
                  <a:lnTo>
                    <a:pt x="681" y="817"/>
                  </a:lnTo>
                  <a:lnTo>
                    <a:pt x="681" y="817"/>
                  </a:lnTo>
                  <a:lnTo>
                    <a:pt x="690" y="817"/>
                  </a:lnTo>
                  <a:lnTo>
                    <a:pt x="700" y="815"/>
                  </a:lnTo>
                  <a:lnTo>
                    <a:pt x="710" y="813"/>
                  </a:lnTo>
                  <a:lnTo>
                    <a:pt x="721" y="811"/>
                  </a:lnTo>
                  <a:lnTo>
                    <a:pt x="732" y="807"/>
                  </a:lnTo>
                  <a:lnTo>
                    <a:pt x="742" y="803"/>
                  </a:lnTo>
                  <a:lnTo>
                    <a:pt x="753" y="800"/>
                  </a:lnTo>
                  <a:lnTo>
                    <a:pt x="765" y="794"/>
                  </a:lnTo>
                  <a:lnTo>
                    <a:pt x="774" y="788"/>
                  </a:lnTo>
                  <a:lnTo>
                    <a:pt x="784" y="783"/>
                  </a:lnTo>
                  <a:lnTo>
                    <a:pt x="793" y="777"/>
                  </a:lnTo>
                  <a:lnTo>
                    <a:pt x="803" y="771"/>
                  </a:lnTo>
                  <a:lnTo>
                    <a:pt x="811" y="763"/>
                  </a:lnTo>
                  <a:lnTo>
                    <a:pt x="816" y="758"/>
                  </a:lnTo>
                  <a:lnTo>
                    <a:pt x="822" y="750"/>
                  </a:lnTo>
                  <a:lnTo>
                    <a:pt x="826" y="744"/>
                  </a:lnTo>
                  <a:lnTo>
                    <a:pt x="826" y="744"/>
                  </a:lnTo>
                  <a:lnTo>
                    <a:pt x="820" y="742"/>
                  </a:lnTo>
                  <a:lnTo>
                    <a:pt x="814" y="742"/>
                  </a:lnTo>
                  <a:lnTo>
                    <a:pt x="811" y="739"/>
                  </a:lnTo>
                  <a:lnTo>
                    <a:pt x="805" y="737"/>
                  </a:lnTo>
                  <a:lnTo>
                    <a:pt x="801" y="733"/>
                  </a:lnTo>
                  <a:lnTo>
                    <a:pt x="797" y="727"/>
                  </a:lnTo>
                  <a:lnTo>
                    <a:pt x="795" y="721"/>
                  </a:lnTo>
                  <a:lnTo>
                    <a:pt x="792" y="718"/>
                  </a:lnTo>
                  <a:lnTo>
                    <a:pt x="790" y="712"/>
                  </a:lnTo>
                  <a:lnTo>
                    <a:pt x="788" y="706"/>
                  </a:lnTo>
                  <a:lnTo>
                    <a:pt x="786" y="699"/>
                  </a:lnTo>
                  <a:lnTo>
                    <a:pt x="784" y="693"/>
                  </a:lnTo>
                  <a:lnTo>
                    <a:pt x="784" y="687"/>
                  </a:lnTo>
                  <a:lnTo>
                    <a:pt x="782" y="681"/>
                  </a:lnTo>
                  <a:lnTo>
                    <a:pt x="782" y="676"/>
                  </a:lnTo>
                  <a:lnTo>
                    <a:pt x="782" y="670"/>
                  </a:lnTo>
                  <a:lnTo>
                    <a:pt x="782" y="670"/>
                  </a:lnTo>
                  <a:lnTo>
                    <a:pt x="782" y="662"/>
                  </a:lnTo>
                  <a:lnTo>
                    <a:pt x="780" y="655"/>
                  </a:lnTo>
                  <a:lnTo>
                    <a:pt x="776" y="647"/>
                  </a:lnTo>
                  <a:lnTo>
                    <a:pt x="773" y="639"/>
                  </a:lnTo>
                  <a:lnTo>
                    <a:pt x="767" y="630"/>
                  </a:lnTo>
                  <a:lnTo>
                    <a:pt x="765" y="622"/>
                  </a:lnTo>
                  <a:lnTo>
                    <a:pt x="761" y="615"/>
                  </a:lnTo>
                  <a:lnTo>
                    <a:pt x="761" y="605"/>
                  </a:lnTo>
                  <a:lnTo>
                    <a:pt x="761" y="605"/>
                  </a:lnTo>
                  <a:lnTo>
                    <a:pt x="761" y="599"/>
                  </a:lnTo>
                  <a:lnTo>
                    <a:pt x="763" y="596"/>
                  </a:lnTo>
                  <a:lnTo>
                    <a:pt x="763" y="590"/>
                  </a:lnTo>
                  <a:lnTo>
                    <a:pt x="767" y="584"/>
                  </a:lnTo>
                  <a:lnTo>
                    <a:pt x="767" y="580"/>
                  </a:lnTo>
                  <a:lnTo>
                    <a:pt x="769" y="575"/>
                  </a:lnTo>
                  <a:lnTo>
                    <a:pt x="771" y="569"/>
                  </a:lnTo>
                  <a:lnTo>
                    <a:pt x="771" y="565"/>
                  </a:lnTo>
                  <a:lnTo>
                    <a:pt x="771" y="565"/>
                  </a:lnTo>
                  <a:lnTo>
                    <a:pt x="771" y="559"/>
                  </a:lnTo>
                  <a:lnTo>
                    <a:pt x="769" y="554"/>
                  </a:lnTo>
                  <a:lnTo>
                    <a:pt x="767" y="550"/>
                  </a:lnTo>
                  <a:lnTo>
                    <a:pt x="767" y="546"/>
                  </a:lnTo>
                  <a:lnTo>
                    <a:pt x="763" y="542"/>
                  </a:lnTo>
                  <a:lnTo>
                    <a:pt x="763" y="540"/>
                  </a:lnTo>
                  <a:lnTo>
                    <a:pt x="761" y="535"/>
                  </a:lnTo>
                  <a:lnTo>
                    <a:pt x="761" y="531"/>
                  </a:lnTo>
                  <a:lnTo>
                    <a:pt x="761" y="531"/>
                  </a:lnTo>
                  <a:lnTo>
                    <a:pt x="761" y="523"/>
                  </a:lnTo>
                  <a:lnTo>
                    <a:pt x="765" y="517"/>
                  </a:lnTo>
                  <a:lnTo>
                    <a:pt x="767" y="514"/>
                  </a:lnTo>
                  <a:lnTo>
                    <a:pt x="773" y="510"/>
                  </a:lnTo>
                  <a:lnTo>
                    <a:pt x="776" y="506"/>
                  </a:lnTo>
                  <a:lnTo>
                    <a:pt x="780" y="502"/>
                  </a:lnTo>
                  <a:lnTo>
                    <a:pt x="782" y="498"/>
                  </a:lnTo>
                  <a:lnTo>
                    <a:pt x="782" y="493"/>
                  </a:lnTo>
                  <a:lnTo>
                    <a:pt x="782" y="493"/>
                  </a:lnTo>
                  <a:lnTo>
                    <a:pt x="782" y="489"/>
                  </a:lnTo>
                  <a:lnTo>
                    <a:pt x="782" y="485"/>
                  </a:lnTo>
                  <a:lnTo>
                    <a:pt x="782" y="485"/>
                  </a:lnTo>
                  <a:lnTo>
                    <a:pt x="782" y="483"/>
                  </a:lnTo>
                  <a:lnTo>
                    <a:pt x="780" y="481"/>
                  </a:lnTo>
                  <a:lnTo>
                    <a:pt x="780" y="481"/>
                  </a:lnTo>
                  <a:lnTo>
                    <a:pt x="782" y="479"/>
                  </a:lnTo>
                  <a:lnTo>
                    <a:pt x="782" y="479"/>
                  </a:lnTo>
                  <a:lnTo>
                    <a:pt x="782" y="479"/>
                  </a:lnTo>
                  <a:lnTo>
                    <a:pt x="780" y="473"/>
                  </a:lnTo>
                  <a:lnTo>
                    <a:pt x="776" y="470"/>
                  </a:lnTo>
                  <a:lnTo>
                    <a:pt x="773" y="466"/>
                  </a:lnTo>
                  <a:lnTo>
                    <a:pt x="769" y="462"/>
                  </a:lnTo>
                  <a:lnTo>
                    <a:pt x="763" y="460"/>
                  </a:lnTo>
                  <a:lnTo>
                    <a:pt x="759" y="456"/>
                  </a:lnTo>
                  <a:lnTo>
                    <a:pt x="753" y="452"/>
                  </a:lnTo>
                  <a:lnTo>
                    <a:pt x="750" y="451"/>
                  </a:lnTo>
                  <a:lnTo>
                    <a:pt x="746" y="447"/>
                  </a:lnTo>
                  <a:lnTo>
                    <a:pt x="740" y="443"/>
                  </a:lnTo>
                  <a:lnTo>
                    <a:pt x="736" y="439"/>
                  </a:lnTo>
                  <a:lnTo>
                    <a:pt x="734" y="435"/>
                  </a:lnTo>
                  <a:lnTo>
                    <a:pt x="731" y="430"/>
                  </a:lnTo>
                  <a:lnTo>
                    <a:pt x="729" y="424"/>
                  </a:lnTo>
                  <a:lnTo>
                    <a:pt x="727" y="416"/>
                  </a:lnTo>
                  <a:lnTo>
                    <a:pt x="727" y="410"/>
                  </a:lnTo>
                  <a:lnTo>
                    <a:pt x="727" y="410"/>
                  </a:lnTo>
                  <a:lnTo>
                    <a:pt x="727" y="401"/>
                  </a:lnTo>
                  <a:lnTo>
                    <a:pt x="729" y="393"/>
                  </a:lnTo>
                  <a:lnTo>
                    <a:pt x="731" y="386"/>
                  </a:lnTo>
                  <a:lnTo>
                    <a:pt x="732" y="380"/>
                  </a:lnTo>
                  <a:lnTo>
                    <a:pt x="734" y="372"/>
                  </a:lnTo>
                  <a:lnTo>
                    <a:pt x="736" y="367"/>
                  </a:lnTo>
                  <a:lnTo>
                    <a:pt x="740" y="361"/>
                  </a:lnTo>
                  <a:lnTo>
                    <a:pt x="742" y="353"/>
                  </a:lnTo>
                  <a:lnTo>
                    <a:pt x="746" y="348"/>
                  </a:lnTo>
                  <a:lnTo>
                    <a:pt x="748" y="342"/>
                  </a:lnTo>
                  <a:lnTo>
                    <a:pt x="752" y="334"/>
                  </a:lnTo>
                  <a:lnTo>
                    <a:pt x="753" y="328"/>
                  </a:lnTo>
                  <a:lnTo>
                    <a:pt x="755" y="321"/>
                  </a:lnTo>
                  <a:lnTo>
                    <a:pt x="757" y="313"/>
                  </a:lnTo>
                  <a:lnTo>
                    <a:pt x="757" y="307"/>
                  </a:lnTo>
                  <a:lnTo>
                    <a:pt x="757" y="29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2" name="Freeform 116"/>
            <p:cNvSpPr>
              <a:spLocks/>
            </p:cNvSpPr>
            <p:nvPr/>
          </p:nvSpPr>
          <p:spPr bwMode="gray">
            <a:xfrm>
              <a:off x="3445" y="2888"/>
              <a:ext cx="342" cy="602"/>
            </a:xfrm>
            <a:custGeom>
              <a:avLst/>
              <a:gdLst/>
              <a:ahLst/>
              <a:cxnLst>
                <a:cxn ang="0">
                  <a:pos x="23" y="758"/>
                </a:cxn>
                <a:cxn ang="0">
                  <a:pos x="84" y="693"/>
                </a:cxn>
                <a:cxn ang="0">
                  <a:pos x="118" y="605"/>
                </a:cxn>
                <a:cxn ang="0">
                  <a:pos x="115" y="563"/>
                </a:cxn>
                <a:cxn ang="0">
                  <a:pos x="107" y="514"/>
                </a:cxn>
                <a:cxn ang="0">
                  <a:pos x="103" y="470"/>
                </a:cxn>
                <a:cxn ang="0">
                  <a:pos x="122" y="422"/>
                </a:cxn>
                <a:cxn ang="0">
                  <a:pos x="139" y="388"/>
                </a:cxn>
                <a:cxn ang="0">
                  <a:pos x="156" y="355"/>
                </a:cxn>
                <a:cxn ang="0">
                  <a:pos x="200" y="330"/>
                </a:cxn>
                <a:cxn ang="0">
                  <a:pos x="242" y="317"/>
                </a:cxn>
                <a:cxn ang="0">
                  <a:pos x="280" y="306"/>
                </a:cxn>
                <a:cxn ang="0">
                  <a:pos x="313" y="285"/>
                </a:cxn>
                <a:cxn ang="0">
                  <a:pos x="340" y="260"/>
                </a:cxn>
                <a:cxn ang="0">
                  <a:pos x="370" y="241"/>
                </a:cxn>
                <a:cxn ang="0">
                  <a:pos x="408" y="212"/>
                </a:cxn>
                <a:cxn ang="0">
                  <a:pos x="420" y="187"/>
                </a:cxn>
                <a:cxn ang="0">
                  <a:pos x="431" y="164"/>
                </a:cxn>
                <a:cxn ang="0">
                  <a:pos x="446" y="143"/>
                </a:cxn>
                <a:cxn ang="0">
                  <a:pos x="490" y="115"/>
                </a:cxn>
                <a:cxn ang="0">
                  <a:pos x="507" y="77"/>
                </a:cxn>
                <a:cxn ang="0">
                  <a:pos x="506" y="42"/>
                </a:cxn>
                <a:cxn ang="0">
                  <a:pos x="538" y="8"/>
                </a:cxn>
                <a:cxn ang="0">
                  <a:pos x="555" y="21"/>
                </a:cxn>
                <a:cxn ang="0">
                  <a:pos x="570" y="69"/>
                </a:cxn>
                <a:cxn ang="0">
                  <a:pos x="586" y="122"/>
                </a:cxn>
                <a:cxn ang="0">
                  <a:pos x="597" y="178"/>
                </a:cxn>
                <a:cxn ang="0">
                  <a:pos x="603" y="233"/>
                </a:cxn>
                <a:cxn ang="0">
                  <a:pos x="605" y="281"/>
                </a:cxn>
                <a:cxn ang="0">
                  <a:pos x="590" y="317"/>
                </a:cxn>
                <a:cxn ang="0">
                  <a:pos x="570" y="306"/>
                </a:cxn>
                <a:cxn ang="0">
                  <a:pos x="559" y="290"/>
                </a:cxn>
                <a:cxn ang="0">
                  <a:pos x="549" y="317"/>
                </a:cxn>
                <a:cxn ang="0">
                  <a:pos x="553" y="349"/>
                </a:cxn>
                <a:cxn ang="0">
                  <a:pos x="551" y="380"/>
                </a:cxn>
                <a:cxn ang="0">
                  <a:pos x="527" y="414"/>
                </a:cxn>
                <a:cxn ang="0">
                  <a:pos x="513" y="447"/>
                </a:cxn>
                <a:cxn ang="0">
                  <a:pos x="506" y="485"/>
                </a:cxn>
                <a:cxn ang="0">
                  <a:pos x="496" y="527"/>
                </a:cxn>
                <a:cxn ang="0">
                  <a:pos x="467" y="594"/>
                </a:cxn>
                <a:cxn ang="0">
                  <a:pos x="424" y="674"/>
                </a:cxn>
                <a:cxn ang="0">
                  <a:pos x="393" y="741"/>
                </a:cxn>
                <a:cxn ang="0">
                  <a:pos x="368" y="798"/>
                </a:cxn>
                <a:cxn ang="0">
                  <a:pos x="343" y="847"/>
                </a:cxn>
                <a:cxn ang="0">
                  <a:pos x="322" y="895"/>
                </a:cxn>
                <a:cxn ang="0">
                  <a:pos x="298" y="969"/>
                </a:cxn>
                <a:cxn ang="0">
                  <a:pos x="261" y="1034"/>
                </a:cxn>
                <a:cxn ang="0">
                  <a:pos x="223" y="1063"/>
                </a:cxn>
                <a:cxn ang="0">
                  <a:pos x="187" y="1067"/>
                </a:cxn>
                <a:cxn ang="0">
                  <a:pos x="166" y="1076"/>
                </a:cxn>
                <a:cxn ang="0">
                  <a:pos x="141" y="1088"/>
                </a:cxn>
                <a:cxn ang="0">
                  <a:pos x="116" y="1093"/>
                </a:cxn>
                <a:cxn ang="0">
                  <a:pos x="59" y="1069"/>
                </a:cxn>
                <a:cxn ang="0">
                  <a:pos x="17" y="1013"/>
                </a:cxn>
                <a:cxn ang="0">
                  <a:pos x="8" y="966"/>
                </a:cxn>
                <a:cxn ang="0">
                  <a:pos x="27" y="931"/>
                </a:cxn>
                <a:cxn ang="0">
                  <a:pos x="23" y="903"/>
                </a:cxn>
                <a:cxn ang="0">
                  <a:pos x="10" y="874"/>
                </a:cxn>
                <a:cxn ang="0">
                  <a:pos x="0" y="840"/>
                </a:cxn>
              </a:cxnLst>
              <a:rect l="0" t="0" r="r" b="b"/>
              <a:pathLst>
                <a:path w="605" h="1093">
                  <a:moveTo>
                    <a:pt x="0" y="813"/>
                  </a:moveTo>
                  <a:lnTo>
                    <a:pt x="0" y="813"/>
                  </a:lnTo>
                  <a:lnTo>
                    <a:pt x="4" y="796"/>
                  </a:lnTo>
                  <a:lnTo>
                    <a:pt x="8" y="783"/>
                  </a:lnTo>
                  <a:lnTo>
                    <a:pt x="13" y="769"/>
                  </a:lnTo>
                  <a:lnTo>
                    <a:pt x="23" y="758"/>
                  </a:lnTo>
                  <a:lnTo>
                    <a:pt x="31" y="746"/>
                  </a:lnTo>
                  <a:lnTo>
                    <a:pt x="42" y="735"/>
                  </a:lnTo>
                  <a:lnTo>
                    <a:pt x="52" y="725"/>
                  </a:lnTo>
                  <a:lnTo>
                    <a:pt x="63" y="714"/>
                  </a:lnTo>
                  <a:lnTo>
                    <a:pt x="73" y="704"/>
                  </a:lnTo>
                  <a:lnTo>
                    <a:pt x="84" y="693"/>
                  </a:lnTo>
                  <a:lnTo>
                    <a:pt x="94" y="681"/>
                  </a:lnTo>
                  <a:lnTo>
                    <a:pt x="101" y="668"/>
                  </a:lnTo>
                  <a:lnTo>
                    <a:pt x="109" y="655"/>
                  </a:lnTo>
                  <a:lnTo>
                    <a:pt x="115" y="639"/>
                  </a:lnTo>
                  <a:lnTo>
                    <a:pt x="118" y="624"/>
                  </a:lnTo>
                  <a:lnTo>
                    <a:pt x="118" y="605"/>
                  </a:lnTo>
                  <a:lnTo>
                    <a:pt x="118" y="605"/>
                  </a:lnTo>
                  <a:lnTo>
                    <a:pt x="118" y="597"/>
                  </a:lnTo>
                  <a:lnTo>
                    <a:pt x="118" y="588"/>
                  </a:lnTo>
                  <a:lnTo>
                    <a:pt x="118" y="580"/>
                  </a:lnTo>
                  <a:lnTo>
                    <a:pt x="116" y="571"/>
                  </a:lnTo>
                  <a:lnTo>
                    <a:pt x="115" y="563"/>
                  </a:lnTo>
                  <a:lnTo>
                    <a:pt x="115" y="555"/>
                  </a:lnTo>
                  <a:lnTo>
                    <a:pt x="113" y="546"/>
                  </a:lnTo>
                  <a:lnTo>
                    <a:pt x="111" y="538"/>
                  </a:lnTo>
                  <a:lnTo>
                    <a:pt x="111" y="531"/>
                  </a:lnTo>
                  <a:lnTo>
                    <a:pt x="109" y="521"/>
                  </a:lnTo>
                  <a:lnTo>
                    <a:pt x="107" y="514"/>
                  </a:lnTo>
                  <a:lnTo>
                    <a:pt x="107" y="504"/>
                  </a:lnTo>
                  <a:lnTo>
                    <a:pt x="105" y="496"/>
                  </a:lnTo>
                  <a:lnTo>
                    <a:pt x="105" y="487"/>
                  </a:lnTo>
                  <a:lnTo>
                    <a:pt x="103" y="479"/>
                  </a:lnTo>
                  <a:lnTo>
                    <a:pt x="103" y="470"/>
                  </a:lnTo>
                  <a:lnTo>
                    <a:pt x="103" y="470"/>
                  </a:lnTo>
                  <a:lnTo>
                    <a:pt x="105" y="458"/>
                  </a:lnTo>
                  <a:lnTo>
                    <a:pt x="107" y="451"/>
                  </a:lnTo>
                  <a:lnTo>
                    <a:pt x="111" y="443"/>
                  </a:lnTo>
                  <a:lnTo>
                    <a:pt x="115" y="435"/>
                  </a:lnTo>
                  <a:lnTo>
                    <a:pt x="118" y="428"/>
                  </a:lnTo>
                  <a:lnTo>
                    <a:pt x="122" y="422"/>
                  </a:lnTo>
                  <a:lnTo>
                    <a:pt x="128" y="416"/>
                  </a:lnTo>
                  <a:lnTo>
                    <a:pt x="132" y="411"/>
                  </a:lnTo>
                  <a:lnTo>
                    <a:pt x="132" y="411"/>
                  </a:lnTo>
                  <a:lnTo>
                    <a:pt x="134" y="403"/>
                  </a:lnTo>
                  <a:lnTo>
                    <a:pt x="137" y="395"/>
                  </a:lnTo>
                  <a:lnTo>
                    <a:pt x="139" y="388"/>
                  </a:lnTo>
                  <a:lnTo>
                    <a:pt x="141" y="380"/>
                  </a:lnTo>
                  <a:lnTo>
                    <a:pt x="145" y="372"/>
                  </a:lnTo>
                  <a:lnTo>
                    <a:pt x="147" y="367"/>
                  </a:lnTo>
                  <a:lnTo>
                    <a:pt x="151" y="359"/>
                  </a:lnTo>
                  <a:lnTo>
                    <a:pt x="156" y="355"/>
                  </a:lnTo>
                  <a:lnTo>
                    <a:pt x="156" y="355"/>
                  </a:lnTo>
                  <a:lnTo>
                    <a:pt x="164" y="349"/>
                  </a:lnTo>
                  <a:lnTo>
                    <a:pt x="172" y="344"/>
                  </a:lnTo>
                  <a:lnTo>
                    <a:pt x="179" y="340"/>
                  </a:lnTo>
                  <a:lnTo>
                    <a:pt x="185" y="336"/>
                  </a:lnTo>
                  <a:lnTo>
                    <a:pt x="193" y="334"/>
                  </a:lnTo>
                  <a:lnTo>
                    <a:pt x="200" y="330"/>
                  </a:lnTo>
                  <a:lnTo>
                    <a:pt x="206" y="328"/>
                  </a:lnTo>
                  <a:lnTo>
                    <a:pt x="214" y="327"/>
                  </a:lnTo>
                  <a:lnTo>
                    <a:pt x="221" y="325"/>
                  </a:lnTo>
                  <a:lnTo>
                    <a:pt x="227" y="321"/>
                  </a:lnTo>
                  <a:lnTo>
                    <a:pt x="235" y="319"/>
                  </a:lnTo>
                  <a:lnTo>
                    <a:pt x="242" y="317"/>
                  </a:lnTo>
                  <a:lnTo>
                    <a:pt x="250" y="315"/>
                  </a:lnTo>
                  <a:lnTo>
                    <a:pt x="258" y="313"/>
                  </a:lnTo>
                  <a:lnTo>
                    <a:pt x="265" y="311"/>
                  </a:lnTo>
                  <a:lnTo>
                    <a:pt x="273" y="307"/>
                  </a:lnTo>
                  <a:lnTo>
                    <a:pt x="273" y="307"/>
                  </a:lnTo>
                  <a:lnTo>
                    <a:pt x="280" y="306"/>
                  </a:lnTo>
                  <a:lnTo>
                    <a:pt x="286" y="302"/>
                  </a:lnTo>
                  <a:lnTo>
                    <a:pt x="292" y="298"/>
                  </a:lnTo>
                  <a:lnTo>
                    <a:pt x="298" y="294"/>
                  </a:lnTo>
                  <a:lnTo>
                    <a:pt x="303" y="290"/>
                  </a:lnTo>
                  <a:lnTo>
                    <a:pt x="307" y="288"/>
                  </a:lnTo>
                  <a:lnTo>
                    <a:pt x="313" y="285"/>
                  </a:lnTo>
                  <a:lnTo>
                    <a:pt x="317" y="281"/>
                  </a:lnTo>
                  <a:lnTo>
                    <a:pt x="321" y="277"/>
                  </a:lnTo>
                  <a:lnTo>
                    <a:pt x="324" y="273"/>
                  </a:lnTo>
                  <a:lnTo>
                    <a:pt x="330" y="267"/>
                  </a:lnTo>
                  <a:lnTo>
                    <a:pt x="334" y="266"/>
                  </a:lnTo>
                  <a:lnTo>
                    <a:pt x="340" y="260"/>
                  </a:lnTo>
                  <a:lnTo>
                    <a:pt x="343" y="256"/>
                  </a:lnTo>
                  <a:lnTo>
                    <a:pt x="349" y="252"/>
                  </a:lnTo>
                  <a:lnTo>
                    <a:pt x="355" y="248"/>
                  </a:lnTo>
                  <a:lnTo>
                    <a:pt x="355" y="248"/>
                  </a:lnTo>
                  <a:lnTo>
                    <a:pt x="363" y="245"/>
                  </a:lnTo>
                  <a:lnTo>
                    <a:pt x="370" y="241"/>
                  </a:lnTo>
                  <a:lnTo>
                    <a:pt x="378" y="235"/>
                  </a:lnTo>
                  <a:lnTo>
                    <a:pt x="385" y="231"/>
                  </a:lnTo>
                  <a:lnTo>
                    <a:pt x="393" y="227"/>
                  </a:lnTo>
                  <a:lnTo>
                    <a:pt x="399" y="224"/>
                  </a:lnTo>
                  <a:lnTo>
                    <a:pt x="404" y="218"/>
                  </a:lnTo>
                  <a:lnTo>
                    <a:pt x="408" y="212"/>
                  </a:lnTo>
                  <a:lnTo>
                    <a:pt x="408" y="212"/>
                  </a:lnTo>
                  <a:lnTo>
                    <a:pt x="412" y="206"/>
                  </a:lnTo>
                  <a:lnTo>
                    <a:pt x="414" y="201"/>
                  </a:lnTo>
                  <a:lnTo>
                    <a:pt x="416" y="197"/>
                  </a:lnTo>
                  <a:lnTo>
                    <a:pt x="418" y="191"/>
                  </a:lnTo>
                  <a:lnTo>
                    <a:pt x="420" y="187"/>
                  </a:lnTo>
                  <a:lnTo>
                    <a:pt x="422" y="182"/>
                  </a:lnTo>
                  <a:lnTo>
                    <a:pt x="424" y="178"/>
                  </a:lnTo>
                  <a:lnTo>
                    <a:pt x="424" y="174"/>
                  </a:lnTo>
                  <a:lnTo>
                    <a:pt x="425" y="172"/>
                  </a:lnTo>
                  <a:lnTo>
                    <a:pt x="427" y="168"/>
                  </a:lnTo>
                  <a:lnTo>
                    <a:pt x="431" y="164"/>
                  </a:lnTo>
                  <a:lnTo>
                    <a:pt x="433" y="161"/>
                  </a:lnTo>
                  <a:lnTo>
                    <a:pt x="435" y="157"/>
                  </a:lnTo>
                  <a:lnTo>
                    <a:pt x="439" y="153"/>
                  </a:lnTo>
                  <a:lnTo>
                    <a:pt x="443" y="149"/>
                  </a:lnTo>
                  <a:lnTo>
                    <a:pt x="446" y="143"/>
                  </a:lnTo>
                  <a:lnTo>
                    <a:pt x="446" y="143"/>
                  </a:lnTo>
                  <a:lnTo>
                    <a:pt x="454" y="138"/>
                  </a:lnTo>
                  <a:lnTo>
                    <a:pt x="462" y="132"/>
                  </a:lnTo>
                  <a:lnTo>
                    <a:pt x="469" y="128"/>
                  </a:lnTo>
                  <a:lnTo>
                    <a:pt x="477" y="124"/>
                  </a:lnTo>
                  <a:lnTo>
                    <a:pt x="485" y="119"/>
                  </a:lnTo>
                  <a:lnTo>
                    <a:pt x="490" y="115"/>
                  </a:lnTo>
                  <a:lnTo>
                    <a:pt x="498" y="109"/>
                  </a:lnTo>
                  <a:lnTo>
                    <a:pt x="504" y="101"/>
                  </a:lnTo>
                  <a:lnTo>
                    <a:pt x="504" y="101"/>
                  </a:lnTo>
                  <a:lnTo>
                    <a:pt x="506" y="94"/>
                  </a:lnTo>
                  <a:lnTo>
                    <a:pt x="507" y="86"/>
                  </a:lnTo>
                  <a:lnTo>
                    <a:pt x="507" y="77"/>
                  </a:lnTo>
                  <a:lnTo>
                    <a:pt x="507" y="69"/>
                  </a:lnTo>
                  <a:lnTo>
                    <a:pt x="507" y="61"/>
                  </a:lnTo>
                  <a:lnTo>
                    <a:pt x="506" y="54"/>
                  </a:lnTo>
                  <a:lnTo>
                    <a:pt x="506" y="46"/>
                  </a:lnTo>
                  <a:lnTo>
                    <a:pt x="506" y="42"/>
                  </a:lnTo>
                  <a:lnTo>
                    <a:pt x="506" y="42"/>
                  </a:lnTo>
                  <a:lnTo>
                    <a:pt x="507" y="38"/>
                  </a:lnTo>
                  <a:lnTo>
                    <a:pt x="511" y="33"/>
                  </a:lnTo>
                  <a:lnTo>
                    <a:pt x="517" y="27"/>
                  </a:lnTo>
                  <a:lnTo>
                    <a:pt x="525" y="19"/>
                  </a:lnTo>
                  <a:lnTo>
                    <a:pt x="532" y="14"/>
                  </a:lnTo>
                  <a:lnTo>
                    <a:pt x="538" y="8"/>
                  </a:lnTo>
                  <a:lnTo>
                    <a:pt x="544" y="2"/>
                  </a:lnTo>
                  <a:lnTo>
                    <a:pt x="546" y="0"/>
                  </a:lnTo>
                  <a:lnTo>
                    <a:pt x="546" y="0"/>
                  </a:lnTo>
                  <a:lnTo>
                    <a:pt x="549" y="8"/>
                  </a:lnTo>
                  <a:lnTo>
                    <a:pt x="551" y="14"/>
                  </a:lnTo>
                  <a:lnTo>
                    <a:pt x="555" y="21"/>
                  </a:lnTo>
                  <a:lnTo>
                    <a:pt x="557" y="29"/>
                  </a:lnTo>
                  <a:lnTo>
                    <a:pt x="561" y="37"/>
                  </a:lnTo>
                  <a:lnTo>
                    <a:pt x="563" y="44"/>
                  </a:lnTo>
                  <a:lnTo>
                    <a:pt x="567" y="54"/>
                  </a:lnTo>
                  <a:lnTo>
                    <a:pt x="569" y="61"/>
                  </a:lnTo>
                  <a:lnTo>
                    <a:pt x="570" y="69"/>
                  </a:lnTo>
                  <a:lnTo>
                    <a:pt x="574" y="79"/>
                  </a:lnTo>
                  <a:lnTo>
                    <a:pt x="576" y="86"/>
                  </a:lnTo>
                  <a:lnTo>
                    <a:pt x="578" y="96"/>
                  </a:lnTo>
                  <a:lnTo>
                    <a:pt x="582" y="105"/>
                  </a:lnTo>
                  <a:lnTo>
                    <a:pt x="584" y="113"/>
                  </a:lnTo>
                  <a:lnTo>
                    <a:pt x="586" y="122"/>
                  </a:lnTo>
                  <a:lnTo>
                    <a:pt x="588" y="132"/>
                  </a:lnTo>
                  <a:lnTo>
                    <a:pt x="590" y="140"/>
                  </a:lnTo>
                  <a:lnTo>
                    <a:pt x="591" y="149"/>
                  </a:lnTo>
                  <a:lnTo>
                    <a:pt x="593" y="159"/>
                  </a:lnTo>
                  <a:lnTo>
                    <a:pt x="595" y="168"/>
                  </a:lnTo>
                  <a:lnTo>
                    <a:pt x="597" y="178"/>
                  </a:lnTo>
                  <a:lnTo>
                    <a:pt x="599" y="187"/>
                  </a:lnTo>
                  <a:lnTo>
                    <a:pt x="599" y="197"/>
                  </a:lnTo>
                  <a:lnTo>
                    <a:pt x="601" y="206"/>
                  </a:lnTo>
                  <a:lnTo>
                    <a:pt x="601" y="216"/>
                  </a:lnTo>
                  <a:lnTo>
                    <a:pt x="603" y="225"/>
                  </a:lnTo>
                  <a:lnTo>
                    <a:pt x="603" y="233"/>
                  </a:lnTo>
                  <a:lnTo>
                    <a:pt x="605" y="243"/>
                  </a:lnTo>
                  <a:lnTo>
                    <a:pt x="605" y="252"/>
                  </a:lnTo>
                  <a:lnTo>
                    <a:pt x="605" y="262"/>
                  </a:lnTo>
                  <a:lnTo>
                    <a:pt x="605" y="271"/>
                  </a:lnTo>
                  <a:lnTo>
                    <a:pt x="605" y="281"/>
                  </a:lnTo>
                  <a:lnTo>
                    <a:pt x="605" y="281"/>
                  </a:lnTo>
                  <a:lnTo>
                    <a:pt x="605" y="288"/>
                  </a:lnTo>
                  <a:lnTo>
                    <a:pt x="603" y="294"/>
                  </a:lnTo>
                  <a:lnTo>
                    <a:pt x="601" y="302"/>
                  </a:lnTo>
                  <a:lnTo>
                    <a:pt x="597" y="307"/>
                  </a:lnTo>
                  <a:lnTo>
                    <a:pt x="593" y="313"/>
                  </a:lnTo>
                  <a:lnTo>
                    <a:pt x="590" y="317"/>
                  </a:lnTo>
                  <a:lnTo>
                    <a:pt x="584" y="321"/>
                  </a:lnTo>
                  <a:lnTo>
                    <a:pt x="576" y="321"/>
                  </a:lnTo>
                  <a:lnTo>
                    <a:pt x="576" y="321"/>
                  </a:lnTo>
                  <a:lnTo>
                    <a:pt x="574" y="315"/>
                  </a:lnTo>
                  <a:lnTo>
                    <a:pt x="574" y="309"/>
                  </a:lnTo>
                  <a:lnTo>
                    <a:pt x="570" y="306"/>
                  </a:lnTo>
                  <a:lnTo>
                    <a:pt x="569" y="300"/>
                  </a:lnTo>
                  <a:lnTo>
                    <a:pt x="567" y="298"/>
                  </a:lnTo>
                  <a:lnTo>
                    <a:pt x="565" y="294"/>
                  </a:lnTo>
                  <a:lnTo>
                    <a:pt x="561" y="292"/>
                  </a:lnTo>
                  <a:lnTo>
                    <a:pt x="559" y="290"/>
                  </a:lnTo>
                  <a:lnTo>
                    <a:pt x="559" y="290"/>
                  </a:lnTo>
                  <a:lnTo>
                    <a:pt x="555" y="294"/>
                  </a:lnTo>
                  <a:lnTo>
                    <a:pt x="553" y="298"/>
                  </a:lnTo>
                  <a:lnTo>
                    <a:pt x="551" y="302"/>
                  </a:lnTo>
                  <a:lnTo>
                    <a:pt x="551" y="307"/>
                  </a:lnTo>
                  <a:lnTo>
                    <a:pt x="549" y="311"/>
                  </a:lnTo>
                  <a:lnTo>
                    <a:pt x="549" y="317"/>
                  </a:lnTo>
                  <a:lnTo>
                    <a:pt x="549" y="323"/>
                  </a:lnTo>
                  <a:lnTo>
                    <a:pt x="551" y="327"/>
                  </a:lnTo>
                  <a:lnTo>
                    <a:pt x="551" y="332"/>
                  </a:lnTo>
                  <a:lnTo>
                    <a:pt x="551" y="338"/>
                  </a:lnTo>
                  <a:lnTo>
                    <a:pt x="551" y="344"/>
                  </a:lnTo>
                  <a:lnTo>
                    <a:pt x="553" y="349"/>
                  </a:lnTo>
                  <a:lnTo>
                    <a:pt x="553" y="355"/>
                  </a:lnTo>
                  <a:lnTo>
                    <a:pt x="553" y="361"/>
                  </a:lnTo>
                  <a:lnTo>
                    <a:pt x="553" y="367"/>
                  </a:lnTo>
                  <a:lnTo>
                    <a:pt x="553" y="372"/>
                  </a:lnTo>
                  <a:lnTo>
                    <a:pt x="553" y="372"/>
                  </a:lnTo>
                  <a:lnTo>
                    <a:pt x="551" y="380"/>
                  </a:lnTo>
                  <a:lnTo>
                    <a:pt x="548" y="386"/>
                  </a:lnTo>
                  <a:lnTo>
                    <a:pt x="544" y="391"/>
                  </a:lnTo>
                  <a:lnTo>
                    <a:pt x="540" y="397"/>
                  </a:lnTo>
                  <a:lnTo>
                    <a:pt x="534" y="403"/>
                  </a:lnTo>
                  <a:lnTo>
                    <a:pt x="530" y="409"/>
                  </a:lnTo>
                  <a:lnTo>
                    <a:pt x="527" y="414"/>
                  </a:lnTo>
                  <a:lnTo>
                    <a:pt x="523" y="420"/>
                  </a:lnTo>
                  <a:lnTo>
                    <a:pt x="523" y="420"/>
                  </a:lnTo>
                  <a:lnTo>
                    <a:pt x="519" y="428"/>
                  </a:lnTo>
                  <a:lnTo>
                    <a:pt x="517" y="433"/>
                  </a:lnTo>
                  <a:lnTo>
                    <a:pt x="515" y="439"/>
                  </a:lnTo>
                  <a:lnTo>
                    <a:pt x="513" y="447"/>
                  </a:lnTo>
                  <a:lnTo>
                    <a:pt x="511" y="452"/>
                  </a:lnTo>
                  <a:lnTo>
                    <a:pt x="509" y="460"/>
                  </a:lnTo>
                  <a:lnTo>
                    <a:pt x="507" y="466"/>
                  </a:lnTo>
                  <a:lnTo>
                    <a:pt x="507" y="472"/>
                  </a:lnTo>
                  <a:lnTo>
                    <a:pt x="506" y="479"/>
                  </a:lnTo>
                  <a:lnTo>
                    <a:pt x="506" y="485"/>
                  </a:lnTo>
                  <a:lnTo>
                    <a:pt x="504" y="493"/>
                  </a:lnTo>
                  <a:lnTo>
                    <a:pt x="504" y="498"/>
                  </a:lnTo>
                  <a:lnTo>
                    <a:pt x="502" y="504"/>
                  </a:lnTo>
                  <a:lnTo>
                    <a:pt x="500" y="512"/>
                  </a:lnTo>
                  <a:lnTo>
                    <a:pt x="500" y="519"/>
                  </a:lnTo>
                  <a:lnTo>
                    <a:pt x="496" y="527"/>
                  </a:lnTo>
                  <a:lnTo>
                    <a:pt x="496" y="527"/>
                  </a:lnTo>
                  <a:lnTo>
                    <a:pt x="492" y="540"/>
                  </a:lnTo>
                  <a:lnTo>
                    <a:pt x="486" y="554"/>
                  </a:lnTo>
                  <a:lnTo>
                    <a:pt x="481" y="567"/>
                  </a:lnTo>
                  <a:lnTo>
                    <a:pt x="475" y="580"/>
                  </a:lnTo>
                  <a:lnTo>
                    <a:pt x="467" y="594"/>
                  </a:lnTo>
                  <a:lnTo>
                    <a:pt x="462" y="607"/>
                  </a:lnTo>
                  <a:lnTo>
                    <a:pt x="454" y="620"/>
                  </a:lnTo>
                  <a:lnTo>
                    <a:pt x="446" y="634"/>
                  </a:lnTo>
                  <a:lnTo>
                    <a:pt x="439" y="647"/>
                  </a:lnTo>
                  <a:lnTo>
                    <a:pt x="431" y="660"/>
                  </a:lnTo>
                  <a:lnTo>
                    <a:pt x="424" y="674"/>
                  </a:lnTo>
                  <a:lnTo>
                    <a:pt x="416" y="685"/>
                  </a:lnTo>
                  <a:lnTo>
                    <a:pt x="410" y="699"/>
                  </a:lnTo>
                  <a:lnTo>
                    <a:pt x="404" y="714"/>
                  </a:lnTo>
                  <a:lnTo>
                    <a:pt x="399" y="727"/>
                  </a:lnTo>
                  <a:lnTo>
                    <a:pt x="393" y="741"/>
                  </a:lnTo>
                  <a:lnTo>
                    <a:pt x="393" y="741"/>
                  </a:lnTo>
                  <a:lnTo>
                    <a:pt x="389" y="752"/>
                  </a:lnTo>
                  <a:lnTo>
                    <a:pt x="385" y="762"/>
                  </a:lnTo>
                  <a:lnTo>
                    <a:pt x="382" y="773"/>
                  </a:lnTo>
                  <a:lnTo>
                    <a:pt x="378" y="781"/>
                  </a:lnTo>
                  <a:lnTo>
                    <a:pt x="374" y="790"/>
                  </a:lnTo>
                  <a:lnTo>
                    <a:pt x="368" y="798"/>
                  </a:lnTo>
                  <a:lnTo>
                    <a:pt x="364" y="807"/>
                  </a:lnTo>
                  <a:lnTo>
                    <a:pt x="361" y="815"/>
                  </a:lnTo>
                  <a:lnTo>
                    <a:pt x="357" y="823"/>
                  </a:lnTo>
                  <a:lnTo>
                    <a:pt x="353" y="830"/>
                  </a:lnTo>
                  <a:lnTo>
                    <a:pt x="349" y="838"/>
                  </a:lnTo>
                  <a:lnTo>
                    <a:pt x="343" y="847"/>
                  </a:lnTo>
                  <a:lnTo>
                    <a:pt x="340" y="855"/>
                  </a:lnTo>
                  <a:lnTo>
                    <a:pt x="336" y="865"/>
                  </a:lnTo>
                  <a:lnTo>
                    <a:pt x="332" y="872"/>
                  </a:lnTo>
                  <a:lnTo>
                    <a:pt x="328" y="884"/>
                  </a:lnTo>
                  <a:lnTo>
                    <a:pt x="328" y="884"/>
                  </a:lnTo>
                  <a:lnTo>
                    <a:pt x="322" y="895"/>
                  </a:lnTo>
                  <a:lnTo>
                    <a:pt x="319" y="908"/>
                  </a:lnTo>
                  <a:lnTo>
                    <a:pt x="315" y="922"/>
                  </a:lnTo>
                  <a:lnTo>
                    <a:pt x="309" y="933"/>
                  </a:lnTo>
                  <a:lnTo>
                    <a:pt x="305" y="947"/>
                  </a:lnTo>
                  <a:lnTo>
                    <a:pt x="301" y="958"/>
                  </a:lnTo>
                  <a:lnTo>
                    <a:pt x="298" y="969"/>
                  </a:lnTo>
                  <a:lnTo>
                    <a:pt x="292" y="981"/>
                  </a:lnTo>
                  <a:lnTo>
                    <a:pt x="288" y="992"/>
                  </a:lnTo>
                  <a:lnTo>
                    <a:pt x="282" y="1004"/>
                  </a:lnTo>
                  <a:lnTo>
                    <a:pt x="275" y="1013"/>
                  </a:lnTo>
                  <a:lnTo>
                    <a:pt x="269" y="1025"/>
                  </a:lnTo>
                  <a:lnTo>
                    <a:pt x="261" y="1034"/>
                  </a:lnTo>
                  <a:lnTo>
                    <a:pt x="254" y="1044"/>
                  </a:lnTo>
                  <a:lnTo>
                    <a:pt x="244" y="1052"/>
                  </a:lnTo>
                  <a:lnTo>
                    <a:pt x="233" y="1059"/>
                  </a:lnTo>
                  <a:lnTo>
                    <a:pt x="233" y="1059"/>
                  </a:lnTo>
                  <a:lnTo>
                    <a:pt x="229" y="1063"/>
                  </a:lnTo>
                  <a:lnTo>
                    <a:pt x="223" y="1063"/>
                  </a:lnTo>
                  <a:lnTo>
                    <a:pt x="216" y="1065"/>
                  </a:lnTo>
                  <a:lnTo>
                    <a:pt x="208" y="1065"/>
                  </a:lnTo>
                  <a:lnTo>
                    <a:pt x="202" y="1065"/>
                  </a:lnTo>
                  <a:lnTo>
                    <a:pt x="195" y="1065"/>
                  </a:lnTo>
                  <a:lnTo>
                    <a:pt x="191" y="1065"/>
                  </a:lnTo>
                  <a:lnTo>
                    <a:pt x="187" y="1067"/>
                  </a:lnTo>
                  <a:lnTo>
                    <a:pt x="187" y="1067"/>
                  </a:lnTo>
                  <a:lnTo>
                    <a:pt x="181" y="1069"/>
                  </a:lnTo>
                  <a:lnTo>
                    <a:pt x="177" y="1069"/>
                  </a:lnTo>
                  <a:lnTo>
                    <a:pt x="174" y="1071"/>
                  </a:lnTo>
                  <a:lnTo>
                    <a:pt x="170" y="1072"/>
                  </a:lnTo>
                  <a:lnTo>
                    <a:pt x="166" y="1076"/>
                  </a:lnTo>
                  <a:lnTo>
                    <a:pt x="162" y="1078"/>
                  </a:lnTo>
                  <a:lnTo>
                    <a:pt x="158" y="1080"/>
                  </a:lnTo>
                  <a:lnTo>
                    <a:pt x="155" y="1082"/>
                  </a:lnTo>
                  <a:lnTo>
                    <a:pt x="151" y="1084"/>
                  </a:lnTo>
                  <a:lnTo>
                    <a:pt x="145" y="1086"/>
                  </a:lnTo>
                  <a:lnTo>
                    <a:pt x="141" y="1088"/>
                  </a:lnTo>
                  <a:lnTo>
                    <a:pt x="137" y="1090"/>
                  </a:lnTo>
                  <a:lnTo>
                    <a:pt x="132" y="1092"/>
                  </a:lnTo>
                  <a:lnTo>
                    <a:pt x="126" y="1092"/>
                  </a:lnTo>
                  <a:lnTo>
                    <a:pt x="122" y="1093"/>
                  </a:lnTo>
                  <a:lnTo>
                    <a:pt x="116" y="1093"/>
                  </a:lnTo>
                  <a:lnTo>
                    <a:pt x="116" y="1093"/>
                  </a:lnTo>
                  <a:lnTo>
                    <a:pt x="107" y="1092"/>
                  </a:lnTo>
                  <a:lnTo>
                    <a:pt x="97" y="1090"/>
                  </a:lnTo>
                  <a:lnTo>
                    <a:pt x="88" y="1086"/>
                  </a:lnTo>
                  <a:lnTo>
                    <a:pt x="78" y="1082"/>
                  </a:lnTo>
                  <a:lnTo>
                    <a:pt x="69" y="1074"/>
                  </a:lnTo>
                  <a:lnTo>
                    <a:pt x="59" y="1069"/>
                  </a:lnTo>
                  <a:lnTo>
                    <a:pt x="52" y="1061"/>
                  </a:lnTo>
                  <a:lnTo>
                    <a:pt x="42" y="1052"/>
                  </a:lnTo>
                  <a:lnTo>
                    <a:pt x="36" y="1042"/>
                  </a:lnTo>
                  <a:lnTo>
                    <a:pt x="29" y="1032"/>
                  </a:lnTo>
                  <a:lnTo>
                    <a:pt x="23" y="1023"/>
                  </a:lnTo>
                  <a:lnTo>
                    <a:pt x="17" y="1013"/>
                  </a:lnTo>
                  <a:lnTo>
                    <a:pt x="13" y="1002"/>
                  </a:lnTo>
                  <a:lnTo>
                    <a:pt x="10" y="992"/>
                  </a:lnTo>
                  <a:lnTo>
                    <a:pt x="8" y="981"/>
                  </a:lnTo>
                  <a:lnTo>
                    <a:pt x="8" y="971"/>
                  </a:lnTo>
                  <a:lnTo>
                    <a:pt x="8" y="971"/>
                  </a:lnTo>
                  <a:lnTo>
                    <a:pt x="8" y="966"/>
                  </a:lnTo>
                  <a:lnTo>
                    <a:pt x="10" y="958"/>
                  </a:lnTo>
                  <a:lnTo>
                    <a:pt x="13" y="952"/>
                  </a:lnTo>
                  <a:lnTo>
                    <a:pt x="17" y="948"/>
                  </a:lnTo>
                  <a:lnTo>
                    <a:pt x="21" y="943"/>
                  </a:lnTo>
                  <a:lnTo>
                    <a:pt x="23" y="937"/>
                  </a:lnTo>
                  <a:lnTo>
                    <a:pt x="27" y="931"/>
                  </a:lnTo>
                  <a:lnTo>
                    <a:pt x="27" y="924"/>
                  </a:lnTo>
                  <a:lnTo>
                    <a:pt x="27" y="924"/>
                  </a:lnTo>
                  <a:lnTo>
                    <a:pt x="27" y="918"/>
                  </a:lnTo>
                  <a:lnTo>
                    <a:pt x="25" y="912"/>
                  </a:lnTo>
                  <a:lnTo>
                    <a:pt x="25" y="908"/>
                  </a:lnTo>
                  <a:lnTo>
                    <a:pt x="23" y="903"/>
                  </a:lnTo>
                  <a:lnTo>
                    <a:pt x="21" y="899"/>
                  </a:lnTo>
                  <a:lnTo>
                    <a:pt x="19" y="893"/>
                  </a:lnTo>
                  <a:lnTo>
                    <a:pt x="15" y="887"/>
                  </a:lnTo>
                  <a:lnTo>
                    <a:pt x="13" y="884"/>
                  </a:lnTo>
                  <a:lnTo>
                    <a:pt x="12" y="878"/>
                  </a:lnTo>
                  <a:lnTo>
                    <a:pt x="10" y="874"/>
                  </a:lnTo>
                  <a:lnTo>
                    <a:pt x="8" y="868"/>
                  </a:lnTo>
                  <a:lnTo>
                    <a:pt x="6" y="863"/>
                  </a:lnTo>
                  <a:lnTo>
                    <a:pt x="4" y="857"/>
                  </a:lnTo>
                  <a:lnTo>
                    <a:pt x="2" y="851"/>
                  </a:lnTo>
                  <a:lnTo>
                    <a:pt x="2" y="845"/>
                  </a:lnTo>
                  <a:lnTo>
                    <a:pt x="0" y="840"/>
                  </a:lnTo>
                  <a:lnTo>
                    <a:pt x="0" y="813"/>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3" name="Freeform 117"/>
            <p:cNvSpPr>
              <a:spLocks/>
            </p:cNvSpPr>
            <p:nvPr/>
          </p:nvSpPr>
          <p:spPr bwMode="gray">
            <a:xfrm>
              <a:off x="2693" y="3045"/>
              <a:ext cx="333" cy="294"/>
            </a:xfrm>
            <a:custGeom>
              <a:avLst/>
              <a:gdLst/>
              <a:ahLst/>
              <a:cxnLst>
                <a:cxn ang="0">
                  <a:pos x="21" y="179"/>
                </a:cxn>
                <a:cxn ang="0">
                  <a:pos x="54" y="186"/>
                </a:cxn>
                <a:cxn ang="0">
                  <a:pos x="84" y="196"/>
                </a:cxn>
                <a:cxn ang="0">
                  <a:pos x="111" y="196"/>
                </a:cxn>
                <a:cxn ang="0">
                  <a:pos x="143" y="179"/>
                </a:cxn>
                <a:cxn ang="0">
                  <a:pos x="166" y="146"/>
                </a:cxn>
                <a:cxn ang="0">
                  <a:pos x="185" y="118"/>
                </a:cxn>
                <a:cxn ang="0">
                  <a:pos x="201" y="103"/>
                </a:cxn>
                <a:cxn ang="0">
                  <a:pos x="224" y="93"/>
                </a:cxn>
                <a:cxn ang="0">
                  <a:pos x="250" y="83"/>
                </a:cxn>
                <a:cxn ang="0">
                  <a:pos x="269" y="74"/>
                </a:cxn>
                <a:cxn ang="0">
                  <a:pos x="273" y="49"/>
                </a:cxn>
                <a:cxn ang="0">
                  <a:pos x="287" y="30"/>
                </a:cxn>
                <a:cxn ang="0">
                  <a:pos x="315" y="9"/>
                </a:cxn>
                <a:cxn ang="0">
                  <a:pos x="350" y="0"/>
                </a:cxn>
                <a:cxn ang="0">
                  <a:pos x="374" y="0"/>
                </a:cxn>
                <a:cxn ang="0">
                  <a:pos x="390" y="1"/>
                </a:cxn>
                <a:cxn ang="0">
                  <a:pos x="462" y="38"/>
                </a:cxn>
                <a:cxn ang="0">
                  <a:pos x="500" y="68"/>
                </a:cxn>
                <a:cxn ang="0">
                  <a:pos x="554" y="89"/>
                </a:cxn>
                <a:cxn ang="0">
                  <a:pos x="586" y="131"/>
                </a:cxn>
                <a:cxn ang="0">
                  <a:pos x="584" y="173"/>
                </a:cxn>
                <a:cxn ang="0">
                  <a:pos x="573" y="217"/>
                </a:cxn>
                <a:cxn ang="0">
                  <a:pos x="561" y="257"/>
                </a:cxn>
                <a:cxn ang="0">
                  <a:pos x="559" y="289"/>
                </a:cxn>
                <a:cxn ang="0">
                  <a:pos x="571" y="322"/>
                </a:cxn>
                <a:cxn ang="0">
                  <a:pos x="571" y="345"/>
                </a:cxn>
                <a:cxn ang="0">
                  <a:pos x="556" y="368"/>
                </a:cxn>
                <a:cxn ang="0">
                  <a:pos x="536" y="391"/>
                </a:cxn>
                <a:cxn ang="0">
                  <a:pos x="525" y="408"/>
                </a:cxn>
                <a:cxn ang="0">
                  <a:pos x="521" y="436"/>
                </a:cxn>
                <a:cxn ang="0">
                  <a:pos x="514" y="454"/>
                </a:cxn>
                <a:cxn ang="0">
                  <a:pos x="487" y="482"/>
                </a:cxn>
                <a:cxn ang="0">
                  <a:pos x="449" y="517"/>
                </a:cxn>
                <a:cxn ang="0">
                  <a:pos x="428" y="534"/>
                </a:cxn>
                <a:cxn ang="0">
                  <a:pos x="412" y="534"/>
                </a:cxn>
                <a:cxn ang="0">
                  <a:pos x="397" y="534"/>
                </a:cxn>
                <a:cxn ang="0">
                  <a:pos x="369" y="534"/>
                </a:cxn>
                <a:cxn ang="0">
                  <a:pos x="342" y="524"/>
                </a:cxn>
                <a:cxn ang="0">
                  <a:pos x="304" y="518"/>
                </a:cxn>
                <a:cxn ang="0">
                  <a:pos x="283" y="509"/>
                </a:cxn>
                <a:cxn ang="0">
                  <a:pos x="266" y="494"/>
                </a:cxn>
                <a:cxn ang="0">
                  <a:pos x="247" y="478"/>
                </a:cxn>
                <a:cxn ang="0">
                  <a:pos x="224" y="471"/>
                </a:cxn>
                <a:cxn ang="0">
                  <a:pos x="187" y="454"/>
                </a:cxn>
                <a:cxn ang="0">
                  <a:pos x="178" y="434"/>
                </a:cxn>
                <a:cxn ang="0">
                  <a:pos x="176" y="406"/>
                </a:cxn>
                <a:cxn ang="0">
                  <a:pos x="174" y="383"/>
                </a:cxn>
                <a:cxn ang="0">
                  <a:pos x="159" y="372"/>
                </a:cxn>
                <a:cxn ang="0">
                  <a:pos x="143" y="352"/>
                </a:cxn>
                <a:cxn ang="0">
                  <a:pos x="128" y="337"/>
                </a:cxn>
                <a:cxn ang="0">
                  <a:pos x="86" y="320"/>
                </a:cxn>
                <a:cxn ang="0">
                  <a:pos x="63" y="305"/>
                </a:cxn>
                <a:cxn ang="0">
                  <a:pos x="54" y="282"/>
                </a:cxn>
                <a:cxn ang="0">
                  <a:pos x="44" y="255"/>
                </a:cxn>
                <a:cxn ang="0">
                  <a:pos x="21" y="227"/>
                </a:cxn>
                <a:cxn ang="0">
                  <a:pos x="4" y="198"/>
                </a:cxn>
              </a:cxnLst>
              <a:rect l="0" t="0" r="r" b="b"/>
              <a:pathLst>
                <a:path w="588" h="534">
                  <a:moveTo>
                    <a:pt x="0" y="177"/>
                  </a:moveTo>
                  <a:lnTo>
                    <a:pt x="0" y="177"/>
                  </a:lnTo>
                  <a:lnTo>
                    <a:pt x="6" y="177"/>
                  </a:lnTo>
                  <a:lnTo>
                    <a:pt x="14" y="177"/>
                  </a:lnTo>
                  <a:lnTo>
                    <a:pt x="21" y="179"/>
                  </a:lnTo>
                  <a:lnTo>
                    <a:pt x="27" y="181"/>
                  </a:lnTo>
                  <a:lnTo>
                    <a:pt x="35" y="181"/>
                  </a:lnTo>
                  <a:lnTo>
                    <a:pt x="40" y="183"/>
                  </a:lnTo>
                  <a:lnTo>
                    <a:pt x="46" y="185"/>
                  </a:lnTo>
                  <a:lnTo>
                    <a:pt x="54" y="186"/>
                  </a:lnTo>
                  <a:lnTo>
                    <a:pt x="60" y="188"/>
                  </a:lnTo>
                  <a:lnTo>
                    <a:pt x="65" y="190"/>
                  </a:lnTo>
                  <a:lnTo>
                    <a:pt x="71" y="192"/>
                  </a:lnTo>
                  <a:lnTo>
                    <a:pt x="79" y="194"/>
                  </a:lnTo>
                  <a:lnTo>
                    <a:pt x="84" y="196"/>
                  </a:lnTo>
                  <a:lnTo>
                    <a:pt x="90" y="196"/>
                  </a:lnTo>
                  <a:lnTo>
                    <a:pt x="96" y="198"/>
                  </a:lnTo>
                  <a:lnTo>
                    <a:pt x="103" y="198"/>
                  </a:lnTo>
                  <a:lnTo>
                    <a:pt x="103" y="198"/>
                  </a:lnTo>
                  <a:lnTo>
                    <a:pt x="111" y="196"/>
                  </a:lnTo>
                  <a:lnTo>
                    <a:pt x="119" y="196"/>
                  </a:lnTo>
                  <a:lnTo>
                    <a:pt x="124" y="192"/>
                  </a:lnTo>
                  <a:lnTo>
                    <a:pt x="130" y="188"/>
                  </a:lnTo>
                  <a:lnTo>
                    <a:pt x="136" y="183"/>
                  </a:lnTo>
                  <a:lnTo>
                    <a:pt x="143" y="179"/>
                  </a:lnTo>
                  <a:lnTo>
                    <a:pt x="147" y="173"/>
                  </a:lnTo>
                  <a:lnTo>
                    <a:pt x="153" y="165"/>
                  </a:lnTo>
                  <a:lnTo>
                    <a:pt x="159" y="160"/>
                  </a:lnTo>
                  <a:lnTo>
                    <a:pt x="163" y="152"/>
                  </a:lnTo>
                  <a:lnTo>
                    <a:pt x="166" y="146"/>
                  </a:lnTo>
                  <a:lnTo>
                    <a:pt x="170" y="139"/>
                  </a:lnTo>
                  <a:lnTo>
                    <a:pt x="174" y="133"/>
                  </a:lnTo>
                  <a:lnTo>
                    <a:pt x="178" y="127"/>
                  </a:lnTo>
                  <a:lnTo>
                    <a:pt x="182" y="122"/>
                  </a:lnTo>
                  <a:lnTo>
                    <a:pt x="185" y="118"/>
                  </a:lnTo>
                  <a:lnTo>
                    <a:pt x="185" y="118"/>
                  </a:lnTo>
                  <a:lnTo>
                    <a:pt x="189" y="114"/>
                  </a:lnTo>
                  <a:lnTo>
                    <a:pt x="193" y="110"/>
                  </a:lnTo>
                  <a:lnTo>
                    <a:pt x="197" y="106"/>
                  </a:lnTo>
                  <a:lnTo>
                    <a:pt x="201" y="103"/>
                  </a:lnTo>
                  <a:lnTo>
                    <a:pt x="205" y="101"/>
                  </a:lnTo>
                  <a:lnTo>
                    <a:pt x="210" y="99"/>
                  </a:lnTo>
                  <a:lnTo>
                    <a:pt x="214" y="97"/>
                  </a:lnTo>
                  <a:lnTo>
                    <a:pt x="220" y="93"/>
                  </a:lnTo>
                  <a:lnTo>
                    <a:pt x="224" y="93"/>
                  </a:lnTo>
                  <a:lnTo>
                    <a:pt x="229" y="91"/>
                  </a:lnTo>
                  <a:lnTo>
                    <a:pt x="235" y="89"/>
                  </a:lnTo>
                  <a:lnTo>
                    <a:pt x="241" y="87"/>
                  </a:lnTo>
                  <a:lnTo>
                    <a:pt x="245" y="85"/>
                  </a:lnTo>
                  <a:lnTo>
                    <a:pt x="250" y="83"/>
                  </a:lnTo>
                  <a:lnTo>
                    <a:pt x="256" y="82"/>
                  </a:lnTo>
                  <a:lnTo>
                    <a:pt x="262" y="80"/>
                  </a:lnTo>
                  <a:lnTo>
                    <a:pt x="262" y="80"/>
                  </a:lnTo>
                  <a:lnTo>
                    <a:pt x="267" y="78"/>
                  </a:lnTo>
                  <a:lnTo>
                    <a:pt x="269" y="74"/>
                  </a:lnTo>
                  <a:lnTo>
                    <a:pt x="271" y="68"/>
                  </a:lnTo>
                  <a:lnTo>
                    <a:pt x="271" y="64"/>
                  </a:lnTo>
                  <a:lnTo>
                    <a:pt x="271" y="59"/>
                  </a:lnTo>
                  <a:lnTo>
                    <a:pt x="271" y="55"/>
                  </a:lnTo>
                  <a:lnTo>
                    <a:pt x="273" y="49"/>
                  </a:lnTo>
                  <a:lnTo>
                    <a:pt x="273" y="47"/>
                  </a:lnTo>
                  <a:lnTo>
                    <a:pt x="273" y="47"/>
                  </a:lnTo>
                  <a:lnTo>
                    <a:pt x="279" y="40"/>
                  </a:lnTo>
                  <a:lnTo>
                    <a:pt x="283" y="34"/>
                  </a:lnTo>
                  <a:lnTo>
                    <a:pt x="287" y="30"/>
                  </a:lnTo>
                  <a:lnTo>
                    <a:pt x="292" y="24"/>
                  </a:lnTo>
                  <a:lnTo>
                    <a:pt x="298" y="20"/>
                  </a:lnTo>
                  <a:lnTo>
                    <a:pt x="304" y="17"/>
                  </a:lnTo>
                  <a:lnTo>
                    <a:pt x="309" y="13"/>
                  </a:lnTo>
                  <a:lnTo>
                    <a:pt x="315" y="9"/>
                  </a:lnTo>
                  <a:lnTo>
                    <a:pt x="321" y="7"/>
                  </a:lnTo>
                  <a:lnTo>
                    <a:pt x="329" y="5"/>
                  </a:lnTo>
                  <a:lnTo>
                    <a:pt x="336" y="3"/>
                  </a:lnTo>
                  <a:lnTo>
                    <a:pt x="342" y="1"/>
                  </a:lnTo>
                  <a:lnTo>
                    <a:pt x="350" y="0"/>
                  </a:lnTo>
                  <a:lnTo>
                    <a:pt x="357" y="0"/>
                  </a:lnTo>
                  <a:lnTo>
                    <a:pt x="365" y="0"/>
                  </a:lnTo>
                  <a:lnTo>
                    <a:pt x="372" y="0"/>
                  </a:lnTo>
                  <a:lnTo>
                    <a:pt x="372" y="0"/>
                  </a:lnTo>
                  <a:lnTo>
                    <a:pt x="374" y="0"/>
                  </a:lnTo>
                  <a:lnTo>
                    <a:pt x="378" y="0"/>
                  </a:lnTo>
                  <a:lnTo>
                    <a:pt x="382" y="0"/>
                  </a:lnTo>
                  <a:lnTo>
                    <a:pt x="384" y="0"/>
                  </a:lnTo>
                  <a:lnTo>
                    <a:pt x="388" y="1"/>
                  </a:lnTo>
                  <a:lnTo>
                    <a:pt x="390" y="1"/>
                  </a:lnTo>
                  <a:lnTo>
                    <a:pt x="393" y="0"/>
                  </a:lnTo>
                  <a:lnTo>
                    <a:pt x="395" y="0"/>
                  </a:lnTo>
                  <a:lnTo>
                    <a:pt x="395" y="38"/>
                  </a:lnTo>
                  <a:lnTo>
                    <a:pt x="462" y="38"/>
                  </a:lnTo>
                  <a:lnTo>
                    <a:pt x="462" y="38"/>
                  </a:lnTo>
                  <a:lnTo>
                    <a:pt x="468" y="47"/>
                  </a:lnTo>
                  <a:lnTo>
                    <a:pt x="474" y="53"/>
                  </a:lnTo>
                  <a:lnTo>
                    <a:pt x="481" y="59"/>
                  </a:lnTo>
                  <a:lnTo>
                    <a:pt x="491" y="64"/>
                  </a:lnTo>
                  <a:lnTo>
                    <a:pt x="500" y="68"/>
                  </a:lnTo>
                  <a:lnTo>
                    <a:pt x="512" y="72"/>
                  </a:lnTo>
                  <a:lnTo>
                    <a:pt x="521" y="76"/>
                  </a:lnTo>
                  <a:lnTo>
                    <a:pt x="533" y="80"/>
                  </a:lnTo>
                  <a:lnTo>
                    <a:pt x="544" y="83"/>
                  </a:lnTo>
                  <a:lnTo>
                    <a:pt x="554" y="89"/>
                  </a:lnTo>
                  <a:lnTo>
                    <a:pt x="563" y="95"/>
                  </a:lnTo>
                  <a:lnTo>
                    <a:pt x="571" y="103"/>
                  </a:lnTo>
                  <a:lnTo>
                    <a:pt x="578" y="110"/>
                  </a:lnTo>
                  <a:lnTo>
                    <a:pt x="582" y="120"/>
                  </a:lnTo>
                  <a:lnTo>
                    <a:pt x="586" y="131"/>
                  </a:lnTo>
                  <a:lnTo>
                    <a:pt x="588" y="144"/>
                  </a:lnTo>
                  <a:lnTo>
                    <a:pt x="588" y="144"/>
                  </a:lnTo>
                  <a:lnTo>
                    <a:pt x="586" y="154"/>
                  </a:lnTo>
                  <a:lnTo>
                    <a:pt x="586" y="164"/>
                  </a:lnTo>
                  <a:lnTo>
                    <a:pt x="584" y="173"/>
                  </a:lnTo>
                  <a:lnTo>
                    <a:pt x="582" y="183"/>
                  </a:lnTo>
                  <a:lnTo>
                    <a:pt x="580" y="190"/>
                  </a:lnTo>
                  <a:lnTo>
                    <a:pt x="578" y="200"/>
                  </a:lnTo>
                  <a:lnTo>
                    <a:pt x="575" y="207"/>
                  </a:lnTo>
                  <a:lnTo>
                    <a:pt x="573" y="217"/>
                  </a:lnTo>
                  <a:lnTo>
                    <a:pt x="569" y="225"/>
                  </a:lnTo>
                  <a:lnTo>
                    <a:pt x="567" y="232"/>
                  </a:lnTo>
                  <a:lnTo>
                    <a:pt x="565" y="242"/>
                  </a:lnTo>
                  <a:lnTo>
                    <a:pt x="563" y="249"/>
                  </a:lnTo>
                  <a:lnTo>
                    <a:pt x="561" y="257"/>
                  </a:lnTo>
                  <a:lnTo>
                    <a:pt x="559" y="265"/>
                  </a:lnTo>
                  <a:lnTo>
                    <a:pt x="557" y="272"/>
                  </a:lnTo>
                  <a:lnTo>
                    <a:pt x="557" y="280"/>
                  </a:lnTo>
                  <a:lnTo>
                    <a:pt x="557" y="280"/>
                  </a:lnTo>
                  <a:lnTo>
                    <a:pt x="559" y="289"/>
                  </a:lnTo>
                  <a:lnTo>
                    <a:pt x="559" y="297"/>
                  </a:lnTo>
                  <a:lnTo>
                    <a:pt x="563" y="305"/>
                  </a:lnTo>
                  <a:lnTo>
                    <a:pt x="565" y="310"/>
                  </a:lnTo>
                  <a:lnTo>
                    <a:pt x="569" y="316"/>
                  </a:lnTo>
                  <a:lnTo>
                    <a:pt x="571" y="322"/>
                  </a:lnTo>
                  <a:lnTo>
                    <a:pt x="573" y="330"/>
                  </a:lnTo>
                  <a:lnTo>
                    <a:pt x="573" y="335"/>
                  </a:lnTo>
                  <a:lnTo>
                    <a:pt x="573" y="335"/>
                  </a:lnTo>
                  <a:lnTo>
                    <a:pt x="573" y="339"/>
                  </a:lnTo>
                  <a:lnTo>
                    <a:pt x="571" y="345"/>
                  </a:lnTo>
                  <a:lnTo>
                    <a:pt x="569" y="349"/>
                  </a:lnTo>
                  <a:lnTo>
                    <a:pt x="567" y="354"/>
                  </a:lnTo>
                  <a:lnTo>
                    <a:pt x="563" y="358"/>
                  </a:lnTo>
                  <a:lnTo>
                    <a:pt x="559" y="364"/>
                  </a:lnTo>
                  <a:lnTo>
                    <a:pt x="556" y="368"/>
                  </a:lnTo>
                  <a:lnTo>
                    <a:pt x="552" y="372"/>
                  </a:lnTo>
                  <a:lnTo>
                    <a:pt x="548" y="377"/>
                  </a:lnTo>
                  <a:lnTo>
                    <a:pt x="544" y="381"/>
                  </a:lnTo>
                  <a:lnTo>
                    <a:pt x="540" y="387"/>
                  </a:lnTo>
                  <a:lnTo>
                    <a:pt x="536" y="391"/>
                  </a:lnTo>
                  <a:lnTo>
                    <a:pt x="533" y="394"/>
                  </a:lnTo>
                  <a:lnTo>
                    <a:pt x="531" y="398"/>
                  </a:lnTo>
                  <a:lnTo>
                    <a:pt x="527" y="404"/>
                  </a:lnTo>
                  <a:lnTo>
                    <a:pt x="525" y="408"/>
                  </a:lnTo>
                  <a:lnTo>
                    <a:pt x="525" y="408"/>
                  </a:lnTo>
                  <a:lnTo>
                    <a:pt x="525" y="413"/>
                  </a:lnTo>
                  <a:lnTo>
                    <a:pt x="523" y="419"/>
                  </a:lnTo>
                  <a:lnTo>
                    <a:pt x="523" y="425"/>
                  </a:lnTo>
                  <a:lnTo>
                    <a:pt x="523" y="431"/>
                  </a:lnTo>
                  <a:lnTo>
                    <a:pt x="521" y="436"/>
                  </a:lnTo>
                  <a:lnTo>
                    <a:pt x="521" y="442"/>
                  </a:lnTo>
                  <a:lnTo>
                    <a:pt x="519" y="446"/>
                  </a:lnTo>
                  <a:lnTo>
                    <a:pt x="515" y="452"/>
                  </a:lnTo>
                  <a:lnTo>
                    <a:pt x="515" y="452"/>
                  </a:lnTo>
                  <a:lnTo>
                    <a:pt x="514" y="454"/>
                  </a:lnTo>
                  <a:lnTo>
                    <a:pt x="510" y="457"/>
                  </a:lnTo>
                  <a:lnTo>
                    <a:pt x="506" y="463"/>
                  </a:lnTo>
                  <a:lnTo>
                    <a:pt x="500" y="469"/>
                  </a:lnTo>
                  <a:lnTo>
                    <a:pt x="494" y="475"/>
                  </a:lnTo>
                  <a:lnTo>
                    <a:pt x="487" y="482"/>
                  </a:lnTo>
                  <a:lnTo>
                    <a:pt x="479" y="490"/>
                  </a:lnTo>
                  <a:lnTo>
                    <a:pt x="472" y="497"/>
                  </a:lnTo>
                  <a:lnTo>
                    <a:pt x="464" y="503"/>
                  </a:lnTo>
                  <a:lnTo>
                    <a:pt x="456" y="511"/>
                  </a:lnTo>
                  <a:lnTo>
                    <a:pt x="449" y="517"/>
                  </a:lnTo>
                  <a:lnTo>
                    <a:pt x="443" y="522"/>
                  </a:lnTo>
                  <a:lnTo>
                    <a:pt x="437" y="528"/>
                  </a:lnTo>
                  <a:lnTo>
                    <a:pt x="433" y="532"/>
                  </a:lnTo>
                  <a:lnTo>
                    <a:pt x="430" y="534"/>
                  </a:lnTo>
                  <a:lnTo>
                    <a:pt x="428" y="534"/>
                  </a:lnTo>
                  <a:lnTo>
                    <a:pt x="428" y="534"/>
                  </a:lnTo>
                  <a:lnTo>
                    <a:pt x="424" y="534"/>
                  </a:lnTo>
                  <a:lnTo>
                    <a:pt x="420" y="534"/>
                  </a:lnTo>
                  <a:lnTo>
                    <a:pt x="416" y="534"/>
                  </a:lnTo>
                  <a:lnTo>
                    <a:pt x="412" y="534"/>
                  </a:lnTo>
                  <a:lnTo>
                    <a:pt x="411" y="534"/>
                  </a:lnTo>
                  <a:lnTo>
                    <a:pt x="407" y="534"/>
                  </a:lnTo>
                  <a:lnTo>
                    <a:pt x="403" y="534"/>
                  </a:lnTo>
                  <a:lnTo>
                    <a:pt x="401" y="534"/>
                  </a:lnTo>
                  <a:lnTo>
                    <a:pt x="397" y="534"/>
                  </a:lnTo>
                  <a:lnTo>
                    <a:pt x="391" y="534"/>
                  </a:lnTo>
                  <a:lnTo>
                    <a:pt x="388" y="534"/>
                  </a:lnTo>
                  <a:lnTo>
                    <a:pt x="382" y="534"/>
                  </a:lnTo>
                  <a:lnTo>
                    <a:pt x="376" y="534"/>
                  </a:lnTo>
                  <a:lnTo>
                    <a:pt x="369" y="534"/>
                  </a:lnTo>
                  <a:lnTo>
                    <a:pt x="361" y="534"/>
                  </a:lnTo>
                  <a:lnTo>
                    <a:pt x="351" y="534"/>
                  </a:lnTo>
                  <a:lnTo>
                    <a:pt x="351" y="534"/>
                  </a:lnTo>
                  <a:lnTo>
                    <a:pt x="346" y="528"/>
                  </a:lnTo>
                  <a:lnTo>
                    <a:pt x="342" y="524"/>
                  </a:lnTo>
                  <a:lnTo>
                    <a:pt x="334" y="522"/>
                  </a:lnTo>
                  <a:lnTo>
                    <a:pt x="327" y="520"/>
                  </a:lnTo>
                  <a:lnTo>
                    <a:pt x="319" y="520"/>
                  </a:lnTo>
                  <a:lnTo>
                    <a:pt x="311" y="520"/>
                  </a:lnTo>
                  <a:lnTo>
                    <a:pt x="304" y="518"/>
                  </a:lnTo>
                  <a:lnTo>
                    <a:pt x="298" y="517"/>
                  </a:lnTo>
                  <a:lnTo>
                    <a:pt x="298" y="517"/>
                  </a:lnTo>
                  <a:lnTo>
                    <a:pt x="292" y="515"/>
                  </a:lnTo>
                  <a:lnTo>
                    <a:pt x="288" y="513"/>
                  </a:lnTo>
                  <a:lnTo>
                    <a:pt x="283" y="509"/>
                  </a:lnTo>
                  <a:lnTo>
                    <a:pt x="279" y="507"/>
                  </a:lnTo>
                  <a:lnTo>
                    <a:pt x="275" y="503"/>
                  </a:lnTo>
                  <a:lnTo>
                    <a:pt x="273" y="501"/>
                  </a:lnTo>
                  <a:lnTo>
                    <a:pt x="269" y="497"/>
                  </a:lnTo>
                  <a:lnTo>
                    <a:pt x="266" y="494"/>
                  </a:lnTo>
                  <a:lnTo>
                    <a:pt x="262" y="492"/>
                  </a:lnTo>
                  <a:lnTo>
                    <a:pt x="258" y="488"/>
                  </a:lnTo>
                  <a:lnTo>
                    <a:pt x="254" y="484"/>
                  </a:lnTo>
                  <a:lnTo>
                    <a:pt x="250" y="482"/>
                  </a:lnTo>
                  <a:lnTo>
                    <a:pt x="247" y="478"/>
                  </a:lnTo>
                  <a:lnTo>
                    <a:pt x="243" y="476"/>
                  </a:lnTo>
                  <a:lnTo>
                    <a:pt x="237" y="475"/>
                  </a:lnTo>
                  <a:lnTo>
                    <a:pt x="231" y="473"/>
                  </a:lnTo>
                  <a:lnTo>
                    <a:pt x="231" y="473"/>
                  </a:lnTo>
                  <a:lnTo>
                    <a:pt x="224" y="471"/>
                  </a:lnTo>
                  <a:lnTo>
                    <a:pt x="216" y="467"/>
                  </a:lnTo>
                  <a:lnTo>
                    <a:pt x="208" y="465"/>
                  </a:lnTo>
                  <a:lnTo>
                    <a:pt x="201" y="461"/>
                  </a:lnTo>
                  <a:lnTo>
                    <a:pt x="193" y="457"/>
                  </a:lnTo>
                  <a:lnTo>
                    <a:pt x="187" y="454"/>
                  </a:lnTo>
                  <a:lnTo>
                    <a:pt x="184" y="450"/>
                  </a:lnTo>
                  <a:lnTo>
                    <a:pt x="180" y="446"/>
                  </a:lnTo>
                  <a:lnTo>
                    <a:pt x="180" y="446"/>
                  </a:lnTo>
                  <a:lnTo>
                    <a:pt x="178" y="440"/>
                  </a:lnTo>
                  <a:lnTo>
                    <a:pt x="178" y="434"/>
                  </a:lnTo>
                  <a:lnTo>
                    <a:pt x="176" y="429"/>
                  </a:lnTo>
                  <a:lnTo>
                    <a:pt x="176" y="423"/>
                  </a:lnTo>
                  <a:lnTo>
                    <a:pt x="176" y="417"/>
                  </a:lnTo>
                  <a:lnTo>
                    <a:pt x="176" y="412"/>
                  </a:lnTo>
                  <a:lnTo>
                    <a:pt x="176" y="406"/>
                  </a:lnTo>
                  <a:lnTo>
                    <a:pt x="176" y="402"/>
                  </a:lnTo>
                  <a:lnTo>
                    <a:pt x="176" y="396"/>
                  </a:lnTo>
                  <a:lnTo>
                    <a:pt x="176" y="392"/>
                  </a:lnTo>
                  <a:lnTo>
                    <a:pt x="174" y="387"/>
                  </a:lnTo>
                  <a:lnTo>
                    <a:pt x="174" y="383"/>
                  </a:lnTo>
                  <a:lnTo>
                    <a:pt x="172" y="379"/>
                  </a:lnTo>
                  <a:lnTo>
                    <a:pt x="168" y="377"/>
                  </a:lnTo>
                  <a:lnTo>
                    <a:pt x="164" y="373"/>
                  </a:lnTo>
                  <a:lnTo>
                    <a:pt x="159" y="372"/>
                  </a:lnTo>
                  <a:lnTo>
                    <a:pt x="159" y="372"/>
                  </a:lnTo>
                  <a:lnTo>
                    <a:pt x="155" y="370"/>
                  </a:lnTo>
                  <a:lnTo>
                    <a:pt x="151" y="366"/>
                  </a:lnTo>
                  <a:lnTo>
                    <a:pt x="149" y="362"/>
                  </a:lnTo>
                  <a:lnTo>
                    <a:pt x="147" y="358"/>
                  </a:lnTo>
                  <a:lnTo>
                    <a:pt x="143" y="352"/>
                  </a:lnTo>
                  <a:lnTo>
                    <a:pt x="142" y="349"/>
                  </a:lnTo>
                  <a:lnTo>
                    <a:pt x="140" y="345"/>
                  </a:lnTo>
                  <a:lnTo>
                    <a:pt x="136" y="343"/>
                  </a:lnTo>
                  <a:lnTo>
                    <a:pt x="136" y="343"/>
                  </a:lnTo>
                  <a:lnTo>
                    <a:pt x="128" y="337"/>
                  </a:lnTo>
                  <a:lnTo>
                    <a:pt x="121" y="333"/>
                  </a:lnTo>
                  <a:lnTo>
                    <a:pt x="111" y="330"/>
                  </a:lnTo>
                  <a:lnTo>
                    <a:pt x="102" y="326"/>
                  </a:lnTo>
                  <a:lnTo>
                    <a:pt x="94" y="322"/>
                  </a:lnTo>
                  <a:lnTo>
                    <a:pt x="86" y="320"/>
                  </a:lnTo>
                  <a:lnTo>
                    <a:pt x="79" y="316"/>
                  </a:lnTo>
                  <a:lnTo>
                    <a:pt x="71" y="312"/>
                  </a:lnTo>
                  <a:lnTo>
                    <a:pt x="71" y="312"/>
                  </a:lnTo>
                  <a:lnTo>
                    <a:pt x="67" y="309"/>
                  </a:lnTo>
                  <a:lnTo>
                    <a:pt x="63" y="305"/>
                  </a:lnTo>
                  <a:lnTo>
                    <a:pt x="60" y="301"/>
                  </a:lnTo>
                  <a:lnTo>
                    <a:pt x="58" y="297"/>
                  </a:lnTo>
                  <a:lnTo>
                    <a:pt x="58" y="293"/>
                  </a:lnTo>
                  <a:lnTo>
                    <a:pt x="56" y="288"/>
                  </a:lnTo>
                  <a:lnTo>
                    <a:pt x="54" y="282"/>
                  </a:lnTo>
                  <a:lnTo>
                    <a:pt x="54" y="276"/>
                  </a:lnTo>
                  <a:lnTo>
                    <a:pt x="54" y="276"/>
                  </a:lnTo>
                  <a:lnTo>
                    <a:pt x="50" y="270"/>
                  </a:lnTo>
                  <a:lnTo>
                    <a:pt x="48" y="263"/>
                  </a:lnTo>
                  <a:lnTo>
                    <a:pt x="44" y="255"/>
                  </a:lnTo>
                  <a:lnTo>
                    <a:pt x="40" y="249"/>
                  </a:lnTo>
                  <a:lnTo>
                    <a:pt x="35" y="244"/>
                  </a:lnTo>
                  <a:lnTo>
                    <a:pt x="31" y="238"/>
                  </a:lnTo>
                  <a:lnTo>
                    <a:pt x="27" y="234"/>
                  </a:lnTo>
                  <a:lnTo>
                    <a:pt x="21" y="227"/>
                  </a:lnTo>
                  <a:lnTo>
                    <a:pt x="18" y="223"/>
                  </a:lnTo>
                  <a:lnTo>
                    <a:pt x="14" y="217"/>
                  </a:lnTo>
                  <a:lnTo>
                    <a:pt x="10" y="211"/>
                  </a:lnTo>
                  <a:lnTo>
                    <a:pt x="6" y="206"/>
                  </a:lnTo>
                  <a:lnTo>
                    <a:pt x="4" y="198"/>
                  </a:lnTo>
                  <a:lnTo>
                    <a:pt x="2" y="192"/>
                  </a:lnTo>
                  <a:lnTo>
                    <a:pt x="0" y="185"/>
                  </a:lnTo>
                  <a:lnTo>
                    <a:pt x="0" y="177"/>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4" name="Freeform 118"/>
            <p:cNvSpPr>
              <a:spLocks/>
            </p:cNvSpPr>
            <p:nvPr/>
          </p:nvSpPr>
          <p:spPr bwMode="gray">
            <a:xfrm>
              <a:off x="3024" y="2777"/>
              <a:ext cx="131" cy="319"/>
            </a:xfrm>
            <a:custGeom>
              <a:avLst/>
              <a:gdLst/>
              <a:ahLst/>
              <a:cxnLst>
                <a:cxn ang="0">
                  <a:pos x="218" y="401"/>
                </a:cxn>
                <a:cxn ang="0">
                  <a:pos x="233" y="437"/>
                </a:cxn>
                <a:cxn ang="0">
                  <a:pos x="223" y="447"/>
                </a:cxn>
                <a:cxn ang="0">
                  <a:pos x="227" y="492"/>
                </a:cxn>
                <a:cxn ang="0">
                  <a:pos x="225" y="511"/>
                </a:cxn>
                <a:cxn ang="0">
                  <a:pos x="212" y="517"/>
                </a:cxn>
                <a:cxn ang="0">
                  <a:pos x="195" y="525"/>
                </a:cxn>
                <a:cxn ang="0">
                  <a:pos x="174" y="546"/>
                </a:cxn>
                <a:cxn ang="0">
                  <a:pos x="178" y="555"/>
                </a:cxn>
                <a:cxn ang="0">
                  <a:pos x="174" y="567"/>
                </a:cxn>
                <a:cxn ang="0">
                  <a:pos x="174" y="580"/>
                </a:cxn>
                <a:cxn ang="0">
                  <a:pos x="137" y="544"/>
                </a:cxn>
                <a:cxn ang="0">
                  <a:pos x="126" y="506"/>
                </a:cxn>
                <a:cxn ang="0">
                  <a:pos x="137" y="479"/>
                </a:cxn>
                <a:cxn ang="0">
                  <a:pos x="149" y="452"/>
                </a:cxn>
                <a:cxn ang="0">
                  <a:pos x="143" y="414"/>
                </a:cxn>
                <a:cxn ang="0">
                  <a:pos x="111" y="380"/>
                </a:cxn>
                <a:cxn ang="0">
                  <a:pos x="86" y="395"/>
                </a:cxn>
                <a:cxn ang="0">
                  <a:pos x="63" y="385"/>
                </a:cxn>
                <a:cxn ang="0">
                  <a:pos x="44" y="355"/>
                </a:cxn>
                <a:cxn ang="0">
                  <a:pos x="6" y="342"/>
                </a:cxn>
                <a:cxn ang="0">
                  <a:pos x="6" y="315"/>
                </a:cxn>
                <a:cxn ang="0">
                  <a:pos x="21" y="302"/>
                </a:cxn>
                <a:cxn ang="0">
                  <a:pos x="34" y="277"/>
                </a:cxn>
                <a:cxn ang="0">
                  <a:pos x="40" y="254"/>
                </a:cxn>
                <a:cxn ang="0">
                  <a:pos x="48" y="231"/>
                </a:cxn>
                <a:cxn ang="0">
                  <a:pos x="61" y="214"/>
                </a:cxn>
                <a:cxn ang="0">
                  <a:pos x="59" y="187"/>
                </a:cxn>
                <a:cxn ang="0">
                  <a:pos x="52" y="160"/>
                </a:cxn>
                <a:cxn ang="0">
                  <a:pos x="57" y="137"/>
                </a:cxn>
                <a:cxn ang="0">
                  <a:pos x="65" y="111"/>
                </a:cxn>
                <a:cxn ang="0">
                  <a:pos x="78" y="80"/>
                </a:cxn>
                <a:cxn ang="0">
                  <a:pos x="71" y="52"/>
                </a:cxn>
                <a:cxn ang="0">
                  <a:pos x="59" y="23"/>
                </a:cxn>
                <a:cxn ang="0">
                  <a:pos x="52" y="0"/>
                </a:cxn>
                <a:cxn ang="0">
                  <a:pos x="94" y="6"/>
                </a:cxn>
                <a:cxn ang="0">
                  <a:pos x="111" y="25"/>
                </a:cxn>
                <a:cxn ang="0">
                  <a:pos x="120" y="52"/>
                </a:cxn>
                <a:cxn ang="0">
                  <a:pos x="124" y="61"/>
                </a:cxn>
                <a:cxn ang="0">
                  <a:pos x="134" y="73"/>
                </a:cxn>
                <a:cxn ang="0">
                  <a:pos x="134" y="170"/>
                </a:cxn>
                <a:cxn ang="0">
                  <a:pos x="124" y="202"/>
                </a:cxn>
                <a:cxn ang="0">
                  <a:pos x="113" y="225"/>
                </a:cxn>
                <a:cxn ang="0">
                  <a:pos x="118" y="242"/>
                </a:cxn>
                <a:cxn ang="0">
                  <a:pos x="128" y="271"/>
                </a:cxn>
                <a:cxn ang="0">
                  <a:pos x="134" y="319"/>
                </a:cxn>
                <a:cxn ang="0">
                  <a:pos x="143" y="332"/>
                </a:cxn>
                <a:cxn ang="0">
                  <a:pos x="149" y="345"/>
                </a:cxn>
                <a:cxn ang="0">
                  <a:pos x="143" y="359"/>
                </a:cxn>
                <a:cxn ang="0">
                  <a:pos x="149" y="376"/>
                </a:cxn>
                <a:cxn ang="0">
                  <a:pos x="162" y="380"/>
                </a:cxn>
                <a:cxn ang="0">
                  <a:pos x="166" y="368"/>
                </a:cxn>
                <a:cxn ang="0">
                  <a:pos x="179" y="374"/>
                </a:cxn>
                <a:cxn ang="0">
                  <a:pos x="189" y="378"/>
                </a:cxn>
                <a:cxn ang="0">
                  <a:pos x="191" y="366"/>
                </a:cxn>
              </a:cxnLst>
              <a:rect l="0" t="0" r="r" b="b"/>
              <a:pathLst>
                <a:path w="233" h="580">
                  <a:moveTo>
                    <a:pt x="189" y="378"/>
                  </a:moveTo>
                  <a:lnTo>
                    <a:pt x="189" y="378"/>
                  </a:lnTo>
                  <a:lnTo>
                    <a:pt x="197" y="382"/>
                  </a:lnTo>
                  <a:lnTo>
                    <a:pt x="202" y="385"/>
                  </a:lnTo>
                  <a:lnTo>
                    <a:pt x="210" y="393"/>
                  </a:lnTo>
                  <a:lnTo>
                    <a:pt x="218" y="401"/>
                  </a:lnTo>
                  <a:lnTo>
                    <a:pt x="223" y="410"/>
                  </a:lnTo>
                  <a:lnTo>
                    <a:pt x="227" y="418"/>
                  </a:lnTo>
                  <a:lnTo>
                    <a:pt x="231" y="427"/>
                  </a:lnTo>
                  <a:lnTo>
                    <a:pt x="233" y="435"/>
                  </a:lnTo>
                  <a:lnTo>
                    <a:pt x="233" y="435"/>
                  </a:lnTo>
                  <a:lnTo>
                    <a:pt x="233" y="437"/>
                  </a:lnTo>
                  <a:lnTo>
                    <a:pt x="231" y="439"/>
                  </a:lnTo>
                  <a:lnTo>
                    <a:pt x="229" y="439"/>
                  </a:lnTo>
                  <a:lnTo>
                    <a:pt x="227" y="441"/>
                  </a:lnTo>
                  <a:lnTo>
                    <a:pt x="225" y="443"/>
                  </a:lnTo>
                  <a:lnTo>
                    <a:pt x="225" y="445"/>
                  </a:lnTo>
                  <a:lnTo>
                    <a:pt x="223" y="447"/>
                  </a:lnTo>
                  <a:lnTo>
                    <a:pt x="223" y="448"/>
                  </a:lnTo>
                  <a:lnTo>
                    <a:pt x="227" y="483"/>
                  </a:lnTo>
                  <a:lnTo>
                    <a:pt x="227" y="483"/>
                  </a:lnTo>
                  <a:lnTo>
                    <a:pt x="227" y="487"/>
                  </a:lnTo>
                  <a:lnTo>
                    <a:pt x="227" y="490"/>
                  </a:lnTo>
                  <a:lnTo>
                    <a:pt x="227" y="492"/>
                  </a:lnTo>
                  <a:lnTo>
                    <a:pt x="227" y="496"/>
                  </a:lnTo>
                  <a:lnTo>
                    <a:pt x="227" y="500"/>
                  </a:lnTo>
                  <a:lnTo>
                    <a:pt x="227" y="504"/>
                  </a:lnTo>
                  <a:lnTo>
                    <a:pt x="227" y="508"/>
                  </a:lnTo>
                  <a:lnTo>
                    <a:pt x="225" y="511"/>
                  </a:lnTo>
                  <a:lnTo>
                    <a:pt x="225" y="511"/>
                  </a:lnTo>
                  <a:lnTo>
                    <a:pt x="223" y="513"/>
                  </a:lnTo>
                  <a:lnTo>
                    <a:pt x="221" y="515"/>
                  </a:lnTo>
                  <a:lnTo>
                    <a:pt x="220" y="517"/>
                  </a:lnTo>
                  <a:lnTo>
                    <a:pt x="218" y="517"/>
                  </a:lnTo>
                  <a:lnTo>
                    <a:pt x="214" y="517"/>
                  </a:lnTo>
                  <a:lnTo>
                    <a:pt x="212" y="517"/>
                  </a:lnTo>
                  <a:lnTo>
                    <a:pt x="208" y="517"/>
                  </a:lnTo>
                  <a:lnTo>
                    <a:pt x="204" y="517"/>
                  </a:lnTo>
                  <a:lnTo>
                    <a:pt x="204" y="517"/>
                  </a:lnTo>
                  <a:lnTo>
                    <a:pt x="202" y="517"/>
                  </a:lnTo>
                  <a:lnTo>
                    <a:pt x="199" y="521"/>
                  </a:lnTo>
                  <a:lnTo>
                    <a:pt x="195" y="525"/>
                  </a:lnTo>
                  <a:lnTo>
                    <a:pt x="189" y="529"/>
                  </a:lnTo>
                  <a:lnTo>
                    <a:pt x="183" y="532"/>
                  </a:lnTo>
                  <a:lnTo>
                    <a:pt x="178" y="538"/>
                  </a:lnTo>
                  <a:lnTo>
                    <a:pt x="174" y="542"/>
                  </a:lnTo>
                  <a:lnTo>
                    <a:pt x="174" y="546"/>
                  </a:lnTo>
                  <a:lnTo>
                    <a:pt x="174" y="546"/>
                  </a:lnTo>
                  <a:lnTo>
                    <a:pt x="174" y="548"/>
                  </a:lnTo>
                  <a:lnTo>
                    <a:pt x="174" y="550"/>
                  </a:lnTo>
                  <a:lnTo>
                    <a:pt x="176" y="551"/>
                  </a:lnTo>
                  <a:lnTo>
                    <a:pt x="178" y="553"/>
                  </a:lnTo>
                  <a:lnTo>
                    <a:pt x="178" y="553"/>
                  </a:lnTo>
                  <a:lnTo>
                    <a:pt x="178" y="555"/>
                  </a:lnTo>
                  <a:lnTo>
                    <a:pt x="176" y="557"/>
                  </a:lnTo>
                  <a:lnTo>
                    <a:pt x="176" y="559"/>
                  </a:lnTo>
                  <a:lnTo>
                    <a:pt x="174" y="561"/>
                  </a:lnTo>
                  <a:lnTo>
                    <a:pt x="174" y="563"/>
                  </a:lnTo>
                  <a:lnTo>
                    <a:pt x="174" y="565"/>
                  </a:lnTo>
                  <a:lnTo>
                    <a:pt x="174" y="567"/>
                  </a:lnTo>
                  <a:lnTo>
                    <a:pt x="174" y="569"/>
                  </a:lnTo>
                  <a:lnTo>
                    <a:pt x="174" y="569"/>
                  </a:lnTo>
                  <a:lnTo>
                    <a:pt x="174" y="572"/>
                  </a:lnTo>
                  <a:lnTo>
                    <a:pt x="174" y="574"/>
                  </a:lnTo>
                  <a:lnTo>
                    <a:pt x="174" y="578"/>
                  </a:lnTo>
                  <a:lnTo>
                    <a:pt x="174" y="580"/>
                  </a:lnTo>
                  <a:lnTo>
                    <a:pt x="174" y="580"/>
                  </a:lnTo>
                  <a:lnTo>
                    <a:pt x="168" y="576"/>
                  </a:lnTo>
                  <a:lnTo>
                    <a:pt x="160" y="572"/>
                  </a:lnTo>
                  <a:lnTo>
                    <a:pt x="153" y="563"/>
                  </a:lnTo>
                  <a:lnTo>
                    <a:pt x="145" y="553"/>
                  </a:lnTo>
                  <a:lnTo>
                    <a:pt x="137" y="544"/>
                  </a:lnTo>
                  <a:lnTo>
                    <a:pt x="132" y="532"/>
                  </a:lnTo>
                  <a:lnTo>
                    <a:pt x="128" y="523"/>
                  </a:lnTo>
                  <a:lnTo>
                    <a:pt x="126" y="515"/>
                  </a:lnTo>
                  <a:lnTo>
                    <a:pt x="126" y="515"/>
                  </a:lnTo>
                  <a:lnTo>
                    <a:pt x="126" y="511"/>
                  </a:lnTo>
                  <a:lnTo>
                    <a:pt x="126" y="506"/>
                  </a:lnTo>
                  <a:lnTo>
                    <a:pt x="128" y="502"/>
                  </a:lnTo>
                  <a:lnTo>
                    <a:pt x="130" y="498"/>
                  </a:lnTo>
                  <a:lnTo>
                    <a:pt x="132" y="492"/>
                  </a:lnTo>
                  <a:lnTo>
                    <a:pt x="134" y="489"/>
                  </a:lnTo>
                  <a:lnTo>
                    <a:pt x="136" y="485"/>
                  </a:lnTo>
                  <a:lnTo>
                    <a:pt x="137" y="479"/>
                  </a:lnTo>
                  <a:lnTo>
                    <a:pt x="139" y="475"/>
                  </a:lnTo>
                  <a:lnTo>
                    <a:pt x="143" y="471"/>
                  </a:lnTo>
                  <a:lnTo>
                    <a:pt x="145" y="468"/>
                  </a:lnTo>
                  <a:lnTo>
                    <a:pt x="147" y="462"/>
                  </a:lnTo>
                  <a:lnTo>
                    <a:pt x="147" y="458"/>
                  </a:lnTo>
                  <a:lnTo>
                    <a:pt x="149" y="452"/>
                  </a:lnTo>
                  <a:lnTo>
                    <a:pt x="149" y="448"/>
                  </a:lnTo>
                  <a:lnTo>
                    <a:pt x="149" y="443"/>
                  </a:lnTo>
                  <a:lnTo>
                    <a:pt x="149" y="443"/>
                  </a:lnTo>
                  <a:lnTo>
                    <a:pt x="149" y="433"/>
                  </a:lnTo>
                  <a:lnTo>
                    <a:pt x="147" y="424"/>
                  </a:lnTo>
                  <a:lnTo>
                    <a:pt x="143" y="414"/>
                  </a:lnTo>
                  <a:lnTo>
                    <a:pt x="139" y="403"/>
                  </a:lnTo>
                  <a:lnTo>
                    <a:pt x="134" y="395"/>
                  </a:lnTo>
                  <a:lnTo>
                    <a:pt x="126" y="387"/>
                  </a:lnTo>
                  <a:lnTo>
                    <a:pt x="118" y="382"/>
                  </a:lnTo>
                  <a:lnTo>
                    <a:pt x="111" y="380"/>
                  </a:lnTo>
                  <a:lnTo>
                    <a:pt x="111" y="380"/>
                  </a:lnTo>
                  <a:lnTo>
                    <a:pt x="105" y="382"/>
                  </a:lnTo>
                  <a:lnTo>
                    <a:pt x="101" y="384"/>
                  </a:lnTo>
                  <a:lnTo>
                    <a:pt x="97" y="385"/>
                  </a:lnTo>
                  <a:lnTo>
                    <a:pt x="94" y="389"/>
                  </a:lnTo>
                  <a:lnTo>
                    <a:pt x="90" y="391"/>
                  </a:lnTo>
                  <a:lnTo>
                    <a:pt x="86" y="395"/>
                  </a:lnTo>
                  <a:lnTo>
                    <a:pt x="82" y="397"/>
                  </a:lnTo>
                  <a:lnTo>
                    <a:pt x="78" y="397"/>
                  </a:lnTo>
                  <a:lnTo>
                    <a:pt x="78" y="397"/>
                  </a:lnTo>
                  <a:lnTo>
                    <a:pt x="73" y="395"/>
                  </a:lnTo>
                  <a:lnTo>
                    <a:pt x="69" y="391"/>
                  </a:lnTo>
                  <a:lnTo>
                    <a:pt x="63" y="385"/>
                  </a:lnTo>
                  <a:lnTo>
                    <a:pt x="59" y="378"/>
                  </a:lnTo>
                  <a:lnTo>
                    <a:pt x="54" y="370"/>
                  </a:lnTo>
                  <a:lnTo>
                    <a:pt x="50" y="365"/>
                  </a:lnTo>
                  <a:lnTo>
                    <a:pt x="46" y="359"/>
                  </a:lnTo>
                  <a:lnTo>
                    <a:pt x="44" y="355"/>
                  </a:lnTo>
                  <a:lnTo>
                    <a:pt x="44" y="355"/>
                  </a:lnTo>
                  <a:lnTo>
                    <a:pt x="38" y="351"/>
                  </a:lnTo>
                  <a:lnTo>
                    <a:pt x="31" y="349"/>
                  </a:lnTo>
                  <a:lnTo>
                    <a:pt x="25" y="347"/>
                  </a:lnTo>
                  <a:lnTo>
                    <a:pt x="17" y="345"/>
                  </a:lnTo>
                  <a:lnTo>
                    <a:pt x="10" y="344"/>
                  </a:lnTo>
                  <a:lnTo>
                    <a:pt x="6" y="342"/>
                  </a:lnTo>
                  <a:lnTo>
                    <a:pt x="2" y="336"/>
                  </a:lnTo>
                  <a:lnTo>
                    <a:pt x="0" y="326"/>
                  </a:lnTo>
                  <a:lnTo>
                    <a:pt x="0" y="326"/>
                  </a:lnTo>
                  <a:lnTo>
                    <a:pt x="2" y="323"/>
                  </a:lnTo>
                  <a:lnTo>
                    <a:pt x="4" y="319"/>
                  </a:lnTo>
                  <a:lnTo>
                    <a:pt x="6" y="315"/>
                  </a:lnTo>
                  <a:lnTo>
                    <a:pt x="10" y="313"/>
                  </a:lnTo>
                  <a:lnTo>
                    <a:pt x="12" y="309"/>
                  </a:lnTo>
                  <a:lnTo>
                    <a:pt x="15" y="307"/>
                  </a:lnTo>
                  <a:lnTo>
                    <a:pt x="19" y="305"/>
                  </a:lnTo>
                  <a:lnTo>
                    <a:pt x="21" y="302"/>
                  </a:lnTo>
                  <a:lnTo>
                    <a:pt x="21" y="302"/>
                  </a:lnTo>
                  <a:lnTo>
                    <a:pt x="23" y="296"/>
                  </a:lnTo>
                  <a:lnTo>
                    <a:pt x="27" y="290"/>
                  </a:lnTo>
                  <a:lnTo>
                    <a:pt x="29" y="286"/>
                  </a:lnTo>
                  <a:lnTo>
                    <a:pt x="31" y="284"/>
                  </a:lnTo>
                  <a:lnTo>
                    <a:pt x="33" y="281"/>
                  </a:lnTo>
                  <a:lnTo>
                    <a:pt x="34" y="277"/>
                  </a:lnTo>
                  <a:lnTo>
                    <a:pt x="36" y="273"/>
                  </a:lnTo>
                  <a:lnTo>
                    <a:pt x="38" y="269"/>
                  </a:lnTo>
                  <a:lnTo>
                    <a:pt x="38" y="269"/>
                  </a:lnTo>
                  <a:lnTo>
                    <a:pt x="40" y="263"/>
                  </a:lnTo>
                  <a:lnTo>
                    <a:pt x="40" y="258"/>
                  </a:lnTo>
                  <a:lnTo>
                    <a:pt x="40" y="254"/>
                  </a:lnTo>
                  <a:lnTo>
                    <a:pt x="40" y="248"/>
                  </a:lnTo>
                  <a:lnTo>
                    <a:pt x="42" y="244"/>
                  </a:lnTo>
                  <a:lnTo>
                    <a:pt x="42" y="239"/>
                  </a:lnTo>
                  <a:lnTo>
                    <a:pt x="44" y="235"/>
                  </a:lnTo>
                  <a:lnTo>
                    <a:pt x="48" y="231"/>
                  </a:lnTo>
                  <a:lnTo>
                    <a:pt x="48" y="231"/>
                  </a:lnTo>
                  <a:lnTo>
                    <a:pt x="50" y="227"/>
                  </a:lnTo>
                  <a:lnTo>
                    <a:pt x="54" y="225"/>
                  </a:lnTo>
                  <a:lnTo>
                    <a:pt x="55" y="223"/>
                  </a:lnTo>
                  <a:lnTo>
                    <a:pt x="57" y="220"/>
                  </a:lnTo>
                  <a:lnTo>
                    <a:pt x="59" y="218"/>
                  </a:lnTo>
                  <a:lnTo>
                    <a:pt x="61" y="214"/>
                  </a:lnTo>
                  <a:lnTo>
                    <a:pt x="61" y="210"/>
                  </a:lnTo>
                  <a:lnTo>
                    <a:pt x="63" y="206"/>
                  </a:lnTo>
                  <a:lnTo>
                    <a:pt x="63" y="206"/>
                  </a:lnTo>
                  <a:lnTo>
                    <a:pt x="61" y="199"/>
                  </a:lnTo>
                  <a:lnTo>
                    <a:pt x="61" y="193"/>
                  </a:lnTo>
                  <a:lnTo>
                    <a:pt x="59" y="187"/>
                  </a:lnTo>
                  <a:lnTo>
                    <a:pt x="57" y="183"/>
                  </a:lnTo>
                  <a:lnTo>
                    <a:pt x="55" y="178"/>
                  </a:lnTo>
                  <a:lnTo>
                    <a:pt x="54" y="172"/>
                  </a:lnTo>
                  <a:lnTo>
                    <a:pt x="52" y="168"/>
                  </a:lnTo>
                  <a:lnTo>
                    <a:pt x="52" y="160"/>
                  </a:lnTo>
                  <a:lnTo>
                    <a:pt x="52" y="160"/>
                  </a:lnTo>
                  <a:lnTo>
                    <a:pt x="52" y="157"/>
                  </a:lnTo>
                  <a:lnTo>
                    <a:pt x="52" y="153"/>
                  </a:lnTo>
                  <a:lnTo>
                    <a:pt x="54" y="149"/>
                  </a:lnTo>
                  <a:lnTo>
                    <a:pt x="55" y="145"/>
                  </a:lnTo>
                  <a:lnTo>
                    <a:pt x="55" y="141"/>
                  </a:lnTo>
                  <a:lnTo>
                    <a:pt x="57" y="137"/>
                  </a:lnTo>
                  <a:lnTo>
                    <a:pt x="57" y="134"/>
                  </a:lnTo>
                  <a:lnTo>
                    <a:pt x="57" y="130"/>
                  </a:lnTo>
                  <a:lnTo>
                    <a:pt x="57" y="130"/>
                  </a:lnTo>
                  <a:lnTo>
                    <a:pt x="59" y="124"/>
                  </a:lnTo>
                  <a:lnTo>
                    <a:pt x="61" y="116"/>
                  </a:lnTo>
                  <a:lnTo>
                    <a:pt x="65" y="111"/>
                  </a:lnTo>
                  <a:lnTo>
                    <a:pt x="69" y="105"/>
                  </a:lnTo>
                  <a:lnTo>
                    <a:pt x="73" y="99"/>
                  </a:lnTo>
                  <a:lnTo>
                    <a:pt x="75" y="94"/>
                  </a:lnTo>
                  <a:lnTo>
                    <a:pt x="78" y="88"/>
                  </a:lnTo>
                  <a:lnTo>
                    <a:pt x="78" y="80"/>
                  </a:lnTo>
                  <a:lnTo>
                    <a:pt x="78" y="80"/>
                  </a:lnTo>
                  <a:lnTo>
                    <a:pt x="78" y="76"/>
                  </a:lnTo>
                  <a:lnTo>
                    <a:pt x="78" y="71"/>
                  </a:lnTo>
                  <a:lnTo>
                    <a:pt x="76" y="67"/>
                  </a:lnTo>
                  <a:lnTo>
                    <a:pt x="75" y="61"/>
                  </a:lnTo>
                  <a:lnTo>
                    <a:pt x="73" y="57"/>
                  </a:lnTo>
                  <a:lnTo>
                    <a:pt x="71" y="52"/>
                  </a:lnTo>
                  <a:lnTo>
                    <a:pt x="69" y="46"/>
                  </a:lnTo>
                  <a:lnTo>
                    <a:pt x="67" y="42"/>
                  </a:lnTo>
                  <a:lnTo>
                    <a:pt x="65" y="36"/>
                  </a:lnTo>
                  <a:lnTo>
                    <a:pt x="63" y="33"/>
                  </a:lnTo>
                  <a:lnTo>
                    <a:pt x="61" y="27"/>
                  </a:lnTo>
                  <a:lnTo>
                    <a:pt x="59" y="23"/>
                  </a:lnTo>
                  <a:lnTo>
                    <a:pt x="57" y="17"/>
                  </a:lnTo>
                  <a:lnTo>
                    <a:pt x="55" y="12"/>
                  </a:lnTo>
                  <a:lnTo>
                    <a:pt x="55" y="8"/>
                  </a:lnTo>
                  <a:lnTo>
                    <a:pt x="55" y="2"/>
                  </a:lnTo>
                  <a:lnTo>
                    <a:pt x="52" y="0"/>
                  </a:lnTo>
                  <a:lnTo>
                    <a:pt x="52" y="0"/>
                  </a:lnTo>
                  <a:lnTo>
                    <a:pt x="57" y="2"/>
                  </a:lnTo>
                  <a:lnTo>
                    <a:pt x="65" y="4"/>
                  </a:lnTo>
                  <a:lnTo>
                    <a:pt x="71" y="6"/>
                  </a:lnTo>
                  <a:lnTo>
                    <a:pt x="78" y="6"/>
                  </a:lnTo>
                  <a:lnTo>
                    <a:pt x="86" y="6"/>
                  </a:lnTo>
                  <a:lnTo>
                    <a:pt x="94" y="6"/>
                  </a:lnTo>
                  <a:lnTo>
                    <a:pt x="101" y="6"/>
                  </a:lnTo>
                  <a:lnTo>
                    <a:pt x="109" y="4"/>
                  </a:lnTo>
                  <a:lnTo>
                    <a:pt x="109" y="4"/>
                  </a:lnTo>
                  <a:lnTo>
                    <a:pt x="109" y="12"/>
                  </a:lnTo>
                  <a:lnTo>
                    <a:pt x="111" y="19"/>
                  </a:lnTo>
                  <a:lnTo>
                    <a:pt x="111" y="25"/>
                  </a:lnTo>
                  <a:lnTo>
                    <a:pt x="113" y="31"/>
                  </a:lnTo>
                  <a:lnTo>
                    <a:pt x="113" y="34"/>
                  </a:lnTo>
                  <a:lnTo>
                    <a:pt x="115" y="40"/>
                  </a:lnTo>
                  <a:lnTo>
                    <a:pt x="118" y="46"/>
                  </a:lnTo>
                  <a:lnTo>
                    <a:pt x="120" y="52"/>
                  </a:lnTo>
                  <a:lnTo>
                    <a:pt x="120" y="52"/>
                  </a:lnTo>
                  <a:lnTo>
                    <a:pt x="120" y="54"/>
                  </a:lnTo>
                  <a:lnTo>
                    <a:pt x="120" y="57"/>
                  </a:lnTo>
                  <a:lnTo>
                    <a:pt x="120" y="59"/>
                  </a:lnTo>
                  <a:lnTo>
                    <a:pt x="122" y="61"/>
                  </a:lnTo>
                  <a:lnTo>
                    <a:pt x="122" y="61"/>
                  </a:lnTo>
                  <a:lnTo>
                    <a:pt x="124" y="61"/>
                  </a:lnTo>
                  <a:lnTo>
                    <a:pt x="126" y="63"/>
                  </a:lnTo>
                  <a:lnTo>
                    <a:pt x="128" y="65"/>
                  </a:lnTo>
                  <a:lnTo>
                    <a:pt x="128" y="67"/>
                  </a:lnTo>
                  <a:lnTo>
                    <a:pt x="130" y="69"/>
                  </a:lnTo>
                  <a:lnTo>
                    <a:pt x="132" y="71"/>
                  </a:lnTo>
                  <a:lnTo>
                    <a:pt x="134" y="73"/>
                  </a:lnTo>
                  <a:lnTo>
                    <a:pt x="137" y="75"/>
                  </a:lnTo>
                  <a:lnTo>
                    <a:pt x="137" y="160"/>
                  </a:lnTo>
                  <a:lnTo>
                    <a:pt x="137" y="160"/>
                  </a:lnTo>
                  <a:lnTo>
                    <a:pt x="136" y="162"/>
                  </a:lnTo>
                  <a:lnTo>
                    <a:pt x="136" y="166"/>
                  </a:lnTo>
                  <a:lnTo>
                    <a:pt x="134" y="170"/>
                  </a:lnTo>
                  <a:lnTo>
                    <a:pt x="134" y="174"/>
                  </a:lnTo>
                  <a:lnTo>
                    <a:pt x="132" y="179"/>
                  </a:lnTo>
                  <a:lnTo>
                    <a:pt x="130" y="185"/>
                  </a:lnTo>
                  <a:lnTo>
                    <a:pt x="128" y="191"/>
                  </a:lnTo>
                  <a:lnTo>
                    <a:pt x="126" y="197"/>
                  </a:lnTo>
                  <a:lnTo>
                    <a:pt x="124" y="202"/>
                  </a:lnTo>
                  <a:lnTo>
                    <a:pt x="122" y="208"/>
                  </a:lnTo>
                  <a:lnTo>
                    <a:pt x="120" y="212"/>
                  </a:lnTo>
                  <a:lnTo>
                    <a:pt x="118" y="218"/>
                  </a:lnTo>
                  <a:lnTo>
                    <a:pt x="116" y="221"/>
                  </a:lnTo>
                  <a:lnTo>
                    <a:pt x="115" y="223"/>
                  </a:lnTo>
                  <a:lnTo>
                    <a:pt x="113" y="225"/>
                  </a:lnTo>
                  <a:lnTo>
                    <a:pt x="111" y="225"/>
                  </a:lnTo>
                  <a:lnTo>
                    <a:pt x="111" y="225"/>
                  </a:lnTo>
                  <a:lnTo>
                    <a:pt x="111" y="231"/>
                  </a:lnTo>
                  <a:lnTo>
                    <a:pt x="113" y="235"/>
                  </a:lnTo>
                  <a:lnTo>
                    <a:pt x="116" y="239"/>
                  </a:lnTo>
                  <a:lnTo>
                    <a:pt x="118" y="242"/>
                  </a:lnTo>
                  <a:lnTo>
                    <a:pt x="122" y="246"/>
                  </a:lnTo>
                  <a:lnTo>
                    <a:pt x="124" y="252"/>
                  </a:lnTo>
                  <a:lnTo>
                    <a:pt x="126" y="256"/>
                  </a:lnTo>
                  <a:lnTo>
                    <a:pt x="128" y="263"/>
                  </a:lnTo>
                  <a:lnTo>
                    <a:pt x="128" y="263"/>
                  </a:lnTo>
                  <a:lnTo>
                    <a:pt x="128" y="271"/>
                  </a:lnTo>
                  <a:lnTo>
                    <a:pt x="128" y="279"/>
                  </a:lnTo>
                  <a:lnTo>
                    <a:pt x="128" y="286"/>
                  </a:lnTo>
                  <a:lnTo>
                    <a:pt x="128" y="296"/>
                  </a:lnTo>
                  <a:lnTo>
                    <a:pt x="130" y="303"/>
                  </a:lnTo>
                  <a:lnTo>
                    <a:pt x="132" y="311"/>
                  </a:lnTo>
                  <a:lnTo>
                    <a:pt x="134" y="319"/>
                  </a:lnTo>
                  <a:lnTo>
                    <a:pt x="137" y="326"/>
                  </a:lnTo>
                  <a:lnTo>
                    <a:pt x="137" y="326"/>
                  </a:lnTo>
                  <a:lnTo>
                    <a:pt x="139" y="328"/>
                  </a:lnTo>
                  <a:lnTo>
                    <a:pt x="141" y="330"/>
                  </a:lnTo>
                  <a:lnTo>
                    <a:pt x="143" y="332"/>
                  </a:lnTo>
                  <a:lnTo>
                    <a:pt x="143" y="332"/>
                  </a:lnTo>
                  <a:lnTo>
                    <a:pt x="145" y="334"/>
                  </a:lnTo>
                  <a:lnTo>
                    <a:pt x="147" y="336"/>
                  </a:lnTo>
                  <a:lnTo>
                    <a:pt x="149" y="340"/>
                  </a:lnTo>
                  <a:lnTo>
                    <a:pt x="149" y="344"/>
                  </a:lnTo>
                  <a:lnTo>
                    <a:pt x="149" y="344"/>
                  </a:lnTo>
                  <a:lnTo>
                    <a:pt x="149" y="345"/>
                  </a:lnTo>
                  <a:lnTo>
                    <a:pt x="147" y="347"/>
                  </a:lnTo>
                  <a:lnTo>
                    <a:pt x="147" y="349"/>
                  </a:lnTo>
                  <a:lnTo>
                    <a:pt x="147" y="351"/>
                  </a:lnTo>
                  <a:lnTo>
                    <a:pt x="145" y="355"/>
                  </a:lnTo>
                  <a:lnTo>
                    <a:pt x="145" y="357"/>
                  </a:lnTo>
                  <a:lnTo>
                    <a:pt x="143" y="359"/>
                  </a:lnTo>
                  <a:lnTo>
                    <a:pt x="143" y="363"/>
                  </a:lnTo>
                  <a:lnTo>
                    <a:pt x="143" y="363"/>
                  </a:lnTo>
                  <a:lnTo>
                    <a:pt x="143" y="365"/>
                  </a:lnTo>
                  <a:lnTo>
                    <a:pt x="145" y="368"/>
                  </a:lnTo>
                  <a:lnTo>
                    <a:pt x="147" y="372"/>
                  </a:lnTo>
                  <a:lnTo>
                    <a:pt x="149" y="376"/>
                  </a:lnTo>
                  <a:lnTo>
                    <a:pt x="151" y="378"/>
                  </a:lnTo>
                  <a:lnTo>
                    <a:pt x="155" y="380"/>
                  </a:lnTo>
                  <a:lnTo>
                    <a:pt x="158" y="382"/>
                  </a:lnTo>
                  <a:lnTo>
                    <a:pt x="162" y="382"/>
                  </a:lnTo>
                  <a:lnTo>
                    <a:pt x="162" y="382"/>
                  </a:lnTo>
                  <a:lnTo>
                    <a:pt x="162" y="380"/>
                  </a:lnTo>
                  <a:lnTo>
                    <a:pt x="162" y="378"/>
                  </a:lnTo>
                  <a:lnTo>
                    <a:pt x="162" y="376"/>
                  </a:lnTo>
                  <a:lnTo>
                    <a:pt x="162" y="374"/>
                  </a:lnTo>
                  <a:lnTo>
                    <a:pt x="164" y="372"/>
                  </a:lnTo>
                  <a:lnTo>
                    <a:pt x="164" y="370"/>
                  </a:lnTo>
                  <a:lnTo>
                    <a:pt x="166" y="368"/>
                  </a:lnTo>
                  <a:lnTo>
                    <a:pt x="168" y="366"/>
                  </a:lnTo>
                  <a:lnTo>
                    <a:pt x="168" y="366"/>
                  </a:lnTo>
                  <a:lnTo>
                    <a:pt x="170" y="368"/>
                  </a:lnTo>
                  <a:lnTo>
                    <a:pt x="174" y="370"/>
                  </a:lnTo>
                  <a:lnTo>
                    <a:pt x="176" y="372"/>
                  </a:lnTo>
                  <a:lnTo>
                    <a:pt x="179" y="374"/>
                  </a:lnTo>
                  <a:lnTo>
                    <a:pt x="181" y="376"/>
                  </a:lnTo>
                  <a:lnTo>
                    <a:pt x="185" y="378"/>
                  </a:lnTo>
                  <a:lnTo>
                    <a:pt x="187" y="380"/>
                  </a:lnTo>
                  <a:lnTo>
                    <a:pt x="191" y="380"/>
                  </a:lnTo>
                  <a:lnTo>
                    <a:pt x="191" y="380"/>
                  </a:lnTo>
                  <a:lnTo>
                    <a:pt x="189" y="378"/>
                  </a:lnTo>
                  <a:lnTo>
                    <a:pt x="187" y="376"/>
                  </a:lnTo>
                  <a:lnTo>
                    <a:pt x="187" y="374"/>
                  </a:lnTo>
                  <a:lnTo>
                    <a:pt x="189" y="372"/>
                  </a:lnTo>
                  <a:lnTo>
                    <a:pt x="189" y="370"/>
                  </a:lnTo>
                  <a:lnTo>
                    <a:pt x="189" y="368"/>
                  </a:lnTo>
                  <a:lnTo>
                    <a:pt x="191" y="366"/>
                  </a:lnTo>
                  <a:lnTo>
                    <a:pt x="191" y="363"/>
                  </a:lnTo>
                  <a:lnTo>
                    <a:pt x="191" y="363"/>
                  </a:lnTo>
                  <a:lnTo>
                    <a:pt x="189" y="37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5" name="Freeform 119"/>
            <p:cNvSpPr>
              <a:spLocks/>
            </p:cNvSpPr>
            <p:nvPr/>
          </p:nvSpPr>
          <p:spPr bwMode="gray">
            <a:xfrm>
              <a:off x="2908" y="2809"/>
              <a:ext cx="475" cy="729"/>
            </a:xfrm>
            <a:custGeom>
              <a:avLst/>
              <a:gdLst/>
              <a:ahLst/>
              <a:cxnLst>
                <a:cxn ang="0">
                  <a:pos x="437" y="380"/>
                </a:cxn>
                <a:cxn ang="0">
                  <a:pos x="431" y="435"/>
                </a:cxn>
                <a:cxn ang="0">
                  <a:pos x="416" y="460"/>
                </a:cxn>
                <a:cxn ang="0">
                  <a:pos x="378" y="489"/>
                </a:cxn>
                <a:cxn ang="0">
                  <a:pos x="378" y="510"/>
                </a:cxn>
                <a:cxn ang="0">
                  <a:pos x="341" y="487"/>
                </a:cxn>
                <a:cxn ang="0">
                  <a:pos x="341" y="422"/>
                </a:cxn>
                <a:cxn ang="0">
                  <a:pos x="347" y="357"/>
                </a:cxn>
                <a:cxn ang="0">
                  <a:pos x="290" y="338"/>
                </a:cxn>
                <a:cxn ang="0">
                  <a:pos x="248" y="298"/>
                </a:cxn>
                <a:cxn ang="0">
                  <a:pos x="153" y="330"/>
                </a:cxn>
                <a:cxn ang="0">
                  <a:pos x="86" y="349"/>
                </a:cxn>
                <a:cxn ang="0">
                  <a:pos x="32" y="369"/>
                </a:cxn>
                <a:cxn ang="0">
                  <a:pos x="4" y="405"/>
                </a:cxn>
                <a:cxn ang="0">
                  <a:pos x="8" y="430"/>
                </a:cxn>
                <a:cxn ang="0">
                  <a:pos x="101" y="491"/>
                </a:cxn>
                <a:cxn ang="0">
                  <a:pos x="206" y="563"/>
                </a:cxn>
                <a:cxn ang="0">
                  <a:pos x="187" y="664"/>
                </a:cxn>
                <a:cxn ang="0">
                  <a:pos x="189" y="748"/>
                </a:cxn>
                <a:cxn ang="0">
                  <a:pos x="172" y="804"/>
                </a:cxn>
                <a:cxn ang="0">
                  <a:pos x="143" y="857"/>
                </a:cxn>
                <a:cxn ang="0">
                  <a:pos x="107" y="914"/>
                </a:cxn>
                <a:cxn ang="0">
                  <a:pos x="50" y="966"/>
                </a:cxn>
                <a:cxn ang="0">
                  <a:pos x="65" y="1052"/>
                </a:cxn>
                <a:cxn ang="0">
                  <a:pos x="88" y="1114"/>
                </a:cxn>
                <a:cxn ang="0">
                  <a:pos x="88" y="1164"/>
                </a:cxn>
                <a:cxn ang="0">
                  <a:pos x="76" y="1246"/>
                </a:cxn>
                <a:cxn ang="0">
                  <a:pos x="84" y="1275"/>
                </a:cxn>
                <a:cxn ang="0">
                  <a:pos x="118" y="1326"/>
                </a:cxn>
                <a:cxn ang="0">
                  <a:pos x="151" y="1273"/>
                </a:cxn>
                <a:cxn ang="0">
                  <a:pos x="158" y="1227"/>
                </a:cxn>
                <a:cxn ang="0">
                  <a:pos x="216" y="1189"/>
                </a:cxn>
                <a:cxn ang="0">
                  <a:pos x="284" y="1168"/>
                </a:cxn>
                <a:cxn ang="0">
                  <a:pos x="351" y="1126"/>
                </a:cxn>
                <a:cxn ang="0">
                  <a:pos x="361" y="1073"/>
                </a:cxn>
                <a:cxn ang="0">
                  <a:pos x="370" y="1013"/>
                </a:cxn>
                <a:cxn ang="0">
                  <a:pos x="376" y="977"/>
                </a:cxn>
                <a:cxn ang="0">
                  <a:pos x="357" y="903"/>
                </a:cxn>
                <a:cxn ang="0">
                  <a:pos x="334" y="830"/>
                </a:cxn>
                <a:cxn ang="0">
                  <a:pos x="345" y="773"/>
                </a:cxn>
                <a:cxn ang="0">
                  <a:pos x="422" y="718"/>
                </a:cxn>
                <a:cxn ang="0">
                  <a:pos x="502" y="657"/>
                </a:cxn>
                <a:cxn ang="0">
                  <a:pos x="582" y="586"/>
                </a:cxn>
                <a:cxn ang="0">
                  <a:pos x="692" y="538"/>
                </a:cxn>
                <a:cxn ang="0">
                  <a:pos x="757" y="485"/>
                </a:cxn>
                <a:cxn ang="0">
                  <a:pos x="811" y="426"/>
                </a:cxn>
                <a:cxn ang="0">
                  <a:pos x="837" y="357"/>
                </a:cxn>
                <a:cxn ang="0">
                  <a:pos x="824" y="308"/>
                </a:cxn>
                <a:cxn ang="0">
                  <a:pos x="824" y="260"/>
                </a:cxn>
                <a:cxn ang="0">
                  <a:pos x="826" y="210"/>
                </a:cxn>
                <a:cxn ang="0">
                  <a:pos x="816" y="147"/>
                </a:cxn>
                <a:cxn ang="0">
                  <a:pos x="822" y="92"/>
                </a:cxn>
                <a:cxn ang="0">
                  <a:pos x="818" y="19"/>
                </a:cxn>
                <a:cxn ang="0">
                  <a:pos x="765" y="39"/>
                </a:cxn>
                <a:cxn ang="0">
                  <a:pos x="658" y="73"/>
                </a:cxn>
                <a:cxn ang="0">
                  <a:pos x="610" y="79"/>
                </a:cxn>
                <a:cxn ang="0">
                  <a:pos x="544" y="105"/>
                </a:cxn>
                <a:cxn ang="0">
                  <a:pos x="479" y="94"/>
                </a:cxn>
                <a:cxn ang="0">
                  <a:pos x="435" y="86"/>
                </a:cxn>
                <a:cxn ang="0">
                  <a:pos x="383" y="103"/>
                </a:cxn>
                <a:cxn ang="0">
                  <a:pos x="382" y="136"/>
                </a:cxn>
                <a:cxn ang="0">
                  <a:pos x="368" y="193"/>
                </a:cxn>
                <a:cxn ang="0">
                  <a:pos x="395" y="306"/>
                </a:cxn>
              </a:cxnLst>
              <a:rect l="0" t="0" r="r" b="b"/>
              <a:pathLst>
                <a:path w="837" h="1326">
                  <a:moveTo>
                    <a:pt x="393" y="321"/>
                  </a:moveTo>
                  <a:lnTo>
                    <a:pt x="393" y="321"/>
                  </a:lnTo>
                  <a:lnTo>
                    <a:pt x="401" y="325"/>
                  </a:lnTo>
                  <a:lnTo>
                    <a:pt x="406" y="328"/>
                  </a:lnTo>
                  <a:lnTo>
                    <a:pt x="414" y="336"/>
                  </a:lnTo>
                  <a:lnTo>
                    <a:pt x="422" y="344"/>
                  </a:lnTo>
                  <a:lnTo>
                    <a:pt x="427" y="353"/>
                  </a:lnTo>
                  <a:lnTo>
                    <a:pt x="431" y="361"/>
                  </a:lnTo>
                  <a:lnTo>
                    <a:pt x="435" y="370"/>
                  </a:lnTo>
                  <a:lnTo>
                    <a:pt x="437" y="378"/>
                  </a:lnTo>
                  <a:lnTo>
                    <a:pt x="437" y="378"/>
                  </a:lnTo>
                  <a:lnTo>
                    <a:pt x="437" y="380"/>
                  </a:lnTo>
                  <a:lnTo>
                    <a:pt x="435" y="382"/>
                  </a:lnTo>
                  <a:lnTo>
                    <a:pt x="433" y="382"/>
                  </a:lnTo>
                  <a:lnTo>
                    <a:pt x="431" y="384"/>
                  </a:lnTo>
                  <a:lnTo>
                    <a:pt x="429" y="386"/>
                  </a:lnTo>
                  <a:lnTo>
                    <a:pt x="429" y="388"/>
                  </a:lnTo>
                  <a:lnTo>
                    <a:pt x="427" y="390"/>
                  </a:lnTo>
                  <a:lnTo>
                    <a:pt x="427" y="391"/>
                  </a:lnTo>
                  <a:lnTo>
                    <a:pt x="431" y="426"/>
                  </a:lnTo>
                  <a:lnTo>
                    <a:pt x="431" y="426"/>
                  </a:lnTo>
                  <a:lnTo>
                    <a:pt x="431" y="430"/>
                  </a:lnTo>
                  <a:lnTo>
                    <a:pt x="431" y="433"/>
                  </a:lnTo>
                  <a:lnTo>
                    <a:pt x="431" y="435"/>
                  </a:lnTo>
                  <a:lnTo>
                    <a:pt x="431" y="439"/>
                  </a:lnTo>
                  <a:lnTo>
                    <a:pt x="431" y="443"/>
                  </a:lnTo>
                  <a:lnTo>
                    <a:pt x="431" y="447"/>
                  </a:lnTo>
                  <a:lnTo>
                    <a:pt x="431" y="451"/>
                  </a:lnTo>
                  <a:lnTo>
                    <a:pt x="429" y="454"/>
                  </a:lnTo>
                  <a:lnTo>
                    <a:pt x="429" y="454"/>
                  </a:lnTo>
                  <a:lnTo>
                    <a:pt x="427" y="456"/>
                  </a:lnTo>
                  <a:lnTo>
                    <a:pt x="425" y="458"/>
                  </a:lnTo>
                  <a:lnTo>
                    <a:pt x="424" y="460"/>
                  </a:lnTo>
                  <a:lnTo>
                    <a:pt x="422" y="460"/>
                  </a:lnTo>
                  <a:lnTo>
                    <a:pt x="418" y="460"/>
                  </a:lnTo>
                  <a:lnTo>
                    <a:pt x="416" y="460"/>
                  </a:lnTo>
                  <a:lnTo>
                    <a:pt x="412" y="460"/>
                  </a:lnTo>
                  <a:lnTo>
                    <a:pt x="408" y="460"/>
                  </a:lnTo>
                  <a:lnTo>
                    <a:pt x="408" y="460"/>
                  </a:lnTo>
                  <a:lnTo>
                    <a:pt x="406" y="460"/>
                  </a:lnTo>
                  <a:lnTo>
                    <a:pt x="403" y="464"/>
                  </a:lnTo>
                  <a:lnTo>
                    <a:pt x="399" y="468"/>
                  </a:lnTo>
                  <a:lnTo>
                    <a:pt x="393" y="472"/>
                  </a:lnTo>
                  <a:lnTo>
                    <a:pt x="387" y="475"/>
                  </a:lnTo>
                  <a:lnTo>
                    <a:pt x="382" y="481"/>
                  </a:lnTo>
                  <a:lnTo>
                    <a:pt x="378" y="485"/>
                  </a:lnTo>
                  <a:lnTo>
                    <a:pt x="378" y="489"/>
                  </a:lnTo>
                  <a:lnTo>
                    <a:pt x="378" y="489"/>
                  </a:lnTo>
                  <a:lnTo>
                    <a:pt x="378" y="491"/>
                  </a:lnTo>
                  <a:lnTo>
                    <a:pt x="378" y="493"/>
                  </a:lnTo>
                  <a:lnTo>
                    <a:pt x="380" y="494"/>
                  </a:lnTo>
                  <a:lnTo>
                    <a:pt x="382" y="496"/>
                  </a:lnTo>
                  <a:lnTo>
                    <a:pt x="382" y="496"/>
                  </a:lnTo>
                  <a:lnTo>
                    <a:pt x="382" y="498"/>
                  </a:lnTo>
                  <a:lnTo>
                    <a:pt x="380" y="500"/>
                  </a:lnTo>
                  <a:lnTo>
                    <a:pt x="380" y="502"/>
                  </a:lnTo>
                  <a:lnTo>
                    <a:pt x="378" y="504"/>
                  </a:lnTo>
                  <a:lnTo>
                    <a:pt x="378" y="506"/>
                  </a:lnTo>
                  <a:lnTo>
                    <a:pt x="378" y="508"/>
                  </a:lnTo>
                  <a:lnTo>
                    <a:pt x="378" y="510"/>
                  </a:lnTo>
                  <a:lnTo>
                    <a:pt x="378" y="512"/>
                  </a:lnTo>
                  <a:lnTo>
                    <a:pt x="378" y="512"/>
                  </a:lnTo>
                  <a:lnTo>
                    <a:pt x="378" y="515"/>
                  </a:lnTo>
                  <a:lnTo>
                    <a:pt x="378" y="517"/>
                  </a:lnTo>
                  <a:lnTo>
                    <a:pt x="378" y="521"/>
                  </a:lnTo>
                  <a:lnTo>
                    <a:pt x="378" y="523"/>
                  </a:lnTo>
                  <a:lnTo>
                    <a:pt x="378" y="523"/>
                  </a:lnTo>
                  <a:lnTo>
                    <a:pt x="372" y="519"/>
                  </a:lnTo>
                  <a:lnTo>
                    <a:pt x="364" y="515"/>
                  </a:lnTo>
                  <a:lnTo>
                    <a:pt x="357" y="506"/>
                  </a:lnTo>
                  <a:lnTo>
                    <a:pt x="349" y="496"/>
                  </a:lnTo>
                  <a:lnTo>
                    <a:pt x="341" y="487"/>
                  </a:lnTo>
                  <a:lnTo>
                    <a:pt x="336" y="475"/>
                  </a:lnTo>
                  <a:lnTo>
                    <a:pt x="332" y="466"/>
                  </a:lnTo>
                  <a:lnTo>
                    <a:pt x="330" y="458"/>
                  </a:lnTo>
                  <a:lnTo>
                    <a:pt x="330" y="458"/>
                  </a:lnTo>
                  <a:lnTo>
                    <a:pt x="330" y="454"/>
                  </a:lnTo>
                  <a:lnTo>
                    <a:pt x="330" y="449"/>
                  </a:lnTo>
                  <a:lnTo>
                    <a:pt x="332" y="445"/>
                  </a:lnTo>
                  <a:lnTo>
                    <a:pt x="334" y="441"/>
                  </a:lnTo>
                  <a:lnTo>
                    <a:pt x="336" y="435"/>
                  </a:lnTo>
                  <a:lnTo>
                    <a:pt x="338" y="432"/>
                  </a:lnTo>
                  <a:lnTo>
                    <a:pt x="340" y="428"/>
                  </a:lnTo>
                  <a:lnTo>
                    <a:pt x="341" y="422"/>
                  </a:lnTo>
                  <a:lnTo>
                    <a:pt x="343" y="418"/>
                  </a:lnTo>
                  <a:lnTo>
                    <a:pt x="347" y="414"/>
                  </a:lnTo>
                  <a:lnTo>
                    <a:pt x="349" y="411"/>
                  </a:lnTo>
                  <a:lnTo>
                    <a:pt x="351" y="405"/>
                  </a:lnTo>
                  <a:lnTo>
                    <a:pt x="351" y="401"/>
                  </a:lnTo>
                  <a:lnTo>
                    <a:pt x="353" y="395"/>
                  </a:lnTo>
                  <a:lnTo>
                    <a:pt x="353" y="391"/>
                  </a:lnTo>
                  <a:lnTo>
                    <a:pt x="353" y="386"/>
                  </a:lnTo>
                  <a:lnTo>
                    <a:pt x="353" y="386"/>
                  </a:lnTo>
                  <a:lnTo>
                    <a:pt x="353" y="376"/>
                  </a:lnTo>
                  <a:lnTo>
                    <a:pt x="351" y="367"/>
                  </a:lnTo>
                  <a:lnTo>
                    <a:pt x="347" y="357"/>
                  </a:lnTo>
                  <a:lnTo>
                    <a:pt x="343" y="346"/>
                  </a:lnTo>
                  <a:lnTo>
                    <a:pt x="338" y="338"/>
                  </a:lnTo>
                  <a:lnTo>
                    <a:pt x="330" y="330"/>
                  </a:lnTo>
                  <a:lnTo>
                    <a:pt x="322" y="325"/>
                  </a:lnTo>
                  <a:lnTo>
                    <a:pt x="315" y="323"/>
                  </a:lnTo>
                  <a:lnTo>
                    <a:pt x="315" y="323"/>
                  </a:lnTo>
                  <a:lnTo>
                    <a:pt x="309" y="325"/>
                  </a:lnTo>
                  <a:lnTo>
                    <a:pt x="305" y="327"/>
                  </a:lnTo>
                  <a:lnTo>
                    <a:pt x="301" y="328"/>
                  </a:lnTo>
                  <a:lnTo>
                    <a:pt x="298" y="332"/>
                  </a:lnTo>
                  <a:lnTo>
                    <a:pt x="294" y="334"/>
                  </a:lnTo>
                  <a:lnTo>
                    <a:pt x="290" y="338"/>
                  </a:lnTo>
                  <a:lnTo>
                    <a:pt x="286" y="340"/>
                  </a:lnTo>
                  <a:lnTo>
                    <a:pt x="282" y="340"/>
                  </a:lnTo>
                  <a:lnTo>
                    <a:pt x="282" y="340"/>
                  </a:lnTo>
                  <a:lnTo>
                    <a:pt x="277" y="338"/>
                  </a:lnTo>
                  <a:lnTo>
                    <a:pt x="273" y="334"/>
                  </a:lnTo>
                  <a:lnTo>
                    <a:pt x="267" y="328"/>
                  </a:lnTo>
                  <a:lnTo>
                    <a:pt x="263" y="321"/>
                  </a:lnTo>
                  <a:lnTo>
                    <a:pt x="258" y="313"/>
                  </a:lnTo>
                  <a:lnTo>
                    <a:pt x="254" y="308"/>
                  </a:lnTo>
                  <a:lnTo>
                    <a:pt x="250" y="302"/>
                  </a:lnTo>
                  <a:lnTo>
                    <a:pt x="248" y="298"/>
                  </a:lnTo>
                  <a:lnTo>
                    <a:pt x="248" y="298"/>
                  </a:lnTo>
                  <a:lnTo>
                    <a:pt x="242" y="302"/>
                  </a:lnTo>
                  <a:lnTo>
                    <a:pt x="235" y="304"/>
                  </a:lnTo>
                  <a:lnTo>
                    <a:pt x="225" y="306"/>
                  </a:lnTo>
                  <a:lnTo>
                    <a:pt x="217" y="309"/>
                  </a:lnTo>
                  <a:lnTo>
                    <a:pt x="210" y="311"/>
                  </a:lnTo>
                  <a:lnTo>
                    <a:pt x="202" y="315"/>
                  </a:lnTo>
                  <a:lnTo>
                    <a:pt x="195" y="317"/>
                  </a:lnTo>
                  <a:lnTo>
                    <a:pt x="185" y="319"/>
                  </a:lnTo>
                  <a:lnTo>
                    <a:pt x="177" y="323"/>
                  </a:lnTo>
                  <a:lnTo>
                    <a:pt x="170" y="325"/>
                  </a:lnTo>
                  <a:lnTo>
                    <a:pt x="160" y="328"/>
                  </a:lnTo>
                  <a:lnTo>
                    <a:pt x="153" y="330"/>
                  </a:lnTo>
                  <a:lnTo>
                    <a:pt x="145" y="332"/>
                  </a:lnTo>
                  <a:lnTo>
                    <a:pt x="137" y="336"/>
                  </a:lnTo>
                  <a:lnTo>
                    <a:pt x="130" y="338"/>
                  </a:lnTo>
                  <a:lnTo>
                    <a:pt x="122" y="338"/>
                  </a:lnTo>
                  <a:lnTo>
                    <a:pt x="122" y="338"/>
                  </a:lnTo>
                  <a:lnTo>
                    <a:pt x="116" y="340"/>
                  </a:lnTo>
                  <a:lnTo>
                    <a:pt x="111" y="342"/>
                  </a:lnTo>
                  <a:lnTo>
                    <a:pt x="107" y="344"/>
                  </a:lnTo>
                  <a:lnTo>
                    <a:pt x="101" y="344"/>
                  </a:lnTo>
                  <a:lnTo>
                    <a:pt x="95" y="346"/>
                  </a:lnTo>
                  <a:lnTo>
                    <a:pt x="92" y="348"/>
                  </a:lnTo>
                  <a:lnTo>
                    <a:pt x="86" y="349"/>
                  </a:lnTo>
                  <a:lnTo>
                    <a:pt x="82" y="351"/>
                  </a:lnTo>
                  <a:lnTo>
                    <a:pt x="76" y="353"/>
                  </a:lnTo>
                  <a:lnTo>
                    <a:pt x="73" y="355"/>
                  </a:lnTo>
                  <a:lnTo>
                    <a:pt x="67" y="357"/>
                  </a:lnTo>
                  <a:lnTo>
                    <a:pt x="63" y="359"/>
                  </a:lnTo>
                  <a:lnTo>
                    <a:pt x="57" y="361"/>
                  </a:lnTo>
                  <a:lnTo>
                    <a:pt x="52" y="363"/>
                  </a:lnTo>
                  <a:lnTo>
                    <a:pt x="46" y="365"/>
                  </a:lnTo>
                  <a:lnTo>
                    <a:pt x="40" y="367"/>
                  </a:lnTo>
                  <a:lnTo>
                    <a:pt x="40" y="367"/>
                  </a:lnTo>
                  <a:lnTo>
                    <a:pt x="38" y="367"/>
                  </a:lnTo>
                  <a:lnTo>
                    <a:pt x="32" y="369"/>
                  </a:lnTo>
                  <a:lnTo>
                    <a:pt x="29" y="372"/>
                  </a:lnTo>
                  <a:lnTo>
                    <a:pt x="23" y="374"/>
                  </a:lnTo>
                  <a:lnTo>
                    <a:pt x="17" y="376"/>
                  </a:lnTo>
                  <a:lnTo>
                    <a:pt x="11" y="380"/>
                  </a:lnTo>
                  <a:lnTo>
                    <a:pt x="6" y="382"/>
                  </a:lnTo>
                  <a:lnTo>
                    <a:pt x="0" y="382"/>
                  </a:lnTo>
                  <a:lnTo>
                    <a:pt x="0" y="393"/>
                  </a:lnTo>
                  <a:lnTo>
                    <a:pt x="0" y="393"/>
                  </a:lnTo>
                  <a:lnTo>
                    <a:pt x="0" y="395"/>
                  </a:lnTo>
                  <a:lnTo>
                    <a:pt x="2" y="399"/>
                  </a:lnTo>
                  <a:lnTo>
                    <a:pt x="2" y="401"/>
                  </a:lnTo>
                  <a:lnTo>
                    <a:pt x="4" y="405"/>
                  </a:lnTo>
                  <a:lnTo>
                    <a:pt x="4" y="407"/>
                  </a:lnTo>
                  <a:lnTo>
                    <a:pt x="6" y="411"/>
                  </a:lnTo>
                  <a:lnTo>
                    <a:pt x="6" y="414"/>
                  </a:lnTo>
                  <a:lnTo>
                    <a:pt x="6" y="416"/>
                  </a:lnTo>
                  <a:lnTo>
                    <a:pt x="6" y="416"/>
                  </a:lnTo>
                  <a:lnTo>
                    <a:pt x="6" y="418"/>
                  </a:lnTo>
                  <a:lnTo>
                    <a:pt x="8" y="418"/>
                  </a:lnTo>
                  <a:lnTo>
                    <a:pt x="8" y="420"/>
                  </a:lnTo>
                  <a:lnTo>
                    <a:pt x="8" y="422"/>
                  </a:lnTo>
                  <a:lnTo>
                    <a:pt x="8" y="424"/>
                  </a:lnTo>
                  <a:lnTo>
                    <a:pt x="8" y="428"/>
                  </a:lnTo>
                  <a:lnTo>
                    <a:pt x="8" y="430"/>
                  </a:lnTo>
                  <a:lnTo>
                    <a:pt x="8" y="433"/>
                  </a:lnTo>
                  <a:lnTo>
                    <a:pt x="8" y="433"/>
                  </a:lnTo>
                  <a:lnTo>
                    <a:pt x="10" y="433"/>
                  </a:lnTo>
                  <a:lnTo>
                    <a:pt x="11" y="432"/>
                  </a:lnTo>
                  <a:lnTo>
                    <a:pt x="13" y="432"/>
                  </a:lnTo>
                  <a:lnTo>
                    <a:pt x="15" y="432"/>
                  </a:lnTo>
                  <a:lnTo>
                    <a:pt x="15" y="470"/>
                  </a:lnTo>
                  <a:lnTo>
                    <a:pt x="82" y="470"/>
                  </a:lnTo>
                  <a:lnTo>
                    <a:pt x="82" y="470"/>
                  </a:lnTo>
                  <a:lnTo>
                    <a:pt x="88" y="479"/>
                  </a:lnTo>
                  <a:lnTo>
                    <a:pt x="94" y="485"/>
                  </a:lnTo>
                  <a:lnTo>
                    <a:pt x="101" y="491"/>
                  </a:lnTo>
                  <a:lnTo>
                    <a:pt x="111" y="496"/>
                  </a:lnTo>
                  <a:lnTo>
                    <a:pt x="120" y="500"/>
                  </a:lnTo>
                  <a:lnTo>
                    <a:pt x="132" y="504"/>
                  </a:lnTo>
                  <a:lnTo>
                    <a:pt x="141" y="508"/>
                  </a:lnTo>
                  <a:lnTo>
                    <a:pt x="153" y="512"/>
                  </a:lnTo>
                  <a:lnTo>
                    <a:pt x="164" y="515"/>
                  </a:lnTo>
                  <a:lnTo>
                    <a:pt x="174" y="521"/>
                  </a:lnTo>
                  <a:lnTo>
                    <a:pt x="183" y="527"/>
                  </a:lnTo>
                  <a:lnTo>
                    <a:pt x="191" y="535"/>
                  </a:lnTo>
                  <a:lnTo>
                    <a:pt x="198" y="542"/>
                  </a:lnTo>
                  <a:lnTo>
                    <a:pt x="202" y="552"/>
                  </a:lnTo>
                  <a:lnTo>
                    <a:pt x="206" y="563"/>
                  </a:lnTo>
                  <a:lnTo>
                    <a:pt x="208" y="576"/>
                  </a:lnTo>
                  <a:lnTo>
                    <a:pt x="208" y="576"/>
                  </a:lnTo>
                  <a:lnTo>
                    <a:pt x="206" y="586"/>
                  </a:lnTo>
                  <a:lnTo>
                    <a:pt x="206" y="596"/>
                  </a:lnTo>
                  <a:lnTo>
                    <a:pt x="204" y="605"/>
                  </a:lnTo>
                  <a:lnTo>
                    <a:pt x="202" y="615"/>
                  </a:lnTo>
                  <a:lnTo>
                    <a:pt x="200" y="622"/>
                  </a:lnTo>
                  <a:lnTo>
                    <a:pt x="198" y="632"/>
                  </a:lnTo>
                  <a:lnTo>
                    <a:pt x="195" y="639"/>
                  </a:lnTo>
                  <a:lnTo>
                    <a:pt x="193" y="649"/>
                  </a:lnTo>
                  <a:lnTo>
                    <a:pt x="189" y="657"/>
                  </a:lnTo>
                  <a:lnTo>
                    <a:pt x="187" y="664"/>
                  </a:lnTo>
                  <a:lnTo>
                    <a:pt x="185" y="674"/>
                  </a:lnTo>
                  <a:lnTo>
                    <a:pt x="183" y="681"/>
                  </a:lnTo>
                  <a:lnTo>
                    <a:pt x="181" y="689"/>
                  </a:lnTo>
                  <a:lnTo>
                    <a:pt x="179" y="697"/>
                  </a:lnTo>
                  <a:lnTo>
                    <a:pt x="177" y="704"/>
                  </a:lnTo>
                  <a:lnTo>
                    <a:pt x="177" y="712"/>
                  </a:lnTo>
                  <a:lnTo>
                    <a:pt x="177" y="712"/>
                  </a:lnTo>
                  <a:lnTo>
                    <a:pt x="179" y="721"/>
                  </a:lnTo>
                  <a:lnTo>
                    <a:pt x="179" y="729"/>
                  </a:lnTo>
                  <a:lnTo>
                    <a:pt x="183" y="737"/>
                  </a:lnTo>
                  <a:lnTo>
                    <a:pt x="185" y="742"/>
                  </a:lnTo>
                  <a:lnTo>
                    <a:pt x="189" y="748"/>
                  </a:lnTo>
                  <a:lnTo>
                    <a:pt x="191" y="754"/>
                  </a:lnTo>
                  <a:lnTo>
                    <a:pt x="193" y="762"/>
                  </a:lnTo>
                  <a:lnTo>
                    <a:pt x="193" y="767"/>
                  </a:lnTo>
                  <a:lnTo>
                    <a:pt x="193" y="767"/>
                  </a:lnTo>
                  <a:lnTo>
                    <a:pt x="193" y="771"/>
                  </a:lnTo>
                  <a:lnTo>
                    <a:pt x="191" y="777"/>
                  </a:lnTo>
                  <a:lnTo>
                    <a:pt x="189" y="781"/>
                  </a:lnTo>
                  <a:lnTo>
                    <a:pt x="187" y="786"/>
                  </a:lnTo>
                  <a:lnTo>
                    <a:pt x="183" y="790"/>
                  </a:lnTo>
                  <a:lnTo>
                    <a:pt x="179" y="796"/>
                  </a:lnTo>
                  <a:lnTo>
                    <a:pt x="176" y="800"/>
                  </a:lnTo>
                  <a:lnTo>
                    <a:pt x="172" y="804"/>
                  </a:lnTo>
                  <a:lnTo>
                    <a:pt x="168" y="809"/>
                  </a:lnTo>
                  <a:lnTo>
                    <a:pt x="164" y="813"/>
                  </a:lnTo>
                  <a:lnTo>
                    <a:pt x="160" y="819"/>
                  </a:lnTo>
                  <a:lnTo>
                    <a:pt x="156" y="823"/>
                  </a:lnTo>
                  <a:lnTo>
                    <a:pt x="153" y="826"/>
                  </a:lnTo>
                  <a:lnTo>
                    <a:pt x="151" y="830"/>
                  </a:lnTo>
                  <a:lnTo>
                    <a:pt x="147" y="836"/>
                  </a:lnTo>
                  <a:lnTo>
                    <a:pt x="145" y="840"/>
                  </a:lnTo>
                  <a:lnTo>
                    <a:pt x="145" y="840"/>
                  </a:lnTo>
                  <a:lnTo>
                    <a:pt x="145" y="845"/>
                  </a:lnTo>
                  <a:lnTo>
                    <a:pt x="143" y="851"/>
                  </a:lnTo>
                  <a:lnTo>
                    <a:pt x="143" y="857"/>
                  </a:lnTo>
                  <a:lnTo>
                    <a:pt x="143" y="863"/>
                  </a:lnTo>
                  <a:lnTo>
                    <a:pt x="141" y="868"/>
                  </a:lnTo>
                  <a:lnTo>
                    <a:pt x="141" y="874"/>
                  </a:lnTo>
                  <a:lnTo>
                    <a:pt x="139" y="878"/>
                  </a:lnTo>
                  <a:lnTo>
                    <a:pt x="135" y="884"/>
                  </a:lnTo>
                  <a:lnTo>
                    <a:pt x="135" y="884"/>
                  </a:lnTo>
                  <a:lnTo>
                    <a:pt x="134" y="886"/>
                  </a:lnTo>
                  <a:lnTo>
                    <a:pt x="130" y="889"/>
                  </a:lnTo>
                  <a:lnTo>
                    <a:pt x="126" y="895"/>
                  </a:lnTo>
                  <a:lnTo>
                    <a:pt x="120" y="901"/>
                  </a:lnTo>
                  <a:lnTo>
                    <a:pt x="114" y="907"/>
                  </a:lnTo>
                  <a:lnTo>
                    <a:pt x="107" y="914"/>
                  </a:lnTo>
                  <a:lnTo>
                    <a:pt x="99" y="922"/>
                  </a:lnTo>
                  <a:lnTo>
                    <a:pt x="92" y="929"/>
                  </a:lnTo>
                  <a:lnTo>
                    <a:pt x="84" y="935"/>
                  </a:lnTo>
                  <a:lnTo>
                    <a:pt x="76" y="943"/>
                  </a:lnTo>
                  <a:lnTo>
                    <a:pt x="69" y="949"/>
                  </a:lnTo>
                  <a:lnTo>
                    <a:pt x="63" y="954"/>
                  </a:lnTo>
                  <a:lnTo>
                    <a:pt x="57" y="960"/>
                  </a:lnTo>
                  <a:lnTo>
                    <a:pt x="53" y="964"/>
                  </a:lnTo>
                  <a:lnTo>
                    <a:pt x="50" y="966"/>
                  </a:lnTo>
                  <a:lnTo>
                    <a:pt x="48" y="966"/>
                  </a:lnTo>
                  <a:lnTo>
                    <a:pt x="50" y="966"/>
                  </a:lnTo>
                  <a:lnTo>
                    <a:pt x="50" y="966"/>
                  </a:lnTo>
                  <a:lnTo>
                    <a:pt x="50" y="973"/>
                  </a:lnTo>
                  <a:lnTo>
                    <a:pt x="50" y="983"/>
                  </a:lnTo>
                  <a:lnTo>
                    <a:pt x="52" y="990"/>
                  </a:lnTo>
                  <a:lnTo>
                    <a:pt x="53" y="998"/>
                  </a:lnTo>
                  <a:lnTo>
                    <a:pt x="55" y="1008"/>
                  </a:lnTo>
                  <a:lnTo>
                    <a:pt x="57" y="1015"/>
                  </a:lnTo>
                  <a:lnTo>
                    <a:pt x="59" y="1023"/>
                  </a:lnTo>
                  <a:lnTo>
                    <a:pt x="61" y="1032"/>
                  </a:lnTo>
                  <a:lnTo>
                    <a:pt x="61" y="1044"/>
                  </a:lnTo>
                  <a:lnTo>
                    <a:pt x="61" y="1044"/>
                  </a:lnTo>
                  <a:lnTo>
                    <a:pt x="63" y="1048"/>
                  </a:lnTo>
                  <a:lnTo>
                    <a:pt x="65" y="1052"/>
                  </a:lnTo>
                  <a:lnTo>
                    <a:pt x="67" y="1057"/>
                  </a:lnTo>
                  <a:lnTo>
                    <a:pt x="71" y="1061"/>
                  </a:lnTo>
                  <a:lnTo>
                    <a:pt x="73" y="1065"/>
                  </a:lnTo>
                  <a:lnTo>
                    <a:pt x="74" y="1071"/>
                  </a:lnTo>
                  <a:lnTo>
                    <a:pt x="76" y="1074"/>
                  </a:lnTo>
                  <a:lnTo>
                    <a:pt x="78" y="1080"/>
                  </a:lnTo>
                  <a:lnTo>
                    <a:pt x="80" y="1086"/>
                  </a:lnTo>
                  <a:lnTo>
                    <a:pt x="82" y="1092"/>
                  </a:lnTo>
                  <a:lnTo>
                    <a:pt x="84" y="1097"/>
                  </a:lnTo>
                  <a:lnTo>
                    <a:pt x="86" y="1103"/>
                  </a:lnTo>
                  <a:lnTo>
                    <a:pt x="86" y="1109"/>
                  </a:lnTo>
                  <a:lnTo>
                    <a:pt x="88" y="1114"/>
                  </a:lnTo>
                  <a:lnTo>
                    <a:pt x="88" y="1120"/>
                  </a:lnTo>
                  <a:lnTo>
                    <a:pt x="88" y="1126"/>
                  </a:lnTo>
                  <a:lnTo>
                    <a:pt x="88" y="1126"/>
                  </a:lnTo>
                  <a:lnTo>
                    <a:pt x="88" y="1130"/>
                  </a:lnTo>
                  <a:lnTo>
                    <a:pt x="88" y="1134"/>
                  </a:lnTo>
                  <a:lnTo>
                    <a:pt x="88" y="1137"/>
                  </a:lnTo>
                  <a:lnTo>
                    <a:pt x="88" y="1141"/>
                  </a:lnTo>
                  <a:lnTo>
                    <a:pt x="88" y="1145"/>
                  </a:lnTo>
                  <a:lnTo>
                    <a:pt x="88" y="1151"/>
                  </a:lnTo>
                  <a:lnTo>
                    <a:pt x="88" y="1155"/>
                  </a:lnTo>
                  <a:lnTo>
                    <a:pt x="88" y="1158"/>
                  </a:lnTo>
                  <a:lnTo>
                    <a:pt x="88" y="1164"/>
                  </a:lnTo>
                  <a:lnTo>
                    <a:pt x="86" y="1168"/>
                  </a:lnTo>
                  <a:lnTo>
                    <a:pt x="86" y="1172"/>
                  </a:lnTo>
                  <a:lnTo>
                    <a:pt x="86" y="1177"/>
                  </a:lnTo>
                  <a:lnTo>
                    <a:pt x="84" y="1181"/>
                  </a:lnTo>
                  <a:lnTo>
                    <a:pt x="84" y="1185"/>
                  </a:lnTo>
                  <a:lnTo>
                    <a:pt x="82" y="1189"/>
                  </a:lnTo>
                  <a:lnTo>
                    <a:pt x="80" y="1193"/>
                  </a:lnTo>
                  <a:lnTo>
                    <a:pt x="80" y="1233"/>
                  </a:lnTo>
                  <a:lnTo>
                    <a:pt x="74" y="1240"/>
                  </a:lnTo>
                  <a:lnTo>
                    <a:pt x="74" y="1240"/>
                  </a:lnTo>
                  <a:lnTo>
                    <a:pt x="76" y="1244"/>
                  </a:lnTo>
                  <a:lnTo>
                    <a:pt x="76" y="1246"/>
                  </a:lnTo>
                  <a:lnTo>
                    <a:pt x="78" y="1250"/>
                  </a:lnTo>
                  <a:lnTo>
                    <a:pt x="80" y="1252"/>
                  </a:lnTo>
                  <a:lnTo>
                    <a:pt x="82" y="1256"/>
                  </a:lnTo>
                  <a:lnTo>
                    <a:pt x="82" y="1258"/>
                  </a:lnTo>
                  <a:lnTo>
                    <a:pt x="84" y="1261"/>
                  </a:lnTo>
                  <a:lnTo>
                    <a:pt x="84" y="1263"/>
                  </a:lnTo>
                  <a:lnTo>
                    <a:pt x="84" y="1263"/>
                  </a:lnTo>
                  <a:lnTo>
                    <a:pt x="84" y="1265"/>
                  </a:lnTo>
                  <a:lnTo>
                    <a:pt x="84" y="1267"/>
                  </a:lnTo>
                  <a:lnTo>
                    <a:pt x="84" y="1269"/>
                  </a:lnTo>
                  <a:lnTo>
                    <a:pt x="84" y="1273"/>
                  </a:lnTo>
                  <a:lnTo>
                    <a:pt x="84" y="1275"/>
                  </a:lnTo>
                  <a:lnTo>
                    <a:pt x="84" y="1279"/>
                  </a:lnTo>
                  <a:lnTo>
                    <a:pt x="84" y="1280"/>
                  </a:lnTo>
                  <a:lnTo>
                    <a:pt x="84" y="1284"/>
                  </a:lnTo>
                  <a:lnTo>
                    <a:pt x="84" y="1284"/>
                  </a:lnTo>
                  <a:lnTo>
                    <a:pt x="84" y="1294"/>
                  </a:lnTo>
                  <a:lnTo>
                    <a:pt x="86" y="1301"/>
                  </a:lnTo>
                  <a:lnTo>
                    <a:pt x="88" y="1309"/>
                  </a:lnTo>
                  <a:lnTo>
                    <a:pt x="90" y="1315"/>
                  </a:lnTo>
                  <a:lnTo>
                    <a:pt x="95" y="1321"/>
                  </a:lnTo>
                  <a:lnTo>
                    <a:pt x="101" y="1324"/>
                  </a:lnTo>
                  <a:lnTo>
                    <a:pt x="109" y="1326"/>
                  </a:lnTo>
                  <a:lnTo>
                    <a:pt x="118" y="1326"/>
                  </a:lnTo>
                  <a:lnTo>
                    <a:pt x="118" y="1326"/>
                  </a:lnTo>
                  <a:lnTo>
                    <a:pt x="130" y="1326"/>
                  </a:lnTo>
                  <a:lnTo>
                    <a:pt x="139" y="1322"/>
                  </a:lnTo>
                  <a:lnTo>
                    <a:pt x="145" y="1315"/>
                  </a:lnTo>
                  <a:lnTo>
                    <a:pt x="149" y="1307"/>
                  </a:lnTo>
                  <a:lnTo>
                    <a:pt x="151" y="1300"/>
                  </a:lnTo>
                  <a:lnTo>
                    <a:pt x="151" y="1290"/>
                  </a:lnTo>
                  <a:lnTo>
                    <a:pt x="155" y="1282"/>
                  </a:lnTo>
                  <a:lnTo>
                    <a:pt x="156" y="1273"/>
                  </a:lnTo>
                  <a:lnTo>
                    <a:pt x="156" y="1273"/>
                  </a:lnTo>
                  <a:lnTo>
                    <a:pt x="153" y="1273"/>
                  </a:lnTo>
                  <a:lnTo>
                    <a:pt x="151" y="1273"/>
                  </a:lnTo>
                  <a:lnTo>
                    <a:pt x="149" y="1271"/>
                  </a:lnTo>
                  <a:lnTo>
                    <a:pt x="145" y="1269"/>
                  </a:lnTo>
                  <a:lnTo>
                    <a:pt x="143" y="1267"/>
                  </a:lnTo>
                  <a:lnTo>
                    <a:pt x="141" y="1265"/>
                  </a:lnTo>
                  <a:lnTo>
                    <a:pt x="139" y="1261"/>
                  </a:lnTo>
                  <a:lnTo>
                    <a:pt x="139" y="1258"/>
                  </a:lnTo>
                  <a:lnTo>
                    <a:pt x="139" y="1258"/>
                  </a:lnTo>
                  <a:lnTo>
                    <a:pt x="141" y="1250"/>
                  </a:lnTo>
                  <a:lnTo>
                    <a:pt x="143" y="1242"/>
                  </a:lnTo>
                  <a:lnTo>
                    <a:pt x="147" y="1237"/>
                  </a:lnTo>
                  <a:lnTo>
                    <a:pt x="153" y="1233"/>
                  </a:lnTo>
                  <a:lnTo>
                    <a:pt x="158" y="1227"/>
                  </a:lnTo>
                  <a:lnTo>
                    <a:pt x="164" y="1223"/>
                  </a:lnTo>
                  <a:lnTo>
                    <a:pt x="170" y="1217"/>
                  </a:lnTo>
                  <a:lnTo>
                    <a:pt x="176" y="1214"/>
                  </a:lnTo>
                  <a:lnTo>
                    <a:pt x="176" y="1214"/>
                  </a:lnTo>
                  <a:lnTo>
                    <a:pt x="181" y="1210"/>
                  </a:lnTo>
                  <a:lnTo>
                    <a:pt x="185" y="1206"/>
                  </a:lnTo>
                  <a:lnTo>
                    <a:pt x="191" y="1202"/>
                  </a:lnTo>
                  <a:lnTo>
                    <a:pt x="195" y="1198"/>
                  </a:lnTo>
                  <a:lnTo>
                    <a:pt x="200" y="1197"/>
                  </a:lnTo>
                  <a:lnTo>
                    <a:pt x="204" y="1193"/>
                  </a:lnTo>
                  <a:lnTo>
                    <a:pt x="210" y="1191"/>
                  </a:lnTo>
                  <a:lnTo>
                    <a:pt x="216" y="1189"/>
                  </a:lnTo>
                  <a:lnTo>
                    <a:pt x="221" y="1187"/>
                  </a:lnTo>
                  <a:lnTo>
                    <a:pt x="227" y="1185"/>
                  </a:lnTo>
                  <a:lnTo>
                    <a:pt x="233" y="1183"/>
                  </a:lnTo>
                  <a:lnTo>
                    <a:pt x="238" y="1181"/>
                  </a:lnTo>
                  <a:lnTo>
                    <a:pt x="244" y="1179"/>
                  </a:lnTo>
                  <a:lnTo>
                    <a:pt x="250" y="1177"/>
                  </a:lnTo>
                  <a:lnTo>
                    <a:pt x="258" y="1176"/>
                  </a:lnTo>
                  <a:lnTo>
                    <a:pt x="263" y="1174"/>
                  </a:lnTo>
                  <a:lnTo>
                    <a:pt x="263" y="1174"/>
                  </a:lnTo>
                  <a:lnTo>
                    <a:pt x="271" y="1172"/>
                  </a:lnTo>
                  <a:lnTo>
                    <a:pt x="279" y="1170"/>
                  </a:lnTo>
                  <a:lnTo>
                    <a:pt x="284" y="1168"/>
                  </a:lnTo>
                  <a:lnTo>
                    <a:pt x="292" y="1164"/>
                  </a:lnTo>
                  <a:lnTo>
                    <a:pt x="298" y="1162"/>
                  </a:lnTo>
                  <a:lnTo>
                    <a:pt x="305" y="1160"/>
                  </a:lnTo>
                  <a:lnTo>
                    <a:pt x="311" y="1156"/>
                  </a:lnTo>
                  <a:lnTo>
                    <a:pt x="317" y="1153"/>
                  </a:lnTo>
                  <a:lnTo>
                    <a:pt x="322" y="1149"/>
                  </a:lnTo>
                  <a:lnTo>
                    <a:pt x="328" y="1147"/>
                  </a:lnTo>
                  <a:lnTo>
                    <a:pt x="334" y="1141"/>
                  </a:lnTo>
                  <a:lnTo>
                    <a:pt x="338" y="1139"/>
                  </a:lnTo>
                  <a:lnTo>
                    <a:pt x="343" y="1134"/>
                  </a:lnTo>
                  <a:lnTo>
                    <a:pt x="347" y="1130"/>
                  </a:lnTo>
                  <a:lnTo>
                    <a:pt x="351" y="1126"/>
                  </a:lnTo>
                  <a:lnTo>
                    <a:pt x="355" y="1122"/>
                  </a:lnTo>
                  <a:lnTo>
                    <a:pt x="355" y="1122"/>
                  </a:lnTo>
                  <a:lnTo>
                    <a:pt x="359" y="1116"/>
                  </a:lnTo>
                  <a:lnTo>
                    <a:pt x="361" y="1113"/>
                  </a:lnTo>
                  <a:lnTo>
                    <a:pt x="362" y="1111"/>
                  </a:lnTo>
                  <a:lnTo>
                    <a:pt x="364" y="1107"/>
                  </a:lnTo>
                  <a:lnTo>
                    <a:pt x="364" y="1101"/>
                  </a:lnTo>
                  <a:lnTo>
                    <a:pt x="364" y="1097"/>
                  </a:lnTo>
                  <a:lnTo>
                    <a:pt x="364" y="1092"/>
                  </a:lnTo>
                  <a:lnTo>
                    <a:pt x="362" y="1084"/>
                  </a:lnTo>
                  <a:lnTo>
                    <a:pt x="362" y="1084"/>
                  </a:lnTo>
                  <a:lnTo>
                    <a:pt x="361" y="1073"/>
                  </a:lnTo>
                  <a:lnTo>
                    <a:pt x="361" y="1061"/>
                  </a:lnTo>
                  <a:lnTo>
                    <a:pt x="362" y="1053"/>
                  </a:lnTo>
                  <a:lnTo>
                    <a:pt x="362" y="1048"/>
                  </a:lnTo>
                  <a:lnTo>
                    <a:pt x="366" y="1042"/>
                  </a:lnTo>
                  <a:lnTo>
                    <a:pt x="368" y="1034"/>
                  </a:lnTo>
                  <a:lnTo>
                    <a:pt x="370" y="1029"/>
                  </a:lnTo>
                  <a:lnTo>
                    <a:pt x="370" y="1021"/>
                  </a:lnTo>
                  <a:lnTo>
                    <a:pt x="370" y="1021"/>
                  </a:lnTo>
                  <a:lnTo>
                    <a:pt x="370" y="1019"/>
                  </a:lnTo>
                  <a:lnTo>
                    <a:pt x="370" y="1017"/>
                  </a:lnTo>
                  <a:lnTo>
                    <a:pt x="370" y="1017"/>
                  </a:lnTo>
                  <a:lnTo>
                    <a:pt x="370" y="1013"/>
                  </a:lnTo>
                  <a:lnTo>
                    <a:pt x="370" y="1011"/>
                  </a:lnTo>
                  <a:lnTo>
                    <a:pt x="370" y="1010"/>
                  </a:lnTo>
                  <a:lnTo>
                    <a:pt x="370" y="1008"/>
                  </a:lnTo>
                  <a:lnTo>
                    <a:pt x="370" y="1004"/>
                  </a:lnTo>
                  <a:lnTo>
                    <a:pt x="370" y="1004"/>
                  </a:lnTo>
                  <a:lnTo>
                    <a:pt x="370" y="1000"/>
                  </a:lnTo>
                  <a:lnTo>
                    <a:pt x="370" y="996"/>
                  </a:lnTo>
                  <a:lnTo>
                    <a:pt x="372" y="992"/>
                  </a:lnTo>
                  <a:lnTo>
                    <a:pt x="372" y="989"/>
                  </a:lnTo>
                  <a:lnTo>
                    <a:pt x="372" y="987"/>
                  </a:lnTo>
                  <a:lnTo>
                    <a:pt x="374" y="981"/>
                  </a:lnTo>
                  <a:lnTo>
                    <a:pt x="376" y="977"/>
                  </a:lnTo>
                  <a:lnTo>
                    <a:pt x="378" y="973"/>
                  </a:lnTo>
                  <a:lnTo>
                    <a:pt x="378" y="960"/>
                  </a:lnTo>
                  <a:lnTo>
                    <a:pt x="378" y="960"/>
                  </a:lnTo>
                  <a:lnTo>
                    <a:pt x="374" y="960"/>
                  </a:lnTo>
                  <a:lnTo>
                    <a:pt x="372" y="960"/>
                  </a:lnTo>
                  <a:lnTo>
                    <a:pt x="368" y="960"/>
                  </a:lnTo>
                  <a:lnTo>
                    <a:pt x="366" y="960"/>
                  </a:lnTo>
                  <a:lnTo>
                    <a:pt x="366" y="920"/>
                  </a:lnTo>
                  <a:lnTo>
                    <a:pt x="366" y="920"/>
                  </a:lnTo>
                  <a:lnTo>
                    <a:pt x="362" y="916"/>
                  </a:lnTo>
                  <a:lnTo>
                    <a:pt x="359" y="910"/>
                  </a:lnTo>
                  <a:lnTo>
                    <a:pt x="357" y="903"/>
                  </a:lnTo>
                  <a:lnTo>
                    <a:pt x="357" y="895"/>
                  </a:lnTo>
                  <a:lnTo>
                    <a:pt x="357" y="889"/>
                  </a:lnTo>
                  <a:lnTo>
                    <a:pt x="357" y="880"/>
                  </a:lnTo>
                  <a:lnTo>
                    <a:pt x="357" y="872"/>
                  </a:lnTo>
                  <a:lnTo>
                    <a:pt x="357" y="865"/>
                  </a:lnTo>
                  <a:lnTo>
                    <a:pt x="357" y="865"/>
                  </a:lnTo>
                  <a:lnTo>
                    <a:pt x="355" y="857"/>
                  </a:lnTo>
                  <a:lnTo>
                    <a:pt x="353" y="851"/>
                  </a:lnTo>
                  <a:lnTo>
                    <a:pt x="347" y="845"/>
                  </a:lnTo>
                  <a:lnTo>
                    <a:pt x="343" y="840"/>
                  </a:lnTo>
                  <a:lnTo>
                    <a:pt x="340" y="836"/>
                  </a:lnTo>
                  <a:lnTo>
                    <a:pt x="334" y="830"/>
                  </a:lnTo>
                  <a:lnTo>
                    <a:pt x="332" y="824"/>
                  </a:lnTo>
                  <a:lnTo>
                    <a:pt x="332" y="819"/>
                  </a:lnTo>
                  <a:lnTo>
                    <a:pt x="332" y="819"/>
                  </a:lnTo>
                  <a:lnTo>
                    <a:pt x="332" y="817"/>
                  </a:lnTo>
                  <a:lnTo>
                    <a:pt x="332" y="815"/>
                  </a:lnTo>
                  <a:lnTo>
                    <a:pt x="332" y="811"/>
                  </a:lnTo>
                  <a:lnTo>
                    <a:pt x="332" y="809"/>
                  </a:lnTo>
                  <a:lnTo>
                    <a:pt x="336" y="783"/>
                  </a:lnTo>
                  <a:lnTo>
                    <a:pt x="336" y="783"/>
                  </a:lnTo>
                  <a:lnTo>
                    <a:pt x="338" y="779"/>
                  </a:lnTo>
                  <a:lnTo>
                    <a:pt x="341" y="775"/>
                  </a:lnTo>
                  <a:lnTo>
                    <a:pt x="345" y="773"/>
                  </a:lnTo>
                  <a:lnTo>
                    <a:pt x="349" y="769"/>
                  </a:lnTo>
                  <a:lnTo>
                    <a:pt x="355" y="767"/>
                  </a:lnTo>
                  <a:lnTo>
                    <a:pt x="361" y="763"/>
                  </a:lnTo>
                  <a:lnTo>
                    <a:pt x="366" y="760"/>
                  </a:lnTo>
                  <a:lnTo>
                    <a:pt x="372" y="756"/>
                  </a:lnTo>
                  <a:lnTo>
                    <a:pt x="372" y="756"/>
                  </a:lnTo>
                  <a:lnTo>
                    <a:pt x="378" y="750"/>
                  </a:lnTo>
                  <a:lnTo>
                    <a:pt x="385" y="742"/>
                  </a:lnTo>
                  <a:lnTo>
                    <a:pt x="393" y="737"/>
                  </a:lnTo>
                  <a:lnTo>
                    <a:pt x="403" y="731"/>
                  </a:lnTo>
                  <a:lnTo>
                    <a:pt x="412" y="723"/>
                  </a:lnTo>
                  <a:lnTo>
                    <a:pt x="422" y="718"/>
                  </a:lnTo>
                  <a:lnTo>
                    <a:pt x="429" y="712"/>
                  </a:lnTo>
                  <a:lnTo>
                    <a:pt x="437" y="708"/>
                  </a:lnTo>
                  <a:lnTo>
                    <a:pt x="437" y="708"/>
                  </a:lnTo>
                  <a:lnTo>
                    <a:pt x="444" y="702"/>
                  </a:lnTo>
                  <a:lnTo>
                    <a:pt x="452" y="697"/>
                  </a:lnTo>
                  <a:lnTo>
                    <a:pt x="460" y="691"/>
                  </a:lnTo>
                  <a:lnTo>
                    <a:pt x="467" y="685"/>
                  </a:lnTo>
                  <a:lnTo>
                    <a:pt x="475" y="680"/>
                  </a:lnTo>
                  <a:lnTo>
                    <a:pt x="481" y="674"/>
                  </a:lnTo>
                  <a:lnTo>
                    <a:pt x="488" y="668"/>
                  </a:lnTo>
                  <a:lnTo>
                    <a:pt x="496" y="662"/>
                  </a:lnTo>
                  <a:lnTo>
                    <a:pt x="502" y="657"/>
                  </a:lnTo>
                  <a:lnTo>
                    <a:pt x="509" y="649"/>
                  </a:lnTo>
                  <a:lnTo>
                    <a:pt x="515" y="643"/>
                  </a:lnTo>
                  <a:lnTo>
                    <a:pt x="523" y="636"/>
                  </a:lnTo>
                  <a:lnTo>
                    <a:pt x="530" y="630"/>
                  </a:lnTo>
                  <a:lnTo>
                    <a:pt x="536" y="622"/>
                  </a:lnTo>
                  <a:lnTo>
                    <a:pt x="544" y="615"/>
                  </a:lnTo>
                  <a:lnTo>
                    <a:pt x="551" y="607"/>
                  </a:lnTo>
                  <a:lnTo>
                    <a:pt x="551" y="607"/>
                  </a:lnTo>
                  <a:lnTo>
                    <a:pt x="559" y="601"/>
                  </a:lnTo>
                  <a:lnTo>
                    <a:pt x="565" y="596"/>
                  </a:lnTo>
                  <a:lnTo>
                    <a:pt x="574" y="590"/>
                  </a:lnTo>
                  <a:lnTo>
                    <a:pt x="582" y="586"/>
                  </a:lnTo>
                  <a:lnTo>
                    <a:pt x="589" y="580"/>
                  </a:lnTo>
                  <a:lnTo>
                    <a:pt x="599" y="576"/>
                  </a:lnTo>
                  <a:lnTo>
                    <a:pt x="609" y="573"/>
                  </a:lnTo>
                  <a:lnTo>
                    <a:pt x="618" y="569"/>
                  </a:lnTo>
                  <a:lnTo>
                    <a:pt x="628" y="565"/>
                  </a:lnTo>
                  <a:lnTo>
                    <a:pt x="637" y="561"/>
                  </a:lnTo>
                  <a:lnTo>
                    <a:pt x="647" y="557"/>
                  </a:lnTo>
                  <a:lnTo>
                    <a:pt x="656" y="554"/>
                  </a:lnTo>
                  <a:lnTo>
                    <a:pt x="666" y="550"/>
                  </a:lnTo>
                  <a:lnTo>
                    <a:pt x="675" y="546"/>
                  </a:lnTo>
                  <a:lnTo>
                    <a:pt x="683" y="542"/>
                  </a:lnTo>
                  <a:lnTo>
                    <a:pt x="692" y="538"/>
                  </a:lnTo>
                  <a:lnTo>
                    <a:pt x="692" y="538"/>
                  </a:lnTo>
                  <a:lnTo>
                    <a:pt x="696" y="535"/>
                  </a:lnTo>
                  <a:lnTo>
                    <a:pt x="704" y="531"/>
                  </a:lnTo>
                  <a:lnTo>
                    <a:pt x="713" y="527"/>
                  </a:lnTo>
                  <a:lnTo>
                    <a:pt x="723" y="521"/>
                  </a:lnTo>
                  <a:lnTo>
                    <a:pt x="733" y="515"/>
                  </a:lnTo>
                  <a:lnTo>
                    <a:pt x="740" y="510"/>
                  </a:lnTo>
                  <a:lnTo>
                    <a:pt x="746" y="504"/>
                  </a:lnTo>
                  <a:lnTo>
                    <a:pt x="750" y="500"/>
                  </a:lnTo>
                  <a:lnTo>
                    <a:pt x="750" y="500"/>
                  </a:lnTo>
                  <a:lnTo>
                    <a:pt x="754" y="493"/>
                  </a:lnTo>
                  <a:lnTo>
                    <a:pt x="757" y="485"/>
                  </a:lnTo>
                  <a:lnTo>
                    <a:pt x="763" y="479"/>
                  </a:lnTo>
                  <a:lnTo>
                    <a:pt x="767" y="472"/>
                  </a:lnTo>
                  <a:lnTo>
                    <a:pt x="773" y="466"/>
                  </a:lnTo>
                  <a:lnTo>
                    <a:pt x="778" y="460"/>
                  </a:lnTo>
                  <a:lnTo>
                    <a:pt x="784" y="456"/>
                  </a:lnTo>
                  <a:lnTo>
                    <a:pt x="792" y="451"/>
                  </a:lnTo>
                  <a:lnTo>
                    <a:pt x="792" y="451"/>
                  </a:lnTo>
                  <a:lnTo>
                    <a:pt x="795" y="447"/>
                  </a:lnTo>
                  <a:lnTo>
                    <a:pt x="799" y="441"/>
                  </a:lnTo>
                  <a:lnTo>
                    <a:pt x="803" y="435"/>
                  </a:lnTo>
                  <a:lnTo>
                    <a:pt x="807" y="432"/>
                  </a:lnTo>
                  <a:lnTo>
                    <a:pt x="811" y="426"/>
                  </a:lnTo>
                  <a:lnTo>
                    <a:pt x="813" y="420"/>
                  </a:lnTo>
                  <a:lnTo>
                    <a:pt x="816" y="414"/>
                  </a:lnTo>
                  <a:lnTo>
                    <a:pt x="820" y="409"/>
                  </a:lnTo>
                  <a:lnTo>
                    <a:pt x="824" y="403"/>
                  </a:lnTo>
                  <a:lnTo>
                    <a:pt x="826" y="397"/>
                  </a:lnTo>
                  <a:lnTo>
                    <a:pt x="830" y="391"/>
                  </a:lnTo>
                  <a:lnTo>
                    <a:pt x="832" y="386"/>
                  </a:lnTo>
                  <a:lnTo>
                    <a:pt x="834" y="378"/>
                  </a:lnTo>
                  <a:lnTo>
                    <a:pt x="836" y="372"/>
                  </a:lnTo>
                  <a:lnTo>
                    <a:pt x="836" y="365"/>
                  </a:lnTo>
                  <a:lnTo>
                    <a:pt x="837" y="357"/>
                  </a:lnTo>
                  <a:lnTo>
                    <a:pt x="837" y="357"/>
                  </a:lnTo>
                  <a:lnTo>
                    <a:pt x="837" y="353"/>
                  </a:lnTo>
                  <a:lnTo>
                    <a:pt x="836" y="349"/>
                  </a:lnTo>
                  <a:lnTo>
                    <a:pt x="836" y="346"/>
                  </a:lnTo>
                  <a:lnTo>
                    <a:pt x="834" y="342"/>
                  </a:lnTo>
                  <a:lnTo>
                    <a:pt x="834" y="338"/>
                  </a:lnTo>
                  <a:lnTo>
                    <a:pt x="832" y="334"/>
                  </a:lnTo>
                  <a:lnTo>
                    <a:pt x="830" y="328"/>
                  </a:lnTo>
                  <a:lnTo>
                    <a:pt x="830" y="325"/>
                  </a:lnTo>
                  <a:lnTo>
                    <a:pt x="828" y="321"/>
                  </a:lnTo>
                  <a:lnTo>
                    <a:pt x="826" y="317"/>
                  </a:lnTo>
                  <a:lnTo>
                    <a:pt x="826" y="311"/>
                  </a:lnTo>
                  <a:lnTo>
                    <a:pt x="824" y="308"/>
                  </a:lnTo>
                  <a:lnTo>
                    <a:pt x="822" y="304"/>
                  </a:lnTo>
                  <a:lnTo>
                    <a:pt x="822" y="298"/>
                  </a:lnTo>
                  <a:lnTo>
                    <a:pt x="822" y="292"/>
                  </a:lnTo>
                  <a:lnTo>
                    <a:pt x="822" y="287"/>
                  </a:lnTo>
                  <a:lnTo>
                    <a:pt x="822" y="287"/>
                  </a:lnTo>
                  <a:lnTo>
                    <a:pt x="822" y="283"/>
                  </a:lnTo>
                  <a:lnTo>
                    <a:pt x="822" y="279"/>
                  </a:lnTo>
                  <a:lnTo>
                    <a:pt x="822" y="275"/>
                  </a:lnTo>
                  <a:lnTo>
                    <a:pt x="822" y="269"/>
                  </a:lnTo>
                  <a:lnTo>
                    <a:pt x="822" y="267"/>
                  </a:lnTo>
                  <a:lnTo>
                    <a:pt x="822" y="264"/>
                  </a:lnTo>
                  <a:lnTo>
                    <a:pt x="824" y="260"/>
                  </a:lnTo>
                  <a:lnTo>
                    <a:pt x="824" y="256"/>
                  </a:lnTo>
                  <a:lnTo>
                    <a:pt x="824" y="252"/>
                  </a:lnTo>
                  <a:lnTo>
                    <a:pt x="826" y="248"/>
                  </a:lnTo>
                  <a:lnTo>
                    <a:pt x="826" y="245"/>
                  </a:lnTo>
                  <a:lnTo>
                    <a:pt x="826" y="239"/>
                  </a:lnTo>
                  <a:lnTo>
                    <a:pt x="826" y="235"/>
                  </a:lnTo>
                  <a:lnTo>
                    <a:pt x="826" y="231"/>
                  </a:lnTo>
                  <a:lnTo>
                    <a:pt x="828" y="225"/>
                  </a:lnTo>
                  <a:lnTo>
                    <a:pt x="828" y="222"/>
                  </a:lnTo>
                  <a:lnTo>
                    <a:pt x="828" y="222"/>
                  </a:lnTo>
                  <a:lnTo>
                    <a:pt x="828" y="214"/>
                  </a:lnTo>
                  <a:lnTo>
                    <a:pt x="826" y="210"/>
                  </a:lnTo>
                  <a:lnTo>
                    <a:pt x="826" y="204"/>
                  </a:lnTo>
                  <a:lnTo>
                    <a:pt x="826" y="199"/>
                  </a:lnTo>
                  <a:lnTo>
                    <a:pt x="824" y="193"/>
                  </a:lnTo>
                  <a:lnTo>
                    <a:pt x="824" y="189"/>
                  </a:lnTo>
                  <a:lnTo>
                    <a:pt x="822" y="183"/>
                  </a:lnTo>
                  <a:lnTo>
                    <a:pt x="822" y="180"/>
                  </a:lnTo>
                  <a:lnTo>
                    <a:pt x="820" y="174"/>
                  </a:lnTo>
                  <a:lnTo>
                    <a:pt x="820" y="170"/>
                  </a:lnTo>
                  <a:lnTo>
                    <a:pt x="818" y="164"/>
                  </a:lnTo>
                  <a:lnTo>
                    <a:pt x="818" y="159"/>
                  </a:lnTo>
                  <a:lnTo>
                    <a:pt x="816" y="153"/>
                  </a:lnTo>
                  <a:lnTo>
                    <a:pt x="816" y="147"/>
                  </a:lnTo>
                  <a:lnTo>
                    <a:pt x="816" y="142"/>
                  </a:lnTo>
                  <a:lnTo>
                    <a:pt x="816" y="134"/>
                  </a:lnTo>
                  <a:lnTo>
                    <a:pt x="816" y="134"/>
                  </a:lnTo>
                  <a:lnTo>
                    <a:pt x="816" y="130"/>
                  </a:lnTo>
                  <a:lnTo>
                    <a:pt x="816" y="124"/>
                  </a:lnTo>
                  <a:lnTo>
                    <a:pt x="816" y="121"/>
                  </a:lnTo>
                  <a:lnTo>
                    <a:pt x="818" y="115"/>
                  </a:lnTo>
                  <a:lnTo>
                    <a:pt x="818" y="109"/>
                  </a:lnTo>
                  <a:lnTo>
                    <a:pt x="818" y="105"/>
                  </a:lnTo>
                  <a:lnTo>
                    <a:pt x="820" y="100"/>
                  </a:lnTo>
                  <a:lnTo>
                    <a:pt x="820" y="96"/>
                  </a:lnTo>
                  <a:lnTo>
                    <a:pt x="822" y="92"/>
                  </a:lnTo>
                  <a:lnTo>
                    <a:pt x="822" y="86"/>
                  </a:lnTo>
                  <a:lnTo>
                    <a:pt x="822" y="82"/>
                  </a:lnTo>
                  <a:lnTo>
                    <a:pt x="824" y="79"/>
                  </a:lnTo>
                  <a:lnTo>
                    <a:pt x="824" y="75"/>
                  </a:lnTo>
                  <a:lnTo>
                    <a:pt x="824" y="71"/>
                  </a:lnTo>
                  <a:lnTo>
                    <a:pt x="824" y="67"/>
                  </a:lnTo>
                  <a:lnTo>
                    <a:pt x="824" y="63"/>
                  </a:lnTo>
                  <a:lnTo>
                    <a:pt x="824" y="29"/>
                  </a:lnTo>
                  <a:lnTo>
                    <a:pt x="824" y="29"/>
                  </a:lnTo>
                  <a:lnTo>
                    <a:pt x="822" y="27"/>
                  </a:lnTo>
                  <a:lnTo>
                    <a:pt x="820" y="23"/>
                  </a:lnTo>
                  <a:lnTo>
                    <a:pt x="818" y="19"/>
                  </a:lnTo>
                  <a:lnTo>
                    <a:pt x="816" y="16"/>
                  </a:lnTo>
                  <a:lnTo>
                    <a:pt x="815" y="12"/>
                  </a:lnTo>
                  <a:lnTo>
                    <a:pt x="813" y="6"/>
                  </a:lnTo>
                  <a:lnTo>
                    <a:pt x="811" y="2"/>
                  </a:lnTo>
                  <a:lnTo>
                    <a:pt x="807" y="0"/>
                  </a:lnTo>
                  <a:lnTo>
                    <a:pt x="807" y="0"/>
                  </a:lnTo>
                  <a:lnTo>
                    <a:pt x="803" y="6"/>
                  </a:lnTo>
                  <a:lnTo>
                    <a:pt x="797" y="14"/>
                  </a:lnTo>
                  <a:lnTo>
                    <a:pt x="792" y="19"/>
                  </a:lnTo>
                  <a:lnTo>
                    <a:pt x="784" y="27"/>
                  </a:lnTo>
                  <a:lnTo>
                    <a:pt x="774" y="33"/>
                  </a:lnTo>
                  <a:lnTo>
                    <a:pt x="765" y="39"/>
                  </a:lnTo>
                  <a:lnTo>
                    <a:pt x="755" y="44"/>
                  </a:lnTo>
                  <a:lnTo>
                    <a:pt x="746" y="50"/>
                  </a:lnTo>
                  <a:lnTo>
                    <a:pt x="734" y="56"/>
                  </a:lnTo>
                  <a:lnTo>
                    <a:pt x="723" y="59"/>
                  </a:lnTo>
                  <a:lnTo>
                    <a:pt x="713" y="63"/>
                  </a:lnTo>
                  <a:lnTo>
                    <a:pt x="702" y="67"/>
                  </a:lnTo>
                  <a:lnTo>
                    <a:pt x="691" y="69"/>
                  </a:lnTo>
                  <a:lnTo>
                    <a:pt x="681" y="71"/>
                  </a:lnTo>
                  <a:lnTo>
                    <a:pt x="671" y="73"/>
                  </a:lnTo>
                  <a:lnTo>
                    <a:pt x="662" y="73"/>
                  </a:lnTo>
                  <a:lnTo>
                    <a:pt x="662" y="73"/>
                  </a:lnTo>
                  <a:lnTo>
                    <a:pt x="658" y="73"/>
                  </a:lnTo>
                  <a:lnTo>
                    <a:pt x="656" y="73"/>
                  </a:lnTo>
                  <a:lnTo>
                    <a:pt x="652" y="73"/>
                  </a:lnTo>
                  <a:lnTo>
                    <a:pt x="649" y="73"/>
                  </a:lnTo>
                  <a:lnTo>
                    <a:pt x="647" y="73"/>
                  </a:lnTo>
                  <a:lnTo>
                    <a:pt x="643" y="73"/>
                  </a:lnTo>
                  <a:lnTo>
                    <a:pt x="639" y="73"/>
                  </a:lnTo>
                  <a:lnTo>
                    <a:pt x="633" y="73"/>
                  </a:lnTo>
                  <a:lnTo>
                    <a:pt x="633" y="73"/>
                  </a:lnTo>
                  <a:lnTo>
                    <a:pt x="628" y="73"/>
                  </a:lnTo>
                  <a:lnTo>
                    <a:pt x="622" y="75"/>
                  </a:lnTo>
                  <a:lnTo>
                    <a:pt x="616" y="77"/>
                  </a:lnTo>
                  <a:lnTo>
                    <a:pt x="610" y="79"/>
                  </a:lnTo>
                  <a:lnTo>
                    <a:pt x="607" y="80"/>
                  </a:lnTo>
                  <a:lnTo>
                    <a:pt x="601" y="82"/>
                  </a:lnTo>
                  <a:lnTo>
                    <a:pt x="597" y="86"/>
                  </a:lnTo>
                  <a:lnTo>
                    <a:pt x="591" y="90"/>
                  </a:lnTo>
                  <a:lnTo>
                    <a:pt x="586" y="92"/>
                  </a:lnTo>
                  <a:lnTo>
                    <a:pt x="582" y="96"/>
                  </a:lnTo>
                  <a:lnTo>
                    <a:pt x="576" y="98"/>
                  </a:lnTo>
                  <a:lnTo>
                    <a:pt x="570" y="100"/>
                  </a:lnTo>
                  <a:lnTo>
                    <a:pt x="565" y="101"/>
                  </a:lnTo>
                  <a:lnTo>
                    <a:pt x="557" y="103"/>
                  </a:lnTo>
                  <a:lnTo>
                    <a:pt x="551" y="105"/>
                  </a:lnTo>
                  <a:lnTo>
                    <a:pt x="544" y="105"/>
                  </a:lnTo>
                  <a:lnTo>
                    <a:pt x="544" y="105"/>
                  </a:lnTo>
                  <a:lnTo>
                    <a:pt x="536" y="105"/>
                  </a:lnTo>
                  <a:lnTo>
                    <a:pt x="528" y="105"/>
                  </a:lnTo>
                  <a:lnTo>
                    <a:pt x="521" y="103"/>
                  </a:lnTo>
                  <a:lnTo>
                    <a:pt x="513" y="103"/>
                  </a:lnTo>
                  <a:lnTo>
                    <a:pt x="506" y="101"/>
                  </a:lnTo>
                  <a:lnTo>
                    <a:pt x="500" y="101"/>
                  </a:lnTo>
                  <a:lnTo>
                    <a:pt x="492" y="100"/>
                  </a:lnTo>
                  <a:lnTo>
                    <a:pt x="485" y="98"/>
                  </a:lnTo>
                  <a:lnTo>
                    <a:pt x="485" y="98"/>
                  </a:lnTo>
                  <a:lnTo>
                    <a:pt x="481" y="96"/>
                  </a:lnTo>
                  <a:lnTo>
                    <a:pt x="479" y="94"/>
                  </a:lnTo>
                  <a:lnTo>
                    <a:pt x="475" y="92"/>
                  </a:lnTo>
                  <a:lnTo>
                    <a:pt x="471" y="88"/>
                  </a:lnTo>
                  <a:lnTo>
                    <a:pt x="467" y="86"/>
                  </a:lnTo>
                  <a:lnTo>
                    <a:pt x="462" y="84"/>
                  </a:lnTo>
                  <a:lnTo>
                    <a:pt x="458" y="82"/>
                  </a:lnTo>
                  <a:lnTo>
                    <a:pt x="452" y="82"/>
                  </a:lnTo>
                  <a:lnTo>
                    <a:pt x="452" y="82"/>
                  </a:lnTo>
                  <a:lnTo>
                    <a:pt x="450" y="82"/>
                  </a:lnTo>
                  <a:lnTo>
                    <a:pt x="446" y="82"/>
                  </a:lnTo>
                  <a:lnTo>
                    <a:pt x="443" y="84"/>
                  </a:lnTo>
                  <a:lnTo>
                    <a:pt x="439" y="84"/>
                  </a:lnTo>
                  <a:lnTo>
                    <a:pt x="435" y="86"/>
                  </a:lnTo>
                  <a:lnTo>
                    <a:pt x="429" y="86"/>
                  </a:lnTo>
                  <a:lnTo>
                    <a:pt x="425" y="88"/>
                  </a:lnTo>
                  <a:lnTo>
                    <a:pt x="420" y="90"/>
                  </a:lnTo>
                  <a:lnTo>
                    <a:pt x="416" y="92"/>
                  </a:lnTo>
                  <a:lnTo>
                    <a:pt x="410" y="94"/>
                  </a:lnTo>
                  <a:lnTo>
                    <a:pt x="406" y="96"/>
                  </a:lnTo>
                  <a:lnTo>
                    <a:pt x="401" y="98"/>
                  </a:lnTo>
                  <a:lnTo>
                    <a:pt x="397" y="100"/>
                  </a:lnTo>
                  <a:lnTo>
                    <a:pt x="391" y="100"/>
                  </a:lnTo>
                  <a:lnTo>
                    <a:pt x="387" y="101"/>
                  </a:lnTo>
                  <a:lnTo>
                    <a:pt x="383" y="103"/>
                  </a:lnTo>
                  <a:lnTo>
                    <a:pt x="383" y="103"/>
                  </a:lnTo>
                  <a:lnTo>
                    <a:pt x="383" y="105"/>
                  </a:lnTo>
                  <a:lnTo>
                    <a:pt x="385" y="107"/>
                  </a:lnTo>
                  <a:lnTo>
                    <a:pt x="385" y="107"/>
                  </a:lnTo>
                  <a:lnTo>
                    <a:pt x="387" y="109"/>
                  </a:lnTo>
                  <a:lnTo>
                    <a:pt x="387" y="111"/>
                  </a:lnTo>
                  <a:lnTo>
                    <a:pt x="387" y="113"/>
                  </a:lnTo>
                  <a:lnTo>
                    <a:pt x="387" y="115"/>
                  </a:lnTo>
                  <a:lnTo>
                    <a:pt x="387" y="117"/>
                  </a:lnTo>
                  <a:lnTo>
                    <a:pt x="387" y="117"/>
                  </a:lnTo>
                  <a:lnTo>
                    <a:pt x="387" y="124"/>
                  </a:lnTo>
                  <a:lnTo>
                    <a:pt x="385" y="130"/>
                  </a:lnTo>
                  <a:lnTo>
                    <a:pt x="382" y="136"/>
                  </a:lnTo>
                  <a:lnTo>
                    <a:pt x="380" y="142"/>
                  </a:lnTo>
                  <a:lnTo>
                    <a:pt x="376" y="145"/>
                  </a:lnTo>
                  <a:lnTo>
                    <a:pt x="372" y="151"/>
                  </a:lnTo>
                  <a:lnTo>
                    <a:pt x="370" y="155"/>
                  </a:lnTo>
                  <a:lnTo>
                    <a:pt x="368" y="159"/>
                  </a:lnTo>
                  <a:lnTo>
                    <a:pt x="368" y="159"/>
                  </a:lnTo>
                  <a:lnTo>
                    <a:pt x="366" y="166"/>
                  </a:lnTo>
                  <a:lnTo>
                    <a:pt x="366" y="170"/>
                  </a:lnTo>
                  <a:lnTo>
                    <a:pt x="366" y="176"/>
                  </a:lnTo>
                  <a:lnTo>
                    <a:pt x="368" y="182"/>
                  </a:lnTo>
                  <a:lnTo>
                    <a:pt x="368" y="187"/>
                  </a:lnTo>
                  <a:lnTo>
                    <a:pt x="368" y="193"/>
                  </a:lnTo>
                  <a:lnTo>
                    <a:pt x="370" y="199"/>
                  </a:lnTo>
                  <a:lnTo>
                    <a:pt x="370" y="204"/>
                  </a:lnTo>
                  <a:lnTo>
                    <a:pt x="370" y="248"/>
                  </a:lnTo>
                  <a:lnTo>
                    <a:pt x="370" y="248"/>
                  </a:lnTo>
                  <a:lnTo>
                    <a:pt x="372" y="258"/>
                  </a:lnTo>
                  <a:lnTo>
                    <a:pt x="374" y="267"/>
                  </a:lnTo>
                  <a:lnTo>
                    <a:pt x="378" y="275"/>
                  </a:lnTo>
                  <a:lnTo>
                    <a:pt x="383" y="281"/>
                  </a:lnTo>
                  <a:lnTo>
                    <a:pt x="387" y="287"/>
                  </a:lnTo>
                  <a:lnTo>
                    <a:pt x="391" y="292"/>
                  </a:lnTo>
                  <a:lnTo>
                    <a:pt x="393" y="298"/>
                  </a:lnTo>
                  <a:lnTo>
                    <a:pt x="395" y="306"/>
                  </a:lnTo>
                  <a:lnTo>
                    <a:pt x="393" y="321"/>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6" name="Freeform 120"/>
            <p:cNvSpPr>
              <a:spLocks/>
            </p:cNvSpPr>
            <p:nvPr/>
          </p:nvSpPr>
          <p:spPr bwMode="gray">
            <a:xfrm>
              <a:off x="2898" y="3484"/>
              <a:ext cx="64" cy="71"/>
            </a:xfrm>
            <a:custGeom>
              <a:avLst/>
              <a:gdLst/>
              <a:ahLst/>
              <a:cxnLst>
                <a:cxn ang="0">
                  <a:pos x="97" y="4"/>
                </a:cxn>
                <a:cxn ang="0">
                  <a:pos x="91" y="11"/>
                </a:cxn>
                <a:cxn ang="0">
                  <a:pos x="93" y="17"/>
                </a:cxn>
                <a:cxn ang="0">
                  <a:pos x="97" y="23"/>
                </a:cxn>
                <a:cxn ang="0">
                  <a:pos x="99" y="29"/>
                </a:cxn>
                <a:cxn ang="0">
                  <a:pos x="101" y="34"/>
                </a:cxn>
                <a:cxn ang="0">
                  <a:pos x="101" y="36"/>
                </a:cxn>
                <a:cxn ang="0">
                  <a:pos x="101" y="40"/>
                </a:cxn>
                <a:cxn ang="0">
                  <a:pos x="101" y="46"/>
                </a:cxn>
                <a:cxn ang="0">
                  <a:pos x="101" y="51"/>
                </a:cxn>
                <a:cxn ang="0">
                  <a:pos x="101" y="55"/>
                </a:cxn>
                <a:cxn ang="0">
                  <a:pos x="101" y="67"/>
                </a:cxn>
                <a:cxn ang="0">
                  <a:pos x="103" y="76"/>
                </a:cxn>
                <a:cxn ang="0">
                  <a:pos x="107" y="84"/>
                </a:cxn>
                <a:cxn ang="0">
                  <a:pos x="112" y="92"/>
                </a:cxn>
                <a:cxn ang="0">
                  <a:pos x="109" y="97"/>
                </a:cxn>
                <a:cxn ang="0">
                  <a:pos x="101" y="109"/>
                </a:cxn>
                <a:cxn ang="0">
                  <a:pos x="91" y="122"/>
                </a:cxn>
                <a:cxn ang="0">
                  <a:pos x="78" y="128"/>
                </a:cxn>
                <a:cxn ang="0">
                  <a:pos x="69" y="130"/>
                </a:cxn>
                <a:cxn ang="0">
                  <a:pos x="55" y="130"/>
                </a:cxn>
                <a:cxn ang="0">
                  <a:pos x="44" y="128"/>
                </a:cxn>
                <a:cxn ang="0">
                  <a:pos x="32" y="122"/>
                </a:cxn>
                <a:cxn ang="0">
                  <a:pos x="23" y="118"/>
                </a:cxn>
                <a:cxn ang="0">
                  <a:pos x="13" y="111"/>
                </a:cxn>
                <a:cxn ang="0">
                  <a:pos x="7" y="103"/>
                </a:cxn>
                <a:cxn ang="0">
                  <a:pos x="2" y="93"/>
                </a:cxn>
                <a:cxn ang="0">
                  <a:pos x="0" y="82"/>
                </a:cxn>
                <a:cxn ang="0">
                  <a:pos x="2" y="78"/>
                </a:cxn>
                <a:cxn ang="0">
                  <a:pos x="4" y="65"/>
                </a:cxn>
                <a:cxn ang="0">
                  <a:pos x="9" y="51"/>
                </a:cxn>
                <a:cxn ang="0">
                  <a:pos x="17" y="38"/>
                </a:cxn>
                <a:cxn ang="0">
                  <a:pos x="25" y="25"/>
                </a:cxn>
                <a:cxn ang="0">
                  <a:pos x="34" y="13"/>
                </a:cxn>
                <a:cxn ang="0">
                  <a:pos x="44" y="6"/>
                </a:cxn>
                <a:cxn ang="0">
                  <a:pos x="53" y="0"/>
                </a:cxn>
                <a:cxn ang="0">
                  <a:pos x="59" y="0"/>
                </a:cxn>
                <a:cxn ang="0">
                  <a:pos x="69" y="2"/>
                </a:cxn>
                <a:cxn ang="0">
                  <a:pos x="74" y="8"/>
                </a:cxn>
                <a:cxn ang="0">
                  <a:pos x="84" y="13"/>
                </a:cxn>
                <a:cxn ang="0">
                  <a:pos x="91" y="15"/>
                </a:cxn>
                <a:cxn ang="0">
                  <a:pos x="97" y="4"/>
                </a:cxn>
              </a:cxnLst>
              <a:rect l="0" t="0" r="r" b="b"/>
              <a:pathLst>
                <a:path w="112" h="130">
                  <a:moveTo>
                    <a:pt x="97" y="4"/>
                  </a:moveTo>
                  <a:lnTo>
                    <a:pt x="97" y="4"/>
                  </a:lnTo>
                  <a:lnTo>
                    <a:pt x="91" y="11"/>
                  </a:lnTo>
                  <a:lnTo>
                    <a:pt x="91" y="11"/>
                  </a:lnTo>
                  <a:lnTo>
                    <a:pt x="93" y="15"/>
                  </a:lnTo>
                  <a:lnTo>
                    <a:pt x="93" y="17"/>
                  </a:lnTo>
                  <a:lnTo>
                    <a:pt x="95" y="21"/>
                  </a:lnTo>
                  <a:lnTo>
                    <a:pt x="97" y="23"/>
                  </a:lnTo>
                  <a:lnTo>
                    <a:pt x="99" y="27"/>
                  </a:lnTo>
                  <a:lnTo>
                    <a:pt x="99" y="29"/>
                  </a:lnTo>
                  <a:lnTo>
                    <a:pt x="101" y="32"/>
                  </a:lnTo>
                  <a:lnTo>
                    <a:pt x="101" y="34"/>
                  </a:lnTo>
                  <a:lnTo>
                    <a:pt x="101" y="34"/>
                  </a:lnTo>
                  <a:lnTo>
                    <a:pt x="101" y="36"/>
                  </a:lnTo>
                  <a:lnTo>
                    <a:pt x="101" y="38"/>
                  </a:lnTo>
                  <a:lnTo>
                    <a:pt x="101" y="40"/>
                  </a:lnTo>
                  <a:lnTo>
                    <a:pt x="101" y="44"/>
                  </a:lnTo>
                  <a:lnTo>
                    <a:pt x="101" y="46"/>
                  </a:lnTo>
                  <a:lnTo>
                    <a:pt x="101" y="50"/>
                  </a:lnTo>
                  <a:lnTo>
                    <a:pt x="101" y="51"/>
                  </a:lnTo>
                  <a:lnTo>
                    <a:pt x="101" y="55"/>
                  </a:lnTo>
                  <a:lnTo>
                    <a:pt x="101" y="55"/>
                  </a:lnTo>
                  <a:lnTo>
                    <a:pt x="101" y="61"/>
                  </a:lnTo>
                  <a:lnTo>
                    <a:pt x="101" y="67"/>
                  </a:lnTo>
                  <a:lnTo>
                    <a:pt x="103" y="72"/>
                  </a:lnTo>
                  <a:lnTo>
                    <a:pt x="103" y="76"/>
                  </a:lnTo>
                  <a:lnTo>
                    <a:pt x="105" y="80"/>
                  </a:lnTo>
                  <a:lnTo>
                    <a:pt x="107" y="84"/>
                  </a:lnTo>
                  <a:lnTo>
                    <a:pt x="109" y="88"/>
                  </a:lnTo>
                  <a:lnTo>
                    <a:pt x="112" y="92"/>
                  </a:lnTo>
                  <a:lnTo>
                    <a:pt x="112" y="92"/>
                  </a:lnTo>
                  <a:lnTo>
                    <a:pt x="109" y="97"/>
                  </a:lnTo>
                  <a:lnTo>
                    <a:pt x="105" y="103"/>
                  </a:lnTo>
                  <a:lnTo>
                    <a:pt x="101" y="109"/>
                  </a:lnTo>
                  <a:lnTo>
                    <a:pt x="97" y="116"/>
                  </a:lnTo>
                  <a:lnTo>
                    <a:pt x="91" y="122"/>
                  </a:lnTo>
                  <a:lnTo>
                    <a:pt x="86" y="126"/>
                  </a:lnTo>
                  <a:lnTo>
                    <a:pt x="78" y="128"/>
                  </a:lnTo>
                  <a:lnTo>
                    <a:pt x="69" y="130"/>
                  </a:lnTo>
                  <a:lnTo>
                    <a:pt x="69" y="130"/>
                  </a:lnTo>
                  <a:lnTo>
                    <a:pt x="63" y="130"/>
                  </a:lnTo>
                  <a:lnTo>
                    <a:pt x="55" y="130"/>
                  </a:lnTo>
                  <a:lnTo>
                    <a:pt x="49" y="128"/>
                  </a:lnTo>
                  <a:lnTo>
                    <a:pt x="44" y="128"/>
                  </a:lnTo>
                  <a:lnTo>
                    <a:pt x="38" y="124"/>
                  </a:lnTo>
                  <a:lnTo>
                    <a:pt x="32" y="122"/>
                  </a:lnTo>
                  <a:lnTo>
                    <a:pt x="27" y="120"/>
                  </a:lnTo>
                  <a:lnTo>
                    <a:pt x="23" y="118"/>
                  </a:lnTo>
                  <a:lnTo>
                    <a:pt x="17" y="114"/>
                  </a:lnTo>
                  <a:lnTo>
                    <a:pt x="13" y="111"/>
                  </a:lnTo>
                  <a:lnTo>
                    <a:pt x="9" y="107"/>
                  </a:lnTo>
                  <a:lnTo>
                    <a:pt x="7" y="103"/>
                  </a:lnTo>
                  <a:lnTo>
                    <a:pt x="4" y="99"/>
                  </a:lnTo>
                  <a:lnTo>
                    <a:pt x="2" y="93"/>
                  </a:lnTo>
                  <a:lnTo>
                    <a:pt x="2" y="88"/>
                  </a:lnTo>
                  <a:lnTo>
                    <a:pt x="0" y="82"/>
                  </a:lnTo>
                  <a:lnTo>
                    <a:pt x="0" y="82"/>
                  </a:lnTo>
                  <a:lnTo>
                    <a:pt x="2" y="78"/>
                  </a:lnTo>
                  <a:lnTo>
                    <a:pt x="2" y="71"/>
                  </a:lnTo>
                  <a:lnTo>
                    <a:pt x="4" y="65"/>
                  </a:lnTo>
                  <a:lnTo>
                    <a:pt x="6" y="59"/>
                  </a:lnTo>
                  <a:lnTo>
                    <a:pt x="9" y="51"/>
                  </a:lnTo>
                  <a:lnTo>
                    <a:pt x="13" y="44"/>
                  </a:lnTo>
                  <a:lnTo>
                    <a:pt x="17" y="38"/>
                  </a:lnTo>
                  <a:lnTo>
                    <a:pt x="21" y="30"/>
                  </a:lnTo>
                  <a:lnTo>
                    <a:pt x="25" y="25"/>
                  </a:lnTo>
                  <a:lnTo>
                    <a:pt x="28" y="19"/>
                  </a:lnTo>
                  <a:lnTo>
                    <a:pt x="34" y="13"/>
                  </a:lnTo>
                  <a:lnTo>
                    <a:pt x="40" y="9"/>
                  </a:lnTo>
                  <a:lnTo>
                    <a:pt x="44" y="6"/>
                  </a:lnTo>
                  <a:lnTo>
                    <a:pt x="49" y="2"/>
                  </a:lnTo>
                  <a:lnTo>
                    <a:pt x="53" y="0"/>
                  </a:lnTo>
                  <a:lnTo>
                    <a:pt x="59" y="0"/>
                  </a:lnTo>
                  <a:lnTo>
                    <a:pt x="59" y="0"/>
                  </a:lnTo>
                  <a:lnTo>
                    <a:pt x="63" y="0"/>
                  </a:lnTo>
                  <a:lnTo>
                    <a:pt x="69" y="2"/>
                  </a:lnTo>
                  <a:lnTo>
                    <a:pt x="72" y="6"/>
                  </a:lnTo>
                  <a:lnTo>
                    <a:pt x="74" y="8"/>
                  </a:lnTo>
                  <a:lnTo>
                    <a:pt x="80" y="9"/>
                  </a:lnTo>
                  <a:lnTo>
                    <a:pt x="84" y="13"/>
                  </a:lnTo>
                  <a:lnTo>
                    <a:pt x="88" y="15"/>
                  </a:lnTo>
                  <a:lnTo>
                    <a:pt x="91" y="15"/>
                  </a:lnTo>
                  <a:lnTo>
                    <a:pt x="93" y="15"/>
                  </a:lnTo>
                  <a:lnTo>
                    <a:pt x="97" y="4"/>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7" name="Freeform 121"/>
            <p:cNvSpPr>
              <a:spLocks/>
            </p:cNvSpPr>
            <p:nvPr/>
          </p:nvSpPr>
          <p:spPr bwMode="gray">
            <a:xfrm>
              <a:off x="2306" y="3328"/>
              <a:ext cx="684" cy="532"/>
            </a:xfrm>
            <a:custGeom>
              <a:avLst/>
              <a:gdLst/>
              <a:ahLst/>
              <a:cxnLst>
                <a:cxn ang="0">
                  <a:pos x="1106" y="284"/>
                </a:cxn>
                <a:cxn ang="0">
                  <a:pos x="1056" y="335"/>
                </a:cxn>
                <a:cxn ang="0">
                  <a:pos x="1056" y="391"/>
                </a:cxn>
                <a:cxn ang="0">
                  <a:pos x="1116" y="414"/>
                </a:cxn>
                <a:cxn ang="0">
                  <a:pos x="1161" y="377"/>
                </a:cxn>
                <a:cxn ang="0">
                  <a:pos x="1194" y="381"/>
                </a:cxn>
                <a:cxn ang="0">
                  <a:pos x="1192" y="412"/>
                </a:cxn>
                <a:cxn ang="0">
                  <a:pos x="1158" y="505"/>
                </a:cxn>
                <a:cxn ang="0">
                  <a:pos x="1108" y="541"/>
                </a:cxn>
                <a:cxn ang="0">
                  <a:pos x="1074" y="576"/>
                </a:cxn>
                <a:cxn ang="0">
                  <a:pos x="1041" y="622"/>
                </a:cxn>
                <a:cxn ang="0">
                  <a:pos x="988" y="685"/>
                </a:cxn>
                <a:cxn ang="0">
                  <a:pos x="925" y="746"/>
                </a:cxn>
                <a:cxn ang="0">
                  <a:pos x="858" y="803"/>
                </a:cxn>
                <a:cxn ang="0">
                  <a:pos x="784" y="858"/>
                </a:cxn>
                <a:cxn ang="0">
                  <a:pos x="692" y="894"/>
                </a:cxn>
                <a:cxn ang="0">
                  <a:pos x="644" y="896"/>
                </a:cxn>
                <a:cxn ang="0">
                  <a:pos x="583" y="923"/>
                </a:cxn>
                <a:cxn ang="0">
                  <a:pos x="471" y="913"/>
                </a:cxn>
                <a:cxn ang="0">
                  <a:pos x="427" y="915"/>
                </a:cxn>
                <a:cxn ang="0">
                  <a:pos x="368" y="938"/>
                </a:cxn>
                <a:cxn ang="0">
                  <a:pos x="324" y="940"/>
                </a:cxn>
                <a:cxn ang="0">
                  <a:pos x="280" y="950"/>
                </a:cxn>
                <a:cxn ang="0">
                  <a:pos x="230" y="969"/>
                </a:cxn>
                <a:cxn ang="0">
                  <a:pos x="181" y="940"/>
                </a:cxn>
                <a:cxn ang="0">
                  <a:pos x="147" y="919"/>
                </a:cxn>
                <a:cxn ang="0">
                  <a:pos x="122" y="927"/>
                </a:cxn>
                <a:cxn ang="0">
                  <a:pos x="129" y="887"/>
                </a:cxn>
                <a:cxn ang="0">
                  <a:pos x="95" y="822"/>
                </a:cxn>
                <a:cxn ang="0">
                  <a:pos x="120" y="755"/>
                </a:cxn>
                <a:cxn ang="0">
                  <a:pos x="80" y="686"/>
                </a:cxn>
                <a:cxn ang="0">
                  <a:pos x="34" y="604"/>
                </a:cxn>
                <a:cxn ang="0">
                  <a:pos x="9" y="528"/>
                </a:cxn>
                <a:cxn ang="0">
                  <a:pos x="15" y="471"/>
                </a:cxn>
                <a:cxn ang="0">
                  <a:pos x="68" y="490"/>
                </a:cxn>
                <a:cxn ang="0">
                  <a:pos x="124" y="517"/>
                </a:cxn>
                <a:cxn ang="0">
                  <a:pos x="188" y="519"/>
                </a:cxn>
                <a:cxn ang="0">
                  <a:pos x="238" y="488"/>
                </a:cxn>
                <a:cxn ang="0">
                  <a:pos x="282" y="231"/>
                </a:cxn>
                <a:cxn ang="0">
                  <a:pos x="314" y="292"/>
                </a:cxn>
                <a:cxn ang="0">
                  <a:pos x="301" y="347"/>
                </a:cxn>
                <a:cxn ang="0">
                  <a:pos x="351" y="364"/>
                </a:cxn>
                <a:cxn ang="0">
                  <a:pos x="438" y="320"/>
                </a:cxn>
                <a:cxn ang="0">
                  <a:pos x="486" y="250"/>
                </a:cxn>
                <a:cxn ang="0">
                  <a:pos x="551" y="278"/>
                </a:cxn>
                <a:cxn ang="0">
                  <a:pos x="621" y="278"/>
                </a:cxn>
                <a:cxn ang="0">
                  <a:pos x="675" y="271"/>
                </a:cxn>
                <a:cxn ang="0">
                  <a:pos x="704" y="210"/>
                </a:cxn>
                <a:cxn ang="0">
                  <a:pos x="744" y="194"/>
                </a:cxn>
                <a:cxn ang="0">
                  <a:pos x="782" y="147"/>
                </a:cxn>
                <a:cxn ang="0">
                  <a:pos x="824" y="107"/>
                </a:cxn>
                <a:cxn ang="0">
                  <a:pos x="885" y="42"/>
                </a:cxn>
                <a:cxn ang="0">
                  <a:pos x="927" y="38"/>
                </a:cxn>
                <a:cxn ang="0">
                  <a:pos x="1003" y="4"/>
                </a:cxn>
                <a:cxn ang="0">
                  <a:pos x="1072" y="21"/>
                </a:cxn>
                <a:cxn ang="0">
                  <a:pos x="1112" y="21"/>
                </a:cxn>
                <a:cxn ang="0">
                  <a:pos x="1125" y="99"/>
                </a:cxn>
                <a:cxn ang="0">
                  <a:pos x="1146" y="147"/>
                </a:cxn>
                <a:cxn ang="0">
                  <a:pos x="1152" y="196"/>
                </a:cxn>
                <a:cxn ang="0">
                  <a:pos x="1146" y="244"/>
                </a:cxn>
              </a:cxnLst>
              <a:rect l="0" t="0" r="r" b="b"/>
              <a:pathLst>
                <a:path w="1207" h="969">
                  <a:moveTo>
                    <a:pt x="1138" y="299"/>
                  </a:moveTo>
                  <a:lnTo>
                    <a:pt x="1138" y="299"/>
                  </a:lnTo>
                  <a:lnTo>
                    <a:pt x="1135" y="299"/>
                  </a:lnTo>
                  <a:lnTo>
                    <a:pt x="1131" y="297"/>
                  </a:lnTo>
                  <a:lnTo>
                    <a:pt x="1127" y="293"/>
                  </a:lnTo>
                  <a:lnTo>
                    <a:pt x="1121" y="292"/>
                  </a:lnTo>
                  <a:lnTo>
                    <a:pt x="1119" y="290"/>
                  </a:lnTo>
                  <a:lnTo>
                    <a:pt x="1116" y="286"/>
                  </a:lnTo>
                  <a:lnTo>
                    <a:pt x="1110" y="284"/>
                  </a:lnTo>
                  <a:lnTo>
                    <a:pt x="1106" y="284"/>
                  </a:lnTo>
                  <a:lnTo>
                    <a:pt x="1106" y="284"/>
                  </a:lnTo>
                  <a:lnTo>
                    <a:pt x="1100" y="284"/>
                  </a:lnTo>
                  <a:lnTo>
                    <a:pt x="1096" y="286"/>
                  </a:lnTo>
                  <a:lnTo>
                    <a:pt x="1091" y="290"/>
                  </a:lnTo>
                  <a:lnTo>
                    <a:pt x="1087" y="293"/>
                  </a:lnTo>
                  <a:lnTo>
                    <a:pt x="1081" y="297"/>
                  </a:lnTo>
                  <a:lnTo>
                    <a:pt x="1075" y="303"/>
                  </a:lnTo>
                  <a:lnTo>
                    <a:pt x="1072" y="309"/>
                  </a:lnTo>
                  <a:lnTo>
                    <a:pt x="1068" y="314"/>
                  </a:lnTo>
                  <a:lnTo>
                    <a:pt x="1064" y="322"/>
                  </a:lnTo>
                  <a:lnTo>
                    <a:pt x="1060" y="328"/>
                  </a:lnTo>
                  <a:lnTo>
                    <a:pt x="1056" y="335"/>
                  </a:lnTo>
                  <a:lnTo>
                    <a:pt x="1053" y="343"/>
                  </a:lnTo>
                  <a:lnTo>
                    <a:pt x="1051" y="349"/>
                  </a:lnTo>
                  <a:lnTo>
                    <a:pt x="1049" y="355"/>
                  </a:lnTo>
                  <a:lnTo>
                    <a:pt x="1049" y="362"/>
                  </a:lnTo>
                  <a:lnTo>
                    <a:pt x="1047" y="366"/>
                  </a:lnTo>
                  <a:lnTo>
                    <a:pt x="1047" y="366"/>
                  </a:lnTo>
                  <a:lnTo>
                    <a:pt x="1049" y="372"/>
                  </a:lnTo>
                  <a:lnTo>
                    <a:pt x="1049" y="377"/>
                  </a:lnTo>
                  <a:lnTo>
                    <a:pt x="1051" y="383"/>
                  </a:lnTo>
                  <a:lnTo>
                    <a:pt x="1054" y="387"/>
                  </a:lnTo>
                  <a:lnTo>
                    <a:pt x="1056" y="391"/>
                  </a:lnTo>
                  <a:lnTo>
                    <a:pt x="1060" y="395"/>
                  </a:lnTo>
                  <a:lnTo>
                    <a:pt x="1064" y="398"/>
                  </a:lnTo>
                  <a:lnTo>
                    <a:pt x="1070" y="402"/>
                  </a:lnTo>
                  <a:lnTo>
                    <a:pt x="1074" y="404"/>
                  </a:lnTo>
                  <a:lnTo>
                    <a:pt x="1079" y="406"/>
                  </a:lnTo>
                  <a:lnTo>
                    <a:pt x="1085" y="408"/>
                  </a:lnTo>
                  <a:lnTo>
                    <a:pt x="1091" y="412"/>
                  </a:lnTo>
                  <a:lnTo>
                    <a:pt x="1096" y="412"/>
                  </a:lnTo>
                  <a:lnTo>
                    <a:pt x="1102" y="414"/>
                  </a:lnTo>
                  <a:lnTo>
                    <a:pt x="1110" y="414"/>
                  </a:lnTo>
                  <a:lnTo>
                    <a:pt x="1116" y="414"/>
                  </a:lnTo>
                  <a:lnTo>
                    <a:pt x="1116" y="414"/>
                  </a:lnTo>
                  <a:lnTo>
                    <a:pt x="1125" y="412"/>
                  </a:lnTo>
                  <a:lnTo>
                    <a:pt x="1133" y="410"/>
                  </a:lnTo>
                  <a:lnTo>
                    <a:pt x="1138" y="406"/>
                  </a:lnTo>
                  <a:lnTo>
                    <a:pt x="1144" y="400"/>
                  </a:lnTo>
                  <a:lnTo>
                    <a:pt x="1148" y="393"/>
                  </a:lnTo>
                  <a:lnTo>
                    <a:pt x="1152" y="387"/>
                  </a:lnTo>
                  <a:lnTo>
                    <a:pt x="1156" y="381"/>
                  </a:lnTo>
                  <a:lnTo>
                    <a:pt x="1159" y="376"/>
                  </a:lnTo>
                  <a:lnTo>
                    <a:pt x="1159" y="376"/>
                  </a:lnTo>
                  <a:lnTo>
                    <a:pt x="1161" y="377"/>
                  </a:lnTo>
                  <a:lnTo>
                    <a:pt x="1163" y="377"/>
                  </a:lnTo>
                  <a:lnTo>
                    <a:pt x="1165" y="379"/>
                  </a:lnTo>
                  <a:lnTo>
                    <a:pt x="1169" y="381"/>
                  </a:lnTo>
                  <a:lnTo>
                    <a:pt x="1171" y="381"/>
                  </a:lnTo>
                  <a:lnTo>
                    <a:pt x="1175" y="381"/>
                  </a:lnTo>
                  <a:lnTo>
                    <a:pt x="1178" y="381"/>
                  </a:lnTo>
                  <a:lnTo>
                    <a:pt x="1182" y="381"/>
                  </a:lnTo>
                  <a:lnTo>
                    <a:pt x="1182" y="381"/>
                  </a:lnTo>
                  <a:lnTo>
                    <a:pt x="1188" y="381"/>
                  </a:lnTo>
                  <a:lnTo>
                    <a:pt x="1190" y="381"/>
                  </a:lnTo>
                  <a:lnTo>
                    <a:pt x="1194" y="381"/>
                  </a:lnTo>
                  <a:lnTo>
                    <a:pt x="1198" y="379"/>
                  </a:lnTo>
                  <a:lnTo>
                    <a:pt x="1199" y="377"/>
                  </a:lnTo>
                  <a:lnTo>
                    <a:pt x="1203" y="377"/>
                  </a:lnTo>
                  <a:lnTo>
                    <a:pt x="1205" y="376"/>
                  </a:lnTo>
                  <a:lnTo>
                    <a:pt x="1207" y="374"/>
                  </a:lnTo>
                  <a:lnTo>
                    <a:pt x="1207" y="374"/>
                  </a:lnTo>
                  <a:lnTo>
                    <a:pt x="1203" y="381"/>
                  </a:lnTo>
                  <a:lnTo>
                    <a:pt x="1199" y="389"/>
                  </a:lnTo>
                  <a:lnTo>
                    <a:pt x="1198" y="396"/>
                  </a:lnTo>
                  <a:lnTo>
                    <a:pt x="1196" y="404"/>
                  </a:lnTo>
                  <a:lnTo>
                    <a:pt x="1192" y="412"/>
                  </a:lnTo>
                  <a:lnTo>
                    <a:pt x="1190" y="421"/>
                  </a:lnTo>
                  <a:lnTo>
                    <a:pt x="1188" y="429"/>
                  </a:lnTo>
                  <a:lnTo>
                    <a:pt x="1186" y="438"/>
                  </a:lnTo>
                  <a:lnTo>
                    <a:pt x="1182" y="446"/>
                  </a:lnTo>
                  <a:lnTo>
                    <a:pt x="1180" y="456"/>
                  </a:lnTo>
                  <a:lnTo>
                    <a:pt x="1178" y="463"/>
                  </a:lnTo>
                  <a:lnTo>
                    <a:pt x="1175" y="473"/>
                  </a:lnTo>
                  <a:lnTo>
                    <a:pt x="1171" y="480"/>
                  </a:lnTo>
                  <a:lnTo>
                    <a:pt x="1167" y="488"/>
                  </a:lnTo>
                  <a:lnTo>
                    <a:pt x="1163" y="498"/>
                  </a:lnTo>
                  <a:lnTo>
                    <a:pt x="1158" y="505"/>
                  </a:lnTo>
                  <a:lnTo>
                    <a:pt x="1158" y="505"/>
                  </a:lnTo>
                  <a:lnTo>
                    <a:pt x="1154" y="509"/>
                  </a:lnTo>
                  <a:lnTo>
                    <a:pt x="1148" y="515"/>
                  </a:lnTo>
                  <a:lnTo>
                    <a:pt x="1142" y="519"/>
                  </a:lnTo>
                  <a:lnTo>
                    <a:pt x="1137" y="522"/>
                  </a:lnTo>
                  <a:lnTo>
                    <a:pt x="1131" y="526"/>
                  </a:lnTo>
                  <a:lnTo>
                    <a:pt x="1123" y="530"/>
                  </a:lnTo>
                  <a:lnTo>
                    <a:pt x="1117" y="534"/>
                  </a:lnTo>
                  <a:lnTo>
                    <a:pt x="1114" y="536"/>
                  </a:lnTo>
                  <a:lnTo>
                    <a:pt x="1114" y="536"/>
                  </a:lnTo>
                  <a:lnTo>
                    <a:pt x="1108" y="541"/>
                  </a:lnTo>
                  <a:lnTo>
                    <a:pt x="1104" y="545"/>
                  </a:lnTo>
                  <a:lnTo>
                    <a:pt x="1100" y="549"/>
                  </a:lnTo>
                  <a:lnTo>
                    <a:pt x="1098" y="553"/>
                  </a:lnTo>
                  <a:lnTo>
                    <a:pt x="1096" y="557"/>
                  </a:lnTo>
                  <a:lnTo>
                    <a:pt x="1093" y="561"/>
                  </a:lnTo>
                  <a:lnTo>
                    <a:pt x="1089" y="564"/>
                  </a:lnTo>
                  <a:lnTo>
                    <a:pt x="1083" y="568"/>
                  </a:lnTo>
                  <a:lnTo>
                    <a:pt x="1083" y="568"/>
                  </a:lnTo>
                  <a:lnTo>
                    <a:pt x="1081" y="568"/>
                  </a:lnTo>
                  <a:lnTo>
                    <a:pt x="1077" y="572"/>
                  </a:lnTo>
                  <a:lnTo>
                    <a:pt x="1074" y="576"/>
                  </a:lnTo>
                  <a:lnTo>
                    <a:pt x="1070" y="582"/>
                  </a:lnTo>
                  <a:lnTo>
                    <a:pt x="1066" y="585"/>
                  </a:lnTo>
                  <a:lnTo>
                    <a:pt x="1062" y="591"/>
                  </a:lnTo>
                  <a:lnTo>
                    <a:pt x="1060" y="595"/>
                  </a:lnTo>
                  <a:lnTo>
                    <a:pt x="1056" y="599"/>
                  </a:lnTo>
                  <a:lnTo>
                    <a:pt x="1056" y="599"/>
                  </a:lnTo>
                  <a:lnTo>
                    <a:pt x="1054" y="604"/>
                  </a:lnTo>
                  <a:lnTo>
                    <a:pt x="1051" y="610"/>
                  </a:lnTo>
                  <a:lnTo>
                    <a:pt x="1049" y="614"/>
                  </a:lnTo>
                  <a:lnTo>
                    <a:pt x="1045" y="618"/>
                  </a:lnTo>
                  <a:lnTo>
                    <a:pt x="1041" y="622"/>
                  </a:lnTo>
                  <a:lnTo>
                    <a:pt x="1037" y="624"/>
                  </a:lnTo>
                  <a:lnTo>
                    <a:pt x="1034" y="627"/>
                  </a:lnTo>
                  <a:lnTo>
                    <a:pt x="1030" y="631"/>
                  </a:lnTo>
                  <a:lnTo>
                    <a:pt x="1030" y="631"/>
                  </a:lnTo>
                  <a:lnTo>
                    <a:pt x="1022" y="639"/>
                  </a:lnTo>
                  <a:lnTo>
                    <a:pt x="1016" y="646"/>
                  </a:lnTo>
                  <a:lnTo>
                    <a:pt x="1011" y="654"/>
                  </a:lnTo>
                  <a:lnTo>
                    <a:pt x="1005" y="662"/>
                  </a:lnTo>
                  <a:lnTo>
                    <a:pt x="999" y="669"/>
                  </a:lnTo>
                  <a:lnTo>
                    <a:pt x="993" y="677"/>
                  </a:lnTo>
                  <a:lnTo>
                    <a:pt x="988" y="685"/>
                  </a:lnTo>
                  <a:lnTo>
                    <a:pt x="984" y="692"/>
                  </a:lnTo>
                  <a:lnTo>
                    <a:pt x="978" y="698"/>
                  </a:lnTo>
                  <a:lnTo>
                    <a:pt x="972" y="706"/>
                  </a:lnTo>
                  <a:lnTo>
                    <a:pt x="967" y="711"/>
                  </a:lnTo>
                  <a:lnTo>
                    <a:pt x="961" y="717"/>
                  </a:lnTo>
                  <a:lnTo>
                    <a:pt x="955" y="723"/>
                  </a:lnTo>
                  <a:lnTo>
                    <a:pt x="948" y="728"/>
                  </a:lnTo>
                  <a:lnTo>
                    <a:pt x="940" y="734"/>
                  </a:lnTo>
                  <a:lnTo>
                    <a:pt x="932" y="738"/>
                  </a:lnTo>
                  <a:lnTo>
                    <a:pt x="932" y="738"/>
                  </a:lnTo>
                  <a:lnTo>
                    <a:pt x="925" y="746"/>
                  </a:lnTo>
                  <a:lnTo>
                    <a:pt x="919" y="751"/>
                  </a:lnTo>
                  <a:lnTo>
                    <a:pt x="913" y="757"/>
                  </a:lnTo>
                  <a:lnTo>
                    <a:pt x="908" y="763"/>
                  </a:lnTo>
                  <a:lnTo>
                    <a:pt x="900" y="769"/>
                  </a:lnTo>
                  <a:lnTo>
                    <a:pt x="894" y="774"/>
                  </a:lnTo>
                  <a:lnTo>
                    <a:pt x="889" y="778"/>
                  </a:lnTo>
                  <a:lnTo>
                    <a:pt x="883" y="784"/>
                  </a:lnTo>
                  <a:lnTo>
                    <a:pt x="877" y="788"/>
                  </a:lnTo>
                  <a:lnTo>
                    <a:pt x="869" y="793"/>
                  </a:lnTo>
                  <a:lnTo>
                    <a:pt x="864" y="797"/>
                  </a:lnTo>
                  <a:lnTo>
                    <a:pt x="858" y="803"/>
                  </a:lnTo>
                  <a:lnTo>
                    <a:pt x="850" y="807"/>
                  </a:lnTo>
                  <a:lnTo>
                    <a:pt x="845" y="812"/>
                  </a:lnTo>
                  <a:lnTo>
                    <a:pt x="837" y="816"/>
                  </a:lnTo>
                  <a:lnTo>
                    <a:pt x="829" y="822"/>
                  </a:lnTo>
                  <a:lnTo>
                    <a:pt x="829" y="822"/>
                  </a:lnTo>
                  <a:lnTo>
                    <a:pt x="822" y="828"/>
                  </a:lnTo>
                  <a:lnTo>
                    <a:pt x="812" y="833"/>
                  </a:lnTo>
                  <a:lnTo>
                    <a:pt x="805" y="839"/>
                  </a:lnTo>
                  <a:lnTo>
                    <a:pt x="799" y="845"/>
                  </a:lnTo>
                  <a:lnTo>
                    <a:pt x="791" y="852"/>
                  </a:lnTo>
                  <a:lnTo>
                    <a:pt x="784" y="858"/>
                  </a:lnTo>
                  <a:lnTo>
                    <a:pt x="776" y="864"/>
                  </a:lnTo>
                  <a:lnTo>
                    <a:pt x="768" y="870"/>
                  </a:lnTo>
                  <a:lnTo>
                    <a:pt x="761" y="875"/>
                  </a:lnTo>
                  <a:lnTo>
                    <a:pt x="753" y="879"/>
                  </a:lnTo>
                  <a:lnTo>
                    <a:pt x="745" y="885"/>
                  </a:lnTo>
                  <a:lnTo>
                    <a:pt x="736" y="889"/>
                  </a:lnTo>
                  <a:lnTo>
                    <a:pt x="726" y="891"/>
                  </a:lnTo>
                  <a:lnTo>
                    <a:pt x="715" y="893"/>
                  </a:lnTo>
                  <a:lnTo>
                    <a:pt x="704" y="894"/>
                  </a:lnTo>
                  <a:lnTo>
                    <a:pt x="692" y="894"/>
                  </a:lnTo>
                  <a:lnTo>
                    <a:pt x="692" y="894"/>
                  </a:lnTo>
                  <a:lnTo>
                    <a:pt x="686" y="894"/>
                  </a:lnTo>
                  <a:lnTo>
                    <a:pt x="681" y="894"/>
                  </a:lnTo>
                  <a:lnTo>
                    <a:pt x="677" y="894"/>
                  </a:lnTo>
                  <a:lnTo>
                    <a:pt x="671" y="894"/>
                  </a:lnTo>
                  <a:lnTo>
                    <a:pt x="667" y="894"/>
                  </a:lnTo>
                  <a:lnTo>
                    <a:pt x="662" y="894"/>
                  </a:lnTo>
                  <a:lnTo>
                    <a:pt x="660" y="894"/>
                  </a:lnTo>
                  <a:lnTo>
                    <a:pt x="656" y="894"/>
                  </a:lnTo>
                  <a:lnTo>
                    <a:pt x="656" y="894"/>
                  </a:lnTo>
                  <a:lnTo>
                    <a:pt x="650" y="894"/>
                  </a:lnTo>
                  <a:lnTo>
                    <a:pt x="644" y="896"/>
                  </a:lnTo>
                  <a:lnTo>
                    <a:pt x="639" y="898"/>
                  </a:lnTo>
                  <a:lnTo>
                    <a:pt x="633" y="900"/>
                  </a:lnTo>
                  <a:lnTo>
                    <a:pt x="627" y="902"/>
                  </a:lnTo>
                  <a:lnTo>
                    <a:pt x="621" y="904"/>
                  </a:lnTo>
                  <a:lnTo>
                    <a:pt x="618" y="908"/>
                  </a:lnTo>
                  <a:lnTo>
                    <a:pt x="612" y="910"/>
                  </a:lnTo>
                  <a:lnTo>
                    <a:pt x="606" y="913"/>
                  </a:lnTo>
                  <a:lnTo>
                    <a:pt x="601" y="917"/>
                  </a:lnTo>
                  <a:lnTo>
                    <a:pt x="595" y="919"/>
                  </a:lnTo>
                  <a:lnTo>
                    <a:pt x="589" y="921"/>
                  </a:lnTo>
                  <a:lnTo>
                    <a:pt x="583" y="923"/>
                  </a:lnTo>
                  <a:lnTo>
                    <a:pt x="578" y="925"/>
                  </a:lnTo>
                  <a:lnTo>
                    <a:pt x="572" y="927"/>
                  </a:lnTo>
                  <a:lnTo>
                    <a:pt x="566" y="927"/>
                  </a:lnTo>
                  <a:lnTo>
                    <a:pt x="497" y="910"/>
                  </a:lnTo>
                  <a:lnTo>
                    <a:pt x="497" y="910"/>
                  </a:lnTo>
                  <a:lnTo>
                    <a:pt x="492" y="912"/>
                  </a:lnTo>
                  <a:lnTo>
                    <a:pt x="488" y="912"/>
                  </a:lnTo>
                  <a:lnTo>
                    <a:pt x="484" y="912"/>
                  </a:lnTo>
                  <a:lnTo>
                    <a:pt x="480" y="913"/>
                  </a:lnTo>
                  <a:lnTo>
                    <a:pt x="477" y="913"/>
                  </a:lnTo>
                  <a:lnTo>
                    <a:pt x="471" y="913"/>
                  </a:lnTo>
                  <a:lnTo>
                    <a:pt x="467" y="913"/>
                  </a:lnTo>
                  <a:lnTo>
                    <a:pt x="463" y="915"/>
                  </a:lnTo>
                  <a:lnTo>
                    <a:pt x="459" y="915"/>
                  </a:lnTo>
                  <a:lnTo>
                    <a:pt x="456" y="915"/>
                  </a:lnTo>
                  <a:lnTo>
                    <a:pt x="452" y="915"/>
                  </a:lnTo>
                  <a:lnTo>
                    <a:pt x="446" y="915"/>
                  </a:lnTo>
                  <a:lnTo>
                    <a:pt x="442" y="915"/>
                  </a:lnTo>
                  <a:lnTo>
                    <a:pt x="436" y="915"/>
                  </a:lnTo>
                  <a:lnTo>
                    <a:pt x="433" y="915"/>
                  </a:lnTo>
                  <a:lnTo>
                    <a:pt x="427" y="915"/>
                  </a:lnTo>
                  <a:lnTo>
                    <a:pt x="427" y="915"/>
                  </a:lnTo>
                  <a:lnTo>
                    <a:pt x="415" y="915"/>
                  </a:lnTo>
                  <a:lnTo>
                    <a:pt x="408" y="917"/>
                  </a:lnTo>
                  <a:lnTo>
                    <a:pt x="400" y="921"/>
                  </a:lnTo>
                  <a:lnTo>
                    <a:pt x="394" y="923"/>
                  </a:lnTo>
                  <a:lnTo>
                    <a:pt x="389" y="927"/>
                  </a:lnTo>
                  <a:lnTo>
                    <a:pt x="383" y="931"/>
                  </a:lnTo>
                  <a:lnTo>
                    <a:pt x="377" y="934"/>
                  </a:lnTo>
                  <a:lnTo>
                    <a:pt x="372" y="938"/>
                  </a:lnTo>
                  <a:lnTo>
                    <a:pt x="372" y="938"/>
                  </a:lnTo>
                  <a:lnTo>
                    <a:pt x="372" y="938"/>
                  </a:lnTo>
                  <a:lnTo>
                    <a:pt x="368" y="938"/>
                  </a:lnTo>
                  <a:lnTo>
                    <a:pt x="364" y="940"/>
                  </a:lnTo>
                  <a:lnTo>
                    <a:pt x="360" y="940"/>
                  </a:lnTo>
                  <a:lnTo>
                    <a:pt x="356" y="940"/>
                  </a:lnTo>
                  <a:lnTo>
                    <a:pt x="351" y="940"/>
                  </a:lnTo>
                  <a:lnTo>
                    <a:pt x="349" y="940"/>
                  </a:lnTo>
                  <a:lnTo>
                    <a:pt x="343" y="940"/>
                  </a:lnTo>
                  <a:lnTo>
                    <a:pt x="339" y="940"/>
                  </a:lnTo>
                  <a:lnTo>
                    <a:pt x="335" y="940"/>
                  </a:lnTo>
                  <a:lnTo>
                    <a:pt x="332" y="940"/>
                  </a:lnTo>
                  <a:lnTo>
                    <a:pt x="328" y="940"/>
                  </a:lnTo>
                  <a:lnTo>
                    <a:pt x="324" y="940"/>
                  </a:lnTo>
                  <a:lnTo>
                    <a:pt x="318" y="940"/>
                  </a:lnTo>
                  <a:lnTo>
                    <a:pt x="314" y="940"/>
                  </a:lnTo>
                  <a:lnTo>
                    <a:pt x="311" y="940"/>
                  </a:lnTo>
                  <a:lnTo>
                    <a:pt x="307" y="940"/>
                  </a:lnTo>
                  <a:lnTo>
                    <a:pt x="307" y="940"/>
                  </a:lnTo>
                  <a:lnTo>
                    <a:pt x="303" y="940"/>
                  </a:lnTo>
                  <a:lnTo>
                    <a:pt x="299" y="940"/>
                  </a:lnTo>
                  <a:lnTo>
                    <a:pt x="293" y="942"/>
                  </a:lnTo>
                  <a:lnTo>
                    <a:pt x="290" y="944"/>
                  </a:lnTo>
                  <a:lnTo>
                    <a:pt x="286" y="946"/>
                  </a:lnTo>
                  <a:lnTo>
                    <a:pt x="280" y="950"/>
                  </a:lnTo>
                  <a:lnTo>
                    <a:pt x="276" y="952"/>
                  </a:lnTo>
                  <a:lnTo>
                    <a:pt x="270" y="954"/>
                  </a:lnTo>
                  <a:lnTo>
                    <a:pt x="267" y="957"/>
                  </a:lnTo>
                  <a:lnTo>
                    <a:pt x="261" y="959"/>
                  </a:lnTo>
                  <a:lnTo>
                    <a:pt x="255" y="963"/>
                  </a:lnTo>
                  <a:lnTo>
                    <a:pt x="251" y="965"/>
                  </a:lnTo>
                  <a:lnTo>
                    <a:pt x="246" y="967"/>
                  </a:lnTo>
                  <a:lnTo>
                    <a:pt x="240" y="969"/>
                  </a:lnTo>
                  <a:lnTo>
                    <a:pt x="234" y="969"/>
                  </a:lnTo>
                  <a:lnTo>
                    <a:pt x="230" y="969"/>
                  </a:lnTo>
                  <a:lnTo>
                    <a:pt x="230" y="969"/>
                  </a:lnTo>
                  <a:lnTo>
                    <a:pt x="223" y="969"/>
                  </a:lnTo>
                  <a:lnTo>
                    <a:pt x="217" y="967"/>
                  </a:lnTo>
                  <a:lnTo>
                    <a:pt x="211" y="967"/>
                  </a:lnTo>
                  <a:lnTo>
                    <a:pt x="208" y="963"/>
                  </a:lnTo>
                  <a:lnTo>
                    <a:pt x="204" y="961"/>
                  </a:lnTo>
                  <a:lnTo>
                    <a:pt x="200" y="957"/>
                  </a:lnTo>
                  <a:lnTo>
                    <a:pt x="196" y="954"/>
                  </a:lnTo>
                  <a:lnTo>
                    <a:pt x="192" y="950"/>
                  </a:lnTo>
                  <a:lnTo>
                    <a:pt x="188" y="946"/>
                  </a:lnTo>
                  <a:lnTo>
                    <a:pt x="185" y="944"/>
                  </a:lnTo>
                  <a:lnTo>
                    <a:pt x="181" y="940"/>
                  </a:lnTo>
                  <a:lnTo>
                    <a:pt x="179" y="936"/>
                  </a:lnTo>
                  <a:lnTo>
                    <a:pt x="175" y="934"/>
                  </a:lnTo>
                  <a:lnTo>
                    <a:pt x="171" y="933"/>
                  </a:lnTo>
                  <a:lnTo>
                    <a:pt x="166" y="933"/>
                  </a:lnTo>
                  <a:lnTo>
                    <a:pt x="162" y="931"/>
                  </a:lnTo>
                  <a:lnTo>
                    <a:pt x="162" y="931"/>
                  </a:lnTo>
                  <a:lnTo>
                    <a:pt x="158" y="931"/>
                  </a:lnTo>
                  <a:lnTo>
                    <a:pt x="154" y="929"/>
                  </a:lnTo>
                  <a:lnTo>
                    <a:pt x="152" y="925"/>
                  </a:lnTo>
                  <a:lnTo>
                    <a:pt x="148" y="923"/>
                  </a:lnTo>
                  <a:lnTo>
                    <a:pt x="147" y="919"/>
                  </a:lnTo>
                  <a:lnTo>
                    <a:pt x="145" y="915"/>
                  </a:lnTo>
                  <a:lnTo>
                    <a:pt x="141" y="913"/>
                  </a:lnTo>
                  <a:lnTo>
                    <a:pt x="137" y="913"/>
                  </a:lnTo>
                  <a:lnTo>
                    <a:pt x="137" y="913"/>
                  </a:lnTo>
                  <a:lnTo>
                    <a:pt x="135" y="913"/>
                  </a:lnTo>
                  <a:lnTo>
                    <a:pt x="131" y="915"/>
                  </a:lnTo>
                  <a:lnTo>
                    <a:pt x="129" y="917"/>
                  </a:lnTo>
                  <a:lnTo>
                    <a:pt x="127" y="919"/>
                  </a:lnTo>
                  <a:lnTo>
                    <a:pt x="126" y="921"/>
                  </a:lnTo>
                  <a:lnTo>
                    <a:pt x="124" y="925"/>
                  </a:lnTo>
                  <a:lnTo>
                    <a:pt x="122" y="927"/>
                  </a:lnTo>
                  <a:lnTo>
                    <a:pt x="120" y="929"/>
                  </a:lnTo>
                  <a:lnTo>
                    <a:pt x="120" y="908"/>
                  </a:lnTo>
                  <a:lnTo>
                    <a:pt x="120" y="908"/>
                  </a:lnTo>
                  <a:lnTo>
                    <a:pt x="122" y="906"/>
                  </a:lnTo>
                  <a:lnTo>
                    <a:pt x="122" y="902"/>
                  </a:lnTo>
                  <a:lnTo>
                    <a:pt x="124" y="900"/>
                  </a:lnTo>
                  <a:lnTo>
                    <a:pt x="126" y="896"/>
                  </a:lnTo>
                  <a:lnTo>
                    <a:pt x="127" y="894"/>
                  </a:lnTo>
                  <a:lnTo>
                    <a:pt x="127" y="891"/>
                  </a:lnTo>
                  <a:lnTo>
                    <a:pt x="129" y="889"/>
                  </a:lnTo>
                  <a:lnTo>
                    <a:pt x="129" y="887"/>
                  </a:lnTo>
                  <a:lnTo>
                    <a:pt x="129" y="887"/>
                  </a:lnTo>
                  <a:lnTo>
                    <a:pt x="127" y="877"/>
                  </a:lnTo>
                  <a:lnTo>
                    <a:pt x="124" y="870"/>
                  </a:lnTo>
                  <a:lnTo>
                    <a:pt x="118" y="864"/>
                  </a:lnTo>
                  <a:lnTo>
                    <a:pt x="112" y="856"/>
                  </a:lnTo>
                  <a:lnTo>
                    <a:pt x="105" y="851"/>
                  </a:lnTo>
                  <a:lnTo>
                    <a:pt x="99" y="845"/>
                  </a:lnTo>
                  <a:lnTo>
                    <a:pt x="95" y="837"/>
                  </a:lnTo>
                  <a:lnTo>
                    <a:pt x="93" y="828"/>
                  </a:lnTo>
                  <a:lnTo>
                    <a:pt x="93" y="828"/>
                  </a:lnTo>
                  <a:lnTo>
                    <a:pt x="95" y="822"/>
                  </a:lnTo>
                  <a:lnTo>
                    <a:pt x="97" y="816"/>
                  </a:lnTo>
                  <a:lnTo>
                    <a:pt x="103" y="812"/>
                  </a:lnTo>
                  <a:lnTo>
                    <a:pt x="106" y="807"/>
                  </a:lnTo>
                  <a:lnTo>
                    <a:pt x="112" y="801"/>
                  </a:lnTo>
                  <a:lnTo>
                    <a:pt x="116" y="795"/>
                  </a:lnTo>
                  <a:lnTo>
                    <a:pt x="118" y="788"/>
                  </a:lnTo>
                  <a:lnTo>
                    <a:pt x="120" y="780"/>
                  </a:lnTo>
                  <a:lnTo>
                    <a:pt x="120" y="780"/>
                  </a:lnTo>
                  <a:lnTo>
                    <a:pt x="120" y="772"/>
                  </a:lnTo>
                  <a:lnTo>
                    <a:pt x="120" y="763"/>
                  </a:lnTo>
                  <a:lnTo>
                    <a:pt x="120" y="755"/>
                  </a:lnTo>
                  <a:lnTo>
                    <a:pt x="118" y="746"/>
                  </a:lnTo>
                  <a:lnTo>
                    <a:pt x="116" y="738"/>
                  </a:lnTo>
                  <a:lnTo>
                    <a:pt x="114" y="730"/>
                  </a:lnTo>
                  <a:lnTo>
                    <a:pt x="110" y="723"/>
                  </a:lnTo>
                  <a:lnTo>
                    <a:pt x="106" y="715"/>
                  </a:lnTo>
                  <a:lnTo>
                    <a:pt x="106" y="715"/>
                  </a:lnTo>
                  <a:lnTo>
                    <a:pt x="101" y="709"/>
                  </a:lnTo>
                  <a:lnTo>
                    <a:pt x="95" y="704"/>
                  </a:lnTo>
                  <a:lnTo>
                    <a:pt x="91" y="698"/>
                  </a:lnTo>
                  <a:lnTo>
                    <a:pt x="85" y="692"/>
                  </a:lnTo>
                  <a:lnTo>
                    <a:pt x="80" y="686"/>
                  </a:lnTo>
                  <a:lnTo>
                    <a:pt x="74" y="679"/>
                  </a:lnTo>
                  <a:lnTo>
                    <a:pt x="68" y="673"/>
                  </a:lnTo>
                  <a:lnTo>
                    <a:pt x="63" y="665"/>
                  </a:lnTo>
                  <a:lnTo>
                    <a:pt x="59" y="660"/>
                  </a:lnTo>
                  <a:lnTo>
                    <a:pt x="53" y="652"/>
                  </a:lnTo>
                  <a:lnTo>
                    <a:pt x="49" y="645"/>
                  </a:lnTo>
                  <a:lnTo>
                    <a:pt x="45" y="637"/>
                  </a:lnTo>
                  <a:lnTo>
                    <a:pt x="42" y="629"/>
                  </a:lnTo>
                  <a:lnTo>
                    <a:pt x="38" y="620"/>
                  </a:lnTo>
                  <a:lnTo>
                    <a:pt x="36" y="612"/>
                  </a:lnTo>
                  <a:lnTo>
                    <a:pt x="34" y="604"/>
                  </a:lnTo>
                  <a:lnTo>
                    <a:pt x="34" y="604"/>
                  </a:lnTo>
                  <a:lnTo>
                    <a:pt x="32" y="591"/>
                  </a:lnTo>
                  <a:lnTo>
                    <a:pt x="28" y="582"/>
                  </a:lnTo>
                  <a:lnTo>
                    <a:pt x="26" y="572"/>
                  </a:lnTo>
                  <a:lnTo>
                    <a:pt x="24" y="562"/>
                  </a:lnTo>
                  <a:lnTo>
                    <a:pt x="23" y="555"/>
                  </a:lnTo>
                  <a:lnTo>
                    <a:pt x="19" y="549"/>
                  </a:lnTo>
                  <a:lnTo>
                    <a:pt x="17" y="543"/>
                  </a:lnTo>
                  <a:lnTo>
                    <a:pt x="13" y="538"/>
                  </a:lnTo>
                  <a:lnTo>
                    <a:pt x="11" y="532"/>
                  </a:lnTo>
                  <a:lnTo>
                    <a:pt x="9" y="528"/>
                  </a:lnTo>
                  <a:lnTo>
                    <a:pt x="7" y="522"/>
                  </a:lnTo>
                  <a:lnTo>
                    <a:pt x="5" y="519"/>
                  </a:lnTo>
                  <a:lnTo>
                    <a:pt x="3" y="513"/>
                  </a:lnTo>
                  <a:lnTo>
                    <a:pt x="2" y="509"/>
                  </a:lnTo>
                  <a:lnTo>
                    <a:pt x="0" y="503"/>
                  </a:lnTo>
                  <a:lnTo>
                    <a:pt x="0" y="496"/>
                  </a:lnTo>
                  <a:lnTo>
                    <a:pt x="0" y="496"/>
                  </a:lnTo>
                  <a:lnTo>
                    <a:pt x="5" y="492"/>
                  </a:lnTo>
                  <a:lnTo>
                    <a:pt x="9" y="486"/>
                  </a:lnTo>
                  <a:lnTo>
                    <a:pt x="13" y="479"/>
                  </a:lnTo>
                  <a:lnTo>
                    <a:pt x="15" y="471"/>
                  </a:lnTo>
                  <a:lnTo>
                    <a:pt x="17" y="463"/>
                  </a:lnTo>
                  <a:lnTo>
                    <a:pt x="21" y="458"/>
                  </a:lnTo>
                  <a:lnTo>
                    <a:pt x="26" y="454"/>
                  </a:lnTo>
                  <a:lnTo>
                    <a:pt x="34" y="452"/>
                  </a:lnTo>
                  <a:lnTo>
                    <a:pt x="34" y="452"/>
                  </a:lnTo>
                  <a:lnTo>
                    <a:pt x="44" y="454"/>
                  </a:lnTo>
                  <a:lnTo>
                    <a:pt x="51" y="459"/>
                  </a:lnTo>
                  <a:lnTo>
                    <a:pt x="57" y="465"/>
                  </a:lnTo>
                  <a:lnTo>
                    <a:pt x="61" y="473"/>
                  </a:lnTo>
                  <a:lnTo>
                    <a:pt x="64" y="480"/>
                  </a:lnTo>
                  <a:lnTo>
                    <a:pt x="68" y="490"/>
                  </a:lnTo>
                  <a:lnTo>
                    <a:pt x="72" y="498"/>
                  </a:lnTo>
                  <a:lnTo>
                    <a:pt x="76" y="503"/>
                  </a:lnTo>
                  <a:lnTo>
                    <a:pt x="76" y="503"/>
                  </a:lnTo>
                  <a:lnTo>
                    <a:pt x="80" y="505"/>
                  </a:lnTo>
                  <a:lnTo>
                    <a:pt x="84" y="509"/>
                  </a:lnTo>
                  <a:lnTo>
                    <a:pt x="89" y="511"/>
                  </a:lnTo>
                  <a:lnTo>
                    <a:pt x="95" y="513"/>
                  </a:lnTo>
                  <a:lnTo>
                    <a:pt x="103" y="515"/>
                  </a:lnTo>
                  <a:lnTo>
                    <a:pt x="108" y="515"/>
                  </a:lnTo>
                  <a:lnTo>
                    <a:pt x="116" y="517"/>
                  </a:lnTo>
                  <a:lnTo>
                    <a:pt x="124" y="517"/>
                  </a:lnTo>
                  <a:lnTo>
                    <a:pt x="131" y="519"/>
                  </a:lnTo>
                  <a:lnTo>
                    <a:pt x="139" y="519"/>
                  </a:lnTo>
                  <a:lnTo>
                    <a:pt x="147" y="519"/>
                  </a:lnTo>
                  <a:lnTo>
                    <a:pt x="154" y="521"/>
                  </a:lnTo>
                  <a:lnTo>
                    <a:pt x="162" y="521"/>
                  </a:lnTo>
                  <a:lnTo>
                    <a:pt x="167" y="521"/>
                  </a:lnTo>
                  <a:lnTo>
                    <a:pt x="173" y="521"/>
                  </a:lnTo>
                  <a:lnTo>
                    <a:pt x="179" y="521"/>
                  </a:lnTo>
                  <a:lnTo>
                    <a:pt x="179" y="521"/>
                  </a:lnTo>
                  <a:lnTo>
                    <a:pt x="185" y="521"/>
                  </a:lnTo>
                  <a:lnTo>
                    <a:pt x="188" y="519"/>
                  </a:lnTo>
                  <a:lnTo>
                    <a:pt x="194" y="517"/>
                  </a:lnTo>
                  <a:lnTo>
                    <a:pt x="198" y="515"/>
                  </a:lnTo>
                  <a:lnTo>
                    <a:pt x="202" y="511"/>
                  </a:lnTo>
                  <a:lnTo>
                    <a:pt x="208" y="509"/>
                  </a:lnTo>
                  <a:lnTo>
                    <a:pt x="211" y="505"/>
                  </a:lnTo>
                  <a:lnTo>
                    <a:pt x="215" y="501"/>
                  </a:lnTo>
                  <a:lnTo>
                    <a:pt x="219" y="500"/>
                  </a:lnTo>
                  <a:lnTo>
                    <a:pt x="225" y="496"/>
                  </a:lnTo>
                  <a:lnTo>
                    <a:pt x="229" y="492"/>
                  </a:lnTo>
                  <a:lnTo>
                    <a:pt x="232" y="490"/>
                  </a:lnTo>
                  <a:lnTo>
                    <a:pt x="238" y="488"/>
                  </a:lnTo>
                  <a:lnTo>
                    <a:pt x="244" y="486"/>
                  </a:lnTo>
                  <a:lnTo>
                    <a:pt x="250" y="484"/>
                  </a:lnTo>
                  <a:lnTo>
                    <a:pt x="255" y="484"/>
                  </a:lnTo>
                  <a:lnTo>
                    <a:pt x="255" y="482"/>
                  </a:lnTo>
                  <a:lnTo>
                    <a:pt x="253" y="213"/>
                  </a:lnTo>
                  <a:lnTo>
                    <a:pt x="265" y="217"/>
                  </a:lnTo>
                  <a:lnTo>
                    <a:pt x="265" y="217"/>
                  </a:lnTo>
                  <a:lnTo>
                    <a:pt x="269" y="219"/>
                  </a:lnTo>
                  <a:lnTo>
                    <a:pt x="274" y="223"/>
                  </a:lnTo>
                  <a:lnTo>
                    <a:pt x="278" y="227"/>
                  </a:lnTo>
                  <a:lnTo>
                    <a:pt x="282" y="231"/>
                  </a:lnTo>
                  <a:lnTo>
                    <a:pt x="286" y="234"/>
                  </a:lnTo>
                  <a:lnTo>
                    <a:pt x="290" y="238"/>
                  </a:lnTo>
                  <a:lnTo>
                    <a:pt x="295" y="242"/>
                  </a:lnTo>
                  <a:lnTo>
                    <a:pt x="299" y="248"/>
                  </a:lnTo>
                  <a:lnTo>
                    <a:pt x="301" y="252"/>
                  </a:lnTo>
                  <a:lnTo>
                    <a:pt x="305" y="257"/>
                  </a:lnTo>
                  <a:lnTo>
                    <a:pt x="307" y="263"/>
                  </a:lnTo>
                  <a:lnTo>
                    <a:pt x="311" y="269"/>
                  </a:lnTo>
                  <a:lnTo>
                    <a:pt x="312" y="276"/>
                  </a:lnTo>
                  <a:lnTo>
                    <a:pt x="312" y="284"/>
                  </a:lnTo>
                  <a:lnTo>
                    <a:pt x="314" y="292"/>
                  </a:lnTo>
                  <a:lnTo>
                    <a:pt x="314" y="299"/>
                  </a:lnTo>
                  <a:lnTo>
                    <a:pt x="314" y="299"/>
                  </a:lnTo>
                  <a:lnTo>
                    <a:pt x="314" y="307"/>
                  </a:lnTo>
                  <a:lnTo>
                    <a:pt x="312" y="314"/>
                  </a:lnTo>
                  <a:lnTo>
                    <a:pt x="311" y="320"/>
                  </a:lnTo>
                  <a:lnTo>
                    <a:pt x="307" y="324"/>
                  </a:lnTo>
                  <a:lnTo>
                    <a:pt x="305" y="328"/>
                  </a:lnTo>
                  <a:lnTo>
                    <a:pt x="303" y="334"/>
                  </a:lnTo>
                  <a:lnTo>
                    <a:pt x="301" y="339"/>
                  </a:lnTo>
                  <a:lnTo>
                    <a:pt x="301" y="347"/>
                  </a:lnTo>
                  <a:lnTo>
                    <a:pt x="301" y="347"/>
                  </a:lnTo>
                  <a:lnTo>
                    <a:pt x="301" y="351"/>
                  </a:lnTo>
                  <a:lnTo>
                    <a:pt x="303" y="355"/>
                  </a:lnTo>
                  <a:lnTo>
                    <a:pt x="307" y="356"/>
                  </a:lnTo>
                  <a:lnTo>
                    <a:pt x="312" y="358"/>
                  </a:lnTo>
                  <a:lnTo>
                    <a:pt x="316" y="358"/>
                  </a:lnTo>
                  <a:lnTo>
                    <a:pt x="322" y="358"/>
                  </a:lnTo>
                  <a:lnTo>
                    <a:pt x="328" y="358"/>
                  </a:lnTo>
                  <a:lnTo>
                    <a:pt x="332" y="360"/>
                  </a:lnTo>
                  <a:lnTo>
                    <a:pt x="332" y="360"/>
                  </a:lnTo>
                  <a:lnTo>
                    <a:pt x="341" y="362"/>
                  </a:lnTo>
                  <a:lnTo>
                    <a:pt x="351" y="364"/>
                  </a:lnTo>
                  <a:lnTo>
                    <a:pt x="360" y="364"/>
                  </a:lnTo>
                  <a:lnTo>
                    <a:pt x="370" y="362"/>
                  </a:lnTo>
                  <a:lnTo>
                    <a:pt x="377" y="360"/>
                  </a:lnTo>
                  <a:lnTo>
                    <a:pt x="387" y="356"/>
                  </a:lnTo>
                  <a:lnTo>
                    <a:pt x="394" y="353"/>
                  </a:lnTo>
                  <a:lnTo>
                    <a:pt x="404" y="349"/>
                  </a:lnTo>
                  <a:lnTo>
                    <a:pt x="412" y="343"/>
                  </a:lnTo>
                  <a:lnTo>
                    <a:pt x="419" y="337"/>
                  </a:lnTo>
                  <a:lnTo>
                    <a:pt x="425" y="332"/>
                  </a:lnTo>
                  <a:lnTo>
                    <a:pt x="433" y="326"/>
                  </a:lnTo>
                  <a:lnTo>
                    <a:pt x="438" y="320"/>
                  </a:lnTo>
                  <a:lnTo>
                    <a:pt x="444" y="314"/>
                  </a:lnTo>
                  <a:lnTo>
                    <a:pt x="450" y="309"/>
                  </a:lnTo>
                  <a:lnTo>
                    <a:pt x="454" y="305"/>
                  </a:lnTo>
                  <a:lnTo>
                    <a:pt x="454" y="305"/>
                  </a:lnTo>
                  <a:lnTo>
                    <a:pt x="459" y="297"/>
                  </a:lnTo>
                  <a:lnTo>
                    <a:pt x="463" y="288"/>
                  </a:lnTo>
                  <a:lnTo>
                    <a:pt x="465" y="280"/>
                  </a:lnTo>
                  <a:lnTo>
                    <a:pt x="469" y="271"/>
                  </a:lnTo>
                  <a:lnTo>
                    <a:pt x="473" y="261"/>
                  </a:lnTo>
                  <a:lnTo>
                    <a:pt x="477" y="255"/>
                  </a:lnTo>
                  <a:lnTo>
                    <a:pt x="486" y="250"/>
                  </a:lnTo>
                  <a:lnTo>
                    <a:pt x="497" y="248"/>
                  </a:lnTo>
                  <a:lnTo>
                    <a:pt x="497" y="248"/>
                  </a:lnTo>
                  <a:lnTo>
                    <a:pt x="507" y="250"/>
                  </a:lnTo>
                  <a:lnTo>
                    <a:pt x="515" y="252"/>
                  </a:lnTo>
                  <a:lnTo>
                    <a:pt x="520" y="255"/>
                  </a:lnTo>
                  <a:lnTo>
                    <a:pt x="528" y="261"/>
                  </a:lnTo>
                  <a:lnTo>
                    <a:pt x="534" y="265"/>
                  </a:lnTo>
                  <a:lnTo>
                    <a:pt x="539" y="271"/>
                  </a:lnTo>
                  <a:lnTo>
                    <a:pt x="545" y="274"/>
                  </a:lnTo>
                  <a:lnTo>
                    <a:pt x="551" y="278"/>
                  </a:lnTo>
                  <a:lnTo>
                    <a:pt x="551" y="278"/>
                  </a:lnTo>
                  <a:lnTo>
                    <a:pt x="560" y="278"/>
                  </a:lnTo>
                  <a:lnTo>
                    <a:pt x="570" y="278"/>
                  </a:lnTo>
                  <a:lnTo>
                    <a:pt x="578" y="278"/>
                  </a:lnTo>
                  <a:lnTo>
                    <a:pt x="585" y="278"/>
                  </a:lnTo>
                  <a:lnTo>
                    <a:pt x="593" y="278"/>
                  </a:lnTo>
                  <a:lnTo>
                    <a:pt x="599" y="278"/>
                  </a:lnTo>
                  <a:lnTo>
                    <a:pt x="604" y="278"/>
                  </a:lnTo>
                  <a:lnTo>
                    <a:pt x="608" y="278"/>
                  </a:lnTo>
                  <a:lnTo>
                    <a:pt x="614" y="278"/>
                  </a:lnTo>
                  <a:lnTo>
                    <a:pt x="618" y="278"/>
                  </a:lnTo>
                  <a:lnTo>
                    <a:pt x="621" y="278"/>
                  </a:lnTo>
                  <a:lnTo>
                    <a:pt x="627" y="278"/>
                  </a:lnTo>
                  <a:lnTo>
                    <a:pt x="631" y="278"/>
                  </a:lnTo>
                  <a:lnTo>
                    <a:pt x="635" y="278"/>
                  </a:lnTo>
                  <a:lnTo>
                    <a:pt x="641" y="278"/>
                  </a:lnTo>
                  <a:lnTo>
                    <a:pt x="644" y="278"/>
                  </a:lnTo>
                  <a:lnTo>
                    <a:pt x="644" y="278"/>
                  </a:lnTo>
                  <a:lnTo>
                    <a:pt x="652" y="278"/>
                  </a:lnTo>
                  <a:lnTo>
                    <a:pt x="660" y="276"/>
                  </a:lnTo>
                  <a:lnTo>
                    <a:pt x="665" y="274"/>
                  </a:lnTo>
                  <a:lnTo>
                    <a:pt x="671" y="272"/>
                  </a:lnTo>
                  <a:lnTo>
                    <a:pt x="675" y="271"/>
                  </a:lnTo>
                  <a:lnTo>
                    <a:pt x="679" y="267"/>
                  </a:lnTo>
                  <a:lnTo>
                    <a:pt x="683" y="263"/>
                  </a:lnTo>
                  <a:lnTo>
                    <a:pt x="684" y="259"/>
                  </a:lnTo>
                  <a:lnTo>
                    <a:pt x="688" y="253"/>
                  </a:lnTo>
                  <a:lnTo>
                    <a:pt x="690" y="248"/>
                  </a:lnTo>
                  <a:lnTo>
                    <a:pt x="694" y="244"/>
                  </a:lnTo>
                  <a:lnTo>
                    <a:pt x="696" y="236"/>
                  </a:lnTo>
                  <a:lnTo>
                    <a:pt x="698" y="231"/>
                  </a:lnTo>
                  <a:lnTo>
                    <a:pt x="700" y="225"/>
                  </a:lnTo>
                  <a:lnTo>
                    <a:pt x="702" y="217"/>
                  </a:lnTo>
                  <a:lnTo>
                    <a:pt x="704" y="210"/>
                  </a:lnTo>
                  <a:lnTo>
                    <a:pt x="704" y="210"/>
                  </a:lnTo>
                  <a:lnTo>
                    <a:pt x="707" y="206"/>
                  </a:lnTo>
                  <a:lnTo>
                    <a:pt x="709" y="204"/>
                  </a:lnTo>
                  <a:lnTo>
                    <a:pt x="715" y="202"/>
                  </a:lnTo>
                  <a:lnTo>
                    <a:pt x="719" y="202"/>
                  </a:lnTo>
                  <a:lnTo>
                    <a:pt x="724" y="202"/>
                  </a:lnTo>
                  <a:lnTo>
                    <a:pt x="730" y="200"/>
                  </a:lnTo>
                  <a:lnTo>
                    <a:pt x="734" y="200"/>
                  </a:lnTo>
                  <a:lnTo>
                    <a:pt x="738" y="198"/>
                  </a:lnTo>
                  <a:lnTo>
                    <a:pt x="738" y="198"/>
                  </a:lnTo>
                  <a:lnTo>
                    <a:pt x="744" y="194"/>
                  </a:lnTo>
                  <a:lnTo>
                    <a:pt x="749" y="190"/>
                  </a:lnTo>
                  <a:lnTo>
                    <a:pt x="753" y="187"/>
                  </a:lnTo>
                  <a:lnTo>
                    <a:pt x="757" y="183"/>
                  </a:lnTo>
                  <a:lnTo>
                    <a:pt x="761" y="179"/>
                  </a:lnTo>
                  <a:lnTo>
                    <a:pt x="765" y="175"/>
                  </a:lnTo>
                  <a:lnTo>
                    <a:pt x="768" y="169"/>
                  </a:lnTo>
                  <a:lnTo>
                    <a:pt x="770" y="166"/>
                  </a:lnTo>
                  <a:lnTo>
                    <a:pt x="774" y="160"/>
                  </a:lnTo>
                  <a:lnTo>
                    <a:pt x="776" y="156"/>
                  </a:lnTo>
                  <a:lnTo>
                    <a:pt x="778" y="150"/>
                  </a:lnTo>
                  <a:lnTo>
                    <a:pt x="782" y="147"/>
                  </a:lnTo>
                  <a:lnTo>
                    <a:pt x="784" y="141"/>
                  </a:lnTo>
                  <a:lnTo>
                    <a:pt x="786" y="137"/>
                  </a:lnTo>
                  <a:lnTo>
                    <a:pt x="789" y="131"/>
                  </a:lnTo>
                  <a:lnTo>
                    <a:pt x="793" y="128"/>
                  </a:lnTo>
                  <a:lnTo>
                    <a:pt x="793" y="128"/>
                  </a:lnTo>
                  <a:lnTo>
                    <a:pt x="797" y="122"/>
                  </a:lnTo>
                  <a:lnTo>
                    <a:pt x="803" y="118"/>
                  </a:lnTo>
                  <a:lnTo>
                    <a:pt x="808" y="116"/>
                  </a:lnTo>
                  <a:lnTo>
                    <a:pt x="814" y="112"/>
                  </a:lnTo>
                  <a:lnTo>
                    <a:pt x="818" y="108"/>
                  </a:lnTo>
                  <a:lnTo>
                    <a:pt x="824" y="107"/>
                  </a:lnTo>
                  <a:lnTo>
                    <a:pt x="827" y="103"/>
                  </a:lnTo>
                  <a:lnTo>
                    <a:pt x="831" y="101"/>
                  </a:lnTo>
                  <a:lnTo>
                    <a:pt x="831" y="101"/>
                  </a:lnTo>
                  <a:lnTo>
                    <a:pt x="839" y="93"/>
                  </a:lnTo>
                  <a:lnTo>
                    <a:pt x="845" y="86"/>
                  </a:lnTo>
                  <a:lnTo>
                    <a:pt x="850" y="78"/>
                  </a:lnTo>
                  <a:lnTo>
                    <a:pt x="856" y="68"/>
                  </a:lnTo>
                  <a:lnTo>
                    <a:pt x="862" y="63"/>
                  </a:lnTo>
                  <a:lnTo>
                    <a:pt x="868" y="55"/>
                  </a:lnTo>
                  <a:lnTo>
                    <a:pt x="875" y="47"/>
                  </a:lnTo>
                  <a:lnTo>
                    <a:pt x="885" y="42"/>
                  </a:lnTo>
                  <a:lnTo>
                    <a:pt x="885" y="42"/>
                  </a:lnTo>
                  <a:lnTo>
                    <a:pt x="889" y="40"/>
                  </a:lnTo>
                  <a:lnTo>
                    <a:pt x="892" y="40"/>
                  </a:lnTo>
                  <a:lnTo>
                    <a:pt x="896" y="40"/>
                  </a:lnTo>
                  <a:lnTo>
                    <a:pt x="902" y="40"/>
                  </a:lnTo>
                  <a:lnTo>
                    <a:pt x="908" y="40"/>
                  </a:lnTo>
                  <a:lnTo>
                    <a:pt x="911" y="40"/>
                  </a:lnTo>
                  <a:lnTo>
                    <a:pt x="917" y="40"/>
                  </a:lnTo>
                  <a:lnTo>
                    <a:pt x="921" y="40"/>
                  </a:lnTo>
                  <a:lnTo>
                    <a:pt x="921" y="40"/>
                  </a:lnTo>
                  <a:lnTo>
                    <a:pt x="927" y="38"/>
                  </a:lnTo>
                  <a:lnTo>
                    <a:pt x="932" y="34"/>
                  </a:lnTo>
                  <a:lnTo>
                    <a:pt x="942" y="28"/>
                  </a:lnTo>
                  <a:lnTo>
                    <a:pt x="951" y="23"/>
                  </a:lnTo>
                  <a:lnTo>
                    <a:pt x="959" y="17"/>
                  </a:lnTo>
                  <a:lnTo>
                    <a:pt x="969" y="11"/>
                  </a:lnTo>
                  <a:lnTo>
                    <a:pt x="976" y="5"/>
                  </a:lnTo>
                  <a:lnTo>
                    <a:pt x="982" y="0"/>
                  </a:lnTo>
                  <a:lnTo>
                    <a:pt x="982" y="0"/>
                  </a:lnTo>
                  <a:lnTo>
                    <a:pt x="988" y="2"/>
                  </a:lnTo>
                  <a:lnTo>
                    <a:pt x="995" y="4"/>
                  </a:lnTo>
                  <a:lnTo>
                    <a:pt x="1003" y="4"/>
                  </a:lnTo>
                  <a:lnTo>
                    <a:pt x="1011" y="5"/>
                  </a:lnTo>
                  <a:lnTo>
                    <a:pt x="1018" y="7"/>
                  </a:lnTo>
                  <a:lnTo>
                    <a:pt x="1026" y="11"/>
                  </a:lnTo>
                  <a:lnTo>
                    <a:pt x="1030" y="15"/>
                  </a:lnTo>
                  <a:lnTo>
                    <a:pt x="1035" y="21"/>
                  </a:lnTo>
                  <a:lnTo>
                    <a:pt x="1035" y="21"/>
                  </a:lnTo>
                  <a:lnTo>
                    <a:pt x="1045" y="21"/>
                  </a:lnTo>
                  <a:lnTo>
                    <a:pt x="1053" y="21"/>
                  </a:lnTo>
                  <a:lnTo>
                    <a:pt x="1060" y="21"/>
                  </a:lnTo>
                  <a:lnTo>
                    <a:pt x="1066" y="21"/>
                  </a:lnTo>
                  <a:lnTo>
                    <a:pt x="1072" y="21"/>
                  </a:lnTo>
                  <a:lnTo>
                    <a:pt x="1075" y="21"/>
                  </a:lnTo>
                  <a:lnTo>
                    <a:pt x="1081" y="21"/>
                  </a:lnTo>
                  <a:lnTo>
                    <a:pt x="1085" y="21"/>
                  </a:lnTo>
                  <a:lnTo>
                    <a:pt x="1087" y="21"/>
                  </a:lnTo>
                  <a:lnTo>
                    <a:pt x="1091" y="21"/>
                  </a:lnTo>
                  <a:lnTo>
                    <a:pt x="1095" y="21"/>
                  </a:lnTo>
                  <a:lnTo>
                    <a:pt x="1096" y="21"/>
                  </a:lnTo>
                  <a:lnTo>
                    <a:pt x="1100" y="21"/>
                  </a:lnTo>
                  <a:lnTo>
                    <a:pt x="1104" y="21"/>
                  </a:lnTo>
                  <a:lnTo>
                    <a:pt x="1108" y="21"/>
                  </a:lnTo>
                  <a:lnTo>
                    <a:pt x="1112" y="21"/>
                  </a:lnTo>
                  <a:lnTo>
                    <a:pt x="1114" y="21"/>
                  </a:lnTo>
                  <a:lnTo>
                    <a:pt x="1114" y="21"/>
                  </a:lnTo>
                  <a:lnTo>
                    <a:pt x="1114" y="28"/>
                  </a:lnTo>
                  <a:lnTo>
                    <a:pt x="1114" y="38"/>
                  </a:lnTo>
                  <a:lnTo>
                    <a:pt x="1116" y="45"/>
                  </a:lnTo>
                  <a:lnTo>
                    <a:pt x="1117" y="53"/>
                  </a:lnTo>
                  <a:lnTo>
                    <a:pt x="1119" y="63"/>
                  </a:lnTo>
                  <a:lnTo>
                    <a:pt x="1121" y="70"/>
                  </a:lnTo>
                  <a:lnTo>
                    <a:pt x="1123" y="78"/>
                  </a:lnTo>
                  <a:lnTo>
                    <a:pt x="1125" y="87"/>
                  </a:lnTo>
                  <a:lnTo>
                    <a:pt x="1125" y="99"/>
                  </a:lnTo>
                  <a:lnTo>
                    <a:pt x="1125" y="99"/>
                  </a:lnTo>
                  <a:lnTo>
                    <a:pt x="1127" y="103"/>
                  </a:lnTo>
                  <a:lnTo>
                    <a:pt x="1129" y="107"/>
                  </a:lnTo>
                  <a:lnTo>
                    <a:pt x="1131" y="112"/>
                  </a:lnTo>
                  <a:lnTo>
                    <a:pt x="1135" y="116"/>
                  </a:lnTo>
                  <a:lnTo>
                    <a:pt x="1137" y="120"/>
                  </a:lnTo>
                  <a:lnTo>
                    <a:pt x="1138" y="126"/>
                  </a:lnTo>
                  <a:lnTo>
                    <a:pt x="1140" y="129"/>
                  </a:lnTo>
                  <a:lnTo>
                    <a:pt x="1142" y="135"/>
                  </a:lnTo>
                  <a:lnTo>
                    <a:pt x="1144" y="141"/>
                  </a:lnTo>
                  <a:lnTo>
                    <a:pt x="1146" y="147"/>
                  </a:lnTo>
                  <a:lnTo>
                    <a:pt x="1148" y="152"/>
                  </a:lnTo>
                  <a:lnTo>
                    <a:pt x="1150" y="158"/>
                  </a:lnTo>
                  <a:lnTo>
                    <a:pt x="1150" y="164"/>
                  </a:lnTo>
                  <a:lnTo>
                    <a:pt x="1152" y="169"/>
                  </a:lnTo>
                  <a:lnTo>
                    <a:pt x="1152" y="175"/>
                  </a:lnTo>
                  <a:lnTo>
                    <a:pt x="1152" y="181"/>
                  </a:lnTo>
                  <a:lnTo>
                    <a:pt x="1152" y="181"/>
                  </a:lnTo>
                  <a:lnTo>
                    <a:pt x="1152" y="185"/>
                  </a:lnTo>
                  <a:lnTo>
                    <a:pt x="1152" y="189"/>
                  </a:lnTo>
                  <a:lnTo>
                    <a:pt x="1152" y="192"/>
                  </a:lnTo>
                  <a:lnTo>
                    <a:pt x="1152" y="196"/>
                  </a:lnTo>
                  <a:lnTo>
                    <a:pt x="1152" y="200"/>
                  </a:lnTo>
                  <a:lnTo>
                    <a:pt x="1152" y="206"/>
                  </a:lnTo>
                  <a:lnTo>
                    <a:pt x="1152" y="210"/>
                  </a:lnTo>
                  <a:lnTo>
                    <a:pt x="1152" y="213"/>
                  </a:lnTo>
                  <a:lnTo>
                    <a:pt x="1152" y="219"/>
                  </a:lnTo>
                  <a:lnTo>
                    <a:pt x="1150" y="223"/>
                  </a:lnTo>
                  <a:lnTo>
                    <a:pt x="1150" y="227"/>
                  </a:lnTo>
                  <a:lnTo>
                    <a:pt x="1150" y="232"/>
                  </a:lnTo>
                  <a:lnTo>
                    <a:pt x="1148" y="236"/>
                  </a:lnTo>
                  <a:lnTo>
                    <a:pt x="1148" y="240"/>
                  </a:lnTo>
                  <a:lnTo>
                    <a:pt x="1146" y="244"/>
                  </a:lnTo>
                  <a:lnTo>
                    <a:pt x="1144" y="248"/>
                  </a:lnTo>
                  <a:lnTo>
                    <a:pt x="1144" y="288"/>
                  </a:lnTo>
                  <a:lnTo>
                    <a:pt x="1138" y="299"/>
                  </a:lnTo>
                </a:path>
              </a:pathLst>
            </a:custGeom>
            <a:solidFill>
              <a:schemeClr val="hlink"/>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8" name="Freeform 122"/>
            <p:cNvSpPr>
              <a:spLocks/>
            </p:cNvSpPr>
            <p:nvPr/>
          </p:nvSpPr>
          <p:spPr bwMode="gray">
            <a:xfrm>
              <a:off x="2736" y="3604"/>
              <a:ext cx="109" cy="88"/>
            </a:xfrm>
            <a:custGeom>
              <a:avLst/>
              <a:gdLst/>
              <a:ahLst/>
              <a:cxnLst>
                <a:cxn ang="0">
                  <a:pos x="66" y="20"/>
                </a:cxn>
                <a:cxn ang="0">
                  <a:pos x="74" y="14"/>
                </a:cxn>
                <a:cxn ang="0">
                  <a:pos x="87" y="8"/>
                </a:cxn>
                <a:cxn ang="0">
                  <a:pos x="103" y="4"/>
                </a:cxn>
                <a:cxn ang="0">
                  <a:pos x="112" y="0"/>
                </a:cxn>
                <a:cxn ang="0">
                  <a:pos x="114" y="2"/>
                </a:cxn>
                <a:cxn ang="0">
                  <a:pos x="124" y="4"/>
                </a:cxn>
                <a:cxn ang="0">
                  <a:pos x="135" y="6"/>
                </a:cxn>
                <a:cxn ang="0">
                  <a:pos x="149" y="12"/>
                </a:cxn>
                <a:cxn ang="0">
                  <a:pos x="162" y="18"/>
                </a:cxn>
                <a:cxn ang="0">
                  <a:pos x="175" y="23"/>
                </a:cxn>
                <a:cxn ang="0">
                  <a:pos x="185" y="31"/>
                </a:cxn>
                <a:cxn ang="0">
                  <a:pos x="190" y="37"/>
                </a:cxn>
                <a:cxn ang="0">
                  <a:pos x="190" y="40"/>
                </a:cxn>
                <a:cxn ang="0">
                  <a:pos x="189" y="46"/>
                </a:cxn>
                <a:cxn ang="0">
                  <a:pos x="185" y="56"/>
                </a:cxn>
                <a:cxn ang="0">
                  <a:pos x="175" y="69"/>
                </a:cxn>
                <a:cxn ang="0">
                  <a:pos x="166" y="82"/>
                </a:cxn>
                <a:cxn ang="0">
                  <a:pos x="156" y="94"/>
                </a:cxn>
                <a:cxn ang="0">
                  <a:pos x="149" y="105"/>
                </a:cxn>
                <a:cxn ang="0">
                  <a:pos x="141" y="113"/>
                </a:cxn>
                <a:cxn ang="0">
                  <a:pos x="137" y="117"/>
                </a:cxn>
                <a:cxn ang="0">
                  <a:pos x="135" y="119"/>
                </a:cxn>
                <a:cxn ang="0">
                  <a:pos x="126" y="121"/>
                </a:cxn>
                <a:cxn ang="0">
                  <a:pos x="116" y="119"/>
                </a:cxn>
                <a:cxn ang="0">
                  <a:pos x="107" y="119"/>
                </a:cxn>
                <a:cxn ang="0">
                  <a:pos x="103" y="119"/>
                </a:cxn>
                <a:cxn ang="0">
                  <a:pos x="91" y="128"/>
                </a:cxn>
                <a:cxn ang="0">
                  <a:pos x="84" y="144"/>
                </a:cxn>
                <a:cxn ang="0">
                  <a:pos x="76" y="155"/>
                </a:cxn>
                <a:cxn ang="0">
                  <a:pos x="61" y="161"/>
                </a:cxn>
                <a:cxn ang="0">
                  <a:pos x="55" y="161"/>
                </a:cxn>
                <a:cxn ang="0">
                  <a:pos x="46" y="155"/>
                </a:cxn>
                <a:cxn ang="0">
                  <a:pos x="36" y="147"/>
                </a:cxn>
                <a:cxn ang="0">
                  <a:pos x="26" y="136"/>
                </a:cxn>
                <a:cxn ang="0">
                  <a:pos x="19" y="123"/>
                </a:cxn>
                <a:cxn ang="0">
                  <a:pos x="13" y="107"/>
                </a:cxn>
                <a:cxn ang="0">
                  <a:pos x="7" y="96"/>
                </a:cxn>
                <a:cxn ang="0">
                  <a:pos x="2" y="84"/>
                </a:cxn>
                <a:cxn ang="0">
                  <a:pos x="17" y="75"/>
                </a:cxn>
              </a:cxnLst>
              <a:rect l="0" t="0" r="r" b="b"/>
              <a:pathLst>
                <a:path w="190" h="161">
                  <a:moveTo>
                    <a:pt x="66" y="20"/>
                  </a:moveTo>
                  <a:lnTo>
                    <a:pt x="66" y="20"/>
                  </a:lnTo>
                  <a:lnTo>
                    <a:pt x="68" y="18"/>
                  </a:lnTo>
                  <a:lnTo>
                    <a:pt x="74" y="14"/>
                  </a:lnTo>
                  <a:lnTo>
                    <a:pt x="80" y="12"/>
                  </a:lnTo>
                  <a:lnTo>
                    <a:pt x="87" y="8"/>
                  </a:lnTo>
                  <a:lnTo>
                    <a:pt x="95" y="6"/>
                  </a:lnTo>
                  <a:lnTo>
                    <a:pt x="103" y="4"/>
                  </a:lnTo>
                  <a:lnTo>
                    <a:pt x="108" y="2"/>
                  </a:lnTo>
                  <a:lnTo>
                    <a:pt x="112" y="0"/>
                  </a:lnTo>
                  <a:lnTo>
                    <a:pt x="112" y="0"/>
                  </a:lnTo>
                  <a:lnTo>
                    <a:pt x="114" y="2"/>
                  </a:lnTo>
                  <a:lnTo>
                    <a:pt x="118" y="2"/>
                  </a:lnTo>
                  <a:lnTo>
                    <a:pt x="124" y="4"/>
                  </a:lnTo>
                  <a:lnTo>
                    <a:pt x="129" y="4"/>
                  </a:lnTo>
                  <a:lnTo>
                    <a:pt x="135" y="6"/>
                  </a:lnTo>
                  <a:lnTo>
                    <a:pt x="141" y="10"/>
                  </a:lnTo>
                  <a:lnTo>
                    <a:pt x="149" y="12"/>
                  </a:lnTo>
                  <a:lnTo>
                    <a:pt x="156" y="14"/>
                  </a:lnTo>
                  <a:lnTo>
                    <a:pt x="162" y="18"/>
                  </a:lnTo>
                  <a:lnTo>
                    <a:pt x="170" y="20"/>
                  </a:lnTo>
                  <a:lnTo>
                    <a:pt x="175" y="23"/>
                  </a:lnTo>
                  <a:lnTo>
                    <a:pt x="181" y="27"/>
                  </a:lnTo>
                  <a:lnTo>
                    <a:pt x="185" y="31"/>
                  </a:lnTo>
                  <a:lnTo>
                    <a:pt x="189" y="33"/>
                  </a:lnTo>
                  <a:lnTo>
                    <a:pt x="190" y="37"/>
                  </a:lnTo>
                  <a:lnTo>
                    <a:pt x="190" y="40"/>
                  </a:lnTo>
                  <a:lnTo>
                    <a:pt x="190" y="40"/>
                  </a:lnTo>
                  <a:lnTo>
                    <a:pt x="190" y="42"/>
                  </a:lnTo>
                  <a:lnTo>
                    <a:pt x="189" y="46"/>
                  </a:lnTo>
                  <a:lnTo>
                    <a:pt x="187" y="50"/>
                  </a:lnTo>
                  <a:lnTo>
                    <a:pt x="185" y="56"/>
                  </a:lnTo>
                  <a:lnTo>
                    <a:pt x="179" y="61"/>
                  </a:lnTo>
                  <a:lnTo>
                    <a:pt x="175" y="69"/>
                  </a:lnTo>
                  <a:lnTo>
                    <a:pt x="171" y="75"/>
                  </a:lnTo>
                  <a:lnTo>
                    <a:pt x="166" y="82"/>
                  </a:lnTo>
                  <a:lnTo>
                    <a:pt x="162" y="88"/>
                  </a:lnTo>
                  <a:lnTo>
                    <a:pt x="156" y="94"/>
                  </a:lnTo>
                  <a:lnTo>
                    <a:pt x="152" y="100"/>
                  </a:lnTo>
                  <a:lnTo>
                    <a:pt x="149" y="105"/>
                  </a:lnTo>
                  <a:lnTo>
                    <a:pt x="145" y="109"/>
                  </a:lnTo>
                  <a:lnTo>
                    <a:pt x="141" y="113"/>
                  </a:lnTo>
                  <a:lnTo>
                    <a:pt x="139" y="117"/>
                  </a:lnTo>
                  <a:lnTo>
                    <a:pt x="137" y="117"/>
                  </a:lnTo>
                  <a:lnTo>
                    <a:pt x="137" y="117"/>
                  </a:lnTo>
                  <a:lnTo>
                    <a:pt x="135" y="119"/>
                  </a:lnTo>
                  <a:lnTo>
                    <a:pt x="129" y="121"/>
                  </a:lnTo>
                  <a:lnTo>
                    <a:pt x="126" y="121"/>
                  </a:lnTo>
                  <a:lnTo>
                    <a:pt x="120" y="121"/>
                  </a:lnTo>
                  <a:lnTo>
                    <a:pt x="116" y="119"/>
                  </a:lnTo>
                  <a:lnTo>
                    <a:pt x="110" y="119"/>
                  </a:lnTo>
                  <a:lnTo>
                    <a:pt x="107" y="119"/>
                  </a:lnTo>
                  <a:lnTo>
                    <a:pt x="103" y="119"/>
                  </a:lnTo>
                  <a:lnTo>
                    <a:pt x="103" y="119"/>
                  </a:lnTo>
                  <a:lnTo>
                    <a:pt x="97" y="123"/>
                  </a:lnTo>
                  <a:lnTo>
                    <a:pt x="91" y="128"/>
                  </a:lnTo>
                  <a:lnTo>
                    <a:pt x="87" y="136"/>
                  </a:lnTo>
                  <a:lnTo>
                    <a:pt x="84" y="144"/>
                  </a:lnTo>
                  <a:lnTo>
                    <a:pt x="80" y="149"/>
                  </a:lnTo>
                  <a:lnTo>
                    <a:pt x="76" y="155"/>
                  </a:lnTo>
                  <a:lnTo>
                    <a:pt x="70" y="159"/>
                  </a:lnTo>
                  <a:lnTo>
                    <a:pt x="61" y="161"/>
                  </a:lnTo>
                  <a:lnTo>
                    <a:pt x="61" y="161"/>
                  </a:lnTo>
                  <a:lnTo>
                    <a:pt x="55" y="161"/>
                  </a:lnTo>
                  <a:lnTo>
                    <a:pt x="51" y="159"/>
                  </a:lnTo>
                  <a:lnTo>
                    <a:pt x="46" y="155"/>
                  </a:lnTo>
                  <a:lnTo>
                    <a:pt x="40" y="151"/>
                  </a:lnTo>
                  <a:lnTo>
                    <a:pt x="36" y="147"/>
                  </a:lnTo>
                  <a:lnTo>
                    <a:pt x="32" y="142"/>
                  </a:lnTo>
                  <a:lnTo>
                    <a:pt x="26" y="136"/>
                  </a:lnTo>
                  <a:lnTo>
                    <a:pt x="23" y="128"/>
                  </a:lnTo>
                  <a:lnTo>
                    <a:pt x="19" y="123"/>
                  </a:lnTo>
                  <a:lnTo>
                    <a:pt x="17" y="115"/>
                  </a:lnTo>
                  <a:lnTo>
                    <a:pt x="13" y="107"/>
                  </a:lnTo>
                  <a:lnTo>
                    <a:pt x="9" y="102"/>
                  </a:lnTo>
                  <a:lnTo>
                    <a:pt x="7" y="96"/>
                  </a:lnTo>
                  <a:lnTo>
                    <a:pt x="5" y="90"/>
                  </a:lnTo>
                  <a:lnTo>
                    <a:pt x="2" y="84"/>
                  </a:lnTo>
                  <a:lnTo>
                    <a:pt x="0" y="81"/>
                  </a:lnTo>
                  <a:lnTo>
                    <a:pt x="17" y="75"/>
                  </a:lnTo>
                  <a:lnTo>
                    <a:pt x="66" y="20"/>
                  </a:lnTo>
                </a:path>
              </a:pathLst>
            </a:custGeom>
            <a:solidFill>
              <a:schemeClr val="accent1"/>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79" name="Freeform 123"/>
            <p:cNvSpPr>
              <a:spLocks/>
            </p:cNvSpPr>
            <p:nvPr/>
          </p:nvSpPr>
          <p:spPr bwMode="gray">
            <a:xfrm>
              <a:off x="2092" y="3109"/>
              <a:ext cx="598" cy="505"/>
            </a:xfrm>
            <a:custGeom>
              <a:avLst/>
              <a:gdLst/>
              <a:ahLst/>
              <a:cxnLst>
                <a:cxn ang="0">
                  <a:pos x="80" y="189"/>
                </a:cxn>
                <a:cxn ang="0">
                  <a:pos x="132" y="276"/>
                </a:cxn>
                <a:cxn ang="0">
                  <a:pos x="187" y="362"/>
                </a:cxn>
                <a:cxn ang="0">
                  <a:pos x="215" y="410"/>
                </a:cxn>
                <a:cxn ang="0">
                  <a:pos x="235" y="427"/>
                </a:cxn>
                <a:cxn ang="0">
                  <a:pos x="248" y="456"/>
                </a:cxn>
                <a:cxn ang="0">
                  <a:pos x="214" y="486"/>
                </a:cxn>
                <a:cxn ang="0">
                  <a:pos x="214" y="486"/>
                </a:cxn>
                <a:cxn ang="0">
                  <a:pos x="223" y="555"/>
                </a:cxn>
                <a:cxn ang="0">
                  <a:pos x="235" y="584"/>
                </a:cxn>
                <a:cxn ang="0">
                  <a:pos x="244" y="612"/>
                </a:cxn>
                <a:cxn ang="0">
                  <a:pos x="248" y="631"/>
                </a:cxn>
                <a:cxn ang="0">
                  <a:pos x="248" y="650"/>
                </a:cxn>
                <a:cxn ang="0">
                  <a:pos x="248" y="671"/>
                </a:cxn>
                <a:cxn ang="0">
                  <a:pos x="263" y="700"/>
                </a:cxn>
                <a:cxn ang="0">
                  <a:pos x="277" y="774"/>
                </a:cxn>
                <a:cxn ang="0">
                  <a:pos x="303" y="820"/>
                </a:cxn>
                <a:cxn ang="0">
                  <a:pos x="339" y="860"/>
                </a:cxn>
                <a:cxn ang="0">
                  <a:pos x="378" y="893"/>
                </a:cxn>
                <a:cxn ang="0">
                  <a:pos x="393" y="868"/>
                </a:cxn>
                <a:cxn ang="0">
                  <a:pos x="412" y="849"/>
                </a:cxn>
                <a:cxn ang="0">
                  <a:pos x="442" y="877"/>
                </a:cxn>
                <a:cxn ang="0">
                  <a:pos x="458" y="902"/>
                </a:cxn>
                <a:cxn ang="0">
                  <a:pos x="486" y="912"/>
                </a:cxn>
                <a:cxn ang="0">
                  <a:pos x="525" y="916"/>
                </a:cxn>
                <a:cxn ang="0">
                  <a:pos x="557" y="918"/>
                </a:cxn>
                <a:cxn ang="0">
                  <a:pos x="576" y="912"/>
                </a:cxn>
                <a:cxn ang="0">
                  <a:pos x="597" y="897"/>
                </a:cxn>
                <a:cxn ang="0">
                  <a:pos x="622" y="883"/>
                </a:cxn>
                <a:cxn ang="0">
                  <a:pos x="631" y="391"/>
                </a:cxn>
                <a:cxn ang="0">
                  <a:pos x="893" y="70"/>
                </a:cxn>
                <a:cxn ang="0">
                  <a:pos x="916" y="88"/>
                </a:cxn>
                <a:cxn ang="0">
                  <a:pos x="933" y="99"/>
                </a:cxn>
                <a:cxn ang="0">
                  <a:pos x="954" y="82"/>
                </a:cxn>
                <a:cxn ang="0">
                  <a:pos x="975" y="67"/>
                </a:cxn>
                <a:cxn ang="0">
                  <a:pos x="1009" y="61"/>
                </a:cxn>
                <a:cxn ang="0">
                  <a:pos x="1034" y="61"/>
                </a:cxn>
                <a:cxn ang="0">
                  <a:pos x="1057" y="61"/>
                </a:cxn>
                <a:cxn ang="0">
                  <a:pos x="1028" y="40"/>
                </a:cxn>
                <a:cxn ang="0">
                  <a:pos x="994" y="34"/>
                </a:cxn>
                <a:cxn ang="0">
                  <a:pos x="950" y="38"/>
                </a:cxn>
                <a:cxn ang="0">
                  <a:pos x="906" y="44"/>
                </a:cxn>
                <a:cxn ang="0">
                  <a:pos x="864" y="51"/>
                </a:cxn>
                <a:cxn ang="0">
                  <a:pos x="822" y="61"/>
                </a:cxn>
                <a:cxn ang="0">
                  <a:pos x="776" y="67"/>
                </a:cxn>
                <a:cxn ang="0">
                  <a:pos x="729" y="70"/>
                </a:cxn>
                <a:cxn ang="0">
                  <a:pos x="685" y="70"/>
                </a:cxn>
                <a:cxn ang="0">
                  <a:pos x="624" y="67"/>
                </a:cxn>
                <a:cxn ang="0">
                  <a:pos x="568" y="57"/>
                </a:cxn>
                <a:cxn ang="0">
                  <a:pos x="536" y="48"/>
                </a:cxn>
                <a:cxn ang="0">
                  <a:pos x="519" y="32"/>
                </a:cxn>
                <a:cxn ang="0">
                  <a:pos x="168" y="23"/>
                </a:cxn>
                <a:cxn ang="0">
                  <a:pos x="135" y="2"/>
                </a:cxn>
                <a:cxn ang="0">
                  <a:pos x="97" y="2"/>
                </a:cxn>
                <a:cxn ang="0">
                  <a:pos x="63" y="11"/>
                </a:cxn>
                <a:cxn ang="0">
                  <a:pos x="34" y="9"/>
                </a:cxn>
                <a:cxn ang="0">
                  <a:pos x="0" y="11"/>
                </a:cxn>
                <a:cxn ang="0">
                  <a:pos x="11" y="65"/>
                </a:cxn>
                <a:cxn ang="0">
                  <a:pos x="29" y="93"/>
                </a:cxn>
                <a:cxn ang="0">
                  <a:pos x="44" y="124"/>
                </a:cxn>
              </a:cxnLst>
              <a:rect l="0" t="0" r="r" b="b"/>
              <a:pathLst>
                <a:path w="1057" h="918">
                  <a:moveTo>
                    <a:pt x="59" y="141"/>
                  </a:moveTo>
                  <a:lnTo>
                    <a:pt x="59" y="141"/>
                  </a:lnTo>
                  <a:lnTo>
                    <a:pt x="65" y="156"/>
                  </a:lnTo>
                  <a:lnTo>
                    <a:pt x="72" y="173"/>
                  </a:lnTo>
                  <a:lnTo>
                    <a:pt x="80" y="189"/>
                  </a:lnTo>
                  <a:lnTo>
                    <a:pt x="90" y="206"/>
                  </a:lnTo>
                  <a:lnTo>
                    <a:pt x="99" y="223"/>
                  </a:lnTo>
                  <a:lnTo>
                    <a:pt x="111" y="242"/>
                  </a:lnTo>
                  <a:lnTo>
                    <a:pt x="120" y="259"/>
                  </a:lnTo>
                  <a:lnTo>
                    <a:pt x="132" y="276"/>
                  </a:lnTo>
                  <a:lnTo>
                    <a:pt x="143" y="296"/>
                  </a:lnTo>
                  <a:lnTo>
                    <a:pt x="154" y="313"/>
                  </a:lnTo>
                  <a:lnTo>
                    <a:pt x="166" y="330"/>
                  </a:lnTo>
                  <a:lnTo>
                    <a:pt x="177" y="347"/>
                  </a:lnTo>
                  <a:lnTo>
                    <a:pt x="187" y="362"/>
                  </a:lnTo>
                  <a:lnTo>
                    <a:pt x="196" y="380"/>
                  </a:lnTo>
                  <a:lnTo>
                    <a:pt x="206" y="395"/>
                  </a:lnTo>
                  <a:lnTo>
                    <a:pt x="214" y="410"/>
                  </a:lnTo>
                  <a:lnTo>
                    <a:pt x="214" y="410"/>
                  </a:lnTo>
                  <a:lnTo>
                    <a:pt x="215" y="410"/>
                  </a:lnTo>
                  <a:lnTo>
                    <a:pt x="217" y="412"/>
                  </a:lnTo>
                  <a:lnTo>
                    <a:pt x="221" y="414"/>
                  </a:lnTo>
                  <a:lnTo>
                    <a:pt x="225" y="418"/>
                  </a:lnTo>
                  <a:lnTo>
                    <a:pt x="231" y="421"/>
                  </a:lnTo>
                  <a:lnTo>
                    <a:pt x="235" y="427"/>
                  </a:lnTo>
                  <a:lnTo>
                    <a:pt x="238" y="431"/>
                  </a:lnTo>
                  <a:lnTo>
                    <a:pt x="244" y="439"/>
                  </a:lnTo>
                  <a:lnTo>
                    <a:pt x="246" y="444"/>
                  </a:lnTo>
                  <a:lnTo>
                    <a:pt x="248" y="450"/>
                  </a:lnTo>
                  <a:lnTo>
                    <a:pt x="248" y="456"/>
                  </a:lnTo>
                  <a:lnTo>
                    <a:pt x="248" y="463"/>
                  </a:lnTo>
                  <a:lnTo>
                    <a:pt x="242" y="469"/>
                  </a:lnTo>
                  <a:lnTo>
                    <a:pt x="236" y="475"/>
                  </a:lnTo>
                  <a:lnTo>
                    <a:pt x="227" y="481"/>
                  </a:lnTo>
                  <a:lnTo>
                    <a:pt x="214" y="486"/>
                  </a:lnTo>
                  <a:lnTo>
                    <a:pt x="214" y="486"/>
                  </a:lnTo>
                  <a:lnTo>
                    <a:pt x="214" y="486"/>
                  </a:lnTo>
                  <a:lnTo>
                    <a:pt x="214" y="486"/>
                  </a:lnTo>
                  <a:lnTo>
                    <a:pt x="214" y="486"/>
                  </a:lnTo>
                  <a:lnTo>
                    <a:pt x="214" y="486"/>
                  </a:lnTo>
                  <a:lnTo>
                    <a:pt x="217" y="486"/>
                  </a:lnTo>
                  <a:lnTo>
                    <a:pt x="217" y="545"/>
                  </a:lnTo>
                  <a:lnTo>
                    <a:pt x="217" y="545"/>
                  </a:lnTo>
                  <a:lnTo>
                    <a:pt x="219" y="549"/>
                  </a:lnTo>
                  <a:lnTo>
                    <a:pt x="223" y="555"/>
                  </a:lnTo>
                  <a:lnTo>
                    <a:pt x="225" y="561"/>
                  </a:lnTo>
                  <a:lnTo>
                    <a:pt x="227" y="566"/>
                  </a:lnTo>
                  <a:lnTo>
                    <a:pt x="231" y="572"/>
                  </a:lnTo>
                  <a:lnTo>
                    <a:pt x="233" y="578"/>
                  </a:lnTo>
                  <a:lnTo>
                    <a:pt x="235" y="584"/>
                  </a:lnTo>
                  <a:lnTo>
                    <a:pt x="236" y="589"/>
                  </a:lnTo>
                  <a:lnTo>
                    <a:pt x="238" y="595"/>
                  </a:lnTo>
                  <a:lnTo>
                    <a:pt x="242" y="601"/>
                  </a:lnTo>
                  <a:lnTo>
                    <a:pt x="242" y="607"/>
                  </a:lnTo>
                  <a:lnTo>
                    <a:pt x="244" y="612"/>
                  </a:lnTo>
                  <a:lnTo>
                    <a:pt x="246" y="616"/>
                  </a:lnTo>
                  <a:lnTo>
                    <a:pt x="246" y="622"/>
                  </a:lnTo>
                  <a:lnTo>
                    <a:pt x="248" y="628"/>
                  </a:lnTo>
                  <a:lnTo>
                    <a:pt x="248" y="631"/>
                  </a:lnTo>
                  <a:lnTo>
                    <a:pt x="248" y="631"/>
                  </a:lnTo>
                  <a:lnTo>
                    <a:pt x="248" y="635"/>
                  </a:lnTo>
                  <a:lnTo>
                    <a:pt x="248" y="639"/>
                  </a:lnTo>
                  <a:lnTo>
                    <a:pt x="248" y="641"/>
                  </a:lnTo>
                  <a:lnTo>
                    <a:pt x="248" y="645"/>
                  </a:lnTo>
                  <a:lnTo>
                    <a:pt x="248" y="650"/>
                  </a:lnTo>
                  <a:lnTo>
                    <a:pt x="248" y="654"/>
                  </a:lnTo>
                  <a:lnTo>
                    <a:pt x="248" y="660"/>
                  </a:lnTo>
                  <a:lnTo>
                    <a:pt x="248" y="666"/>
                  </a:lnTo>
                  <a:lnTo>
                    <a:pt x="248" y="666"/>
                  </a:lnTo>
                  <a:lnTo>
                    <a:pt x="248" y="671"/>
                  </a:lnTo>
                  <a:lnTo>
                    <a:pt x="250" y="677"/>
                  </a:lnTo>
                  <a:lnTo>
                    <a:pt x="252" y="685"/>
                  </a:lnTo>
                  <a:lnTo>
                    <a:pt x="256" y="690"/>
                  </a:lnTo>
                  <a:lnTo>
                    <a:pt x="259" y="696"/>
                  </a:lnTo>
                  <a:lnTo>
                    <a:pt x="263" y="700"/>
                  </a:lnTo>
                  <a:lnTo>
                    <a:pt x="267" y="706"/>
                  </a:lnTo>
                  <a:lnTo>
                    <a:pt x="271" y="708"/>
                  </a:lnTo>
                  <a:lnTo>
                    <a:pt x="271" y="763"/>
                  </a:lnTo>
                  <a:lnTo>
                    <a:pt x="271" y="763"/>
                  </a:lnTo>
                  <a:lnTo>
                    <a:pt x="277" y="774"/>
                  </a:lnTo>
                  <a:lnTo>
                    <a:pt x="280" y="784"/>
                  </a:lnTo>
                  <a:lnTo>
                    <a:pt x="286" y="793"/>
                  </a:lnTo>
                  <a:lnTo>
                    <a:pt x="292" y="803"/>
                  </a:lnTo>
                  <a:lnTo>
                    <a:pt x="298" y="811"/>
                  </a:lnTo>
                  <a:lnTo>
                    <a:pt x="303" y="820"/>
                  </a:lnTo>
                  <a:lnTo>
                    <a:pt x="311" y="828"/>
                  </a:lnTo>
                  <a:lnTo>
                    <a:pt x="317" y="837"/>
                  </a:lnTo>
                  <a:lnTo>
                    <a:pt x="324" y="845"/>
                  </a:lnTo>
                  <a:lnTo>
                    <a:pt x="332" y="853"/>
                  </a:lnTo>
                  <a:lnTo>
                    <a:pt x="339" y="860"/>
                  </a:lnTo>
                  <a:lnTo>
                    <a:pt x="347" y="868"/>
                  </a:lnTo>
                  <a:lnTo>
                    <a:pt x="353" y="874"/>
                  </a:lnTo>
                  <a:lnTo>
                    <a:pt x="362" y="881"/>
                  </a:lnTo>
                  <a:lnTo>
                    <a:pt x="370" y="887"/>
                  </a:lnTo>
                  <a:lnTo>
                    <a:pt x="378" y="893"/>
                  </a:lnTo>
                  <a:lnTo>
                    <a:pt x="378" y="893"/>
                  </a:lnTo>
                  <a:lnTo>
                    <a:pt x="383" y="889"/>
                  </a:lnTo>
                  <a:lnTo>
                    <a:pt x="387" y="883"/>
                  </a:lnTo>
                  <a:lnTo>
                    <a:pt x="391" y="876"/>
                  </a:lnTo>
                  <a:lnTo>
                    <a:pt x="393" y="868"/>
                  </a:lnTo>
                  <a:lnTo>
                    <a:pt x="395" y="860"/>
                  </a:lnTo>
                  <a:lnTo>
                    <a:pt x="399" y="855"/>
                  </a:lnTo>
                  <a:lnTo>
                    <a:pt x="404" y="851"/>
                  </a:lnTo>
                  <a:lnTo>
                    <a:pt x="412" y="849"/>
                  </a:lnTo>
                  <a:lnTo>
                    <a:pt x="412" y="849"/>
                  </a:lnTo>
                  <a:lnTo>
                    <a:pt x="422" y="851"/>
                  </a:lnTo>
                  <a:lnTo>
                    <a:pt x="429" y="856"/>
                  </a:lnTo>
                  <a:lnTo>
                    <a:pt x="435" y="862"/>
                  </a:lnTo>
                  <a:lnTo>
                    <a:pt x="439" y="870"/>
                  </a:lnTo>
                  <a:lnTo>
                    <a:pt x="442" y="877"/>
                  </a:lnTo>
                  <a:lnTo>
                    <a:pt x="446" y="887"/>
                  </a:lnTo>
                  <a:lnTo>
                    <a:pt x="450" y="895"/>
                  </a:lnTo>
                  <a:lnTo>
                    <a:pt x="454" y="900"/>
                  </a:lnTo>
                  <a:lnTo>
                    <a:pt x="454" y="900"/>
                  </a:lnTo>
                  <a:lnTo>
                    <a:pt x="458" y="902"/>
                  </a:lnTo>
                  <a:lnTo>
                    <a:pt x="462" y="906"/>
                  </a:lnTo>
                  <a:lnTo>
                    <a:pt x="467" y="908"/>
                  </a:lnTo>
                  <a:lnTo>
                    <a:pt x="473" y="910"/>
                  </a:lnTo>
                  <a:lnTo>
                    <a:pt x="481" y="912"/>
                  </a:lnTo>
                  <a:lnTo>
                    <a:pt x="486" y="912"/>
                  </a:lnTo>
                  <a:lnTo>
                    <a:pt x="494" y="914"/>
                  </a:lnTo>
                  <a:lnTo>
                    <a:pt x="502" y="914"/>
                  </a:lnTo>
                  <a:lnTo>
                    <a:pt x="509" y="916"/>
                  </a:lnTo>
                  <a:lnTo>
                    <a:pt x="517" y="916"/>
                  </a:lnTo>
                  <a:lnTo>
                    <a:pt x="525" y="916"/>
                  </a:lnTo>
                  <a:lnTo>
                    <a:pt x="532" y="918"/>
                  </a:lnTo>
                  <a:lnTo>
                    <a:pt x="540" y="918"/>
                  </a:lnTo>
                  <a:lnTo>
                    <a:pt x="545" y="918"/>
                  </a:lnTo>
                  <a:lnTo>
                    <a:pt x="551" y="918"/>
                  </a:lnTo>
                  <a:lnTo>
                    <a:pt x="557" y="918"/>
                  </a:lnTo>
                  <a:lnTo>
                    <a:pt x="557" y="918"/>
                  </a:lnTo>
                  <a:lnTo>
                    <a:pt x="563" y="918"/>
                  </a:lnTo>
                  <a:lnTo>
                    <a:pt x="566" y="916"/>
                  </a:lnTo>
                  <a:lnTo>
                    <a:pt x="572" y="914"/>
                  </a:lnTo>
                  <a:lnTo>
                    <a:pt x="576" y="912"/>
                  </a:lnTo>
                  <a:lnTo>
                    <a:pt x="580" y="908"/>
                  </a:lnTo>
                  <a:lnTo>
                    <a:pt x="586" y="906"/>
                  </a:lnTo>
                  <a:lnTo>
                    <a:pt x="589" y="902"/>
                  </a:lnTo>
                  <a:lnTo>
                    <a:pt x="593" y="898"/>
                  </a:lnTo>
                  <a:lnTo>
                    <a:pt x="597" y="897"/>
                  </a:lnTo>
                  <a:lnTo>
                    <a:pt x="603" y="893"/>
                  </a:lnTo>
                  <a:lnTo>
                    <a:pt x="607" y="889"/>
                  </a:lnTo>
                  <a:lnTo>
                    <a:pt x="610" y="887"/>
                  </a:lnTo>
                  <a:lnTo>
                    <a:pt x="616" y="885"/>
                  </a:lnTo>
                  <a:lnTo>
                    <a:pt x="622" y="883"/>
                  </a:lnTo>
                  <a:lnTo>
                    <a:pt x="628" y="881"/>
                  </a:lnTo>
                  <a:lnTo>
                    <a:pt x="633" y="881"/>
                  </a:lnTo>
                  <a:lnTo>
                    <a:pt x="633" y="879"/>
                  </a:lnTo>
                  <a:lnTo>
                    <a:pt x="631" y="610"/>
                  </a:lnTo>
                  <a:lnTo>
                    <a:pt x="631" y="391"/>
                  </a:lnTo>
                  <a:lnTo>
                    <a:pt x="713" y="391"/>
                  </a:lnTo>
                  <a:lnTo>
                    <a:pt x="713" y="93"/>
                  </a:lnTo>
                  <a:lnTo>
                    <a:pt x="725" y="93"/>
                  </a:lnTo>
                  <a:lnTo>
                    <a:pt x="893" y="70"/>
                  </a:lnTo>
                  <a:lnTo>
                    <a:pt x="893" y="70"/>
                  </a:lnTo>
                  <a:lnTo>
                    <a:pt x="896" y="72"/>
                  </a:lnTo>
                  <a:lnTo>
                    <a:pt x="902" y="76"/>
                  </a:lnTo>
                  <a:lnTo>
                    <a:pt x="906" y="80"/>
                  </a:lnTo>
                  <a:lnTo>
                    <a:pt x="910" y="84"/>
                  </a:lnTo>
                  <a:lnTo>
                    <a:pt x="916" y="88"/>
                  </a:lnTo>
                  <a:lnTo>
                    <a:pt x="919" y="93"/>
                  </a:lnTo>
                  <a:lnTo>
                    <a:pt x="925" y="97"/>
                  </a:lnTo>
                  <a:lnTo>
                    <a:pt x="929" y="101"/>
                  </a:lnTo>
                  <a:lnTo>
                    <a:pt x="929" y="101"/>
                  </a:lnTo>
                  <a:lnTo>
                    <a:pt x="933" y="99"/>
                  </a:lnTo>
                  <a:lnTo>
                    <a:pt x="938" y="95"/>
                  </a:lnTo>
                  <a:lnTo>
                    <a:pt x="942" y="91"/>
                  </a:lnTo>
                  <a:lnTo>
                    <a:pt x="946" y="88"/>
                  </a:lnTo>
                  <a:lnTo>
                    <a:pt x="950" y="86"/>
                  </a:lnTo>
                  <a:lnTo>
                    <a:pt x="954" y="82"/>
                  </a:lnTo>
                  <a:lnTo>
                    <a:pt x="958" y="78"/>
                  </a:lnTo>
                  <a:lnTo>
                    <a:pt x="961" y="74"/>
                  </a:lnTo>
                  <a:lnTo>
                    <a:pt x="965" y="72"/>
                  </a:lnTo>
                  <a:lnTo>
                    <a:pt x="971" y="69"/>
                  </a:lnTo>
                  <a:lnTo>
                    <a:pt x="975" y="67"/>
                  </a:lnTo>
                  <a:lnTo>
                    <a:pt x="980" y="65"/>
                  </a:lnTo>
                  <a:lnTo>
                    <a:pt x="988" y="63"/>
                  </a:lnTo>
                  <a:lnTo>
                    <a:pt x="994" y="61"/>
                  </a:lnTo>
                  <a:lnTo>
                    <a:pt x="1001" y="61"/>
                  </a:lnTo>
                  <a:lnTo>
                    <a:pt x="1009" y="61"/>
                  </a:lnTo>
                  <a:lnTo>
                    <a:pt x="1009" y="61"/>
                  </a:lnTo>
                  <a:lnTo>
                    <a:pt x="1015" y="61"/>
                  </a:lnTo>
                  <a:lnTo>
                    <a:pt x="1022" y="61"/>
                  </a:lnTo>
                  <a:lnTo>
                    <a:pt x="1028" y="61"/>
                  </a:lnTo>
                  <a:lnTo>
                    <a:pt x="1034" y="61"/>
                  </a:lnTo>
                  <a:lnTo>
                    <a:pt x="1040" y="61"/>
                  </a:lnTo>
                  <a:lnTo>
                    <a:pt x="1045" y="61"/>
                  </a:lnTo>
                  <a:lnTo>
                    <a:pt x="1051" y="61"/>
                  </a:lnTo>
                  <a:lnTo>
                    <a:pt x="1057" y="61"/>
                  </a:lnTo>
                  <a:lnTo>
                    <a:pt x="1057" y="61"/>
                  </a:lnTo>
                  <a:lnTo>
                    <a:pt x="1051" y="57"/>
                  </a:lnTo>
                  <a:lnTo>
                    <a:pt x="1045" y="53"/>
                  </a:lnTo>
                  <a:lnTo>
                    <a:pt x="1040" y="49"/>
                  </a:lnTo>
                  <a:lnTo>
                    <a:pt x="1034" y="46"/>
                  </a:lnTo>
                  <a:lnTo>
                    <a:pt x="1028" y="40"/>
                  </a:lnTo>
                  <a:lnTo>
                    <a:pt x="1022" y="38"/>
                  </a:lnTo>
                  <a:lnTo>
                    <a:pt x="1013" y="36"/>
                  </a:lnTo>
                  <a:lnTo>
                    <a:pt x="1003" y="34"/>
                  </a:lnTo>
                  <a:lnTo>
                    <a:pt x="1003" y="34"/>
                  </a:lnTo>
                  <a:lnTo>
                    <a:pt x="994" y="34"/>
                  </a:lnTo>
                  <a:lnTo>
                    <a:pt x="984" y="34"/>
                  </a:lnTo>
                  <a:lnTo>
                    <a:pt x="975" y="36"/>
                  </a:lnTo>
                  <a:lnTo>
                    <a:pt x="967" y="36"/>
                  </a:lnTo>
                  <a:lnTo>
                    <a:pt x="958" y="36"/>
                  </a:lnTo>
                  <a:lnTo>
                    <a:pt x="950" y="38"/>
                  </a:lnTo>
                  <a:lnTo>
                    <a:pt x="940" y="40"/>
                  </a:lnTo>
                  <a:lnTo>
                    <a:pt x="931" y="40"/>
                  </a:lnTo>
                  <a:lnTo>
                    <a:pt x="923" y="42"/>
                  </a:lnTo>
                  <a:lnTo>
                    <a:pt x="916" y="42"/>
                  </a:lnTo>
                  <a:lnTo>
                    <a:pt x="906" y="44"/>
                  </a:lnTo>
                  <a:lnTo>
                    <a:pt x="898" y="46"/>
                  </a:lnTo>
                  <a:lnTo>
                    <a:pt x="889" y="48"/>
                  </a:lnTo>
                  <a:lnTo>
                    <a:pt x="881" y="49"/>
                  </a:lnTo>
                  <a:lnTo>
                    <a:pt x="872" y="51"/>
                  </a:lnTo>
                  <a:lnTo>
                    <a:pt x="864" y="51"/>
                  </a:lnTo>
                  <a:lnTo>
                    <a:pt x="856" y="53"/>
                  </a:lnTo>
                  <a:lnTo>
                    <a:pt x="847" y="55"/>
                  </a:lnTo>
                  <a:lnTo>
                    <a:pt x="839" y="57"/>
                  </a:lnTo>
                  <a:lnTo>
                    <a:pt x="830" y="59"/>
                  </a:lnTo>
                  <a:lnTo>
                    <a:pt x="822" y="61"/>
                  </a:lnTo>
                  <a:lnTo>
                    <a:pt x="813" y="61"/>
                  </a:lnTo>
                  <a:lnTo>
                    <a:pt x="805" y="63"/>
                  </a:lnTo>
                  <a:lnTo>
                    <a:pt x="795" y="65"/>
                  </a:lnTo>
                  <a:lnTo>
                    <a:pt x="786" y="65"/>
                  </a:lnTo>
                  <a:lnTo>
                    <a:pt x="776" y="67"/>
                  </a:lnTo>
                  <a:lnTo>
                    <a:pt x="769" y="67"/>
                  </a:lnTo>
                  <a:lnTo>
                    <a:pt x="759" y="69"/>
                  </a:lnTo>
                  <a:lnTo>
                    <a:pt x="750" y="69"/>
                  </a:lnTo>
                  <a:lnTo>
                    <a:pt x="740" y="70"/>
                  </a:lnTo>
                  <a:lnTo>
                    <a:pt x="729" y="70"/>
                  </a:lnTo>
                  <a:lnTo>
                    <a:pt x="719" y="70"/>
                  </a:lnTo>
                  <a:lnTo>
                    <a:pt x="719" y="70"/>
                  </a:lnTo>
                  <a:lnTo>
                    <a:pt x="708" y="70"/>
                  </a:lnTo>
                  <a:lnTo>
                    <a:pt x="696" y="70"/>
                  </a:lnTo>
                  <a:lnTo>
                    <a:pt x="685" y="70"/>
                  </a:lnTo>
                  <a:lnTo>
                    <a:pt x="673" y="69"/>
                  </a:lnTo>
                  <a:lnTo>
                    <a:pt x="660" y="69"/>
                  </a:lnTo>
                  <a:lnTo>
                    <a:pt x="648" y="69"/>
                  </a:lnTo>
                  <a:lnTo>
                    <a:pt x="635" y="67"/>
                  </a:lnTo>
                  <a:lnTo>
                    <a:pt x="624" y="67"/>
                  </a:lnTo>
                  <a:lnTo>
                    <a:pt x="612" y="65"/>
                  </a:lnTo>
                  <a:lnTo>
                    <a:pt x="601" y="63"/>
                  </a:lnTo>
                  <a:lnTo>
                    <a:pt x="589" y="61"/>
                  </a:lnTo>
                  <a:lnTo>
                    <a:pt x="578" y="59"/>
                  </a:lnTo>
                  <a:lnTo>
                    <a:pt x="568" y="57"/>
                  </a:lnTo>
                  <a:lnTo>
                    <a:pt x="557" y="55"/>
                  </a:lnTo>
                  <a:lnTo>
                    <a:pt x="547" y="51"/>
                  </a:lnTo>
                  <a:lnTo>
                    <a:pt x="540" y="49"/>
                  </a:lnTo>
                  <a:lnTo>
                    <a:pt x="540" y="49"/>
                  </a:lnTo>
                  <a:lnTo>
                    <a:pt x="536" y="48"/>
                  </a:lnTo>
                  <a:lnTo>
                    <a:pt x="532" y="44"/>
                  </a:lnTo>
                  <a:lnTo>
                    <a:pt x="528" y="42"/>
                  </a:lnTo>
                  <a:lnTo>
                    <a:pt x="525" y="38"/>
                  </a:lnTo>
                  <a:lnTo>
                    <a:pt x="521" y="34"/>
                  </a:lnTo>
                  <a:lnTo>
                    <a:pt x="519" y="32"/>
                  </a:lnTo>
                  <a:lnTo>
                    <a:pt x="515" y="30"/>
                  </a:lnTo>
                  <a:lnTo>
                    <a:pt x="513" y="28"/>
                  </a:lnTo>
                  <a:lnTo>
                    <a:pt x="174" y="28"/>
                  </a:lnTo>
                  <a:lnTo>
                    <a:pt x="174" y="28"/>
                  </a:lnTo>
                  <a:lnTo>
                    <a:pt x="168" y="23"/>
                  </a:lnTo>
                  <a:lnTo>
                    <a:pt x="162" y="17"/>
                  </a:lnTo>
                  <a:lnTo>
                    <a:pt x="156" y="11"/>
                  </a:lnTo>
                  <a:lnTo>
                    <a:pt x="151" y="8"/>
                  </a:lnTo>
                  <a:lnTo>
                    <a:pt x="143" y="4"/>
                  </a:lnTo>
                  <a:lnTo>
                    <a:pt x="135" y="2"/>
                  </a:lnTo>
                  <a:lnTo>
                    <a:pt x="126" y="0"/>
                  </a:lnTo>
                  <a:lnTo>
                    <a:pt x="114" y="0"/>
                  </a:lnTo>
                  <a:lnTo>
                    <a:pt x="114" y="0"/>
                  </a:lnTo>
                  <a:lnTo>
                    <a:pt x="105" y="0"/>
                  </a:lnTo>
                  <a:lnTo>
                    <a:pt x="97" y="2"/>
                  </a:lnTo>
                  <a:lnTo>
                    <a:pt x="90" y="2"/>
                  </a:lnTo>
                  <a:lnTo>
                    <a:pt x="82" y="6"/>
                  </a:lnTo>
                  <a:lnTo>
                    <a:pt x="76" y="8"/>
                  </a:lnTo>
                  <a:lnTo>
                    <a:pt x="69" y="9"/>
                  </a:lnTo>
                  <a:lnTo>
                    <a:pt x="63" y="11"/>
                  </a:lnTo>
                  <a:lnTo>
                    <a:pt x="55" y="11"/>
                  </a:lnTo>
                  <a:lnTo>
                    <a:pt x="55" y="11"/>
                  </a:lnTo>
                  <a:lnTo>
                    <a:pt x="48" y="11"/>
                  </a:lnTo>
                  <a:lnTo>
                    <a:pt x="42" y="11"/>
                  </a:lnTo>
                  <a:lnTo>
                    <a:pt x="34" y="9"/>
                  </a:lnTo>
                  <a:lnTo>
                    <a:pt x="29" y="9"/>
                  </a:lnTo>
                  <a:lnTo>
                    <a:pt x="23" y="9"/>
                  </a:lnTo>
                  <a:lnTo>
                    <a:pt x="15" y="9"/>
                  </a:lnTo>
                  <a:lnTo>
                    <a:pt x="9" y="9"/>
                  </a:lnTo>
                  <a:lnTo>
                    <a:pt x="0" y="11"/>
                  </a:lnTo>
                  <a:lnTo>
                    <a:pt x="0" y="46"/>
                  </a:lnTo>
                  <a:lnTo>
                    <a:pt x="0" y="46"/>
                  </a:lnTo>
                  <a:lnTo>
                    <a:pt x="4" y="51"/>
                  </a:lnTo>
                  <a:lnTo>
                    <a:pt x="8" y="57"/>
                  </a:lnTo>
                  <a:lnTo>
                    <a:pt x="11" y="65"/>
                  </a:lnTo>
                  <a:lnTo>
                    <a:pt x="15" y="70"/>
                  </a:lnTo>
                  <a:lnTo>
                    <a:pt x="19" y="76"/>
                  </a:lnTo>
                  <a:lnTo>
                    <a:pt x="21" y="82"/>
                  </a:lnTo>
                  <a:lnTo>
                    <a:pt x="25" y="88"/>
                  </a:lnTo>
                  <a:lnTo>
                    <a:pt x="29" y="93"/>
                  </a:lnTo>
                  <a:lnTo>
                    <a:pt x="32" y="101"/>
                  </a:lnTo>
                  <a:lnTo>
                    <a:pt x="34" y="107"/>
                  </a:lnTo>
                  <a:lnTo>
                    <a:pt x="38" y="112"/>
                  </a:lnTo>
                  <a:lnTo>
                    <a:pt x="42" y="118"/>
                  </a:lnTo>
                  <a:lnTo>
                    <a:pt x="44" y="124"/>
                  </a:lnTo>
                  <a:lnTo>
                    <a:pt x="48" y="130"/>
                  </a:lnTo>
                  <a:lnTo>
                    <a:pt x="51" y="135"/>
                  </a:lnTo>
                  <a:lnTo>
                    <a:pt x="55" y="141"/>
                  </a:lnTo>
                  <a:lnTo>
                    <a:pt x="59" y="141"/>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80" name="Freeform 124"/>
            <p:cNvSpPr>
              <a:spLocks/>
            </p:cNvSpPr>
            <p:nvPr/>
          </p:nvSpPr>
          <p:spPr bwMode="gray">
            <a:xfrm>
              <a:off x="2449" y="3143"/>
              <a:ext cx="413" cy="385"/>
            </a:xfrm>
            <a:custGeom>
              <a:avLst/>
              <a:gdLst/>
              <a:ahLst/>
              <a:cxnLst>
                <a:cxn ang="0">
                  <a:pos x="435" y="21"/>
                </a:cxn>
                <a:cxn ang="0">
                  <a:pos x="452" y="50"/>
                </a:cxn>
                <a:cxn ang="0">
                  <a:pos x="475" y="78"/>
                </a:cxn>
                <a:cxn ang="0">
                  <a:pos x="485" y="105"/>
                </a:cxn>
                <a:cxn ang="0">
                  <a:pos x="494" y="128"/>
                </a:cxn>
                <a:cxn ang="0">
                  <a:pos x="517" y="143"/>
                </a:cxn>
                <a:cxn ang="0">
                  <a:pos x="559" y="160"/>
                </a:cxn>
                <a:cxn ang="0">
                  <a:pos x="574" y="175"/>
                </a:cxn>
                <a:cxn ang="0">
                  <a:pos x="590" y="195"/>
                </a:cxn>
                <a:cxn ang="0">
                  <a:pos x="605" y="206"/>
                </a:cxn>
                <a:cxn ang="0">
                  <a:pos x="607" y="229"/>
                </a:cxn>
                <a:cxn ang="0">
                  <a:pos x="609" y="257"/>
                </a:cxn>
                <a:cxn ang="0">
                  <a:pos x="618" y="277"/>
                </a:cxn>
                <a:cxn ang="0">
                  <a:pos x="655" y="294"/>
                </a:cxn>
                <a:cxn ang="0">
                  <a:pos x="678" y="301"/>
                </a:cxn>
                <a:cxn ang="0">
                  <a:pos x="697" y="315"/>
                </a:cxn>
                <a:cxn ang="0">
                  <a:pos x="714" y="328"/>
                </a:cxn>
                <a:cxn ang="0">
                  <a:pos x="723" y="341"/>
                </a:cxn>
                <a:cxn ang="0">
                  <a:pos x="679" y="370"/>
                </a:cxn>
                <a:cxn ang="0">
                  <a:pos x="658" y="376"/>
                </a:cxn>
                <a:cxn ang="0">
                  <a:pos x="636" y="376"/>
                </a:cxn>
                <a:cxn ang="0">
                  <a:pos x="609" y="399"/>
                </a:cxn>
                <a:cxn ang="0">
                  <a:pos x="578" y="437"/>
                </a:cxn>
                <a:cxn ang="0">
                  <a:pos x="561" y="448"/>
                </a:cxn>
                <a:cxn ang="0">
                  <a:pos x="540" y="464"/>
                </a:cxn>
                <a:cxn ang="0">
                  <a:pos x="525" y="486"/>
                </a:cxn>
                <a:cxn ang="0">
                  <a:pos x="512" y="511"/>
                </a:cxn>
                <a:cxn ang="0">
                  <a:pos x="491" y="530"/>
                </a:cxn>
                <a:cxn ang="0">
                  <a:pos x="471" y="538"/>
                </a:cxn>
                <a:cxn ang="0">
                  <a:pos x="451" y="546"/>
                </a:cxn>
                <a:cxn ang="0">
                  <a:pos x="443" y="572"/>
                </a:cxn>
                <a:cxn ang="0">
                  <a:pos x="430" y="599"/>
                </a:cxn>
                <a:cxn ang="0">
                  <a:pos x="407" y="612"/>
                </a:cxn>
                <a:cxn ang="0">
                  <a:pos x="382" y="614"/>
                </a:cxn>
                <a:cxn ang="0">
                  <a:pos x="361" y="614"/>
                </a:cxn>
                <a:cxn ang="0">
                  <a:pos x="332" y="614"/>
                </a:cxn>
                <a:cxn ang="0">
                  <a:pos x="298" y="614"/>
                </a:cxn>
                <a:cxn ang="0">
                  <a:pos x="267" y="591"/>
                </a:cxn>
                <a:cxn ang="0">
                  <a:pos x="233" y="586"/>
                </a:cxn>
                <a:cxn ang="0">
                  <a:pos x="210" y="624"/>
                </a:cxn>
                <a:cxn ang="0">
                  <a:pos x="191" y="650"/>
                </a:cxn>
                <a:cxn ang="0">
                  <a:pos x="159" y="679"/>
                </a:cxn>
                <a:cxn ang="0">
                  <a:pos x="117" y="698"/>
                </a:cxn>
                <a:cxn ang="0">
                  <a:pos x="79" y="696"/>
                </a:cxn>
                <a:cxn ang="0">
                  <a:pos x="54" y="692"/>
                </a:cxn>
                <a:cxn ang="0">
                  <a:pos x="48" y="675"/>
                </a:cxn>
                <a:cxn ang="0">
                  <a:pos x="59" y="650"/>
                </a:cxn>
                <a:cxn ang="0">
                  <a:pos x="59" y="620"/>
                </a:cxn>
                <a:cxn ang="0">
                  <a:pos x="48" y="588"/>
                </a:cxn>
                <a:cxn ang="0">
                  <a:pos x="29" y="567"/>
                </a:cxn>
                <a:cxn ang="0">
                  <a:pos x="0" y="549"/>
                </a:cxn>
                <a:cxn ang="0">
                  <a:pos x="262" y="9"/>
                </a:cxn>
                <a:cxn ang="0">
                  <a:pos x="279" y="23"/>
                </a:cxn>
                <a:cxn ang="0">
                  <a:pos x="298" y="40"/>
                </a:cxn>
                <a:cxn ang="0">
                  <a:pos x="319" y="25"/>
                </a:cxn>
                <a:cxn ang="0">
                  <a:pos x="340" y="8"/>
                </a:cxn>
                <a:cxn ang="0">
                  <a:pos x="370" y="0"/>
                </a:cxn>
                <a:cxn ang="0">
                  <a:pos x="397" y="0"/>
                </a:cxn>
                <a:cxn ang="0">
                  <a:pos x="431" y="0"/>
                </a:cxn>
              </a:cxnLst>
              <a:rect l="0" t="0" r="r" b="b"/>
              <a:pathLst>
                <a:path w="729" h="700">
                  <a:moveTo>
                    <a:pt x="431" y="0"/>
                  </a:moveTo>
                  <a:lnTo>
                    <a:pt x="431" y="0"/>
                  </a:lnTo>
                  <a:lnTo>
                    <a:pt x="431" y="8"/>
                  </a:lnTo>
                  <a:lnTo>
                    <a:pt x="433" y="15"/>
                  </a:lnTo>
                  <a:lnTo>
                    <a:pt x="435" y="21"/>
                  </a:lnTo>
                  <a:lnTo>
                    <a:pt x="437" y="29"/>
                  </a:lnTo>
                  <a:lnTo>
                    <a:pt x="441" y="34"/>
                  </a:lnTo>
                  <a:lnTo>
                    <a:pt x="445" y="40"/>
                  </a:lnTo>
                  <a:lnTo>
                    <a:pt x="449" y="46"/>
                  </a:lnTo>
                  <a:lnTo>
                    <a:pt x="452" y="50"/>
                  </a:lnTo>
                  <a:lnTo>
                    <a:pt x="458" y="57"/>
                  </a:lnTo>
                  <a:lnTo>
                    <a:pt x="462" y="61"/>
                  </a:lnTo>
                  <a:lnTo>
                    <a:pt x="466" y="67"/>
                  </a:lnTo>
                  <a:lnTo>
                    <a:pt x="471" y="72"/>
                  </a:lnTo>
                  <a:lnTo>
                    <a:pt x="475" y="78"/>
                  </a:lnTo>
                  <a:lnTo>
                    <a:pt x="479" y="86"/>
                  </a:lnTo>
                  <a:lnTo>
                    <a:pt x="481" y="93"/>
                  </a:lnTo>
                  <a:lnTo>
                    <a:pt x="485" y="99"/>
                  </a:lnTo>
                  <a:lnTo>
                    <a:pt x="485" y="99"/>
                  </a:lnTo>
                  <a:lnTo>
                    <a:pt x="485" y="105"/>
                  </a:lnTo>
                  <a:lnTo>
                    <a:pt x="487" y="111"/>
                  </a:lnTo>
                  <a:lnTo>
                    <a:pt x="489" y="116"/>
                  </a:lnTo>
                  <a:lnTo>
                    <a:pt x="489" y="120"/>
                  </a:lnTo>
                  <a:lnTo>
                    <a:pt x="491" y="124"/>
                  </a:lnTo>
                  <a:lnTo>
                    <a:pt x="494" y="128"/>
                  </a:lnTo>
                  <a:lnTo>
                    <a:pt x="498" y="132"/>
                  </a:lnTo>
                  <a:lnTo>
                    <a:pt x="502" y="135"/>
                  </a:lnTo>
                  <a:lnTo>
                    <a:pt x="502" y="135"/>
                  </a:lnTo>
                  <a:lnTo>
                    <a:pt x="510" y="139"/>
                  </a:lnTo>
                  <a:lnTo>
                    <a:pt x="517" y="143"/>
                  </a:lnTo>
                  <a:lnTo>
                    <a:pt x="525" y="145"/>
                  </a:lnTo>
                  <a:lnTo>
                    <a:pt x="533" y="149"/>
                  </a:lnTo>
                  <a:lnTo>
                    <a:pt x="542" y="153"/>
                  </a:lnTo>
                  <a:lnTo>
                    <a:pt x="552" y="156"/>
                  </a:lnTo>
                  <a:lnTo>
                    <a:pt x="559" y="160"/>
                  </a:lnTo>
                  <a:lnTo>
                    <a:pt x="567" y="166"/>
                  </a:lnTo>
                  <a:lnTo>
                    <a:pt x="567" y="166"/>
                  </a:lnTo>
                  <a:lnTo>
                    <a:pt x="571" y="168"/>
                  </a:lnTo>
                  <a:lnTo>
                    <a:pt x="573" y="172"/>
                  </a:lnTo>
                  <a:lnTo>
                    <a:pt x="574" y="175"/>
                  </a:lnTo>
                  <a:lnTo>
                    <a:pt x="578" y="181"/>
                  </a:lnTo>
                  <a:lnTo>
                    <a:pt x="580" y="185"/>
                  </a:lnTo>
                  <a:lnTo>
                    <a:pt x="582" y="189"/>
                  </a:lnTo>
                  <a:lnTo>
                    <a:pt x="586" y="193"/>
                  </a:lnTo>
                  <a:lnTo>
                    <a:pt x="590" y="195"/>
                  </a:lnTo>
                  <a:lnTo>
                    <a:pt x="590" y="195"/>
                  </a:lnTo>
                  <a:lnTo>
                    <a:pt x="595" y="196"/>
                  </a:lnTo>
                  <a:lnTo>
                    <a:pt x="599" y="200"/>
                  </a:lnTo>
                  <a:lnTo>
                    <a:pt x="603" y="202"/>
                  </a:lnTo>
                  <a:lnTo>
                    <a:pt x="605" y="206"/>
                  </a:lnTo>
                  <a:lnTo>
                    <a:pt x="605" y="210"/>
                  </a:lnTo>
                  <a:lnTo>
                    <a:pt x="607" y="215"/>
                  </a:lnTo>
                  <a:lnTo>
                    <a:pt x="607" y="219"/>
                  </a:lnTo>
                  <a:lnTo>
                    <a:pt x="607" y="225"/>
                  </a:lnTo>
                  <a:lnTo>
                    <a:pt x="607" y="229"/>
                  </a:lnTo>
                  <a:lnTo>
                    <a:pt x="607" y="235"/>
                  </a:lnTo>
                  <a:lnTo>
                    <a:pt x="607" y="240"/>
                  </a:lnTo>
                  <a:lnTo>
                    <a:pt x="607" y="246"/>
                  </a:lnTo>
                  <a:lnTo>
                    <a:pt x="607" y="252"/>
                  </a:lnTo>
                  <a:lnTo>
                    <a:pt x="609" y="257"/>
                  </a:lnTo>
                  <a:lnTo>
                    <a:pt x="609" y="263"/>
                  </a:lnTo>
                  <a:lnTo>
                    <a:pt x="611" y="269"/>
                  </a:lnTo>
                  <a:lnTo>
                    <a:pt x="611" y="269"/>
                  </a:lnTo>
                  <a:lnTo>
                    <a:pt x="615" y="273"/>
                  </a:lnTo>
                  <a:lnTo>
                    <a:pt x="618" y="277"/>
                  </a:lnTo>
                  <a:lnTo>
                    <a:pt x="624" y="280"/>
                  </a:lnTo>
                  <a:lnTo>
                    <a:pt x="632" y="284"/>
                  </a:lnTo>
                  <a:lnTo>
                    <a:pt x="639" y="288"/>
                  </a:lnTo>
                  <a:lnTo>
                    <a:pt x="647" y="290"/>
                  </a:lnTo>
                  <a:lnTo>
                    <a:pt x="655" y="294"/>
                  </a:lnTo>
                  <a:lnTo>
                    <a:pt x="662" y="296"/>
                  </a:lnTo>
                  <a:lnTo>
                    <a:pt x="662" y="296"/>
                  </a:lnTo>
                  <a:lnTo>
                    <a:pt x="668" y="298"/>
                  </a:lnTo>
                  <a:lnTo>
                    <a:pt x="674" y="299"/>
                  </a:lnTo>
                  <a:lnTo>
                    <a:pt x="678" y="301"/>
                  </a:lnTo>
                  <a:lnTo>
                    <a:pt x="681" y="305"/>
                  </a:lnTo>
                  <a:lnTo>
                    <a:pt x="685" y="307"/>
                  </a:lnTo>
                  <a:lnTo>
                    <a:pt x="689" y="309"/>
                  </a:lnTo>
                  <a:lnTo>
                    <a:pt x="693" y="313"/>
                  </a:lnTo>
                  <a:lnTo>
                    <a:pt x="697" y="315"/>
                  </a:lnTo>
                  <a:lnTo>
                    <a:pt x="700" y="319"/>
                  </a:lnTo>
                  <a:lnTo>
                    <a:pt x="704" y="320"/>
                  </a:lnTo>
                  <a:lnTo>
                    <a:pt x="706" y="324"/>
                  </a:lnTo>
                  <a:lnTo>
                    <a:pt x="710" y="326"/>
                  </a:lnTo>
                  <a:lnTo>
                    <a:pt x="714" y="328"/>
                  </a:lnTo>
                  <a:lnTo>
                    <a:pt x="719" y="332"/>
                  </a:lnTo>
                  <a:lnTo>
                    <a:pt x="723" y="334"/>
                  </a:lnTo>
                  <a:lnTo>
                    <a:pt x="729" y="336"/>
                  </a:lnTo>
                  <a:lnTo>
                    <a:pt x="729" y="336"/>
                  </a:lnTo>
                  <a:lnTo>
                    <a:pt x="723" y="341"/>
                  </a:lnTo>
                  <a:lnTo>
                    <a:pt x="716" y="347"/>
                  </a:lnTo>
                  <a:lnTo>
                    <a:pt x="706" y="353"/>
                  </a:lnTo>
                  <a:lnTo>
                    <a:pt x="698" y="359"/>
                  </a:lnTo>
                  <a:lnTo>
                    <a:pt x="689" y="364"/>
                  </a:lnTo>
                  <a:lnTo>
                    <a:pt x="679" y="370"/>
                  </a:lnTo>
                  <a:lnTo>
                    <a:pt x="674" y="374"/>
                  </a:lnTo>
                  <a:lnTo>
                    <a:pt x="668" y="376"/>
                  </a:lnTo>
                  <a:lnTo>
                    <a:pt x="668" y="376"/>
                  </a:lnTo>
                  <a:lnTo>
                    <a:pt x="664" y="376"/>
                  </a:lnTo>
                  <a:lnTo>
                    <a:pt x="658" y="376"/>
                  </a:lnTo>
                  <a:lnTo>
                    <a:pt x="655" y="376"/>
                  </a:lnTo>
                  <a:lnTo>
                    <a:pt x="649" y="376"/>
                  </a:lnTo>
                  <a:lnTo>
                    <a:pt x="643" y="376"/>
                  </a:lnTo>
                  <a:lnTo>
                    <a:pt x="639" y="376"/>
                  </a:lnTo>
                  <a:lnTo>
                    <a:pt x="636" y="376"/>
                  </a:lnTo>
                  <a:lnTo>
                    <a:pt x="632" y="378"/>
                  </a:lnTo>
                  <a:lnTo>
                    <a:pt x="632" y="378"/>
                  </a:lnTo>
                  <a:lnTo>
                    <a:pt x="622" y="383"/>
                  </a:lnTo>
                  <a:lnTo>
                    <a:pt x="615" y="391"/>
                  </a:lnTo>
                  <a:lnTo>
                    <a:pt x="609" y="399"/>
                  </a:lnTo>
                  <a:lnTo>
                    <a:pt x="603" y="404"/>
                  </a:lnTo>
                  <a:lnTo>
                    <a:pt x="597" y="414"/>
                  </a:lnTo>
                  <a:lnTo>
                    <a:pt x="592" y="422"/>
                  </a:lnTo>
                  <a:lnTo>
                    <a:pt x="586" y="429"/>
                  </a:lnTo>
                  <a:lnTo>
                    <a:pt x="578" y="437"/>
                  </a:lnTo>
                  <a:lnTo>
                    <a:pt x="578" y="437"/>
                  </a:lnTo>
                  <a:lnTo>
                    <a:pt x="574" y="439"/>
                  </a:lnTo>
                  <a:lnTo>
                    <a:pt x="571" y="443"/>
                  </a:lnTo>
                  <a:lnTo>
                    <a:pt x="565" y="444"/>
                  </a:lnTo>
                  <a:lnTo>
                    <a:pt x="561" y="448"/>
                  </a:lnTo>
                  <a:lnTo>
                    <a:pt x="555" y="452"/>
                  </a:lnTo>
                  <a:lnTo>
                    <a:pt x="550" y="454"/>
                  </a:lnTo>
                  <a:lnTo>
                    <a:pt x="544" y="458"/>
                  </a:lnTo>
                  <a:lnTo>
                    <a:pt x="540" y="464"/>
                  </a:lnTo>
                  <a:lnTo>
                    <a:pt x="540" y="464"/>
                  </a:lnTo>
                  <a:lnTo>
                    <a:pt x="536" y="467"/>
                  </a:lnTo>
                  <a:lnTo>
                    <a:pt x="533" y="473"/>
                  </a:lnTo>
                  <a:lnTo>
                    <a:pt x="531" y="477"/>
                  </a:lnTo>
                  <a:lnTo>
                    <a:pt x="529" y="483"/>
                  </a:lnTo>
                  <a:lnTo>
                    <a:pt x="525" y="486"/>
                  </a:lnTo>
                  <a:lnTo>
                    <a:pt x="523" y="492"/>
                  </a:lnTo>
                  <a:lnTo>
                    <a:pt x="521" y="496"/>
                  </a:lnTo>
                  <a:lnTo>
                    <a:pt x="517" y="502"/>
                  </a:lnTo>
                  <a:lnTo>
                    <a:pt x="515" y="505"/>
                  </a:lnTo>
                  <a:lnTo>
                    <a:pt x="512" y="511"/>
                  </a:lnTo>
                  <a:lnTo>
                    <a:pt x="508" y="515"/>
                  </a:lnTo>
                  <a:lnTo>
                    <a:pt x="504" y="519"/>
                  </a:lnTo>
                  <a:lnTo>
                    <a:pt x="500" y="523"/>
                  </a:lnTo>
                  <a:lnTo>
                    <a:pt x="496" y="526"/>
                  </a:lnTo>
                  <a:lnTo>
                    <a:pt x="491" y="530"/>
                  </a:lnTo>
                  <a:lnTo>
                    <a:pt x="485" y="534"/>
                  </a:lnTo>
                  <a:lnTo>
                    <a:pt x="485" y="534"/>
                  </a:lnTo>
                  <a:lnTo>
                    <a:pt x="481" y="536"/>
                  </a:lnTo>
                  <a:lnTo>
                    <a:pt x="477" y="536"/>
                  </a:lnTo>
                  <a:lnTo>
                    <a:pt x="471" y="538"/>
                  </a:lnTo>
                  <a:lnTo>
                    <a:pt x="466" y="538"/>
                  </a:lnTo>
                  <a:lnTo>
                    <a:pt x="462" y="538"/>
                  </a:lnTo>
                  <a:lnTo>
                    <a:pt x="456" y="540"/>
                  </a:lnTo>
                  <a:lnTo>
                    <a:pt x="454" y="542"/>
                  </a:lnTo>
                  <a:lnTo>
                    <a:pt x="451" y="546"/>
                  </a:lnTo>
                  <a:lnTo>
                    <a:pt x="451" y="546"/>
                  </a:lnTo>
                  <a:lnTo>
                    <a:pt x="449" y="553"/>
                  </a:lnTo>
                  <a:lnTo>
                    <a:pt x="447" y="561"/>
                  </a:lnTo>
                  <a:lnTo>
                    <a:pt x="445" y="567"/>
                  </a:lnTo>
                  <a:lnTo>
                    <a:pt x="443" y="572"/>
                  </a:lnTo>
                  <a:lnTo>
                    <a:pt x="441" y="580"/>
                  </a:lnTo>
                  <a:lnTo>
                    <a:pt x="437" y="584"/>
                  </a:lnTo>
                  <a:lnTo>
                    <a:pt x="435" y="589"/>
                  </a:lnTo>
                  <a:lnTo>
                    <a:pt x="431" y="595"/>
                  </a:lnTo>
                  <a:lnTo>
                    <a:pt x="430" y="599"/>
                  </a:lnTo>
                  <a:lnTo>
                    <a:pt x="426" y="603"/>
                  </a:lnTo>
                  <a:lnTo>
                    <a:pt x="422" y="607"/>
                  </a:lnTo>
                  <a:lnTo>
                    <a:pt x="418" y="608"/>
                  </a:lnTo>
                  <a:lnTo>
                    <a:pt x="412" y="610"/>
                  </a:lnTo>
                  <a:lnTo>
                    <a:pt x="407" y="612"/>
                  </a:lnTo>
                  <a:lnTo>
                    <a:pt x="399" y="614"/>
                  </a:lnTo>
                  <a:lnTo>
                    <a:pt x="391" y="614"/>
                  </a:lnTo>
                  <a:lnTo>
                    <a:pt x="391" y="614"/>
                  </a:lnTo>
                  <a:lnTo>
                    <a:pt x="388" y="614"/>
                  </a:lnTo>
                  <a:lnTo>
                    <a:pt x="382" y="614"/>
                  </a:lnTo>
                  <a:lnTo>
                    <a:pt x="378" y="614"/>
                  </a:lnTo>
                  <a:lnTo>
                    <a:pt x="374" y="614"/>
                  </a:lnTo>
                  <a:lnTo>
                    <a:pt x="368" y="614"/>
                  </a:lnTo>
                  <a:lnTo>
                    <a:pt x="365" y="614"/>
                  </a:lnTo>
                  <a:lnTo>
                    <a:pt x="361" y="614"/>
                  </a:lnTo>
                  <a:lnTo>
                    <a:pt x="355" y="614"/>
                  </a:lnTo>
                  <a:lnTo>
                    <a:pt x="351" y="614"/>
                  </a:lnTo>
                  <a:lnTo>
                    <a:pt x="346" y="614"/>
                  </a:lnTo>
                  <a:lnTo>
                    <a:pt x="340" y="614"/>
                  </a:lnTo>
                  <a:lnTo>
                    <a:pt x="332" y="614"/>
                  </a:lnTo>
                  <a:lnTo>
                    <a:pt x="325" y="614"/>
                  </a:lnTo>
                  <a:lnTo>
                    <a:pt x="317" y="614"/>
                  </a:lnTo>
                  <a:lnTo>
                    <a:pt x="307" y="614"/>
                  </a:lnTo>
                  <a:lnTo>
                    <a:pt x="298" y="614"/>
                  </a:lnTo>
                  <a:lnTo>
                    <a:pt x="298" y="614"/>
                  </a:lnTo>
                  <a:lnTo>
                    <a:pt x="292" y="610"/>
                  </a:lnTo>
                  <a:lnTo>
                    <a:pt x="286" y="607"/>
                  </a:lnTo>
                  <a:lnTo>
                    <a:pt x="281" y="601"/>
                  </a:lnTo>
                  <a:lnTo>
                    <a:pt x="275" y="597"/>
                  </a:lnTo>
                  <a:lnTo>
                    <a:pt x="267" y="591"/>
                  </a:lnTo>
                  <a:lnTo>
                    <a:pt x="262" y="588"/>
                  </a:lnTo>
                  <a:lnTo>
                    <a:pt x="254" y="586"/>
                  </a:lnTo>
                  <a:lnTo>
                    <a:pt x="244" y="584"/>
                  </a:lnTo>
                  <a:lnTo>
                    <a:pt x="244" y="584"/>
                  </a:lnTo>
                  <a:lnTo>
                    <a:pt x="233" y="586"/>
                  </a:lnTo>
                  <a:lnTo>
                    <a:pt x="224" y="591"/>
                  </a:lnTo>
                  <a:lnTo>
                    <a:pt x="220" y="597"/>
                  </a:lnTo>
                  <a:lnTo>
                    <a:pt x="216" y="607"/>
                  </a:lnTo>
                  <a:lnTo>
                    <a:pt x="212" y="616"/>
                  </a:lnTo>
                  <a:lnTo>
                    <a:pt x="210" y="624"/>
                  </a:lnTo>
                  <a:lnTo>
                    <a:pt x="206" y="633"/>
                  </a:lnTo>
                  <a:lnTo>
                    <a:pt x="201" y="641"/>
                  </a:lnTo>
                  <a:lnTo>
                    <a:pt x="201" y="641"/>
                  </a:lnTo>
                  <a:lnTo>
                    <a:pt x="197" y="645"/>
                  </a:lnTo>
                  <a:lnTo>
                    <a:pt x="191" y="650"/>
                  </a:lnTo>
                  <a:lnTo>
                    <a:pt x="185" y="656"/>
                  </a:lnTo>
                  <a:lnTo>
                    <a:pt x="180" y="662"/>
                  </a:lnTo>
                  <a:lnTo>
                    <a:pt x="172" y="668"/>
                  </a:lnTo>
                  <a:lnTo>
                    <a:pt x="166" y="673"/>
                  </a:lnTo>
                  <a:lnTo>
                    <a:pt x="159" y="679"/>
                  </a:lnTo>
                  <a:lnTo>
                    <a:pt x="151" y="685"/>
                  </a:lnTo>
                  <a:lnTo>
                    <a:pt x="141" y="689"/>
                  </a:lnTo>
                  <a:lnTo>
                    <a:pt x="134" y="692"/>
                  </a:lnTo>
                  <a:lnTo>
                    <a:pt x="124" y="696"/>
                  </a:lnTo>
                  <a:lnTo>
                    <a:pt x="117" y="698"/>
                  </a:lnTo>
                  <a:lnTo>
                    <a:pt x="107" y="700"/>
                  </a:lnTo>
                  <a:lnTo>
                    <a:pt x="98" y="700"/>
                  </a:lnTo>
                  <a:lnTo>
                    <a:pt x="88" y="698"/>
                  </a:lnTo>
                  <a:lnTo>
                    <a:pt x="79" y="696"/>
                  </a:lnTo>
                  <a:lnTo>
                    <a:pt x="79" y="696"/>
                  </a:lnTo>
                  <a:lnTo>
                    <a:pt x="75" y="694"/>
                  </a:lnTo>
                  <a:lnTo>
                    <a:pt x="69" y="694"/>
                  </a:lnTo>
                  <a:lnTo>
                    <a:pt x="63" y="694"/>
                  </a:lnTo>
                  <a:lnTo>
                    <a:pt x="59" y="694"/>
                  </a:lnTo>
                  <a:lnTo>
                    <a:pt x="54" y="692"/>
                  </a:lnTo>
                  <a:lnTo>
                    <a:pt x="50" y="691"/>
                  </a:lnTo>
                  <a:lnTo>
                    <a:pt x="48" y="687"/>
                  </a:lnTo>
                  <a:lnTo>
                    <a:pt x="48" y="683"/>
                  </a:lnTo>
                  <a:lnTo>
                    <a:pt x="48" y="683"/>
                  </a:lnTo>
                  <a:lnTo>
                    <a:pt x="48" y="675"/>
                  </a:lnTo>
                  <a:lnTo>
                    <a:pt x="50" y="670"/>
                  </a:lnTo>
                  <a:lnTo>
                    <a:pt x="52" y="664"/>
                  </a:lnTo>
                  <a:lnTo>
                    <a:pt x="54" y="660"/>
                  </a:lnTo>
                  <a:lnTo>
                    <a:pt x="58" y="656"/>
                  </a:lnTo>
                  <a:lnTo>
                    <a:pt x="59" y="650"/>
                  </a:lnTo>
                  <a:lnTo>
                    <a:pt x="61" y="643"/>
                  </a:lnTo>
                  <a:lnTo>
                    <a:pt x="61" y="635"/>
                  </a:lnTo>
                  <a:lnTo>
                    <a:pt x="61" y="635"/>
                  </a:lnTo>
                  <a:lnTo>
                    <a:pt x="61" y="628"/>
                  </a:lnTo>
                  <a:lnTo>
                    <a:pt x="59" y="620"/>
                  </a:lnTo>
                  <a:lnTo>
                    <a:pt x="59" y="612"/>
                  </a:lnTo>
                  <a:lnTo>
                    <a:pt x="58" y="605"/>
                  </a:lnTo>
                  <a:lnTo>
                    <a:pt x="54" y="599"/>
                  </a:lnTo>
                  <a:lnTo>
                    <a:pt x="52" y="593"/>
                  </a:lnTo>
                  <a:lnTo>
                    <a:pt x="48" y="588"/>
                  </a:lnTo>
                  <a:lnTo>
                    <a:pt x="46" y="584"/>
                  </a:lnTo>
                  <a:lnTo>
                    <a:pt x="42" y="578"/>
                  </a:lnTo>
                  <a:lnTo>
                    <a:pt x="37" y="574"/>
                  </a:lnTo>
                  <a:lnTo>
                    <a:pt x="33" y="570"/>
                  </a:lnTo>
                  <a:lnTo>
                    <a:pt x="29" y="567"/>
                  </a:lnTo>
                  <a:lnTo>
                    <a:pt x="25" y="563"/>
                  </a:lnTo>
                  <a:lnTo>
                    <a:pt x="21" y="559"/>
                  </a:lnTo>
                  <a:lnTo>
                    <a:pt x="16" y="555"/>
                  </a:lnTo>
                  <a:lnTo>
                    <a:pt x="12" y="553"/>
                  </a:lnTo>
                  <a:lnTo>
                    <a:pt x="0" y="549"/>
                  </a:lnTo>
                  <a:lnTo>
                    <a:pt x="0" y="330"/>
                  </a:lnTo>
                  <a:lnTo>
                    <a:pt x="82" y="330"/>
                  </a:lnTo>
                  <a:lnTo>
                    <a:pt x="82" y="32"/>
                  </a:lnTo>
                  <a:lnTo>
                    <a:pt x="94" y="32"/>
                  </a:lnTo>
                  <a:lnTo>
                    <a:pt x="262" y="9"/>
                  </a:lnTo>
                  <a:lnTo>
                    <a:pt x="262" y="9"/>
                  </a:lnTo>
                  <a:lnTo>
                    <a:pt x="265" y="11"/>
                  </a:lnTo>
                  <a:lnTo>
                    <a:pt x="271" y="15"/>
                  </a:lnTo>
                  <a:lnTo>
                    <a:pt x="275" y="19"/>
                  </a:lnTo>
                  <a:lnTo>
                    <a:pt x="279" y="23"/>
                  </a:lnTo>
                  <a:lnTo>
                    <a:pt x="285" y="27"/>
                  </a:lnTo>
                  <a:lnTo>
                    <a:pt x="288" y="32"/>
                  </a:lnTo>
                  <a:lnTo>
                    <a:pt x="294" y="36"/>
                  </a:lnTo>
                  <a:lnTo>
                    <a:pt x="298" y="40"/>
                  </a:lnTo>
                  <a:lnTo>
                    <a:pt x="298" y="40"/>
                  </a:lnTo>
                  <a:lnTo>
                    <a:pt x="302" y="38"/>
                  </a:lnTo>
                  <a:lnTo>
                    <a:pt x="307" y="34"/>
                  </a:lnTo>
                  <a:lnTo>
                    <a:pt x="311" y="30"/>
                  </a:lnTo>
                  <a:lnTo>
                    <a:pt x="315" y="27"/>
                  </a:lnTo>
                  <a:lnTo>
                    <a:pt x="319" y="25"/>
                  </a:lnTo>
                  <a:lnTo>
                    <a:pt x="323" y="21"/>
                  </a:lnTo>
                  <a:lnTo>
                    <a:pt x="327" y="17"/>
                  </a:lnTo>
                  <a:lnTo>
                    <a:pt x="330" y="13"/>
                  </a:lnTo>
                  <a:lnTo>
                    <a:pt x="334" y="11"/>
                  </a:lnTo>
                  <a:lnTo>
                    <a:pt x="340" y="8"/>
                  </a:lnTo>
                  <a:lnTo>
                    <a:pt x="344" y="6"/>
                  </a:lnTo>
                  <a:lnTo>
                    <a:pt x="349" y="4"/>
                  </a:lnTo>
                  <a:lnTo>
                    <a:pt x="357" y="2"/>
                  </a:lnTo>
                  <a:lnTo>
                    <a:pt x="363" y="0"/>
                  </a:lnTo>
                  <a:lnTo>
                    <a:pt x="370" y="0"/>
                  </a:lnTo>
                  <a:lnTo>
                    <a:pt x="378" y="0"/>
                  </a:lnTo>
                  <a:lnTo>
                    <a:pt x="378" y="0"/>
                  </a:lnTo>
                  <a:lnTo>
                    <a:pt x="384" y="0"/>
                  </a:lnTo>
                  <a:lnTo>
                    <a:pt x="391" y="0"/>
                  </a:lnTo>
                  <a:lnTo>
                    <a:pt x="397" y="0"/>
                  </a:lnTo>
                  <a:lnTo>
                    <a:pt x="405" y="0"/>
                  </a:lnTo>
                  <a:lnTo>
                    <a:pt x="410" y="0"/>
                  </a:lnTo>
                  <a:lnTo>
                    <a:pt x="418" y="0"/>
                  </a:lnTo>
                  <a:lnTo>
                    <a:pt x="424" y="0"/>
                  </a:lnTo>
                  <a:lnTo>
                    <a:pt x="431" y="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81" name="Freeform 125"/>
            <p:cNvSpPr>
              <a:spLocks/>
            </p:cNvSpPr>
            <p:nvPr/>
          </p:nvSpPr>
          <p:spPr bwMode="gray">
            <a:xfrm>
              <a:off x="2547" y="2722"/>
              <a:ext cx="521" cy="432"/>
            </a:xfrm>
            <a:custGeom>
              <a:avLst/>
              <a:gdLst/>
              <a:ahLst/>
              <a:cxnLst>
                <a:cxn ang="0">
                  <a:pos x="580" y="597"/>
                </a:cxn>
                <a:cxn ang="0">
                  <a:pos x="532" y="637"/>
                </a:cxn>
                <a:cxn ang="0">
                  <a:pos x="521" y="670"/>
                </a:cxn>
                <a:cxn ang="0">
                  <a:pos x="479" y="683"/>
                </a:cxn>
                <a:cxn ang="0">
                  <a:pos x="444" y="708"/>
                </a:cxn>
                <a:cxn ang="0">
                  <a:pos x="406" y="763"/>
                </a:cxn>
                <a:cxn ang="0">
                  <a:pos x="355" y="788"/>
                </a:cxn>
                <a:cxn ang="0">
                  <a:pos x="296" y="773"/>
                </a:cxn>
                <a:cxn ang="0">
                  <a:pos x="242" y="759"/>
                </a:cxn>
                <a:cxn ang="0">
                  <a:pos x="187" y="740"/>
                </a:cxn>
                <a:cxn ang="0">
                  <a:pos x="130" y="746"/>
                </a:cxn>
                <a:cxn ang="0">
                  <a:pos x="2" y="391"/>
                </a:cxn>
                <a:cxn ang="0">
                  <a:pos x="48" y="391"/>
                </a:cxn>
                <a:cxn ang="0">
                  <a:pos x="93" y="385"/>
                </a:cxn>
                <a:cxn ang="0">
                  <a:pos x="153" y="366"/>
                </a:cxn>
                <a:cxn ang="0">
                  <a:pos x="164" y="311"/>
                </a:cxn>
                <a:cxn ang="0">
                  <a:pos x="164" y="263"/>
                </a:cxn>
                <a:cxn ang="0">
                  <a:pos x="189" y="246"/>
                </a:cxn>
                <a:cxn ang="0">
                  <a:pos x="219" y="254"/>
                </a:cxn>
                <a:cxn ang="0">
                  <a:pos x="256" y="244"/>
                </a:cxn>
                <a:cxn ang="0">
                  <a:pos x="275" y="271"/>
                </a:cxn>
                <a:cxn ang="0">
                  <a:pos x="345" y="301"/>
                </a:cxn>
                <a:cxn ang="0">
                  <a:pos x="399" y="288"/>
                </a:cxn>
                <a:cxn ang="0">
                  <a:pos x="431" y="303"/>
                </a:cxn>
                <a:cxn ang="0">
                  <a:pos x="488" y="336"/>
                </a:cxn>
                <a:cxn ang="0">
                  <a:pos x="525" y="370"/>
                </a:cxn>
                <a:cxn ang="0">
                  <a:pos x="555" y="414"/>
                </a:cxn>
                <a:cxn ang="0">
                  <a:pos x="582" y="408"/>
                </a:cxn>
                <a:cxn ang="0">
                  <a:pos x="612" y="406"/>
                </a:cxn>
                <a:cxn ang="0">
                  <a:pos x="601" y="332"/>
                </a:cxn>
                <a:cxn ang="0">
                  <a:pos x="551" y="326"/>
                </a:cxn>
                <a:cxn ang="0">
                  <a:pos x="513" y="275"/>
                </a:cxn>
                <a:cxn ang="0">
                  <a:pos x="517" y="227"/>
                </a:cxn>
                <a:cxn ang="0">
                  <a:pos x="526" y="179"/>
                </a:cxn>
                <a:cxn ang="0">
                  <a:pos x="526" y="124"/>
                </a:cxn>
                <a:cxn ang="0">
                  <a:pos x="517" y="97"/>
                </a:cxn>
                <a:cxn ang="0">
                  <a:pos x="536" y="67"/>
                </a:cxn>
                <a:cxn ang="0">
                  <a:pos x="555" y="31"/>
                </a:cxn>
                <a:cxn ang="0">
                  <a:pos x="595" y="11"/>
                </a:cxn>
                <a:cxn ang="0">
                  <a:pos x="643" y="8"/>
                </a:cxn>
                <a:cxn ang="0">
                  <a:pos x="721" y="25"/>
                </a:cxn>
                <a:cxn ang="0">
                  <a:pos x="744" y="38"/>
                </a:cxn>
                <a:cxn ang="0">
                  <a:pos x="759" y="36"/>
                </a:cxn>
                <a:cxn ang="0">
                  <a:pos x="778" y="50"/>
                </a:cxn>
                <a:cxn ang="0">
                  <a:pos x="824" y="69"/>
                </a:cxn>
                <a:cxn ang="0">
                  <a:pos x="885" y="97"/>
                </a:cxn>
                <a:cxn ang="0">
                  <a:pos x="904" y="134"/>
                </a:cxn>
                <a:cxn ang="0">
                  <a:pos x="921" y="177"/>
                </a:cxn>
                <a:cxn ang="0">
                  <a:pos x="902" y="225"/>
                </a:cxn>
                <a:cxn ang="0">
                  <a:pos x="895" y="258"/>
                </a:cxn>
                <a:cxn ang="0">
                  <a:pos x="904" y="300"/>
                </a:cxn>
                <a:cxn ang="0">
                  <a:pos x="893" y="328"/>
                </a:cxn>
                <a:cxn ang="0">
                  <a:pos x="883" y="364"/>
                </a:cxn>
                <a:cxn ang="0">
                  <a:pos x="866" y="397"/>
                </a:cxn>
                <a:cxn ang="0">
                  <a:pos x="845" y="424"/>
                </a:cxn>
                <a:cxn ang="0">
                  <a:pos x="881" y="452"/>
                </a:cxn>
                <a:cxn ang="0">
                  <a:pos x="834" y="475"/>
                </a:cxn>
                <a:cxn ang="0">
                  <a:pos x="761" y="496"/>
                </a:cxn>
                <a:cxn ang="0">
                  <a:pos x="721" y="509"/>
                </a:cxn>
                <a:cxn ang="0">
                  <a:pos x="679" y="525"/>
                </a:cxn>
                <a:cxn ang="0">
                  <a:pos x="639" y="551"/>
                </a:cxn>
                <a:cxn ang="0">
                  <a:pos x="645" y="574"/>
                </a:cxn>
                <a:cxn ang="0">
                  <a:pos x="647" y="591"/>
                </a:cxn>
              </a:cxnLst>
              <a:rect l="0" t="0" r="r" b="b"/>
              <a:pathLst>
                <a:path w="921" h="788">
                  <a:moveTo>
                    <a:pt x="631" y="590"/>
                  </a:moveTo>
                  <a:lnTo>
                    <a:pt x="631" y="590"/>
                  </a:lnTo>
                  <a:lnTo>
                    <a:pt x="624" y="590"/>
                  </a:lnTo>
                  <a:lnTo>
                    <a:pt x="616" y="590"/>
                  </a:lnTo>
                  <a:lnTo>
                    <a:pt x="609" y="590"/>
                  </a:lnTo>
                  <a:lnTo>
                    <a:pt x="601" y="591"/>
                  </a:lnTo>
                  <a:lnTo>
                    <a:pt x="595" y="593"/>
                  </a:lnTo>
                  <a:lnTo>
                    <a:pt x="588" y="595"/>
                  </a:lnTo>
                  <a:lnTo>
                    <a:pt x="580" y="597"/>
                  </a:lnTo>
                  <a:lnTo>
                    <a:pt x="574" y="599"/>
                  </a:lnTo>
                  <a:lnTo>
                    <a:pt x="568" y="603"/>
                  </a:lnTo>
                  <a:lnTo>
                    <a:pt x="563" y="607"/>
                  </a:lnTo>
                  <a:lnTo>
                    <a:pt x="557" y="610"/>
                  </a:lnTo>
                  <a:lnTo>
                    <a:pt x="551" y="614"/>
                  </a:lnTo>
                  <a:lnTo>
                    <a:pt x="546" y="620"/>
                  </a:lnTo>
                  <a:lnTo>
                    <a:pt x="542" y="624"/>
                  </a:lnTo>
                  <a:lnTo>
                    <a:pt x="538" y="630"/>
                  </a:lnTo>
                  <a:lnTo>
                    <a:pt x="532" y="637"/>
                  </a:lnTo>
                  <a:lnTo>
                    <a:pt x="532" y="637"/>
                  </a:lnTo>
                  <a:lnTo>
                    <a:pt x="532" y="639"/>
                  </a:lnTo>
                  <a:lnTo>
                    <a:pt x="530" y="645"/>
                  </a:lnTo>
                  <a:lnTo>
                    <a:pt x="530" y="649"/>
                  </a:lnTo>
                  <a:lnTo>
                    <a:pt x="530" y="654"/>
                  </a:lnTo>
                  <a:lnTo>
                    <a:pt x="530" y="658"/>
                  </a:lnTo>
                  <a:lnTo>
                    <a:pt x="528" y="664"/>
                  </a:lnTo>
                  <a:lnTo>
                    <a:pt x="526" y="668"/>
                  </a:lnTo>
                  <a:lnTo>
                    <a:pt x="521" y="670"/>
                  </a:lnTo>
                  <a:lnTo>
                    <a:pt x="521" y="670"/>
                  </a:lnTo>
                  <a:lnTo>
                    <a:pt x="515" y="672"/>
                  </a:lnTo>
                  <a:lnTo>
                    <a:pt x="509" y="673"/>
                  </a:lnTo>
                  <a:lnTo>
                    <a:pt x="504" y="675"/>
                  </a:lnTo>
                  <a:lnTo>
                    <a:pt x="500" y="677"/>
                  </a:lnTo>
                  <a:lnTo>
                    <a:pt x="494" y="679"/>
                  </a:lnTo>
                  <a:lnTo>
                    <a:pt x="488" y="681"/>
                  </a:lnTo>
                  <a:lnTo>
                    <a:pt x="483" y="683"/>
                  </a:lnTo>
                  <a:lnTo>
                    <a:pt x="479" y="683"/>
                  </a:lnTo>
                  <a:lnTo>
                    <a:pt x="473" y="687"/>
                  </a:lnTo>
                  <a:lnTo>
                    <a:pt x="469" y="689"/>
                  </a:lnTo>
                  <a:lnTo>
                    <a:pt x="464" y="691"/>
                  </a:lnTo>
                  <a:lnTo>
                    <a:pt x="460" y="693"/>
                  </a:lnTo>
                  <a:lnTo>
                    <a:pt x="456" y="696"/>
                  </a:lnTo>
                  <a:lnTo>
                    <a:pt x="452" y="700"/>
                  </a:lnTo>
                  <a:lnTo>
                    <a:pt x="448" y="704"/>
                  </a:lnTo>
                  <a:lnTo>
                    <a:pt x="444" y="708"/>
                  </a:lnTo>
                  <a:lnTo>
                    <a:pt x="444" y="708"/>
                  </a:lnTo>
                  <a:lnTo>
                    <a:pt x="441" y="712"/>
                  </a:lnTo>
                  <a:lnTo>
                    <a:pt x="437" y="717"/>
                  </a:lnTo>
                  <a:lnTo>
                    <a:pt x="433" y="723"/>
                  </a:lnTo>
                  <a:lnTo>
                    <a:pt x="429" y="729"/>
                  </a:lnTo>
                  <a:lnTo>
                    <a:pt x="425" y="736"/>
                  </a:lnTo>
                  <a:lnTo>
                    <a:pt x="422" y="742"/>
                  </a:lnTo>
                  <a:lnTo>
                    <a:pt x="418" y="750"/>
                  </a:lnTo>
                  <a:lnTo>
                    <a:pt x="412" y="755"/>
                  </a:lnTo>
                  <a:lnTo>
                    <a:pt x="406" y="763"/>
                  </a:lnTo>
                  <a:lnTo>
                    <a:pt x="402" y="769"/>
                  </a:lnTo>
                  <a:lnTo>
                    <a:pt x="395" y="773"/>
                  </a:lnTo>
                  <a:lnTo>
                    <a:pt x="389" y="778"/>
                  </a:lnTo>
                  <a:lnTo>
                    <a:pt x="383" y="782"/>
                  </a:lnTo>
                  <a:lnTo>
                    <a:pt x="378" y="786"/>
                  </a:lnTo>
                  <a:lnTo>
                    <a:pt x="370" y="786"/>
                  </a:lnTo>
                  <a:lnTo>
                    <a:pt x="362" y="788"/>
                  </a:lnTo>
                  <a:lnTo>
                    <a:pt x="362" y="788"/>
                  </a:lnTo>
                  <a:lnTo>
                    <a:pt x="355" y="788"/>
                  </a:lnTo>
                  <a:lnTo>
                    <a:pt x="349" y="786"/>
                  </a:lnTo>
                  <a:lnTo>
                    <a:pt x="343" y="786"/>
                  </a:lnTo>
                  <a:lnTo>
                    <a:pt x="336" y="784"/>
                  </a:lnTo>
                  <a:lnTo>
                    <a:pt x="330" y="782"/>
                  </a:lnTo>
                  <a:lnTo>
                    <a:pt x="324" y="780"/>
                  </a:lnTo>
                  <a:lnTo>
                    <a:pt x="317" y="778"/>
                  </a:lnTo>
                  <a:lnTo>
                    <a:pt x="309" y="776"/>
                  </a:lnTo>
                  <a:lnTo>
                    <a:pt x="303" y="775"/>
                  </a:lnTo>
                  <a:lnTo>
                    <a:pt x="296" y="773"/>
                  </a:lnTo>
                  <a:lnTo>
                    <a:pt x="290" y="771"/>
                  </a:lnTo>
                  <a:lnTo>
                    <a:pt x="282" y="771"/>
                  </a:lnTo>
                  <a:lnTo>
                    <a:pt x="275" y="769"/>
                  </a:lnTo>
                  <a:lnTo>
                    <a:pt x="269" y="767"/>
                  </a:lnTo>
                  <a:lnTo>
                    <a:pt x="261" y="767"/>
                  </a:lnTo>
                  <a:lnTo>
                    <a:pt x="254" y="767"/>
                  </a:lnTo>
                  <a:lnTo>
                    <a:pt x="254" y="767"/>
                  </a:lnTo>
                  <a:lnTo>
                    <a:pt x="248" y="763"/>
                  </a:lnTo>
                  <a:lnTo>
                    <a:pt x="242" y="759"/>
                  </a:lnTo>
                  <a:lnTo>
                    <a:pt x="237" y="755"/>
                  </a:lnTo>
                  <a:lnTo>
                    <a:pt x="231" y="752"/>
                  </a:lnTo>
                  <a:lnTo>
                    <a:pt x="225" y="746"/>
                  </a:lnTo>
                  <a:lnTo>
                    <a:pt x="219" y="744"/>
                  </a:lnTo>
                  <a:lnTo>
                    <a:pt x="210" y="742"/>
                  </a:lnTo>
                  <a:lnTo>
                    <a:pt x="200" y="740"/>
                  </a:lnTo>
                  <a:lnTo>
                    <a:pt x="200" y="740"/>
                  </a:lnTo>
                  <a:lnTo>
                    <a:pt x="195" y="740"/>
                  </a:lnTo>
                  <a:lnTo>
                    <a:pt x="187" y="740"/>
                  </a:lnTo>
                  <a:lnTo>
                    <a:pt x="181" y="740"/>
                  </a:lnTo>
                  <a:lnTo>
                    <a:pt x="174" y="742"/>
                  </a:lnTo>
                  <a:lnTo>
                    <a:pt x="168" y="742"/>
                  </a:lnTo>
                  <a:lnTo>
                    <a:pt x="160" y="742"/>
                  </a:lnTo>
                  <a:lnTo>
                    <a:pt x="155" y="742"/>
                  </a:lnTo>
                  <a:lnTo>
                    <a:pt x="149" y="744"/>
                  </a:lnTo>
                  <a:lnTo>
                    <a:pt x="143" y="744"/>
                  </a:lnTo>
                  <a:lnTo>
                    <a:pt x="135" y="746"/>
                  </a:lnTo>
                  <a:lnTo>
                    <a:pt x="130" y="746"/>
                  </a:lnTo>
                  <a:lnTo>
                    <a:pt x="124" y="746"/>
                  </a:lnTo>
                  <a:lnTo>
                    <a:pt x="118" y="748"/>
                  </a:lnTo>
                  <a:lnTo>
                    <a:pt x="111" y="748"/>
                  </a:lnTo>
                  <a:lnTo>
                    <a:pt x="105" y="750"/>
                  </a:lnTo>
                  <a:lnTo>
                    <a:pt x="99" y="752"/>
                  </a:lnTo>
                  <a:lnTo>
                    <a:pt x="0" y="637"/>
                  </a:lnTo>
                  <a:lnTo>
                    <a:pt x="0" y="391"/>
                  </a:lnTo>
                  <a:lnTo>
                    <a:pt x="0" y="391"/>
                  </a:lnTo>
                  <a:lnTo>
                    <a:pt x="2" y="391"/>
                  </a:lnTo>
                  <a:lnTo>
                    <a:pt x="6" y="391"/>
                  </a:lnTo>
                  <a:lnTo>
                    <a:pt x="10" y="391"/>
                  </a:lnTo>
                  <a:lnTo>
                    <a:pt x="13" y="391"/>
                  </a:lnTo>
                  <a:lnTo>
                    <a:pt x="19" y="391"/>
                  </a:lnTo>
                  <a:lnTo>
                    <a:pt x="25" y="391"/>
                  </a:lnTo>
                  <a:lnTo>
                    <a:pt x="31" y="391"/>
                  </a:lnTo>
                  <a:lnTo>
                    <a:pt x="36" y="391"/>
                  </a:lnTo>
                  <a:lnTo>
                    <a:pt x="42" y="391"/>
                  </a:lnTo>
                  <a:lnTo>
                    <a:pt x="48" y="391"/>
                  </a:lnTo>
                  <a:lnTo>
                    <a:pt x="53" y="391"/>
                  </a:lnTo>
                  <a:lnTo>
                    <a:pt x="59" y="391"/>
                  </a:lnTo>
                  <a:lnTo>
                    <a:pt x="63" y="391"/>
                  </a:lnTo>
                  <a:lnTo>
                    <a:pt x="69" y="391"/>
                  </a:lnTo>
                  <a:lnTo>
                    <a:pt x="72" y="391"/>
                  </a:lnTo>
                  <a:lnTo>
                    <a:pt x="76" y="391"/>
                  </a:lnTo>
                  <a:lnTo>
                    <a:pt x="76" y="391"/>
                  </a:lnTo>
                  <a:lnTo>
                    <a:pt x="86" y="389"/>
                  </a:lnTo>
                  <a:lnTo>
                    <a:pt x="93" y="385"/>
                  </a:lnTo>
                  <a:lnTo>
                    <a:pt x="101" y="383"/>
                  </a:lnTo>
                  <a:lnTo>
                    <a:pt x="109" y="382"/>
                  </a:lnTo>
                  <a:lnTo>
                    <a:pt x="116" y="382"/>
                  </a:lnTo>
                  <a:lnTo>
                    <a:pt x="124" y="380"/>
                  </a:lnTo>
                  <a:lnTo>
                    <a:pt x="132" y="378"/>
                  </a:lnTo>
                  <a:lnTo>
                    <a:pt x="137" y="376"/>
                  </a:lnTo>
                  <a:lnTo>
                    <a:pt x="143" y="374"/>
                  </a:lnTo>
                  <a:lnTo>
                    <a:pt x="149" y="370"/>
                  </a:lnTo>
                  <a:lnTo>
                    <a:pt x="153" y="366"/>
                  </a:lnTo>
                  <a:lnTo>
                    <a:pt x="156" y="362"/>
                  </a:lnTo>
                  <a:lnTo>
                    <a:pt x="160" y="357"/>
                  </a:lnTo>
                  <a:lnTo>
                    <a:pt x="162" y="349"/>
                  </a:lnTo>
                  <a:lnTo>
                    <a:pt x="164" y="340"/>
                  </a:lnTo>
                  <a:lnTo>
                    <a:pt x="164" y="330"/>
                  </a:lnTo>
                  <a:lnTo>
                    <a:pt x="164" y="330"/>
                  </a:lnTo>
                  <a:lnTo>
                    <a:pt x="164" y="322"/>
                  </a:lnTo>
                  <a:lnTo>
                    <a:pt x="164" y="317"/>
                  </a:lnTo>
                  <a:lnTo>
                    <a:pt x="164" y="311"/>
                  </a:lnTo>
                  <a:lnTo>
                    <a:pt x="164" y="307"/>
                  </a:lnTo>
                  <a:lnTo>
                    <a:pt x="164" y="301"/>
                  </a:lnTo>
                  <a:lnTo>
                    <a:pt x="164" y="298"/>
                  </a:lnTo>
                  <a:lnTo>
                    <a:pt x="164" y="292"/>
                  </a:lnTo>
                  <a:lnTo>
                    <a:pt x="164" y="288"/>
                  </a:lnTo>
                  <a:lnTo>
                    <a:pt x="164" y="282"/>
                  </a:lnTo>
                  <a:lnTo>
                    <a:pt x="164" y="277"/>
                  </a:lnTo>
                  <a:lnTo>
                    <a:pt x="164" y="271"/>
                  </a:lnTo>
                  <a:lnTo>
                    <a:pt x="164" y="263"/>
                  </a:lnTo>
                  <a:lnTo>
                    <a:pt x="164" y="258"/>
                  </a:lnTo>
                  <a:lnTo>
                    <a:pt x="164" y="248"/>
                  </a:lnTo>
                  <a:lnTo>
                    <a:pt x="164" y="238"/>
                  </a:lnTo>
                  <a:lnTo>
                    <a:pt x="164" y="229"/>
                  </a:lnTo>
                  <a:lnTo>
                    <a:pt x="164" y="229"/>
                  </a:lnTo>
                  <a:lnTo>
                    <a:pt x="177" y="231"/>
                  </a:lnTo>
                  <a:lnTo>
                    <a:pt x="185" y="235"/>
                  </a:lnTo>
                  <a:lnTo>
                    <a:pt x="189" y="238"/>
                  </a:lnTo>
                  <a:lnTo>
                    <a:pt x="189" y="246"/>
                  </a:lnTo>
                  <a:lnTo>
                    <a:pt x="189" y="252"/>
                  </a:lnTo>
                  <a:lnTo>
                    <a:pt x="191" y="258"/>
                  </a:lnTo>
                  <a:lnTo>
                    <a:pt x="195" y="261"/>
                  </a:lnTo>
                  <a:lnTo>
                    <a:pt x="200" y="261"/>
                  </a:lnTo>
                  <a:lnTo>
                    <a:pt x="200" y="261"/>
                  </a:lnTo>
                  <a:lnTo>
                    <a:pt x="206" y="261"/>
                  </a:lnTo>
                  <a:lnTo>
                    <a:pt x="210" y="259"/>
                  </a:lnTo>
                  <a:lnTo>
                    <a:pt x="216" y="256"/>
                  </a:lnTo>
                  <a:lnTo>
                    <a:pt x="219" y="254"/>
                  </a:lnTo>
                  <a:lnTo>
                    <a:pt x="225" y="250"/>
                  </a:lnTo>
                  <a:lnTo>
                    <a:pt x="231" y="248"/>
                  </a:lnTo>
                  <a:lnTo>
                    <a:pt x="237" y="244"/>
                  </a:lnTo>
                  <a:lnTo>
                    <a:pt x="244" y="244"/>
                  </a:lnTo>
                  <a:lnTo>
                    <a:pt x="244" y="244"/>
                  </a:lnTo>
                  <a:lnTo>
                    <a:pt x="248" y="244"/>
                  </a:lnTo>
                  <a:lnTo>
                    <a:pt x="250" y="244"/>
                  </a:lnTo>
                  <a:lnTo>
                    <a:pt x="254" y="244"/>
                  </a:lnTo>
                  <a:lnTo>
                    <a:pt x="256" y="244"/>
                  </a:lnTo>
                  <a:lnTo>
                    <a:pt x="258" y="246"/>
                  </a:lnTo>
                  <a:lnTo>
                    <a:pt x="259" y="246"/>
                  </a:lnTo>
                  <a:lnTo>
                    <a:pt x="261" y="244"/>
                  </a:lnTo>
                  <a:lnTo>
                    <a:pt x="265" y="244"/>
                  </a:lnTo>
                  <a:lnTo>
                    <a:pt x="265" y="244"/>
                  </a:lnTo>
                  <a:lnTo>
                    <a:pt x="265" y="252"/>
                  </a:lnTo>
                  <a:lnTo>
                    <a:pt x="269" y="259"/>
                  </a:lnTo>
                  <a:lnTo>
                    <a:pt x="271" y="265"/>
                  </a:lnTo>
                  <a:lnTo>
                    <a:pt x="275" y="271"/>
                  </a:lnTo>
                  <a:lnTo>
                    <a:pt x="280" y="277"/>
                  </a:lnTo>
                  <a:lnTo>
                    <a:pt x="286" y="280"/>
                  </a:lnTo>
                  <a:lnTo>
                    <a:pt x="294" y="286"/>
                  </a:lnTo>
                  <a:lnTo>
                    <a:pt x="301" y="290"/>
                  </a:lnTo>
                  <a:lnTo>
                    <a:pt x="309" y="292"/>
                  </a:lnTo>
                  <a:lnTo>
                    <a:pt x="319" y="296"/>
                  </a:lnTo>
                  <a:lnTo>
                    <a:pt x="328" y="298"/>
                  </a:lnTo>
                  <a:lnTo>
                    <a:pt x="336" y="300"/>
                  </a:lnTo>
                  <a:lnTo>
                    <a:pt x="345" y="301"/>
                  </a:lnTo>
                  <a:lnTo>
                    <a:pt x="355" y="303"/>
                  </a:lnTo>
                  <a:lnTo>
                    <a:pt x="362" y="303"/>
                  </a:lnTo>
                  <a:lnTo>
                    <a:pt x="372" y="303"/>
                  </a:lnTo>
                  <a:lnTo>
                    <a:pt x="372" y="303"/>
                  </a:lnTo>
                  <a:lnTo>
                    <a:pt x="378" y="303"/>
                  </a:lnTo>
                  <a:lnTo>
                    <a:pt x="385" y="300"/>
                  </a:lnTo>
                  <a:lnTo>
                    <a:pt x="389" y="298"/>
                  </a:lnTo>
                  <a:lnTo>
                    <a:pt x="395" y="294"/>
                  </a:lnTo>
                  <a:lnTo>
                    <a:pt x="399" y="288"/>
                  </a:lnTo>
                  <a:lnTo>
                    <a:pt x="401" y="284"/>
                  </a:lnTo>
                  <a:lnTo>
                    <a:pt x="404" y="279"/>
                  </a:lnTo>
                  <a:lnTo>
                    <a:pt x="406" y="273"/>
                  </a:lnTo>
                  <a:lnTo>
                    <a:pt x="406" y="273"/>
                  </a:lnTo>
                  <a:lnTo>
                    <a:pt x="414" y="279"/>
                  </a:lnTo>
                  <a:lnTo>
                    <a:pt x="420" y="284"/>
                  </a:lnTo>
                  <a:lnTo>
                    <a:pt x="423" y="290"/>
                  </a:lnTo>
                  <a:lnTo>
                    <a:pt x="427" y="298"/>
                  </a:lnTo>
                  <a:lnTo>
                    <a:pt x="431" y="303"/>
                  </a:lnTo>
                  <a:lnTo>
                    <a:pt x="435" y="309"/>
                  </a:lnTo>
                  <a:lnTo>
                    <a:pt x="439" y="317"/>
                  </a:lnTo>
                  <a:lnTo>
                    <a:pt x="444" y="321"/>
                  </a:lnTo>
                  <a:lnTo>
                    <a:pt x="444" y="321"/>
                  </a:lnTo>
                  <a:lnTo>
                    <a:pt x="454" y="326"/>
                  </a:lnTo>
                  <a:lnTo>
                    <a:pt x="464" y="330"/>
                  </a:lnTo>
                  <a:lnTo>
                    <a:pt x="471" y="332"/>
                  </a:lnTo>
                  <a:lnTo>
                    <a:pt x="479" y="334"/>
                  </a:lnTo>
                  <a:lnTo>
                    <a:pt x="488" y="336"/>
                  </a:lnTo>
                  <a:lnTo>
                    <a:pt x="496" y="338"/>
                  </a:lnTo>
                  <a:lnTo>
                    <a:pt x="502" y="341"/>
                  </a:lnTo>
                  <a:lnTo>
                    <a:pt x="509" y="347"/>
                  </a:lnTo>
                  <a:lnTo>
                    <a:pt x="509" y="347"/>
                  </a:lnTo>
                  <a:lnTo>
                    <a:pt x="513" y="351"/>
                  </a:lnTo>
                  <a:lnTo>
                    <a:pt x="515" y="355"/>
                  </a:lnTo>
                  <a:lnTo>
                    <a:pt x="519" y="359"/>
                  </a:lnTo>
                  <a:lnTo>
                    <a:pt x="523" y="364"/>
                  </a:lnTo>
                  <a:lnTo>
                    <a:pt x="525" y="370"/>
                  </a:lnTo>
                  <a:lnTo>
                    <a:pt x="528" y="376"/>
                  </a:lnTo>
                  <a:lnTo>
                    <a:pt x="530" y="382"/>
                  </a:lnTo>
                  <a:lnTo>
                    <a:pt x="534" y="387"/>
                  </a:lnTo>
                  <a:lnTo>
                    <a:pt x="538" y="393"/>
                  </a:lnTo>
                  <a:lnTo>
                    <a:pt x="542" y="399"/>
                  </a:lnTo>
                  <a:lnTo>
                    <a:pt x="544" y="403"/>
                  </a:lnTo>
                  <a:lnTo>
                    <a:pt x="547" y="406"/>
                  </a:lnTo>
                  <a:lnTo>
                    <a:pt x="551" y="410"/>
                  </a:lnTo>
                  <a:lnTo>
                    <a:pt x="555" y="414"/>
                  </a:lnTo>
                  <a:lnTo>
                    <a:pt x="559" y="416"/>
                  </a:lnTo>
                  <a:lnTo>
                    <a:pt x="563" y="416"/>
                  </a:lnTo>
                  <a:lnTo>
                    <a:pt x="563" y="416"/>
                  </a:lnTo>
                  <a:lnTo>
                    <a:pt x="567" y="416"/>
                  </a:lnTo>
                  <a:lnTo>
                    <a:pt x="570" y="414"/>
                  </a:lnTo>
                  <a:lnTo>
                    <a:pt x="572" y="412"/>
                  </a:lnTo>
                  <a:lnTo>
                    <a:pt x="576" y="410"/>
                  </a:lnTo>
                  <a:lnTo>
                    <a:pt x="580" y="408"/>
                  </a:lnTo>
                  <a:lnTo>
                    <a:pt x="582" y="408"/>
                  </a:lnTo>
                  <a:lnTo>
                    <a:pt x="586" y="406"/>
                  </a:lnTo>
                  <a:lnTo>
                    <a:pt x="589" y="406"/>
                  </a:lnTo>
                  <a:lnTo>
                    <a:pt x="589" y="406"/>
                  </a:lnTo>
                  <a:lnTo>
                    <a:pt x="595" y="406"/>
                  </a:lnTo>
                  <a:lnTo>
                    <a:pt x="599" y="406"/>
                  </a:lnTo>
                  <a:lnTo>
                    <a:pt x="603" y="406"/>
                  </a:lnTo>
                  <a:lnTo>
                    <a:pt x="605" y="406"/>
                  </a:lnTo>
                  <a:lnTo>
                    <a:pt x="609" y="406"/>
                  </a:lnTo>
                  <a:lnTo>
                    <a:pt x="612" y="406"/>
                  </a:lnTo>
                  <a:lnTo>
                    <a:pt x="616" y="406"/>
                  </a:lnTo>
                  <a:lnTo>
                    <a:pt x="620" y="406"/>
                  </a:lnTo>
                  <a:lnTo>
                    <a:pt x="620" y="321"/>
                  </a:lnTo>
                  <a:lnTo>
                    <a:pt x="620" y="321"/>
                  </a:lnTo>
                  <a:lnTo>
                    <a:pt x="614" y="322"/>
                  </a:lnTo>
                  <a:lnTo>
                    <a:pt x="610" y="324"/>
                  </a:lnTo>
                  <a:lnTo>
                    <a:pt x="607" y="326"/>
                  </a:lnTo>
                  <a:lnTo>
                    <a:pt x="605" y="328"/>
                  </a:lnTo>
                  <a:lnTo>
                    <a:pt x="601" y="332"/>
                  </a:lnTo>
                  <a:lnTo>
                    <a:pt x="599" y="334"/>
                  </a:lnTo>
                  <a:lnTo>
                    <a:pt x="597" y="338"/>
                  </a:lnTo>
                  <a:lnTo>
                    <a:pt x="595" y="341"/>
                  </a:lnTo>
                  <a:lnTo>
                    <a:pt x="572" y="341"/>
                  </a:lnTo>
                  <a:lnTo>
                    <a:pt x="572" y="341"/>
                  </a:lnTo>
                  <a:lnTo>
                    <a:pt x="567" y="338"/>
                  </a:lnTo>
                  <a:lnTo>
                    <a:pt x="563" y="336"/>
                  </a:lnTo>
                  <a:lnTo>
                    <a:pt x="557" y="332"/>
                  </a:lnTo>
                  <a:lnTo>
                    <a:pt x="551" y="326"/>
                  </a:lnTo>
                  <a:lnTo>
                    <a:pt x="546" y="322"/>
                  </a:lnTo>
                  <a:lnTo>
                    <a:pt x="542" y="317"/>
                  </a:lnTo>
                  <a:lnTo>
                    <a:pt x="536" y="313"/>
                  </a:lnTo>
                  <a:lnTo>
                    <a:pt x="530" y="307"/>
                  </a:lnTo>
                  <a:lnTo>
                    <a:pt x="526" y="300"/>
                  </a:lnTo>
                  <a:lnTo>
                    <a:pt x="523" y="294"/>
                  </a:lnTo>
                  <a:lnTo>
                    <a:pt x="519" y="288"/>
                  </a:lnTo>
                  <a:lnTo>
                    <a:pt x="515" y="282"/>
                  </a:lnTo>
                  <a:lnTo>
                    <a:pt x="513" y="275"/>
                  </a:lnTo>
                  <a:lnTo>
                    <a:pt x="511" y="269"/>
                  </a:lnTo>
                  <a:lnTo>
                    <a:pt x="509" y="263"/>
                  </a:lnTo>
                  <a:lnTo>
                    <a:pt x="509" y="256"/>
                  </a:lnTo>
                  <a:lnTo>
                    <a:pt x="509" y="256"/>
                  </a:lnTo>
                  <a:lnTo>
                    <a:pt x="509" y="250"/>
                  </a:lnTo>
                  <a:lnTo>
                    <a:pt x="511" y="242"/>
                  </a:lnTo>
                  <a:lnTo>
                    <a:pt x="513" y="237"/>
                  </a:lnTo>
                  <a:lnTo>
                    <a:pt x="515" y="231"/>
                  </a:lnTo>
                  <a:lnTo>
                    <a:pt x="517" y="227"/>
                  </a:lnTo>
                  <a:lnTo>
                    <a:pt x="521" y="223"/>
                  </a:lnTo>
                  <a:lnTo>
                    <a:pt x="525" y="219"/>
                  </a:lnTo>
                  <a:lnTo>
                    <a:pt x="526" y="216"/>
                  </a:lnTo>
                  <a:lnTo>
                    <a:pt x="526" y="216"/>
                  </a:lnTo>
                  <a:lnTo>
                    <a:pt x="526" y="208"/>
                  </a:lnTo>
                  <a:lnTo>
                    <a:pt x="526" y="200"/>
                  </a:lnTo>
                  <a:lnTo>
                    <a:pt x="526" y="193"/>
                  </a:lnTo>
                  <a:lnTo>
                    <a:pt x="526" y="185"/>
                  </a:lnTo>
                  <a:lnTo>
                    <a:pt x="526" y="179"/>
                  </a:lnTo>
                  <a:lnTo>
                    <a:pt x="526" y="172"/>
                  </a:lnTo>
                  <a:lnTo>
                    <a:pt x="526" y="166"/>
                  </a:lnTo>
                  <a:lnTo>
                    <a:pt x="526" y="158"/>
                  </a:lnTo>
                  <a:lnTo>
                    <a:pt x="526" y="153"/>
                  </a:lnTo>
                  <a:lnTo>
                    <a:pt x="526" y="145"/>
                  </a:lnTo>
                  <a:lnTo>
                    <a:pt x="526" y="139"/>
                  </a:lnTo>
                  <a:lnTo>
                    <a:pt x="526" y="135"/>
                  </a:lnTo>
                  <a:lnTo>
                    <a:pt x="526" y="130"/>
                  </a:lnTo>
                  <a:lnTo>
                    <a:pt x="526" y="124"/>
                  </a:lnTo>
                  <a:lnTo>
                    <a:pt x="526" y="120"/>
                  </a:lnTo>
                  <a:lnTo>
                    <a:pt x="526" y="116"/>
                  </a:lnTo>
                  <a:lnTo>
                    <a:pt x="526" y="116"/>
                  </a:lnTo>
                  <a:lnTo>
                    <a:pt x="526" y="113"/>
                  </a:lnTo>
                  <a:lnTo>
                    <a:pt x="525" y="109"/>
                  </a:lnTo>
                  <a:lnTo>
                    <a:pt x="523" y="107"/>
                  </a:lnTo>
                  <a:lnTo>
                    <a:pt x="521" y="103"/>
                  </a:lnTo>
                  <a:lnTo>
                    <a:pt x="519" y="101"/>
                  </a:lnTo>
                  <a:lnTo>
                    <a:pt x="517" y="97"/>
                  </a:lnTo>
                  <a:lnTo>
                    <a:pt x="515" y="95"/>
                  </a:lnTo>
                  <a:lnTo>
                    <a:pt x="515" y="92"/>
                  </a:lnTo>
                  <a:lnTo>
                    <a:pt x="515" y="92"/>
                  </a:lnTo>
                  <a:lnTo>
                    <a:pt x="517" y="86"/>
                  </a:lnTo>
                  <a:lnTo>
                    <a:pt x="519" y="80"/>
                  </a:lnTo>
                  <a:lnTo>
                    <a:pt x="523" y="76"/>
                  </a:lnTo>
                  <a:lnTo>
                    <a:pt x="526" y="73"/>
                  </a:lnTo>
                  <a:lnTo>
                    <a:pt x="532" y="71"/>
                  </a:lnTo>
                  <a:lnTo>
                    <a:pt x="536" y="67"/>
                  </a:lnTo>
                  <a:lnTo>
                    <a:pt x="540" y="65"/>
                  </a:lnTo>
                  <a:lnTo>
                    <a:pt x="542" y="63"/>
                  </a:lnTo>
                  <a:lnTo>
                    <a:pt x="542" y="63"/>
                  </a:lnTo>
                  <a:lnTo>
                    <a:pt x="547" y="57"/>
                  </a:lnTo>
                  <a:lnTo>
                    <a:pt x="549" y="53"/>
                  </a:lnTo>
                  <a:lnTo>
                    <a:pt x="551" y="48"/>
                  </a:lnTo>
                  <a:lnTo>
                    <a:pt x="551" y="42"/>
                  </a:lnTo>
                  <a:lnTo>
                    <a:pt x="553" y="36"/>
                  </a:lnTo>
                  <a:lnTo>
                    <a:pt x="555" y="31"/>
                  </a:lnTo>
                  <a:lnTo>
                    <a:pt x="557" y="27"/>
                  </a:lnTo>
                  <a:lnTo>
                    <a:pt x="563" y="23"/>
                  </a:lnTo>
                  <a:lnTo>
                    <a:pt x="563" y="23"/>
                  </a:lnTo>
                  <a:lnTo>
                    <a:pt x="568" y="19"/>
                  </a:lnTo>
                  <a:lnTo>
                    <a:pt x="574" y="17"/>
                  </a:lnTo>
                  <a:lnTo>
                    <a:pt x="580" y="15"/>
                  </a:lnTo>
                  <a:lnTo>
                    <a:pt x="586" y="13"/>
                  </a:lnTo>
                  <a:lnTo>
                    <a:pt x="589" y="13"/>
                  </a:lnTo>
                  <a:lnTo>
                    <a:pt x="595" y="11"/>
                  </a:lnTo>
                  <a:lnTo>
                    <a:pt x="601" y="11"/>
                  </a:lnTo>
                  <a:lnTo>
                    <a:pt x="605" y="11"/>
                  </a:lnTo>
                  <a:lnTo>
                    <a:pt x="610" y="11"/>
                  </a:lnTo>
                  <a:lnTo>
                    <a:pt x="616" y="11"/>
                  </a:lnTo>
                  <a:lnTo>
                    <a:pt x="622" y="10"/>
                  </a:lnTo>
                  <a:lnTo>
                    <a:pt x="626" y="10"/>
                  </a:lnTo>
                  <a:lnTo>
                    <a:pt x="631" y="10"/>
                  </a:lnTo>
                  <a:lnTo>
                    <a:pt x="637" y="8"/>
                  </a:lnTo>
                  <a:lnTo>
                    <a:pt x="643" y="8"/>
                  </a:lnTo>
                  <a:lnTo>
                    <a:pt x="649" y="4"/>
                  </a:lnTo>
                  <a:lnTo>
                    <a:pt x="700" y="0"/>
                  </a:lnTo>
                  <a:lnTo>
                    <a:pt x="700" y="0"/>
                  </a:lnTo>
                  <a:lnTo>
                    <a:pt x="704" y="4"/>
                  </a:lnTo>
                  <a:lnTo>
                    <a:pt x="708" y="8"/>
                  </a:lnTo>
                  <a:lnTo>
                    <a:pt x="712" y="11"/>
                  </a:lnTo>
                  <a:lnTo>
                    <a:pt x="715" y="15"/>
                  </a:lnTo>
                  <a:lnTo>
                    <a:pt x="719" y="21"/>
                  </a:lnTo>
                  <a:lnTo>
                    <a:pt x="721" y="25"/>
                  </a:lnTo>
                  <a:lnTo>
                    <a:pt x="725" y="29"/>
                  </a:lnTo>
                  <a:lnTo>
                    <a:pt x="729" y="32"/>
                  </a:lnTo>
                  <a:lnTo>
                    <a:pt x="729" y="32"/>
                  </a:lnTo>
                  <a:lnTo>
                    <a:pt x="731" y="34"/>
                  </a:lnTo>
                  <a:lnTo>
                    <a:pt x="733" y="34"/>
                  </a:lnTo>
                  <a:lnTo>
                    <a:pt x="736" y="36"/>
                  </a:lnTo>
                  <a:lnTo>
                    <a:pt x="738" y="38"/>
                  </a:lnTo>
                  <a:lnTo>
                    <a:pt x="742" y="38"/>
                  </a:lnTo>
                  <a:lnTo>
                    <a:pt x="744" y="38"/>
                  </a:lnTo>
                  <a:lnTo>
                    <a:pt x="746" y="38"/>
                  </a:lnTo>
                  <a:lnTo>
                    <a:pt x="746" y="38"/>
                  </a:lnTo>
                  <a:lnTo>
                    <a:pt x="746" y="38"/>
                  </a:lnTo>
                  <a:lnTo>
                    <a:pt x="752" y="36"/>
                  </a:lnTo>
                  <a:lnTo>
                    <a:pt x="753" y="36"/>
                  </a:lnTo>
                  <a:lnTo>
                    <a:pt x="755" y="36"/>
                  </a:lnTo>
                  <a:lnTo>
                    <a:pt x="757" y="36"/>
                  </a:lnTo>
                  <a:lnTo>
                    <a:pt x="757" y="36"/>
                  </a:lnTo>
                  <a:lnTo>
                    <a:pt x="759" y="36"/>
                  </a:lnTo>
                  <a:lnTo>
                    <a:pt x="759" y="36"/>
                  </a:lnTo>
                  <a:lnTo>
                    <a:pt x="761" y="36"/>
                  </a:lnTo>
                  <a:lnTo>
                    <a:pt x="761" y="36"/>
                  </a:lnTo>
                  <a:lnTo>
                    <a:pt x="763" y="36"/>
                  </a:lnTo>
                  <a:lnTo>
                    <a:pt x="765" y="38"/>
                  </a:lnTo>
                  <a:lnTo>
                    <a:pt x="767" y="42"/>
                  </a:lnTo>
                  <a:lnTo>
                    <a:pt x="771" y="44"/>
                  </a:lnTo>
                  <a:lnTo>
                    <a:pt x="774" y="48"/>
                  </a:lnTo>
                  <a:lnTo>
                    <a:pt x="778" y="50"/>
                  </a:lnTo>
                  <a:lnTo>
                    <a:pt x="780" y="52"/>
                  </a:lnTo>
                  <a:lnTo>
                    <a:pt x="782" y="53"/>
                  </a:lnTo>
                  <a:lnTo>
                    <a:pt x="782" y="53"/>
                  </a:lnTo>
                  <a:lnTo>
                    <a:pt x="790" y="57"/>
                  </a:lnTo>
                  <a:lnTo>
                    <a:pt x="797" y="61"/>
                  </a:lnTo>
                  <a:lnTo>
                    <a:pt x="805" y="63"/>
                  </a:lnTo>
                  <a:lnTo>
                    <a:pt x="813" y="65"/>
                  </a:lnTo>
                  <a:lnTo>
                    <a:pt x="818" y="67"/>
                  </a:lnTo>
                  <a:lnTo>
                    <a:pt x="824" y="69"/>
                  </a:lnTo>
                  <a:lnTo>
                    <a:pt x="832" y="73"/>
                  </a:lnTo>
                  <a:lnTo>
                    <a:pt x="839" y="74"/>
                  </a:lnTo>
                  <a:lnTo>
                    <a:pt x="839" y="74"/>
                  </a:lnTo>
                  <a:lnTo>
                    <a:pt x="847" y="78"/>
                  </a:lnTo>
                  <a:lnTo>
                    <a:pt x="855" y="84"/>
                  </a:lnTo>
                  <a:lnTo>
                    <a:pt x="862" y="88"/>
                  </a:lnTo>
                  <a:lnTo>
                    <a:pt x="870" y="92"/>
                  </a:lnTo>
                  <a:lnTo>
                    <a:pt x="877" y="95"/>
                  </a:lnTo>
                  <a:lnTo>
                    <a:pt x="885" y="97"/>
                  </a:lnTo>
                  <a:lnTo>
                    <a:pt x="893" y="101"/>
                  </a:lnTo>
                  <a:lnTo>
                    <a:pt x="900" y="103"/>
                  </a:lnTo>
                  <a:lnTo>
                    <a:pt x="900" y="103"/>
                  </a:lnTo>
                  <a:lnTo>
                    <a:pt x="898" y="109"/>
                  </a:lnTo>
                  <a:lnTo>
                    <a:pt x="898" y="113"/>
                  </a:lnTo>
                  <a:lnTo>
                    <a:pt x="900" y="118"/>
                  </a:lnTo>
                  <a:lnTo>
                    <a:pt x="900" y="124"/>
                  </a:lnTo>
                  <a:lnTo>
                    <a:pt x="902" y="128"/>
                  </a:lnTo>
                  <a:lnTo>
                    <a:pt x="904" y="134"/>
                  </a:lnTo>
                  <a:lnTo>
                    <a:pt x="906" y="137"/>
                  </a:lnTo>
                  <a:lnTo>
                    <a:pt x="908" y="143"/>
                  </a:lnTo>
                  <a:lnTo>
                    <a:pt x="912" y="147"/>
                  </a:lnTo>
                  <a:lnTo>
                    <a:pt x="914" y="153"/>
                  </a:lnTo>
                  <a:lnTo>
                    <a:pt x="916" y="156"/>
                  </a:lnTo>
                  <a:lnTo>
                    <a:pt x="918" y="162"/>
                  </a:lnTo>
                  <a:lnTo>
                    <a:pt x="919" y="168"/>
                  </a:lnTo>
                  <a:lnTo>
                    <a:pt x="921" y="172"/>
                  </a:lnTo>
                  <a:lnTo>
                    <a:pt x="921" y="177"/>
                  </a:lnTo>
                  <a:lnTo>
                    <a:pt x="921" y="181"/>
                  </a:lnTo>
                  <a:lnTo>
                    <a:pt x="921" y="181"/>
                  </a:lnTo>
                  <a:lnTo>
                    <a:pt x="921" y="189"/>
                  </a:lnTo>
                  <a:lnTo>
                    <a:pt x="918" y="195"/>
                  </a:lnTo>
                  <a:lnTo>
                    <a:pt x="916" y="200"/>
                  </a:lnTo>
                  <a:lnTo>
                    <a:pt x="912" y="206"/>
                  </a:lnTo>
                  <a:lnTo>
                    <a:pt x="908" y="212"/>
                  </a:lnTo>
                  <a:lnTo>
                    <a:pt x="904" y="217"/>
                  </a:lnTo>
                  <a:lnTo>
                    <a:pt x="902" y="225"/>
                  </a:lnTo>
                  <a:lnTo>
                    <a:pt x="900" y="231"/>
                  </a:lnTo>
                  <a:lnTo>
                    <a:pt x="900" y="231"/>
                  </a:lnTo>
                  <a:lnTo>
                    <a:pt x="900" y="235"/>
                  </a:lnTo>
                  <a:lnTo>
                    <a:pt x="900" y="238"/>
                  </a:lnTo>
                  <a:lnTo>
                    <a:pt x="898" y="242"/>
                  </a:lnTo>
                  <a:lnTo>
                    <a:pt x="898" y="246"/>
                  </a:lnTo>
                  <a:lnTo>
                    <a:pt x="897" y="250"/>
                  </a:lnTo>
                  <a:lnTo>
                    <a:pt x="895" y="254"/>
                  </a:lnTo>
                  <a:lnTo>
                    <a:pt x="895" y="258"/>
                  </a:lnTo>
                  <a:lnTo>
                    <a:pt x="895" y="261"/>
                  </a:lnTo>
                  <a:lnTo>
                    <a:pt x="895" y="261"/>
                  </a:lnTo>
                  <a:lnTo>
                    <a:pt x="895" y="269"/>
                  </a:lnTo>
                  <a:lnTo>
                    <a:pt x="897" y="273"/>
                  </a:lnTo>
                  <a:lnTo>
                    <a:pt x="898" y="279"/>
                  </a:lnTo>
                  <a:lnTo>
                    <a:pt x="900" y="284"/>
                  </a:lnTo>
                  <a:lnTo>
                    <a:pt x="902" y="288"/>
                  </a:lnTo>
                  <a:lnTo>
                    <a:pt x="904" y="294"/>
                  </a:lnTo>
                  <a:lnTo>
                    <a:pt x="904" y="300"/>
                  </a:lnTo>
                  <a:lnTo>
                    <a:pt x="906" y="307"/>
                  </a:lnTo>
                  <a:lnTo>
                    <a:pt x="906" y="307"/>
                  </a:lnTo>
                  <a:lnTo>
                    <a:pt x="904" y="311"/>
                  </a:lnTo>
                  <a:lnTo>
                    <a:pt x="904" y="315"/>
                  </a:lnTo>
                  <a:lnTo>
                    <a:pt x="902" y="319"/>
                  </a:lnTo>
                  <a:lnTo>
                    <a:pt x="900" y="321"/>
                  </a:lnTo>
                  <a:lnTo>
                    <a:pt x="898" y="324"/>
                  </a:lnTo>
                  <a:lnTo>
                    <a:pt x="897" y="326"/>
                  </a:lnTo>
                  <a:lnTo>
                    <a:pt x="893" y="328"/>
                  </a:lnTo>
                  <a:lnTo>
                    <a:pt x="891" y="332"/>
                  </a:lnTo>
                  <a:lnTo>
                    <a:pt x="891" y="332"/>
                  </a:lnTo>
                  <a:lnTo>
                    <a:pt x="887" y="336"/>
                  </a:lnTo>
                  <a:lnTo>
                    <a:pt x="885" y="340"/>
                  </a:lnTo>
                  <a:lnTo>
                    <a:pt x="885" y="345"/>
                  </a:lnTo>
                  <a:lnTo>
                    <a:pt x="883" y="349"/>
                  </a:lnTo>
                  <a:lnTo>
                    <a:pt x="883" y="355"/>
                  </a:lnTo>
                  <a:lnTo>
                    <a:pt x="883" y="359"/>
                  </a:lnTo>
                  <a:lnTo>
                    <a:pt x="883" y="364"/>
                  </a:lnTo>
                  <a:lnTo>
                    <a:pt x="881" y="370"/>
                  </a:lnTo>
                  <a:lnTo>
                    <a:pt x="881" y="370"/>
                  </a:lnTo>
                  <a:lnTo>
                    <a:pt x="879" y="374"/>
                  </a:lnTo>
                  <a:lnTo>
                    <a:pt x="877" y="378"/>
                  </a:lnTo>
                  <a:lnTo>
                    <a:pt x="876" y="382"/>
                  </a:lnTo>
                  <a:lnTo>
                    <a:pt x="874" y="385"/>
                  </a:lnTo>
                  <a:lnTo>
                    <a:pt x="872" y="387"/>
                  </a:lnTo>
                  <a:lnTo>
                    <a:pt x="870" y="391"/>
                  </a:lnTo>
                  <a:lnTo>
                    <a:pt x="866" y="397"/>
                  </a:lnTo>
                  <a:lnTo>
                    <a:pt x="864" y="403"/>
                  </a:lnTo>
                  <a:lnTo>
                    <a:pt x="864" y="403"/>
                  </a:lnTo>
                  <a:lnTo>
                    <a:pt x="862" y="406"/>
                  </a:lnTo>
                  <a:lnTo>
                    <a:pt x="858" y="408"/>
                  </a:lnTo>
                  <a:lnTo>
                    <a:pt x="855" y="410"/>
                  </a:lnTo>
                  <a:lnTo>
                    <a:pt x="853" y="414"/>
                  </a:lnTo>
                  <a:lnTo>
                    <a:pt x="849" y="416"/>
                  </a:lnTo>
                  <a:lnTo>
                    <a:pt x="847" y="420"/>
                  </a:lnTo>
                  <a:lnTo>
                    <a:pt x="845" y="424"/>
                  </a:lnTo>
                  <a:lnTo>
                    <a:pt x="843" y="427"/>
                  </a:lnTo>
                  <a:lnTo>
                    <a:pt x="843" y="427"/>
                  </a:lnTo>
                  <a:lnTo>
                    <a:pt x="845" y="437"/>
                  </a:lnTo>
                  <a:lnTo>
                    <a:pt x="849" y="443"/>
                  </a:lnTo>
                  <a:lnTo>
                    <a:pt x="853" y="445"/>
                  </a:lnTo>
                  <a:lnTo>
                    <a:pt x="860" y="446"/>
                  </a:lnTo>
                  <a:lnTo>
                    <a:pt x="868" y="448"/>
                  </a:lnTo>
                  <a:lnTo>
                    <a:pt x="874" y="450"/>
                  </a:lnTo>
                  <a:lnTo>
                    <a:pt x="881" y="452"/>
                  </a:lnTo>
                  <a:lnTo>
                    <a:pt x="887" y="456"/>
                  </a:lnTo>
                  <a:lnTo>
                    <a:pt x="887" y="456"/>
                  </a:lnTo>
                  <a:lnTo>
                    <a:pt x="881" y="460"/>
                  </a:lnTo>
                  <a:lnTo>
                    <a:pt x="874" y="462"/>
                  </a:lnTo>
                  <a:lnTo>
                    <a:pt x="864" y="464"/>
                  </a:lnTo>
                  <a:lnTo>
                    <a:pt x="856" y="467"/>
                  </a:lnTo>
                  <a:lnTo>
                    <a:pt x="849" y="469"/>
                  </a:lnTo>
                  <a:lnTo>
                    <a:pt x="841" y="473"/>
                  </a:lnTo>
                  <a:lnTo>
                    <a:pt x="834" y="475"/>
                  </a:lnTo>
                  <a:lnTo>
                    <a:pt x="824" y="477"/>
                  </a:lnTo>
                  <a:lnTo>
                    <a:pt x="816" y="481"/>
                  </a:lnTo>
                  <a:lnTo>
                    <a:pt x="809" y="483"/>
                  </a:lnTo>
                  <a:lnTo>
                    <a:pt x="799" y="486"/>
                  </a:lnTo>
                  <a:lnTo>
                    <a:pt x="792" y="488"/>
                  </a:lnTo>
                  <a:lnTo>
                    <a:pt x="784" y="490"/>
                  </a:lnTo>
                  <a:lnTo>
                    <a:pt x="776" y="494"/>
                  </a:lnTo>
                  <a:lnTo>
                    <a:pt x="769" y="496"/>
                  </a:lnTo>
                  <a:lnTo>
                    <a:pt x="761" y="496"/>
                  </a:lnTo>
                  <a:lnTo>
                    <a:pt x="761" y="496"/>
                  </a:lnTo>
                  <a:lnTo>
                    <a:pt x="755" y="498"/>
                  </a:lnTo>
                  <a:lnTo>
                    <a:pt x="750" y="500"/>
                  </a:lnTo>
                  <a:lnTo>
                    <a:pt x="746" y="502"/>
                  </a:lnTo>
                  <a:lnTo>
                    <a:pt x="740" y="502"/>
                  </a:lnTo>
                  <a:lnTo>
                    <a:pt x="734" y="504"/>
                  </a:lnTo>
                  <a:lnTo>
                    <a:pt x="731" y="506"/>
                  </a:lnTo>
                  <a:lnTo>
                    <a:pt x="725" y="507"/>
                  </a:lnTo>
                  <a:lnTo>
                    <a:pt x="721" y="509"/>
                  </a:lnTo>
                  <a:lnTo>
                    <a:pt x="715" y="511"/>
                  </a:lnTo>
                  <a:lnTo>
                    <a:pt x="712" y="513"/>
                  </a:lnTo>
                  <a:lnTo>
                    <a:pt x="706" y="515"/>
                  </a:lnTo>
                  <a:lnTo>
                    <a:pt x="702" y="517"/>
                  </a:lnTo>
                  <a:lnTo>
                    <a:pt x="696" y="519"/>
                  </a:lnTo>
                  <a:lnTo>
                    <a:pt x="691" y="521"/>
                  </a:lnTo>
                  <a:lnTo>
                    <a:pt x="685" y="523"/>
                  </a:lnTo>
                  <a:lnTo>
                    <a:pt x="679" y="525"/>
                  </a:lnTo>
                  <a:lnTo>
                    <a:pt x="679" y="525"/>
                  </a:lnTo>
                  <a:lnTo>
                    <a:pt x="677" y="525"/>
                  </a:lnTo>
                  <a:lnTo>
                    <a:pt x="671" y="527"/>
                  </a:lnTo>
                  <a:lnTo>
                    <a:pt x="668" y="530"/>
                  </a:lnTo>
                  <a:lnTo>
                    <a:pt x="662" y="532"/>
                  </a:lnTo>
                  <a:lnTo>
                    <a:pt x="656" y="534"/>
                  </a:lnTo>
                  <a:lnTo>
                    <a:pt x="650" y="538"/>
                  </a:lnTo>
                  <a:lnTo>
                    <a:pt x="645" y="540"/>
                  </a:lnTo>
                  <a:lnTo>
                    <a:pt x="639" y="540"/>
                  </a:lnTo>
                  <a:lnTo>
                    <a:pt x="639" y="551"/>
                  </a:lnTo>
                  <a:lnTo>
                    <a:pt x="639" y="551"/>
                  </a:lnTo>
                  <a:lnTo>
                    <a:pt x="639" y="553"/>
                  </a:lnTo>
                  <a:lnTo>
                    <a:pt x="641" y="557"/>
                  </a:lnTo>
                  <a:lnTo>
                    <a:pt x="641" y="559"/>
                  </a:lnTo>
                  <a:lnTo>
                    <a:pt x="643" y="563"/>
                  </a:lnTo>
                  <a:lnTo>
                    <a:pt x="643" y="565"/>
                  </a:lnTo>
                  <a:lnTo>
                    <a:pt x="645" y="569"/>
                  </a:lnTo>
                  <a:lnTo>
                    <a:pt x="645" y="572"/>
                  </a:lnTo>
                  <a:lnTo>
                    <a:pt x="645" y="574"/>
                  </a:lnTo>
                  <a:lnTo>
                    <a:pt x="645" y="574"/>
                  </a:lnTo>
                  <a:lnTo>
                    <a:pt x="645" y="576"/>
                  </a:lnTo>
                  <a:lnTo>
                    <a:pt x="647" y="576"/>
                  </a:lnTo>
                  <a:lnTo>
                    <a:pt x="647" y="578"/>
                  </a:lnTo>
                  <a:lnTo>
                    <a:pt x="647" y="580"/>
                  </a:lnTo>
                  <a:lnTo>
                    <a:pt x="647" y="582"/>
                  </a:lnTo>
                  <a:lnTo>
                    <a:pt x="647" y="586"/>
                  </a:lnTo>
                  <a:lnTo>
                    <a:pt x="647" y="588"/>
                  </a:lnTo>
                  <a:lnTo>
                    <a:pt x="647" y="591"/>
                  </a:lnTo>
                  <a:lnTo>
                    <a:pt x="631" y="59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82" name="Freeform 126"/>
            <p:cNvSpPr>
              <a:spLocks/>
            </p:cNvSpPr>
            <p:nvPr/>
          </p:nvSpPr>
          <p:spPr bwMode="gray">
            <a:xfrm>
              <a:off x="2092" y="2622"/>
              <a:ext cx="548" cy="527"/>
            </a:xfrm>
            <a:custGeom>
              <a:avLst/>
              <a:gdLst/>
              <a:ahLst/>
              <a:cxnLst>
                <a:cxn ang="0">
                  <a:pos x="51" y="13"/>
                </a:cxn>
                <a:cxn ang="0">
                  <a:pos x="88" y="2"/>
                </a:cxn>
                <a:cxn ang="0">
                  <a:pos x="326" y="2"/>
                </a:cxn>
                <a:cxn ang="0">
                  <a:pos x="380" y="7"/>
                </a:cxn>
                <a:cxn ang="0">
                  <a:pos x="389" y="42"/>
                </a:cxn>
                <a:cxn ang="0">
                  <a:pos x="401" y="93"/>
                </a:cxn>
                <a:cxn ang="0">
                  <a:pos x="446" y="158"/>
                </a:cxn>
                <a:cxn ang="0">
                  <a:pos x="502" y="177"/>
                </a:cxn>
                <a:cxn ang="0">
                  <a:pos x="557" y="168"/>
                </a:cxn>
                <a:cxn ang="0">
                  <a:pos x="605" y="152"/>
                </a:cxn>
                <a:cxn ang="0">
                  <a:pos x="614" y="105"/>
                </a:cxn>
                <a:cxn ang="0">
                  <a:pos x="652" y="89"/>
                </a:cxn>
                <a:cxn ang="0">
                  <a:pos x="692" y="112"/>
                </a:cxn>
                <a:cxn ang="0">
                  <a:pos x="799" y="171"/>
                </a:cxn>
                <a:cxn ang="0">
                  <a:pos x="799" y="246"/>
                </a:cxn>
                <a:cxn ang="0">
                  <a:pos x="801" y="301"/>
                </a:cxn>
                <a:cxn ang="0">
                  <a:pos x="826" y="324"/>
                </a:cxn>
                <a:cxn ang="0">
                  <a:pos x="839" y="362"/>
                </a:cxn>
                <a:cxn ang="0">
                  <a:pos x="830" y="400"/>
                </a:cxn>
                <a:cxn ang="0">
                  <a:pos x="834" y="427"/>
                </a:cxn>
                <a:cxn ang="0">
                  <a:pos x="858" y="423"/>
                </a:cxn>
                <a:cxn ang="0">
                  <a:pos x="898" y="412"/>
                </a:cxn>
                <a:cxn ang="0">
                  <a:pos x="931" y="412"/>
                </a:cxn>
                <a:cxn ang="0">
                  <a:pos x="967" y="410"/>
                </a:cxn>
                <a:cxn ang="0">
                  <a:pos x="967" y="463"/>
                </a:cxn>
                <a:cxn ang="0">
                  <a:pos x="967" y="498"/>
                </a:cxn>
                <a:cxn ang="0">
                  <a:pos x="959" y="543"/>
                </a:cxn>
                <a:cxn ang="0">
                  <a:pos x="919" y="563"/>
                </a:cxn>
                <a:cxn ang="0">
                  <a:pos x="875" y="572"/>
                </a:cxn>
                <a:cxn ang="0">
                  <a:pos x="839" y="572"/>
                </a:cxn>
                <a:cxn ang="0">
                  <a:pos x="805" y="572"/>
                </a:cxn>
                <a:cxn ang="0">
                  <a:pos x="870" y="938"/>
                </a:cxn>
                <a:cxn ang="0">
                  <a:pos x="792" y="952"/>
                </a:cxn>
                <a:cxn ang="0">
                  <a:pos x="719" y="957"/>
                </a:cxn>
                <a:cxn ang="0">
                  <a:pos x="635" y="954"/>
                </a:cxn>
                <a:cxn ang="0">
                  <a:pos x="557" y="942"/>
                </a:cxn>
                <a:cxn ang="0">
                  <a:pos x="525" y="925"/>
                </a:cxn>
                <a:cxn ang="0">
                  <a:pos x="168" y="910"/>
                </a:cxn>
                <a:cxn ang="0">
                  <a:pos x="114" y="887"/>
                </a:cxn>
                <a:cxn ang="0">
                  <a:pos x="69" y="896"/>
                </a:cxn>
                <a:cxn ang="0">
                  <a:pos x="29" y="896"/>
                </a:cxn>
                <a:cxn ang="0">
                  <a:pos x="2" y="885"/>
                </a:cxn>
                <a:cxn ang="0">
                  <a:pos x="6" y="847"/>
                </a:cxn>
                <a:cxn ang="0">
                  <a:pos x="6" y="811"/>
                </a:cxn>
                <a:cxn ang="0">
                  <a:pos x="9" y="788"/>
                </a:cxn>
                <a:cxn ang="0">
                  <a:pos x="23" y="751"/>
                </a:cxn>
                <a:cxn ang="0">
                  <a:pos x="34" y="713"/>
                </a:cxn>
                <a:cxn ang="0">
                  <a:pos x="48" y="643"/>
                </a:cxn>
                <a:cxn ang="0">
                  <a:pos x="76" y="576"/>
                </a:cxn>
                <a:cxn ang="0">
                  <a:pos x="118" y="528"/>
                </a:cxn>
                <a:cxn ang="0">
                  <a:pos x="160" y="461"/>
                </a:cxn>
                <a:cxn ang="0">
                  <a:pos x="160" y="387"/>
                </a:cxn>
                <a:cxn ang="0">
                  <a:pos x="124" y="324"/>
                </a:cxn>
                <a:cxn ang="0">
                  <a:pos x="105" y="265"/>
                </a:cxn>
                <a:cxn ang="0">
                  <a:pos x="130" y="215"/>
                </a:cxn>
                <a:cxn ang="0">
                  <a:pos x="114" y="160"/>
                </a:cxn>
                <a:cxn ang="0">
                  <a:pos x="80" y="91"/>
                </a:cxn>
              </a:cxnLst>
              <a:rect l="0" t="0" r="r" b="b"/>
              <a:pathLst>
                <a:path w="967" h="957">
                  <a:moveTo>
                    <a:pt x="40" y="30"/>
                  </a:moveTo>
                  <a:lnTo>
                    <a:pt x="40" y="30"/>
                  </a:lnTo>
                  <a:lnTo>
                    <a:pt x="42" y="25"/>
                  </a:lnTo>
                  <a:lnTo>
                    <a:pt x="44" y="21"/>
                  </a:lnTo>
                  <a:lnTo>
                    <a:pt x="46" y="19"/>
                  </a:lnTo>
                  <a:lnTo>
                    <a:pt x="50" y="15"/>
                  </a:lnTo>
                  <a:lnTo>
                    <a:pt x="51" y="13"/>
                  </a:lnTo>
                  <a:lnTo>
                    <a:pt x="57" y="11"/>
                  </a:lnTo>
                  <a:lnTo>
                    <a:pt x="61" y="7"/>
                  </a:lnTo>
                  <a:lnTo>
                    <a:pt x="67" y="5"/>
                  </a:lnTo>
                  <a:lnTo>
                    <a:pt x="71" y="5"/>
                  </a:lnTo>
                  <a:lnTo>
                    <a:pt x="76" y="4"/>
                  </a:lnTo>
                  <a:lnTo>
                    <a:pt x="82" y="2"/>
                  </a:lnTo>
                  <a:lnTo>
                    <a:pt x="88" y="2"/>
                  </a:lnTo>
                  <a:lnTo>
                    <a:pt x="93" y="2"/>
                  </a:lnTo>
                  <a:lnTo>
                    <a:pt x="99" y="0"/>
                  </a:lnTo>
                  <a:lnTo>
                    <a:pt x="103" y="0"/>
                  </a:lnTo>
                  <a:lnTo>
                    <a:pt x="109" y="0"/>
                  </a:lnTo>
                  <a:lnTo>
                    <a:pt x="318" y="0"/>
                  </a:lnTo>
                  <a:lnTo>
                    <a:pt x="318" y="0"/>
                  </a:lnTo>
                  <a:lnTo>
                    <a:pt x="326" y="2"/>
                  </a:lnTo>
                  <a:lnTo>
                    <a:pt x="336" y="2"/>
                  </a:lnTo>
                  <a:lnTo>
                    <a:pt x="343" y="0"/>
                  </a:lnTo>
                  <a:lnTo>
                    <a:pt x="351" y="0"/>
                  </a:lnTo>
                  <a:lnTo>
                    <a:pt x="359" y="0"/>
                  </a:lnTo>
                  <a:lnTo>
                    <a:pt x="366" y="0"/>
                  </a:lnTo>
                  <a:lnTo>
                    <a:pt x="372" y="4"/>
                  </a:lnTo>
                  <a:lnTo>
                    <a:pt x="380" y="7"/>
                  </a:lnTo>
                  <a:lnTo>
                    <a:pt x="380" y="7"/>
                  </a:lnTo>
                  <a:lnTo>
                    <a:pt x="383" y="13"/>
                  </a:lnTo>
                  <a:lnTo>
                    <a:pt x="387" y="19"/>
                  </a:lnTo>
                  <a:lnTo>
                    <a:pt x="387" y="25"/>
                  </a:lnTo>
                  <a:lnTo>
                    <a:pt x="389" y="30"/>
                  </a:lnTo>
                  <a:lnTo>
                    <a:pt x="389" y="36"/>
                  </a:lnTo>
                  <a:lnTo>
                    <a:pt x="389" y="42"/>
                  </a:lnTo>
                  <a:lnTo>
                    <a:pt x="389" y="49"/>
                  </a:lnTo>
                  <a:lnTo>
                    <a:pt x="389" y="55"/>
                  </a:lnTo>
                  <a:lnTo>
                    <a:pt x="389" y="55"/>
                  </a:lnTo>
                  <a:lnTo>
                    <a:pt x="391" y="65"/>
                  </a:lnTo>
                  <a:lnTo>
                    <a:pt x="393" y="74"/>
                  </a:lnTo>
                  <a:lnTo>
                    <a:pt x="397" y="84"/>
                  </a:lnTo>
                  <a:lnTo>
                    <a:pt x="401" y="93"/>
                  </a:lnTo>
                  <a:lnTo>
                    <a:pt x="404" y="103"/>
                  </a:lnTo>
                  <a:lnTo>
                    <a:pt x="410" y="114"/>
                  </a:lnTo>
                  <a:lnTo>
                    <a:pt x="416" y="124"/>
                  </a:lnTo>
                  <a:lnTo>
                    <a:pt x="423" y="133"/>
                  </a:lnTo>
                  <a:lnTo>
                    <a:pt x="431" y="141"/>
                  </a:lnTo>
                  <a:lnTo>
                    <a:pt x="437" y="150"/>
                  </a:lnTo>
                  <a:lnTo>
                    <a:pt x="446" y="158"/>
                  </a:lnTo>
                  <a:lnTo>
                    <a:pt x="454" y="164"/>
                  </a:lnTo>
                  <a:lnTo>
                    <a:pt x="463" y="170"/>
                  </a:lnTo>
                  <a:lnTo>
                    <a:pt x="473" y="173"/>
                  </a:lnTo>
                  <a:lnTo>
                    <a:pt x="483" y="175"/>
                  </a:lnTo>
                  <a:lnTo>
                    <a:pt x="492" y="177"/>
                  </a:lnTo>
                  <a:lnTo>
                    <a:pt x="492" y="177"/>
                  </a:lnTo>
                  <a:lnTo>
                    <a:pt x="502" y="177"/>
                  </a:lnTo>
                  <a:lnTo>
                    <a:pt x="509" y="175"/>
                  </a:lnTo>
                  <a:lnTo>
                    <a:pt x="517" y="173"/>
                  </a:lnTo>
                  <a:lnTo>
                    <a:pt x="525" y="173"/>
                  </a:lnTo>
                  <a:lnTo>
                    <a:pt x="532" y="171"/>
                  </a:lnTo>
                  <a:lnTo>
                    <a:pt x="540" y="170"/>
                  </a:lnTo>
                  <a:lnTo>
                    <a:pt x="549" y="168"/>
                  </a:lnTo>
                  <a:lnTo>
                    <a:pt x="557" y="168"/>
                  </a:lnTo>
                  <a:lnTo>
                    <a:pt x="557" y="168"/>
                  </a:lnTo>
                  <a:lnTo>
                    <a:pt x="568" y="168"/>
                  </a:lnTo>
                  <a:lnTo>
                    <a:pt x="580" y="166"/>
                  </a:lnTo>
                  <a:lnTo>
                    <a:pt x="587" y="164"/>
                  </a:lnTo>
                  <a:lnTo>
                    <a:pt x="595" y="162"/>
                  </a:lnTo>
                  <a:lnTo>
                    <a:pt x="601" y="158"/>
                  </a:lnTo>
                  <a:lnTo>
                    <a:pt x="605" y="152"/>
                  </a:lnTo>
                  <a:lnTo>
                    <a:pt x="610" y="145"/>
                  </a:lnTo>
                  <a:lnTo>
                    <a:pt x="614" y="135"/>
                  </a:lnTo>
                  <a:lnTo>
                    <a:pt x="614" y="135"/>
                  </a:lnTo>
                  <a:lnTo>
                    <a:pt x="616" y="128"/>
                  </a:lnTo>
                  <a:lnTo>
                    <a:pt x="616" y="120"/>
                  </a:lnTo>
                  <a:lnTo>
                    <a:pt x="614" y="112"/>
                  </a:lnTo>
                  <a:lnTo>
                    <a:pt x="614" y="105"/>
                  </a:lnTo>
                  <a:lnTo>
                    <a:pt x="616" y="99"/>
                  </a:lnTo>
                  <a:lnTo>
                    <a:pt x="618" y="93"/>
                  </a:lnTo>
                  <a:lnTo>
                    <a:pt x="626" y="89"/>
                  </a:lnTo>
                  <a:lnTo>
                    <a:pt x="637" y="89"/>
                  </a:lnTo>
                  <a:lnTo>
                    <a:pt x="637" y="89"/>
                  </a:lnTo>
                  <a:lnTo>
                    <a:pt x="645" y="89"/>
                  </a:lnTo>
                  <a:lnTo>
                    <a:pt x="652" y="89"/>
                  </a:lnTo>
                  <a:lnTo>
                    <a:pt x="660" y="89"/>
                  </a:lnTo>
                  <a:lnTo>
                    <a:pt x="666" y="91"/>
                  </a:lnTo>
                  <a:lnTo>
                    <a:pt x="671" y="93"/>
                  </a:lnTo>
                  <a:lnTo>
                    <a:pt x="677" y="93"/>
                  </a:lnTo>
                  <a:lnTo>
                    <a:pt x="685" y="93"/>
                  </a:lnTo>
                  <a:lnTo>
                    <a:pt x="692" y="95"/>
                  </a:lnTo>
                  <a:lnTo>
                    <a:pt x="692" y="112"/>
                  </a:lnTo>
                  <a:lnTo>
                    <a:pt x="799" y="112"/>
                  </a:lnTo>
                  <a:lnTo>
                    <a:pt x="799" y="112"/>
                  </a:lnTo>
                  <a:lnTo>
                    <a:pt x="799" y="126"/>
                  </a:lnTo>
                  <a:lnTo>
                    <a:pt x="799" y="137"/>
                  </a:lnTo>
                  <a:lnTo>
                    <a:pt x="799" y="149"/>
                  </a:lnTo>
                  <a:lnTo>
                    <a:pt x="799" y="160"/>
                  </a:lnTo>
                  <a:lnTo>
                    <a:pt x="799" y="171"/>
                  </a:lnTo>
                  <a:lnTo>
                    <a:pt x="799" y="183"/>
                  </a:lnTo>
                  <a:lnTo>
                    <a:pt x="799" y="192"/>
                  </a:lnTo>
                  <a:lnTo>
                    <a:pt x="799" y="204"/>
                  </a:lnTo>
                  <a:lnTo>
                    <a:pt x="799" y="213"/>
                  </a:lnTo>
                  <a:lnTo>
                    <a:pt x="799" y="225"/>
                  </a:lnTo>
                  <a:lnTo>
                    <a:pt x="799" y="234"/>
                  </a:lnTo>
                  <a:lnTo>
                    <a:pt x="799" y="246"/>
                  </a:lnTo>
                  <a:lnTo>
                    <a:pt x="799" y="255"/>
                  </a:lnTo>
                  <a:lnTo>
                    <a:pt x="799" y="267"/>
                  </a:lnTo>
                  <a:lnTo>
                    <a:pt x="799" y="278"/>
                  </a:lnTo>
                  <a:lnTo>
                    <a:pt x="799" y="290"/>
                  </a:lnTo>
                  <a:lnTo>
                    <a:pt x="799" y="290"/>
                  </a:lnTo>
                  <a:lnTo>
                    <a:pt x="799" y="294"/>
                  </a:lnTo>
                  <a:lnTo>
                    <a:pt x="801" y="301"/>
                  </a:lnTo>
                  <a:lnTo>
                    <a:pt x="805" y="307"/>
                  </a:lnTo>
                  <a:lnTo>
                    <a:pt x="807" y="313"/>
                  </a:lnTo>
                  <a:lnTo>
                    <a:pt x="811" y="316"/>
                  </a:lnTo>
                  <a:lnTo>
                    <a:pt x="816" y="320"/>
                  </a:lnTo>
                  <a:lnTo>
                    <a:pt x="820" y="324"/>
                  </a:lnTo>
                  <a:lnTo>
                    <a:pt x="826" y="324"/>
                  </a:lnTo>
                  <a:lnTo>
                    <a:pt x="826" y="324"/>
                  </a:lnTo>
                  <a:lnTo>
                    <a:pt x="826" y="332"/>
                  </a:lnTo>
                  <a:lnTo>
                    <a:pt x="828" y="337"/>
                  </a:lnTo>
                  <a:lnTo>
                    <a:pt x="830" y="343"/>
                  </a:lnTo>
                  <a:lnTo>
                    <a:pt x="834" y="347"/>
                  </a:lnTo>
                  <a:lnTo>
                    <a:pt x="835" y="353"/>
                  </a:lnTo>
                  <a:lnTo>
                    <a:pt x="837" y="357"/>
                  </a:lnTo>
                  <a:lnTo>
                    <a:pt x="839" y="362"/>
                  </a:lnTo>
                  <a:lnTo>
                    <a:pt x="839" y="368"/>
                  </a:lnTo>
                  <a:lnTo>
                    <a:pt x="839" y="368"/>
                  </a:lnTo>
                  <a:lnTo>
                    <a:pt x="839" y="376"/>
                  </a:lnTo>
                  <a:lnTo>
                    <a:pt x="837" y="383"/>
                  </a:lnTo>
                  <a:lnTo>
                    <a:pt x="835" y="389"/>
                  </a:lnTo>
                  <a:lnTo>
                    <a:pt x="834" y="395"/>
                  </a:lnTo>
                  <a:lnTo>
                    <a:pt x="830" y="400"/>
                  </a:lnTo>
                  <a:lnTo>
                    <a:pt x="828" y="406"/>
                  </a:lnTo>
                  <a:lnTo>
                    <a:pt x="826" y="412"/>
                  </a:lnTo>
                  <a:lnTo>
                    <a:pt x="826" y="419"/>
                  </a:lnTo>
                  <a:lnTo>
                    <a:pt x="826" y="419"/>
                  </a:lnTo>
                  <a:lnTo>
                    <a:pt x="828" y="423"/>
                  </a:lnTo>
                  <a:lnTo>
                    <a:pt x="830" y="425"/>
                  </a:lnTo>
                  <a:lnTo>
                    <a:pt x="834" y="427"/>
                  </a:lnTo>
                  <a:lnTo>
                    <a:pt x="837" y="427"/>
                  </a:lnTo>
                  <a:lnTo>
                    <a:pt x="837" y="427"/>
                  </a:lnTo>
                  <a:lnTo>
                    <a:pt x="841" y="427"/>
                  </a:lnTo>
                  <a:lnTo>
                    <a:pt x="845" y="427"/>
                  </a:lnTo>
                  <a:lnTo>
                    <a:pt x="849" y="425"/>
                  </a:lnTo>
                  <a:lnTo>
                    <a:pt x="855" y="425"/>
                  </a:lnTo>
                  <a:lnTo>
                    <a:pt x="858" y="423"/>
                  </a:lnTo>
                  <a:lnTo>
                    <a:pt x="864" y="421"/>
                  </a:lnTo>
                  <a:lnTo>
                    <a:pt x="870" y="421"/>
                  </a:lnTo>
                  <a:lnTo>
                    <a:pt x="875" y="419"/>
                  </a:lnTo>
                  <a:lnTo>
                    <a:pt x="881" y="418"/>
                  </a:lnTo>
                  <a:lnTo>
                    <a:pt x="887" y="416"/>
                  </a:lnTo>
                  <a:lnTo>
                    <a:pt x="893" y="414"/>
                  </a:lnTo>
                  <a:lnTo>
                    <a:pt x="898" y="412"/>
                  </a:lnTo>
                  <a:lnTo>
                    <a:pt x="904" y="412"/>
                  </a:lnTo>
                  <a:lnTo>
                    <a:pt x="908" y="410"/>
                  </a:lnTo>
                  <a:lnTo>
                    <a:pt x="914" y="410"/>
                  </a:lnTo>
                  <a:lnTo>
                    <a:pt x="917" y="410"/>
                  </a:lnTo>
                  <a:lnTo>
                    <a:pt x="917" y="410"/>
                  </a:lnTo>
                  <a:lnTo>
                    <a:pt x="923" y="410"/>
                  </a:lnTo>
                  <a:lnTo>
                    <a:pt x="931" y="412"/>
                  </a:lnTo>
                  <a:lnTo>
                    <a:pt x="938" y="412"/>
                  </a:lnTo>
                  <a:lnTo>
                    <a:pt x="944" y="412"/>
                  </a:lnTo>
                  <a:lnTo>
                    <a:pt x="950" y="414"/>
                  </a:lnTo>
                  <a:lnTo>
                    <a:pt x="958" y="414"/>
                  </a:lnTo>
                  <a:lnTo>
                    <a:pt x="963" y="412"/>
                  </a:lnTo>
                  <a:lnTo>
                    <a:pt x="967" y="410"/>
                  </a:lnTo>
                  <a:lnTo>
                    <a:pt x="967" y="410"/>
                  </a:lnTo>
                  <a:lnTo>
                    <a:pt x="967" y="419"/>
                  </a:lnTo>
                  <a:lnTo>
                    <a:pt x="967" y="429"/>
                  </a:lnTo>
                  <a:lnTo>
                    <a:pt x="967" y="439"/>
                  </a:lnTo>
                  <a:lnTo>
                    <a:pt x="967" y="444"/>
                  </a:lnTo>
                  <a:lnTo>
                    <a:pt x="967" y="452"/>
                  </a:lnTo>
                  <a:lnTo>
                    <a:pt x="967" y="458"/>
                  </a:lnTo>
                  <a:lnTo>
                    <a:pt x="967" y="463"/>
                  </a:lnTo>
                  <a:lnTo>
                    <a:pt x="967" y="469"/>
                  </a:lnTo>
                  <a:lnTo>
                    <a:pt x="967" y="473"/>
                  </a:lnTo>
                  <a:lnTo>
                    <a:pt x="967" y="479"/>
                  </a:lnTo>
                  <a:lnTo>
                    <a:pt x="967" y="482"/>
                  </a:lnTo>
                  <a:lnTo>
                    <a:pt x="967" y="488"/>
                  </a:lnTo>
                  <a:lnTo>
                    <a:pt x="967" y="492"/>
                  </a:lnTo>
                  <a:lnTo>
                    <a:pt x="967" y="498"/>
                  </a:lnTo>
                  <a:lnTo>
                    <a:pt x="967" y="503"/>
                  </a:lnTo>
                  <a:lnTo>
                    <a:pt x="967" y="511"/>
                  </a:lnTo>
                  <a:lnTo>
                    <a:pt x="967" y="511"/>
                  </a:lnTo>
                  <a:lnTo>
                    <a:pt x="967" y="521"/>
                  </a:lnTo>
                  <a:lnTo>
                    <a:pt x="965" y="530"/>
                  </a:lnTo>
                  <a:lnTo>
                    <a:pt x="963" y="538"/>
                  </a:lnTo>
                  <a:lnTo>
                    <a:pt x="959" y="543"/>
                  </a:lnTo>
                  <a:lnTo>
                    <a:pt x="956" y="547"/>
                  </a:lnTo>
                  <a:lnTo>
                    <a:pt x="952" y="551"/>
                  </a:lnTo>
                  <a:lnTo>
                    <a:pt x="946" y="555"/>
                  </a:lnTo>
                  <a:lnTo>
                    <a:pt x="940" y="557"/>
                  </a:lnTo>
                  <a:lnTo>
                    <a:pt x="935" y="559"/>
                  </a:lnTo>
                  <a:lnTo>
                    <a:pt x="927" y="561"/>
                  </a:lnTo>
                  <a:lnTo>
                    <a:pt x="919" y="563"/>
                  </a:lnTo>
                  <a:lnTo>
                    <a:pt x="912" y="563"/>
                  </a:lnTo>
                  <a:lnTo>
                    <a:pt x="904" y="564"/>
                  </a:lnTo>
                  <a:lnTo>
                    <a:pt x="896" y="566"/>
                  </a:lnTo>
                  <a:lnTo>
                    <a:pt x="889" y="570"/>
                  </a:lnTo>
                  <a:lnTo>
                    <a:pt x="879" y="572"/>
                  </a:lnTo>
                  <a:lnTo>
                    <a:pt x="879" y="572"/>
                  </a:lnTo>
                  <a:lnTo>
                    <a:pt x="875" y="572"/>
                  </a:lnTo>
                  <a:lnTo>
                    <a:pt x="872" y="572"/>
                  </a:lnTo>
                  <a:lnTo>
                    <a:pt x="866" y="572"/>
                  </a:lnTo>
                  <a:lnTo>
                    <a:pt x="862" y="572"/>
                  </a:lnTo>
                  <a:lnTo>
                    <a:pt x="856" y="572"/>
                  </a:lnTo>
                  <a:lnTo>
                    <a:pt x="851" y="572"/>
                  </a:lnTo>
                  <a:lnTo>
                    <a:pt x="845" y="572"/>
                  </a:lnTo>
                  <a:lnTo>
                    <a:pt x="839" y="572"/>
                  </a:lnTo>
                  <a:lnTo>
                    <a:pt x="834" y="572"/>
                  </a:lnTo>
                  <a:lnTo>
                    <a:pt x="828" y="572"/>
                  </a:lnTo>
                  <a:lnTo>
                    <a:pt x="822" y="572"/>
                  </a:lnTo>
                  <a:lnTo>
                    <a:pt x="816" y="572"/>
                  </a:lnTo>
                  <a:lnTo>
                    <a:pt x="813" y="572"/>
                  </a:lnTo>
                  <a:lnTo>
                    <a:pt x="809" y="572"/>
                  </a:lnTo>
                  <a:lnTo>
                    <a:pt x="805" y="572"/>
                  </a:lnTo>
                  <a:lnTo>
                    <a:pt x="803" y="572"/>
                  </a:lnTo>
                  <a:lnTo>
                    <a:pt x="803" y="818"/>
                  </a:lnTo>
                  <a:lnTo>
                    <a:pt x="902" y="933"/>
                  </a:lnTo>
                  <a:lnTo>
                    <a:pt x="902" y="933"/>
                  </a:lnTo>
                  <a:lnTo>
                    <a:pt x="891" y="935"/>
                  </a:lnTo>
                  <a:lnTo>
                    <a:pt x="881" y="936"/>
                  </a:lnTo>
                  <a:lnTo>
                    <a:pt x="870" y="938"/>
                  </a:lnTo>
                  <a:lnTo>
                    <a:pt x="858" y="940"/>
                  </a:lnTo>
                  <a:lnTo>
                    <a:pt x="849" y="942"/>
                  </a:lnTo>
                  <a:lnTo>
                    <a:pt x="837" y="944"/>
                  </a:lnTo>
                  <a:lnTo>
                    <a:pt x="826" y="946"/>
                  </a:lnTo>
                  <a:lnTo>
                    <a:pt x="814" y="948"/>
                  </a:lnTo>
                  <a:lnTo>
                    <a:pt x="805" y="950"/>
                  </a:lnTo>
                  <a:lnTo>
                    <a:pt x="792" y="952"/>
                  </a:lnTo>
                  <a:lnTo>
                    <a:pt x="780" y="954"/>
                  </a:lnTo>
                  <a:lnTo>
                    <a:pt x="769" y="954"/>
                  </a:lnTo>
                  <a:lnTo>
                    <a:pt x="757" y="956"/>
                  </a:lnTo>
                  <a:lnTo>
                    <a:pt x="746" y="956"/>
                  </a:lnTo>
                  <a:lnTo>
                    <a:pt x="732" y="957"/>
                  </a:lnTo>
                  <a:lnTo>
                    <a:pt x="719" y="957"/>
                  </a:lnTo>
                  <a:lnTo>
                    <a:pt x="719" y="957"/>
                  </a:lnTo>
                  <a:lnTo>
                    <a:pt x="708" y="957"/>
                  </a:lnTo>
                  <a:lnTo>
                    <a:pt x="696" y="957"/>
                  </a:lnTo>
                  <a:lnTo>
                    <a:pt x="685" y="957"/>
                  </a:lnTo>
                  <a:lnTo>
                    <a:pt x="673" y="956"/>
                  </a:lnTo>
                  <a:lnTo>
                    <a:pt x="660" y="956"/>
                  </a:lnTo>
                  <a:lnTo>
                    <a:pt x="648" y="956"/>
                  </a:lnTo>
                  <a:lnTo>
                    <a:pt x="635" y="954"/>
                  </a:lnTo>
                  <a:lnTo>
                    <a:pt x="624" y="954"/>
                  </a:lnTo>
                  <a:lnTo>
                    <a:pt x="612" y="952"/>
                  </a:lnTo>
                  <a:lnTo>
                    <a:pt x="601" y="950"/>
                  </a:lnTo>
                  <a:lnTo>
                    <a:pt x="589" y="948"/>
                  </a:lnTo>
                  <a:lnTo>
                    <a:pt x="578" y="946"/>
                  </a:lnTo>
                  <a:lnTo>
                    <a:pt x="568" y="944"/>
                  </a:lnTo>
                  <a:lnTo>
                    <a:pt x="557" y="942"/>
                  </a:lnTo>
                  <a:lnTo>
                    <a:pt x="547" y="938"/>
                  </a:lnTo>
                  <a:lnTo>
                    <a:pt x="540" y="936"/>
                  </a:lnTo>
                  <a:lnTo>
                    <a:pt x="540" y="936"/>
                  </a:lnTo>
                  <a:lnTo>
                    <a:pt x="536" y="935"/>
                  </a:lnTo>
                  <a:lnTo>
                    <a:pt x="532" y="931"/>
                  </a:lnTo>
                  <a:lnTo>
                    <a:pt x="528" y="929"/>
                  </a:lnTo>
                  <a:lnTo>
                    <a:pt x="525" y="925"/>
                  </a:lnTo>
                  <a:lnTo>
                    <a:pt x="521" y="921"/>
                  </a:lnTo>
                  <a:lnTo>
                    <a:pt x="519" y="919"/>
                  </a:lnTo>
                  <a:lnTo>
                    <a:pt x="515" y="917"/>
                  </a:lnTo>
                  <a:lnTo>
                    <a:pt x="513" y="915"/>
                  </a:lnTo>
                  <a:lnTo>
                    <a:pt x="174" y="915"/>
                  </a:lnTo>
                  <a:lnTo>
                    <a:pt x="174" y="915"/>
                  </a:lnTo>
                  <a:lnTo>
                    <a:pt x="168" y="910"/>
                  </a:lnTo>
                  <a:lnTo>
                    <a:pt x="162" y="904"/>
                  </a:lnTo>
                  <a:lnTo>
                    <a:pt x="156" y="898"/>
                  </a:lnTo>
                  <a:lnTo>
                    <a:pt x="151" y="895"/>
                  </a:lnTo>
                  <a:lnTo>
                    <a:pt x="143" y="891"/>
                  </a:lnTo>
                  <a:lnTo>
                    <a:pt x="135" y="889"/>
                  </a:lnTo>
                  <a:lnTo>
                    <a:pt x="126" y="887"/>
                  </a:lnTo>
                  <a:lnTo>
                    <a:pt x="114" y="887"/>
                  </a:lnTo>
                  <a:lnTo>
                    <a:pt x="114" y="887"/>
                  </a:lnTo>
                  <a:lnTo>
                    <a:pt x="105" y="887"/>
                  </a:lnTo>
                  <a:lnTo>
                    <a:pt x="97" y="889"/>
                  </a:lnTo>
                  <a:lnTo>
                    <a:pt x="90" y="889"/>
                  </a:lnTo>
                  <a:lnTo>
                    <a:pt x="82" y="893"/>
                  </a:lnTo>
                  <a:lnTo>
                    <a:pt x="76" y="895"/>
                  </a:lnTo>
                  <a:lnTo>
                    <a:pt x="69" y="896"/>
                  </a:lnTo>
                  <a:lnTo>
                    <a:pt x="63" y="898"/>
                  </a:lnTo>
                  <a:lnTo>
                    <a:pt x="55" y="898"/>
                  </a:lnTo>
                  <a:lnTo>
                    <a:pt x="55" y="898"/>
                  </a:lnTo>
                  <a:lnTo>
                    <a:pt x="48" y="898"/>
                  </a:lnTo>
                  <a:lnTo>
                    <a:pt x="42" y="898"/>
                  </a:lnTo>
                  <a:lnTo>
                    <a:pt x="34" y="896"/>
                  </a:lnTo>
                  <a:lnTo>
                    <a:pt x="29" y="896"/>
                  </a:lnTo>
                  <a:lnTo>
                    <a:pt x="23" y="896"/>
                  </a:lnTo>
                  <a:lnTo>
                    <a:pt x="15" y="896"/>
                  </a:lnTo>
                  <a:lnTo>
                    <a:pt x="9" y="896"/>
                  </a:lnTo>
                  <a:lnTo>
                    <a:pt x="0" y="898"/>
                  </a:lnTo>
                  <a:lnTo>
                    <a:pt x="0" y="898"/>
                  </a:lnTo>
                  <a:lnTo>
                    <a:pt x="2" y="891"/>
                  </a:lnTo>
                  <a:lnTo>
                    <a:pt x="2" y="885"/>
                  </a:lnTo>
                  <a:lnTo>
                    <a:pt x="4" y="879"/>
                  </a:lnTo>
                  <a:lnTo>
                    <a:pt x="4" y="874"/>
                  </a:lnTo>
                  <a:lnTo>
                    <a:pt x="6" y="868"/>
                  </a:lnTo>
                  <a:lnTo>
                    <a:pt x="6" y="862"/>
                  </a:lnTo>
                  <a:lnTo>
                    <a:pt x="6" y="854"/>
                  </a:lnTo>
                  <a:lnTo>
                    <a:pt x="6" y="847"/>
                  </a:lnTo>
                  <a:lnTo>
                    <a:pt x="6" y="847"/>
                  </a:lnTo>
                  <a:lnTo>
                    <a:pt x="6" y="841"/>
                  </a:lnTo>
                  <a:lnTo>
                    <a:pt x="6" y="833"/>
                  </a:lnTo>
                  <a:lnTo>
                    <a:pt x="6" y="830"/>
                  </a:lnTo>
                  <a:lnTo>
                    <a:pt x="6" y="824"/>
                  </a:lnTo>
                  <a:lnTo>
                    <a:pt x="6" y="818"/>
                  </a:lnTo>
                  <a:lnTo>
                    <a:pt x="6" y="814"/>
                  </a:lnTo>
                  <a:lnTo>
                    <a:pt x="6" y="811"/>
                  </a:lnTo>
                  <a:lnTo>
                    <a:pt x="6" y="805"/>
                  </a:lnTo>
                  <a:lnTo>
                    <a:pt x="6" y="805"/>
                  </a:lnTo>
                  <a:lnTo>
                    <a:pt x="6" y="803"/>
                  </a:lnTo>
                  <a:lnTo>
                    <a:pt x="6" y="799"/>
                  </a:lnTo>
                  <a:lnTo>
                    <a:pt x="8" y="795"/>
                  </a:lnTo>
                  <a:lnTo>
                    <a:pt x="9" y="791"/>
                  </a:lnTo>
                  <a:lnTo>
                    <a:pt x="9" y="788"/>
                  </a:lnTo>
                  <a:lnTo>
                    <a:pt x="11" y="782"/>
                  </a:lnTo>
                  <a:lnTo>
                    <a:pt x="13" y="778"/>
                  </a:lnTo>
                  <a:lnTo>
                    <a:pt x="15" y="772"/>
                  </a:lnTo>
                  <a:lnTo>
                    <a:pt x="17" y="767"/>
                  </a:lnTo>
                  <a:lnTo>
                    <a:pt x="19" y="763"/>
                  </a:lnTo>
                  <a:lnTo>
                    <a:pt x="21" y="757"/>
                  </a:lnTo>
                  <a:lnTo>
                    <a:pt x="23" y="751"/>
                  </a:lnTo>
                  <a:lnTo>
                    <a:pt x="25" y="748"/>
                  </a:lnTo>
                  <a:lnTo>
                    <a:pt x="27" y="742"/>
                  </a:lnTo>
                  <a:lnTo>
                    <a:pt x="29" y="738"/>
                  </a:lnTo>
                  <a:lnTo>
                    <a:pt x="29" y="734"/>
                  </a:lnTo>
                  <a:lnTo>
                    <a:pt x="29" y="734"/>
                  </a:lnTo>
                  <a:lnTo>
                    <a:pt x="32" y="725"/>
                  </a:lnTo>
                  <a:lnTo>
                    <a:pt x="34" y="713"/>
                  </a:lnTo>
                  <a:lnTo>
                    <a:pt x="36" y="704"/>
                  </a:lnTo>
                  <a:lnTo>
                    <a:pt x="40" y="692"/>
                  </a:lnTo>
                  <a:lnTo>
                    <a:pt x="40" y="683"/>
                  </a:lnTo>
                  <a:lnTo>
                    <a:pt x="42" y="673"/>
                  </a:lnTo>
                  <a:lnTo>
                    <a:pt x="44" y="662"/>
                  </a:lnTo>
                  <a:lnTo>
                    <a:pt x="46" y="652"/>
                  </a:lnTo>
                  <a:lnTo>
                    <a:pt x="48" y="643"/>
                  </a:lnTo>
                  <a:lnTo>
                    <a:pt x="50" y="633"/>
                  </a:lnTo>
                  <a:lnTo>
                    <a:pt x="51" y="624"/>
                  </a:lnTo>
                  <a:lnTo>
                    <a:pt x="55" y="614"/>
                  </a:lnTo>
                  <a:lnTo>
                    <a:pt x="59" y="603"/>
                  </a:lnTo>
                  <a:lnTo>
                    <a:pt x="65" y="593"/>
                  </a:lnTo>
                  <a:lnTo>
                    <a:pt x="71" y="585"/>
                  </a:lnTo>
                  <a:lnTo>
                    <a:pt x="76" y="576"/>
                  </a:lnTo>
                  <a:lnTo>
                    <a:pt x="76" y="576"/>
                  </a:lnTo>
                  <a:lnTo>
                    <a:pt x="84" y="568"/>
                  </a:lnTo>
                  <a:lnTo>
                    <a:pt x="90" y="559"/>
                  </a:lnTo>
                  <a:lnTo>
                    <a:pt x="97" y="553"/>
                  </a:lnTo>
                  <a:lnTo>
                    <a:pt x="105" y="543"/>
                  </a:lnTo>
                  <a:lnTo>
                    <a:pt x="111" y="536"/>
                  </a:lnTo>
                  <a:lnTo>
                    <a:pt x="118" y="528"/>
                  </a:lnTo>
                  <a:lnTo>
                    <a:pt x="126" y="521"/>
                  </a:lnTo>
                  <a:lnTo>
                    <a:pt x="133" y="511"/>
                  </a:lnTo>
                  <a:lnTo>
                    <a:pt x="139" y="503"/>
                  </a:lnTo>
                  <a:lnTo>
                    <a:pt x="145" y="494"/>
                  </a:lnTo>
                  <a:lnTo>
                    <a:pt x="151" y="482"/>
                  </a:lnTo>
                  <a:lnTo>
                    <a:pt x="156" y="473"/>
                  </a:lnTo>
                  <a:lnTo>
                    <a:pt x="160" y="461"/>
                  </a:lnTo>
                  <a:lnTo>
                    <a:pt x="162" y="448"/>
                  </a:lnTo>
                  <a:lnTo>
                    <a:pt x="164" y="435"/>
                  </a:lnTo>
                  <a:lnTo>
                    <a:pt x="164" y="421"/>
                  </a:lnTo>
                  <a:lnTo>
                    <a:pt x="164" y="421"/>
                  </a:lnTo>
                  <a:lnTo>
                    <a:pt x="164" y="410"/>
                  </a:lnTo>
                  <a:lnTo>
                    <a:pt x="162" y="398"/>
                  </a:lnTo>
                  <a:lnTo>
                    <a:pt x="160" y="387"/>
                  </a:lnTo>
                  <a:lnTo>
                    <a:pt x="156" y="378"/>
                  </a:lnTo>
                  <a:lnTo>
                    <a:pt x="151" y="368"/>
                  </a:lnTo>
                  <a:lnTo>
                    <a:pt x="147" y="358"/>
                  </a:lnTo>
                  <a:lnTo>
                    <a:pt x="141" y="351"/>
                  </a:lnTo>
                  <a:lnTo>
                    <a:pt x="135" y="341"/>
                  </a:lnTo>
                  <a:lnTo>
                    <a:pt x="130" y="332"/>
                  </a:lnTo>
                  <a:lnTo>
                    <a:pt x="124" y="324"/>
                  </a:lnTo>
                  <a:lnTo>
                    <a:pt x="120" y="315"/>
                  </a:lnTo>
                  <a:lnTo>
                    <a:pt x="114" y="307"/>
                  </a:lnTo>
                  <a:lnTo>
                    <a:pt x="111" y="297"/>
                  </a:lnTo>
                  <a:lnTo>
                    <a:pt x="109" y="286"/>
                  </a:lnTo>
                  <a:lnTo>
                    <a:pt x="107" y="276"/>
                  </a:lnTo>
                  <a:lnTo>
                    <a:pt x="105" y="265"/>
                  </a:lnTo>
                  <a:lnTo>
                    <a:pt x="105" y="265"/>
                  </a:lnTo>
                  <a:lnTo>
                    <a:pt x="107" y="257"/>
                  </a:lnTo>
                  <a:lnTo>
                    <a:pt x="111" y="250"/>
                  </a:lnTo>
                  <a:lnTo>
                    <a:pt x="114" y="244"/>
                  </a:lnTo>
                  <a:lnTo>
                    <a:pt x="120" y="236"/>
                  </a:lnTo>
                  <a:lnTo>
                    <a:pt x="124" y="229"/>
                  </a:lnTo>
                  <a:lnTo>
                    <a:pt x="128" y="223"/>
                  </a:lnTo>
                  <a:lnTo>
                    <a:pt x="130" y="215"/>
                  </a:lnTo>
                  <a:lnTo>
                    <a:pt x="130" y="206"/>
                  </a:lnTo>
                  <a:lnTo>
                    <a:pt x="130" y="206"/>
                  </a:lnTo>
                  <a:lnTo>
                    <a:pt x="128" y="196"/>
                  </a:lnTo>
                  <a:lnTo>
                    <a:pt x="124" y="189"/>
                  </a:lnTo>
                  <a:lnTo>
                    <a:pt x="122" y="179"/>
                  </a:lnTo>
                  <a:lnTo>
                    <a:pt x="118" y="170"/>
                  </a:lnTo>
                  <a:lnTo>
                    <a:pt x="114" y="160"/>
                  </a:lnTo>
                  <a:lnTo>
                    <a:pt x="109" y="150"/>
                  </a:lnTo>
                  <a:lnTo>
                    <a:pt x="105" y="141"/>
                  </a:lnTo>
                  <a:lnTo>
                    <a:pt x="99" y="131"/>
                  </a:lnTo>
                  <a:lnTo>
                    <a:pt x="95" y="122"/>
                  </a:lnTo>
                  <a:lnTo>
                    <a:pt x="90" y="112"/>
                  </a:lnTo>
                  <a:lnTo>
                    <a:pt x="84" y="103"/>
                  </a:lnTo>
                  <a:lnTo>
                    <a:pt x="80" y="91"/>
                  </a:lnTo>
                  <a:lnTo>
                    <a:pt x="74" y="82"/>
                  </a:lnTo>
                  <a:lnTo>
                    <a:pt x="71" y="70"/>
                  </a:lnTo>
                  <a:lnTo>
                    <a:pt x="65" y="59"/>
                  </a:lnTo>
                  <a:lnTo>
                    <a:pt x="61" y="47"/>
                  </a:lnTo>
                  <a:lnTo>
                    <a:pt x="44" y="32"/>
                  </a:lnTo>
                  <a:lnTo>
                    <a:pt x="40" y="3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83" name="Freeform 127"/>
            <p:cNvSpPr>
              <a:spLocks/>
            </p:cNvSpPr>
            <p:nvPr/>
          </p:nvSpPr>
          <p:spPr bwMode="gray">
            <a:xfrm>
              <a:off x="2868" y="2464"/>
              <a:ext cx="83" cy="93"/>
            </a:xfrm>
            <a:custGeom>
              <a:avLst/>
              <a:gdLst/>
              <a:ahLst/>
              <a:cxnLst>
                <a:cxn ang="0">
                  <a:pos x="21" y="126"/>
                </a:cxn>
                <a:cxn ang="0">
                  <a:pos x="20" y="122"/>
                </a:cxn>
                <a:cxn ang="0">
                  <a:pos x="18" y="116"/>
                </a:cxn>
                <a:cxn ang="0">
                  <a:pos x="18" y="110"/>
                </a:cxn>
                <a:cxn ang="0">
                  <a:pos x="18" y="103"/>
                </a:cxn>
                <a:cxn ang="0">
                  <a:pos x="18" y="99"/>
                </a:cxn>
                <a:cxn ang="0">
                  <a:pos x="18" y="87"/>
                </a:cxn>
                <a:cxn ang="0">
                  <a:pos x="18" y="78"/>
                </a:cxn>
                <a:cxn ang="0">
                  <a:pos x="18" y="68"/>
                </a:cxn>
                <a:cxn ang="0">
                  <a:pos x="16" y="63"/>
                </a:cxn>
                <a:cxn ang="0">
                  <a:pos x="12" y="57"/>
                </a:cxn>
                <a:cxn ang="0">
                  <a:pos x="8" y="49"/>
                </a:cxn>
                <a:cxn ang="0">
                  <a:pos x="2" y="44"/>
                </a:cxn>
                <a:cxn ang="0">
                  <a:pos x="0" y="36"/>
                </a:cxn>
                <a:cxn ang="0">
                  <a:pos x="0" y="34"/>
                </a:cxn>
                <a:cxn ang="0">
                  <a:pos x="2" y="30"/>
                </a:cxn>
                <a:cxn ang="0">
                  <a:pos x="6" y="26"/>
                </a:cxn>
                <a:cxn ang="0">
                  <a:pos x="12" y="25"/>
                </a:cxn>
                <a:cxn ang="0">
                  <a:pos x="14" y="25"/>
                </a:cxn>
                <a:cxn ang="0">
                  <a:pos x="23" y="26"/>
                </a:cxn>
                <a:cxn ang="0">
                  <a:pos x="29" y="32"/>
                </a:cxn>
                <a:cxn ang="0">
                  <a:pos x="37" y="38"/>
                </a:cxn>
                <a:cxn ang="0">
                  <a:pos x="46" y="40"/>
                </a:cxn>
                <a:cxn ang="0">
                  <a:pos x="58" y="40"/>
                </a:cxn>
                <a:cxn ang="0">
                  <a:pos x="73" y="28"/>
                </a:cxn>
                <a:cxn ang="0">
                  <a:pos x="82" y="13"/>
                </a:cxn>
                <a:cxn ang="0">
                  <a:pos x="96" y="2"/>
                </a:cxn>
                <a:cxn ang="0">
                  <a:pos x="107" y="0"/>
                </a:cxn>
                <a:cxn ang="0">
                  <a:pos x="123" y="9"/>
                </a:cxn>
                <a:cxn ang="0">
                  <a:pos x="124" y="26"/>
                </a:cxn>
                <a:cxn ang="0">
                  <a:pos x="128" y="44"/>
                </a:cxn>
                <a:cxn ang="0">
                  <a:pos x="147" y="53"/>
                </a:cxn>
                <a:cxn ang="0">
                  <a:pos x="147" y="53"/>
                </a:cxn>
                <a:cxn ang="0">
                  <a:pos x="147" y="57"/>
                </a:cxn>
                <a:cxn ang="0">
                  <a:pos x="144" y="53"/>
                </a:cxn>
                <a:cxn ang="0">
                  <a:pos x="145" y="57"/>
                </a:cxn>
                <a:cxn ang="0">
                  <a:pos x="147" y="61"/>
                </a:cxn>
                <a:cxn ang="0">
                  <a:pos x="147" y="63"/>
                </a:cxn>
                <a:cxn ang="0">
                  <a:pos x="142" y="78"/>
                </a:cxn>
                <a:cxn ang="0">
                  <a:pos x="128" y="91"/>
                </a:cxn>
                <a:cxn ang="0">
                  <a:pos x="113" y="105"/>
                </a:cxn>
                <a:cxn ang="0">
                  <a:pos x="103" y="118"/>
                </a:cxn>
                <a:cxn ang="0">
                  <a:pos x="102" y="126"/>
                </a:cxn>
                <a:cxn ang="0">
                  <a:pos x="94" y="141"/>
                </a:cxn>
                <a:cxn ang="0">
                  <a:pos x="82" y="158"/>
                </a:cxn>
                <a:cxn ang="0">
                  <a:pos x="69" y="168"/>
                </a:cxn>
                <a:cxn ang="0">
                  <a:pos x="61" y="169"/>
                </a:cxn>
                <a:cxn ang="0">
                  <a:pos x="54" y="169"/>
                </a:cxn>
                <a:cxn ang="0">
                  <a:pos x="50" y="169"/>
                </a:cxn>
                <a:cxn ang="0">
                  <a:pos x="48" y="166"/>
                </a:cxn>
                <a:cxn ang="0">
                  <a:pos x="42" y="156"/>
                </a:cxn>
                <a:cxn ang="0">
                  <a:pos x="39" y="147"/>
                </a:cxn>
                <a:cxn ang="0">
                  <a:pos x="31" y="139"/>
                </a:cxn>
                <a:cxn ang="0">
                  <a:pos x="27" y="137"/>
                </a:cxn>
                <a:cxn ang="0">
                  <a:pos x="27" y="135"/>
                </a:cxn>
                <a:cxn ang="0">
                  <a:pos x="25" y="131"/>
                </a:cxn>
                <a:cxn ang="0">
                  <a:pos x="21" y="126"/>
                </a:cxn>
                <a:cxn ang="0">
                  <a:pos x="20" y="122"/>
                </a:cxn>
                <a:cxn ang="0">
                  <a:pos x="12" y="122"/>
                </a:cxn>
                <a:cxn ang="0">
                  <a:pos x="12" y="124"/>
                </a:cxn>
                <a:cxn ang="0">
                  <a:pos x="12" y="124"/>
                </a:cxn>
              </a:cxnLst>
              <a:rect l="0" t="0" r="r" b="b"/>
              <a:pathLst>
                <a:path w="147" h="169">
                  <a:moveTo>
                    <a:pt x="21" y="126"/>
                  </a:moveTo>
                  <a:lnTo>
                    <a:pt x="21" y="126"/>
                  </a:lnTo>
                  <a:lnTo>
                    <a:pt x="21" y="124"/>
                  </a:lnTo>
                  <a:lnTo>
                    <a:pt x="20" y="122"/>
                  </a:lnTo>
                  <a:lnTo>
                    <a:pt x="20" y="118"/>
                  </a:lnTo>
                  <a:lnTo>
                    <a:pt x="18" y="116"/>
                  </a:lnTo>
                  <a:lnTo>
                    <a:pt x="18" y="114"/>
                  </a:lnTo>
                  <a:lnTo>
                    <a:pt x="18" y="110"/>
                  </a:lnTo>
                  <a:lnTo>
                    <a:pt x="18" y="107"/>
                  </a:lnTo>
                  <a:lnTo>
                    <a:pt x="18" y="103"/>
                  </a:lnTo>
                  <a:lnTo>
                    <a:pt x="18" y="103"/>
                  </a:lnTo>
                  <a:lnTo>
                    <a:pt x="18" y="99"/>
                  </a:lnTo>
                  <a:lnTo>
                    <a:pt x="18" y="93"/>
                  </a:lnTo>
                  <a:lnTo>
                    <a:pt x="18" y="87"/>
                  </a:lnTo>
                  <a:lnTo>
                    <a:pt x="18" y="84"/>
                  </a:lnTo>
                  <a:lnTo>
                    <a:pt x="18" y="78"/>
                  </a:lnTo>
                  <a:lnTo>
                    <a:pt x="18" y="74"/>
                  </a:lnTo>
                  <a:lnTo>
                    <a:pt x="18" y="68"/>
                  </a:lnTo>
                  <a:lnTo>
                    <a:pt x="16" y="63"/>
                  </a:lnTo>
                  <a:lnTo>
                    <a:pt x="16" y="63"/>
                  </a:lnTo>
                  <a:lnTo>
                    <a:pt x="14" y="59"/>
                  </a:lnTo>
                  <a:lnTo>
                    <a:pt x="12" y="57"/>
                  </a:lnTo>
                  <a:lnTo>
                    <a:pt x="10" y="53"/>
                  </a:lnTo>
                  <a:lnTo>
                    <a:pt x="8" y="49"/>
                  </a:lnTo>
                  <a:lnTo>
                    <a:pt x="4" y="47"/>
                  </a:lnTo>
                  <a:lnTo>
                    <a:pt x="2" y="44"/>
                  </a:lnTo>
                  <a:lnTo>
                    <a:pt x="0" y="40"/>
                  </a:lnTo>
                  <a:lnTo>
                    <a:pt x="0" y="36"/>
                  </a:lnTo>
                  <a:lnTo>
                    <a:pt x="0" y="36"/>
                  </a:lnTo>
                  <a:lnTo>
                    <a:pt x="0" y="34"/>
                  </a:lnTo>
                  <a:lnTo>
                    <a:pt x="2" y="32"/>
                  </a:lnTo>
                  <a:lnTo>
                    <a:pt x="2" y="30"/>
                  </a:lnTo>
                  <a:lnTo>
                    <a:pt x="4" y="28"/>
                  </a:lnTo>
                  <a:lnTo>
                    <a:pt x="6" y="26"/>
                  </a:lnTo>
                  <a:lnTo>
                    <a:pt x="8" y="25"/>
                  </a:lnTo>
                  <a:lnTo>
                    <a:pt x="12" y="25"/>
                  </a:lnTo>
                  <a:lnTo>
                    <a:pt x="14" y="25"/>
                  </a:lnTo>
                  <a:lnTo>
                    <a:pt x="14" y="25"/>
                  </a:lnTo>
                  <a:lnTo>
                    <a:pt x="18" y="25"/>
                  </a:lnTo>
                  <a:lnTo>
                    <a:pt x="23" y="26"/>
                  </a:lnTo>
                  <a:lnTo>
                    <a:pt x="27" y="30"/>
                  </a:lnTo>
                  <a:lnTo>
                    <a:pt x="29" y="32"/>
                  </a:lnTo>
                  <a:lnTo>
                    <a:pt x="33" y="36"/>
                  </a:lnTo>
                  <a:lnTo>
                    <a:pt x="37" y="38"/>
                  </a:lnTo>
                  <a:lnTo>
                    <a:pt x="42" y="40"/>
                  </a:lnTo>
                  <a:lnTo>
                    <a:pt x="46" y="40"/>
                  </a:lnTo>
                  <a:lnTo>
                    <a:pt x="46" y="40"/>
                  </a:lnTo>
                  <a:lnTo>
                    <a:pt x="58" y="40"/>
                  </a:lnTo>
                  <a:lnTo>
                    <a:pt x="67" y="34"/>
                  </a:lnTo>
                  <a:lnTo>
                    <a:pt x="73" y="28"/>
                  </a:lnTo>
                  <a:lnTo>
                    <a:pt x="77" y="21"/>
                  </a:lnTo>
                  <a:lnTo>
                    <a:pt x="82" y="13"/>
                  </a:lnTo>
                  <a:lnTo>
                    <a:pt x="88" y="7"/>
                  </a:lnTo>
                  <a:lnTo>
                    <a:pt x="96" y="2"/>
                  </a:lnTo>
                  <a:lnTo>
                    <a:pt x="107" y="0"/>
                  </a:lnTo>
                  <a:lnTo>
                    <a:pt x="107" y="0"/>
                  </a:lnTo>
                  <a:lnTo>
                    <a:pt x="117" y="4"/>
                  </a:lnTo>
                  <a:lnTo>
                    <a:pt x="123" y="9"/>
                  </a:lnTo>
                  <a:lnTo>
                    <a:pt x="124" y="17"/>
                  </a:lnTo>
                  <a:lnTo>
                    <a:pt x="124" y="26"/>
                  </a:lnTo>
                  <a:lnTo>
                    <a:pt x="126" y="36"/>
                  </a:lnTo>
                  <a:lnTo>
                    <a:pt x="128" y="44"/>
                  </a:lnTo>
                  <a:lnTo>
                    <a:pt x="136" y="51"/>
                  </a:lnTo>
                  <a:lnTo>
                    <a:pt x="147" y="53"/>
                  </a:lnTo>
                  <a:lnTo>
                    <a:pt x="147" y="53"/>
                  </a:lnTo>
                  <a:lnTo>
                    <a:pt x="147" y="53"/>
                  </a:lnTo>
                  <a:lnTo>
                    <a:pt x="147" y="55"/>
                  </a:lnTo>
                  <a:lnTo>
                    <a:pt x="147" y="57"/>
                  </a:lnTo>
                  <a:lnTo>
                    <a:pt x="147" y="59"/>
                  </a:lnTo>
                  <a:lnTo>
                    <a:pt x="144" y="53"/>
                  </a:lnTo>
                  <a:lnTo>
                    <a:pt x="144" y="53"/>
                  </a:lnTo>
                  <a:lnTo>
                    <a:pt x="145" y="57"/>
                  </a:lnTo>
                  <a:lnTo>
                    <a:pt x="145" y="59"/>
                  </a:lnTo>
                  <a:lnTo>
                    <a:pt x="147" y="61"/>
                  </a:lnTo>
                  <a:lnTo>
                    <a:pt x="147" y="63"/>
                  </a:lnTo>
                  <a:lnTo>
                    <a:pt x="147" y="63"/>
                  </a:lnTo>
                  <a:lnTo>
                    <a:pt x="147" y="70"/>
                  </a:lnTo>
                  <a:lnTo>
                    <a:pt x="142" y="78"/>
                  </a:lnTo>
                  <a:lnTo>
                    <a:pt x="136" y="84"/>
                  </a:lnTo>
                  <a:lnTo>
                    <a:pt x="128" y="91"/>
                  </a:lnTo>
                  <a:lnTo>
                    <a:pt x="121" y="97"/>
                  </a:lnTo>
                  <a:lnTo>
                    <a:pt x="113" y="105"/>
                  </a:lnTo>
                  <a:lnTo>
                    <a:pt x="107" y="112"/>
                  </a:lnTo>
                  <a:lnTo>
                    <a:pt x="103" y="118"/>
                  </a:lnTo>
                  <a:lnTo>
                    <a:pt x="103" y="118"/>
                  </a:lnTo>
                  <a:lnTo>
                    <a:pt x="102" y="126"/>
                  </a:lnTo>
                  <a:lnTo>
                    <a:pt x="98" y="133"/>
                  </a:lnTo>
                  <a:lnTo>
                    <a:pt x="94" y="141"/>
                  </a:lnTo>
                  <a:lnTo>
                    <a:pt x="88" y="150"/>
                  </a:lnTo>
                  <a:lnTo>
                    <a:pt x="82" y="158"/>
                  </a:lnTo>
                  <a:lnTo>
                    <a:pt x="77" y="164"/>
                  </a:lnTo>
                  <a:lnTo>
                    <a:pt x="69" y="168"/>
                  </a:lnTo>
                  <a:lnTo>
                    <a:pt x="61" y="169"/>
                  </a:lnTo>
                  <a:lnTo>
                    <a:pt x="61" y="169"/>
                  </a:lnTo>
                  <a:lnTo>
                    <a:pt x="58" y="169"/>
                  </a:lnTo>
                  <a:lnTo>
                    <a:pt x="54" y="169"/>
                  </a:lnTo>
                  <a:lnTo>
                    <a:pt x="52" y="169"/>
                  </a:lnTo>
                  <a:lnTo>
                    <a:pt x="50" y="169"/>
                  </a:lnTo>
                  <a:lnTo>
                    <a:pt x="50" y="169"/>
                  </a:lnTo>
                  <a:lnTo>
                    <a:pt x="48" y="166"/>
                  </a:lnTo>
                  <a:lnTo>
                    <a:pt x="46" y="160"/>
                  </a:lnTo>
                  <a:lnTo>
                    <a:pt x="42" y="156"/>
                  </a:lnTo>
                  <a:lnTo>
                    <a:pt x="41" y="150"/>
                  </a:lnTo>
                  <a:lnTo>
                    <a:pt x="39" y="147"/>
                  </a:lnTo>
                  <a:lnTo>
                    <a:pt x="35" y="143"/>
                  </a:lnTo>
                  <a:lnTo>
                    <a:pt x="31" y="139"/>
                  </a:lnTo>
                  <a:lnTo>
                    <a:pt x="27" y="137"/>
                  </a:lnTo>
                  <a:lnTo>
                    <a:pt x="27" y="137"/>
                  </a:lnTo>
                  <a:lnTo>
                    <a:pt x="27" y="137"/>
                  </a:lnTo>
                  <a:lnTo>
                    <a:pt x="27" y="135"/>
                  </a:lnTo>
                  <a:lnTo>
                    <a:pt x="25" y="133"/>
                  </a:lnTo>
                  <a:lnTo>
                    <a:pt x="25" y="131"/>
                  </a:lnTo>
                  <a:lnTo>
                    <a:pt x="23" y="128"/>
                  </a:lnTo>
                  <a:lnTo>
                    <a:pt x="21" y="126"/>
                  </a:lnTo>
                  <a:lnTo>
                    <a:pt x="21" y="124"/>
                  </a:lnTo>
                  <a:lnTo>
                    <a:pt x="20" y="122"/>
                  </a:lnTo>
                  <a:lnTo>
                    <a:pt x="12" y="122"/>
                  </a:lnTo>
                  <a:lnTo>
                    <a:pt x="12" y="122"/>
                  </a:lnTo>
                  <a:lnTo>
                    <a:pt x="12" y="122"/>
                  </a:lnTo>
                  <a:lnTo>
                    <a:pt x="12" y="124"/>
                  </a:lnTo>
                  <a:lnTo>
                    <a:pt x="12" y="124"/>
                  </a:lnTo>
                  <a:lnTo>
                    <a:pt x="12" y="124"/>
                  </a:lnTo>
                  <a:lnTo>
                    <a:pt x="21" y="126"/>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84" name="Freeform 128"/>
            <p:cNvSpPr>
              <a:spLocks/>
            </p:cNvSpPr>
            <p:nvPr/>
          </p:nvSpPr>
          <p:spPr bwMode="gray">
            <a:xfrm>
              <a:off x="2113" y="2130"/>
              <a:ext cx="849" cy="820"/>
            </a:xfrm>
            <a:custGeom>
              <a:avLst/>
              <a:gdLst/>
              <a:ahLst/>
              <a:cxnLst>
                <a:cxn ang="0">
                  <a:pos x="511" y="170"/>
                </a:cxn>
                <a:cxn ang="0">
                  <a:pos x="513" y="80"/>
                </a:cxn>
                <a:cxn ang="0">
                  <a:pos x="612" y="27"/>
                </a:cxn>
                <a:cxn ang="0">
                  <a:pos x="734" y="92"/>
                </a:cxn>
                <a:cxn ang="0">
                  <a:pos x="828" y="67"/>
                </a:cxn>
                <a:cxn ang="0">
                  <a:pos x="883" y="55"/>
                </a:cxn>
                <a:cxn ang="0">
                  <a:pos x="965" y="23"/>
                </a:cxn>
                <a:cxn ang="0">
                  <a:pos x="1030" y="21"/>
                </a:cxn>
                <a:cxn ang="0">
                  <a:pos x="1116" y="19"/>
                </a:cxn>
                <a:cxn ang="0">
                  <a:pos x="1188" y="4"/>
                </a:cxn>
                <a:cxn ang="0">
                  <a:pos x="1242" y="57"/>
                </a:cxn>
                <a:cxn ang="0">
                  <a:pos x="1312" y="65"/>
                </a:cxn>
                <a:cxn ang="0">
                  <a:pos x="1375" y="52"/>
                </a:cxn>
                <a:cxn ang="0">
                  <a:pos x="1450" y="107"/>
                </a:cxn>
                <a:cxn ang="0">
                  <a:pos x="1471" y="147"/>
                </a:cxn>
                <a:cxn ang="0">
                  <a:pos x="1473" y="199"/>
                </a:cxn>
                <a:cxn ang="0">
                  <a:pos x="1499" y="248"/>
                </a:cxn>
                <a:cxn ang="0">
                  <a:pos x="1431" y="326"/>
                </a:cxn>
                <a:cxn ang="0">
                  <a:pos x="1396" y="395"/>
                </a:cxn>
                <a:cxn ang="0">
                  <a:pos x="1375" y="521"/>
                </a:cxn>
                <a:cxn ang="0">
                  <a:pos x="1347" y="578"/>
                </a:cxn>
                <a:cxn ang="0">
                  <a:pos x="1322" y="624"/>
                </a:cxn>
                <a:cxn ang="0">
                  <a:pos x="1345" y="666"/>
                </a:cxn>
                <a:cxn ang="0">
                  <a:pos x="1351" y="719"/>
                </a:cxn>
                <a:cxn ang="0">
                  <a:pos x="1345" y="733"/>
                </a:cxn>
                <a:cxn ang="0">
                  <a:pos x="1351" y="775"/>
                </a:cxn>
                <a:cxn ang="0">
                  <a:pos x="1349" y="843"/>
                </a:cxn>
                <a:cxn ang="0">
                  <a:pos x="1358" y="893"/>
                </a:cxn>
                <a:cxn ang="0">
                  <a:pos x="1377" y="964"/>
                </a:cxn>
                <a:cxn ang="0">
                  <a:pos x="1433" y="1028"/>
                </a:cxn>
                <a:cxn ang="0">
                  <a:pos x="1375" y="1089"/>
                </a:cxn>
                <a:cxn ang="0">
                  <a:pos x="1314" y="1131"/>
                </a:cxn>
                <a:cxn ang="0">
                  <a:pos x="1286" y="1181"/>
                </a:cxn>
                <a:cxn ang="0">
                  <a:pos x="1291" y="1257"/>
                </a:cxn>
                <a:cxn ang="0">
                  <a:pos x="1274" y="1341"/>
                </a:cxn>
                <a:cxn ang="0">
                  <a:pos x="1360" y="1419"/>
                </a:cxn>
                <a:cxn ang="0">
                  <a:pos x="1368" y="1484"/>
                </a:cxn>
                <a:cxn ang="0">
                  <a:pos x="1316" y="1488"/>
                </a:cxn>
                <a:cxn ang="0">
                  <a:pos x="1261" y="1416"/>
                </a:cxn>
                <a:cxn ang="0">
                  <a:pos x="1171" y="1351"/>
                </a:cxn>
                <a:cxn ang="0">
                  <a:pos x="1074" y="1370"/>
                </a:cxn>
                <a:cxn ang="0">
                  <a:pos x="1015" y="1322"/>
                </a:cxn>
                <a:cxn ang="0">
                  <a:pos x="954" y="1324"/>
                </a:cxn>
                <a:cxn ang="0">
                  <a:pos x="870" y="1307"/>
                </a:cxn>
                <a:cxn ang="0">
                  <a:pos x="796" y="1324"/>
                </a:cxn>
                <a:cxn ang="0">
                  <a:pos x="797" y="1250"/>
                </a:cxn>
                <a:cxn ang="0">
                  <a:pos x="761" y="1175"/>
                </a:cxn>
                <a:cxn ang="0">
                  <a:pos x="654" y="1009"/>
                </a:cxn>
                <a:cxn ang="0">
                  <a:pos x="576" y="1009"/>
                </a:cxn>
                <a:cxn ang="0">
                  <a:pos x="494" y="1068"/>
                </a:cxn>
                <a:cxn ang="0">
                  <a:pos x="372" y="1011"/>
                </a:cxn>
                <a:cxn ang="0">
                  <a:pos x="342" y="904"/>
                </a:cxn>
                <a:cxn ang="0">
                  <a:pos x="38" y="901"/>
                </a:cxn>
                <a:cxn ang="0">
                  <a:pos x="15" y="864"/>
                </a:cxn>
                <a:cxn ang="0">
                  <a:pos x="59" y="803"/>
                </a:cxn>
                <a:cxn ang="0">
                  <a:pos x="164" y="778"/>
                </a:cxn>
                <a:cxn ang="0">
                  <a:pos x="172" y="824"/>
                </a:cxn>
                <a:cxn ang="0">
                  <a:pos x="263" y="758"/>
                </a:cxn>
                <a:cxn ang="0">
                  <a:pos x="317" y="664"/>
                </a:cxn>
                <a:cxn ang="0">
                  <a:pos x="368" y="538"/>
                </a:cxn>
                <a:cxn ang="0">
                  <a:pos x="433" y="445"/>
                </a:cxn>
                <a:cxn ang="0">
                  <a:pos x="460" y="303"/>
                </a:cxn>
              </a:cxnLst>
              <a:rect l="0" t="0" r="r" b="b"/>
              <a:pathLst>
                <a:path w="1499" h="1494">
                  <a:moveTo>
                    <a:pt x="466" y="261"/>
                  </a:moveTo>
                  <a:lnTo>
                    <a:pt x="466" y="261"/>
                  </a:lnTo>
                  <a:lnTo>
                    <a:pt x="471" y="250"/>
                  </a:lnTo>
                  <a:lnTo>
                    <a:pt x="475" y="242"/>
                  </a:lnTo>
                  <a:lnTo>
                    <a:pt x="481" y="235"/>
                  </a:lnTo>
                  <a:lnTo>
                    <a:pt x="487" y="229"/>
                  </a:lnTo>
                  <a:lnTo>
                    <a:pt x="492" y="221"/>
                  </a:lnTo>
                  <a:lnTo>
                    <a:pt x="498" y="214"/>
                  </a:lnTo>
                  <a:lnTo>
                    <a:pt x="502" y="206"/>
                  </a:lnTo>
                  <a:lnTo>
                    <a:pt x="507" y="197"/>
                  </a:lnTo>
                  <a:lnTo>
                    <a:pt x="507" y="197"/>
                  </a:lnTo>
                  <a:lnTo>
                    <a:pt x="507" y="191"/>
                  </a:lnTo>
                  <a:lnTo>
                    <a:pt x="509" y="185"/>
                  </a:lnTo>
                  <a:lnTo>
                    <a:pt x="511" y="179"/>
                  </a:lnTo>
                  <a:lnTo>
                    <a:pt x="511" y="176"/>
                  </a:lnTo>
                  <a:lnTo>
                    <a:pt x="511" y="170"/>
                  </a:lnTo>
                  <a:lnTo>
                    <a:pt x="511" y="164"/>
                  </a:lnTo>
                  <a:lnTo>
                    <a:pt x="511" y="160"/>
                  </a:lnTo>
                  <a:lnTo>
                    <a:pt x="511" y="155"/>
                  </a:lnTo>
                  <a:lnTo>
                    <a:pt x="509" y="149"/>
                  </a:lnTo>
                  <a:lnTo>
                    <a:pt x="509" y="143"/>
                  </a:lnTo>
                  <a:lnTo>
                    <a:pt x="509" y="139"/>
                  </a:lnTo>
                  <a:lnTo>
                    <a:pt x="507" y="134"/>
                  </a:lnTo>
                  <a:lnTo>
                    <a:pt x="507" y="128"/>
                  </a:lnTo>
                  <a:lnTo>
                    <a:pt x="507" y="124"/>
                  </a:lnTo>
                  <a:lnTo>
                    <a:pt x="507" y="118"/>
                  </a:lnTo>
                  <a:lnTo>
                    <a:pt x="507" y="113"/>
                  </a:lnTo>
                  <a:lnTo>
                    <a:pt x="507" y="113"/>
                  </a:lnTo>
                  <a:lnTo>
                    <a:pt x="507" y="105"/>
                  </a:lnTo>
                  <a:lnTo>
                    <a:pt x="507" y="97"/>
                  </a:lnTo>
                  <a:lnTo>
                    <a:pt x="511" y="90"/>
                  </a:lnTo>
                  <a:lnTo>
                    <a:pt x="513" y="80"/>
                  </a:lnTo>
                  <a:lnTo>
                    <a:pt x="517" y="73"/>
                  </a:lnTo>
                  <a:lnTo>
                    <a:pt x="521" y="63"/>
                  </a:lnTo>
                  <a:lnTo>
                    <a:pt x="525" y="55"/>
                  </a:lnTo>
                  <a:lnTo>
                    <a:pt x="530" y="48"/>
                  </a:lnTo>
                  <a:lnTo>
                    <a:pt x="536" y="40"/>
                  </a:lnTo>
                  <a:lnTo>
                    <a:pt x="542" y="34"/>
                  </a:lnTo>
                  <a:lnTo>
                    <a:pt x="549" y="29"/>
                  </a:lnTo>
                  <a:lnTo>
                    <a:pt x="555" y="23"/>
                  </a:lnTo>
                  <a:lnTo>
                    <a:pt x="563" y="19"/>
                  </a:lnTo>
                  <a:lnTo>
                    <a:pt x="569" y="15"/>
                  </a:lnTo>
                  <a:lnTo>
                    <a:pt x="576" y="13"/>
                  </a:lnTo>
                  <a:lnTo>
                    <a:pt x="584" y="13"/>
                  </a:lnTo>
                  <a:lnTo>
                    <a:pt x="584" y="13"/>
                  </a:lnTo>
                  <a:lnTo>
                    <a:pt x="595" y="15"/>
                  </a:lnTo>
                  <a:lnTo>
                    <a:pt x="605" y="21"/>
                  </a:lnTo>
                  <a:lnTo>
                    <a:pt x="612" y="27"/>
                  </a:lnTo>
                  <a:lnTo>
                    <a:pt x="620" y="36"/>
                  </a:lnTo>
                  <a:lnTo>
                    <a:pt x="628" y="46"/>
                  </a:lnTo>
                  <a:lnTo>
                    <a:pt x="635" y="54"/>
                  </a:lnTo>
                  <a:lnTo>
                    <a:pt x="641" y="61"/>
                  </a:lnTo>
                  <a:lnTo>
                    <a:pt x="649" y="67"/>
                  </a:lnTo>
                  <a:lnTo>
                    <a:pt x="649" y="67"/>
                  </a:lnTo>
                  <a:lnTo>
                    <a:pt x="654" y="69"/>
                  </a:lnTo>
                  <a:lnTo>
                    <a:pt x="662" y="73"/>
                  </a:lnTo>
                  <a:lnTo>
                    <a:pt x="670" y="76"/>
                  </a:lnTo>
                  <a:lnTo>
                    <a:pt x="679" y="78"/>
                  </a:lnTo>
                  <a:lnTo>
                    <a:pt x="689" y="82"/>
                  </a:lnTo>
                  <a:lnTo>
                    <a:pt x="696" y="84"/>
                  </a:lnTo>
                  <a:lnTo>
                    <a:pt x="706" y="86"/>
                  </a:lnTo>
                  <a:lnTo>
                    <a:pt x="715" y="88"/>
                  </a:lnTo>
                  <a:lnTo>
                    <a:pt x="725" y="90"/>
                  </a:lnTo>
                  <a:lnTo>
                    <a:pt x="734" y="92"/>
                  </a:lnTo>
                  <a:lnTo>
                    <a:pt x="744" y="94"/>
                  </a:lnTo>
                  <a:lnTo>
                    <a:pt x="754" y="94"/>
                  </a:lnTo>
                  <a:lnTo>
                    <a:pt x="763" y="96"/>
                  </a:lnTo>
                  <a:lnTo>
                    <a:pt x="773" y="96"/>
                  </a:lnTo>
                  <a:lnTo>
                    <a:pt x="780" y="96"/>
                  </a:lnTo>
                  <a:lnTo>
                    <a:pt x="788" y="96"/>
                  </a:lnTo>
                  <a:lnTo>
                    <a:pt x="788" y="96"/>
                  </a:lnTo>
                  <a:lnTo>
                    <a:pt x="796" y="96"/>
                  </a:lnTo>
                  <a:lnTo>
                    <a:pt x="801" y="94"/>
                  </a:lnTo>
                  <a:lnTo>
                    <a:pt x="807" y="92"/>
                  </a:lnTo>
                  <a:lnTo>
                    <a:pt x="811" y="88"/>
                  </a:lnTo>
                  <a:lnTo>
                    <a:pt x="815" y="84"/>
                  </a:lnTo>
                  <a:lnTo>
                    <a:pt x="818" y="80"/>
                  </a:lnTo>
                  <a:lnTo>
                    <a:pt x="822" y="76"/>
                  </a:lnTo>
                  <a:lnTo>
                    <a:pt x="824" y="71"/>
                  </a:lnTo>
                  <a:lnTo>
                    <a:pt x="828" y="67"/>
                  </a:lnTo>
                  <a:lnTo>
                    <a:pt x="832" y="63"/>
                  </a:lnTo>
                  <a:lnTo>
                    <a:pt x="834" y="57"/>
                  </a:lnTo>
                  <a:lnTo>
                    <a:pt x="837" y="55"/>
                  </a:lnTo>
                  <a:lnTo>
                    <a:pt x="843" y="52"/>
                  </a:lnTo>
                  <a:lnTo>
                    <a:pt x="849" y="48"/>
                  </a:lnTo>
                  <a:lnTo>
                    <a:pt x="855" y="48"/>
                  </a:lnTo>
                  <a:lnTo>
                    <a:pt x="860" y="46"/>
                  </a:lnTo>
                  <a:lnTo>
                    <a:pt x="860" y="46"/>
                  </a:lnTo>
                  <a:lnTo>
                    <a:pt x="862" y="48"/>
                  </a:lnTo>
                  <a:lnTo>
                    <a:pt x="866" y="48"/>
                  </a:lnTo>
                  <a:lnTo>
                    <a:pt x="868" y="50"/>
                  </a:lnTo>
                  <a:lnTo>
                    <a:pt x="872" y="52"/>
                  </a:lnTo>
                  <a:lnTo>
                    <a:pt x="874" y="52"/>
                  </a:lnTo>
                  <a:lnTo>
                    <a:pt x="876" y="54"/>
                  </a:lnTo>
                  <a:lnTo>
                    <a:pt x="879" y="55"/>
                  </a:lnTo>
                  <a:lnTo>
                    <a:pt x="883" y="55"/>
                  </a:lnTo>
                  <a:lnTo>
                    <a:pt x="883" y="55"/>
                  </a:lnTo>
                  <a:lnTo>
                    <a:pt x="889" y="55"/>
                  </a:lnTo>
                  <a:lnTo>
                    <a:pt x="895" y="54"/>
                  </a:lnTo>
                  <a:lnTo>
                    <a:pt x="900" y="52"/>
                  </a:lnTo>
                  <a:lnTo>
                    <a:pt x="906" y="50"/>
                  </a:lnTo>
                  <a:lnTo>
                    <a:pt x="912" y="48"/>
                  </a:lnTo>
                  <a:lnTo>
                    <a:pt x="918" y="46"/>
                  </a:lnTo>
                  <a:lnTo>
                    <a:pt x="923" y="42"/>
                  </a:lnTo>
                  <a:lnTo>
                    <a:pt x="929" y="40"/>
                  </a:lnTo>
                  <a:lnTo>
                    <a:pt x="935" y="36"/>
                  </a:lnTo>
                  <a:lnTo>
                    <a:pt x="939" y="34"/>
                  </a:lnTo>
                  <a:lnTo>
                    <a:pt x="944" y="33"/>
                  </a:lnTo>
                  <a:lnTo>
                    <a:pt x="950" y="29"/>
                  </a:lnTo>
                  <a:lnTo>
                    <a:pt x="954" y="27"/>
                  </a:lnTo>
                  <a:lnTo>
                    <a:pt x="960" y="25"/>
                  </a:lnTo>
                  <a:lnTo>
                    <a:pt x="965" y="23"/>
                  </a:lnTo>
                  <a:lnTo>
                    <a:pt x="971" y="23"/>
                  </a:lnTo>
                  <a:lnTo>
                    <a:pt x="971" y="23"/>
                  </a:lnTo>
                  <a:lnTo>
                    <a:pt x="973" y="27"/>
                  </a:lnTo>
                  <a:lnTo>
                    <a:pt x="975" y="31"/>
                  </a:lnTo>
                  <a:lnTo>
                    <a:pt x="979" y="33"/>
                  </a:lnTo>
                  <a:lnTo>
                    <a:pt x="981" y="33"/>
                  </a:lnTo>
                  <a:lnTo>
                    <a:pt x="984" y="33"/>
                  </a:lnTo>
                  <a:lnTo>
                    <a:pt x="988" y="33"/>
                  </a:lnTo>
                  <a:lnTo>
                    <a:pt x="992" y="31"/>
                  </a:lnTo>
                  <a:lnTo>
                    <a:pt x="998" y="31"/>
                  </a:lnTo>
                  <a:lnTo>
                    <a:pt x="998" y="31"/>
                  </a:lnTo>
                  <a:lnTo>
                    <a:pt x="1007" y="31"/>
                  </a:lnTo>
                  <a:lnTo>
                    <a:pt x="1015" y="31"/>
                  </a:lnTo>
                  <a:lnTo>
                    <a:pt x="1023" y="29"/>
                  </a:lnTo>
                  <a:lnTo>
                    <a:pt x="1026" y="25"/>
                  </a:lnTo>
                  <a:lnTo>
                    <a:pt x="1030" y="21"/>
                  </a:lnTo>
                  <a:lnTo>
                    <a:pt x="1034" y="17"/>
                  </a:lnTo>
                  <a:lnTo>
                    <a:pt x="1036" y="10"/>
                  </a:lnTo>
                  <a:lnTo>
                    <a:pt x="1036" y="2"/>
                  </a:lnTo>
                  <a:lnTo>
                    <a:pt x="1036" y="2"/>
                  </a:lnTo>
                  <a:lnTo>
                    <a:pt x="1044" y="0"/>
                  </a:lnTo>
                  <a:lnTo>
                    <a:pt x="1051" y="0"/>
                  </a:lnTo>
                  <a:lnTo>
                    <a:pt x="1059" y="2"/>
                  </a:lnTo>
                  <a:lnTo>
                    <a:pt x="1064" y="2"/>
                  </a:lnTo>
                  <a:lnTo>
                    <a:pt x="1072" y="4"/>
                  </a:lnTo>
                  <a:lnTo>
                    <a:pt x="1078" y="6"/>
                  </a:lnTo>
                  <a:lnTo>
                    <a:pt x="1084" y="8"/>
                  </a:lnTo>
                  <a:lnTo>
                    <a:pt x="1091" y="10"/>
                  </a:lnTo>
                  <a:lnTo>
                    <a:pt x="1097" y="12"/>
                  </a:lnTo>
                  <a:lnTo>
                    <a:pt x="1103" y="13"/>
                  </a:lnTo>
                  <a:lnTo>
                    <a:pt x="1108" y="17"/>
                  </a:lnTo>
                  <a:lnTo>
                    <a:pt x="1116" y="19"/>
                  </a:lnTo>
                  <a:lnTo>
                    <a:pt x="1122" y="21"/>
                  </a:lnTo>
                  <a:lnTo>
                    <a:pt x="1129" y="21"/>
                  </a:lnTo>
                  <a:lnTo>
                    <a:pt x="1137" y="23"/>
                  </a:lnTo>
                  <a:lnTo>
                    <a:pt x="1145" y="23"/>
                  </a:lnTo>
                  <a:lnTo>
                    <a:pt x="1145" y="23"/>
                  </a:lnTo>
                  <a:lnTo>
                    <a:pt x="1152" y="23"/>
                  </a:lnTo>
                  <a:lnTo>
                    <a:pt x="1160" y="21"/>
                  </a:lnTo>
                  <a:lnTo>
                    <a:pt x="1166" y="21"/>
                  </a:lnTo>
                  <a:lnTo>
                    <a:pt x="1171" y="19"/>
                  </a:lnTo>
                  <a:lnTo>
                    <a:pt x="1175" y="17"/>
                  </a:lnTo>
                  <a:lnTo>
                    <a:pt x="1181" y="15"/>
                  </a:lnTo>
                  <a:lnTo>
                    <a:pt x="1187" y="15"/>
                  </a:lnTo>
                  <a:lnTo>
                    <a:pt x="1194" y="13"/>
                  </a:lnTo>
                  <a:lnTo>
                    <a:pt x="1188" y="2"/>
                  </a:lnTo>
                  <a:lnTo>
                    <a:pt x="1188" y="2"/>
                  </a:lnTo>
                  <a:lnTo>
                    <a:pt x="1188" y="4"/>
                  </a:lnTo>
                  <a:lnTo>
                    <a:pt x="1188" y="8"/>
                  </a:lnTo>
                  <a:lnTo>
                    <a:pt x="1190" y="12"/>
                  </a:lnTo>
                  <a:lnTo>
                    <a:pt x="1192" y="13"/>
                  </a:lnTo>
                  <a:lnTo>
                    <a:pt x="1192" y="13"/>
                  </a:lnTo>
                  <a:lnTo>
                    <a:pt x="1196" y="17"/>
                  </a:lnTo>
                  <a:lnTo>
                    <a:pt x="1200" y="19"/>
                  </a:lnTo>
                  <a:lnTo>
                    <a:pt x="1206" y="21"/>
                  </a:lnTo>
                  <a:lnTo>
                    <a:pt x="1209" y="25"/>
                  </a:lnTo>
                  <a:lnTo>
                    <a:pt x="1217" y="29"/>
                  </a:lnTo>
                  <a:lnTo>
                    <a:pt x="1221" y="31"/>
                  </a:lnTo>
                  <a:lnTo>
                    <a:pt x="1227" y="36"/>
                  </a:lnTo>
                  <a:lnTo>
                    <a:pt x="1230" y="40"/>
                  </a:lnTo>
                  <a:lnTo>
                    <a:pt x="1230" y="40"/>
                  </a:lnTo>
                  <a:lnTo>
                    <a:pt x="1234" y="46"/>
                  </a:lnTo>
                  <a:lnTo>
                    <a:pt x="1238" y="52"/>
                  </a:lnTo>
                  <a:lnTo>
                    <a:pt x="1242" y="57"/>
                  </a:lnTo>
                  <a:lnTo>
                    <a:pt x="1246" y="65"/>
                  </a:lnTo>
                  <a:lnTo>
                    <a:pt x="1251" y="71"/>
                  </a:lnTo>
                  <a:lnTo>
                    <a:pt x="1257" y="75"/>
                  </a:lnTo>
                  <a:lnTo>
                    <a:pt x="1265" y="76"/>
                  </a:lnTo>
                  <a:lnTo>
                    <a:pt x="1274" y="78"/>
                  </a:lnTo>
                  <a:lnTo>
                    <a:pt x="1274" y="78"/>
                  </a:lnTo>
                  <a:lnTo>
                    <a:pt x="1280" y="78"/>
                  </a:lnTo>
                  <a:lnTo>
                    <a:pt x="1284" y="76"/>
                  </a:lnTo>
                  <a:lnTo>
                    <a:pt x="1288" y="73"/>
                  </a:lnTo>
                  <a:lnTo>
                    <a:pt x="1290" y="71"/>
                  </a:lnTo>
                  <a:lnTo>
                    <a:pt x="1293" y="69"/>
                  </a:lnTo>
                  <a:lnTo>
                    <a:pt x="1297" y="67"/>
                  </a:lnTo>
                  <a:lnTo>
                    <a:pt x="1301" y="65"/>
                  </a:lnTo>
                  <a:lnTo>
                    <a:pt x="1307" y="65"/>
                  </a:lnTo>
                  <a:lnTo>
                    <a:pt x="1307" y="65"/>
                  </a:lnTo>
                  <a:lnTo>
                    <a:pt x="1312" y="65"/>
                  </a:lnTo>
                  <a:lnTo>
                    <a:pt x="1318" y="65"/>
                  </a:lnTo>
                  <a:lnTo>
                    <a:pt x="1324" y="67"/>
                  </a:lnTo>
                  <a:lnTo>
                    <a:pt x="1330" y="67"/>
                  </a:lnTo>
                  <a:lnTo>
                    <a:pt x="1335" y="69"/>
                  </a:lnTo>
                  <a:lnTo>
                    <a:pt x="1339" y="71"/>
                  </a:lnTo>
                  <a:lnTo>
                    <a:pt x="1345" y="71"/>
                  </a:lnTo>
                  <a:lnTo>
                    <a:pt x="1351" y="73"/>
                  </a:lnTo>
                  <a:lnTo>
                    <a:pt x="1351" y="73"/>
                  </a:lnTo>
                  <a:lnTo>
                    <a:pt x="1354" y="71"/>
                  </a:lnTo>
                  <a:lnTo>
                    <a:pt x="1358" y="69"/>
                  </a:lnTo>
                  <a:lnTo>
                    <a:pt x="1360" y="65"/>
                  </a:lnTo>
                  <a:lnTo>
                    <a:pt x="1362" y="61"/>
                  </a:lnTo>
                  <a:lnTo>
                    <a:pt x="1366" y="59"/>
                  </a:lnTo>
                  <a:lnTo>
                    <a:pt x="1368" y="55"/>
                  </a:lnTo>
                  <a:lnTo>
                    <a:pt x="1372" y="54"/>
                  </a:lnTo>
                  <a:lnTo>
                    <a:pt x="1375" y="52"/>
                  </a:lnTo>
                  <a:lnTo>
                    <a:pt x="1375" y="52"/>
                  </a:lnTo>
                  <a:lnTo>
                    <a:pt x="1385" y="55"/>
                  </a:lnTo>
                  <a:lnTo>
                    <a:pt x="1393" y="59"/>
                  </a:lnTo>
                  <a:lnTo>
                    <a:pt x="1400" y="67"/>
                  </a:lnTo>
                  <a:lnTo>
                    <a:pt x="1406" y="75"/>
                  </a:lnTo>
                  <a:lnTo>
                    <a:pt x="1412" y="84"/>
                  </a:lnTo>
                  <a:lnTo>
                    <a:pt x="1417" y="94"/>
                  </a:lnTo>
                  <a:lnTo>
                    <a:pt x="1423" y="99"/>
                  </a:lnTo>
                  <a:lnTo>
                    <a:pt x="1431" y="105"/>
                  </a:lnTo>
                  <a:lnTo>
                    <a:pt x="1431" y="105"/>
                  </a:lnTo>
                  <a:lnTo>
                    <a:pt x="1435" y="105"/>
                  </a:lnTo>
                  <a:lnTo>
                    <a:pt x="1438" y="105"/>
                  </a:lnTo>
                  <a:lnTo>
                    <a:pt x="1442" y="107"/>
                  </a:lnTo>
                  <a:lnTo>
                    <a:pt x="1444" y="107"/>
                  </a:lnTo>
                  <a:lnTo>
                    <a:pt x="1448" y="107"/>
                  </a:lnTo>
                  <a:lnTo>
                    <a:pt x="1450" y="107"/>
                  </a:lnTo>
                  <a:lnTo>
                    <a:pt x="1454" y="109"/>
                  </a:lnTo>
                  <a:lnTo>
                    <a:pt x="1456" y="111"/>
                  </a:lnTo>
                  <a:lnTo>
                    <a:pt x="1456" y="111"/>
                  </a:lnTo>
                  <a:lnTo>
                    <a:pt x="1456" y="115"/>
                  </a:lnTo>
                  <a:lnTo>
                    <a:pt x="1456" y="117"/>
                  </a:lnTo>
                  <a:lnTo>
                    <a:pt x="1456" y="120"/>
                  </a:lnTo>
                  <a:lnTo>
                    <a:pt x="1456" y="124"/>
                  </a:lnTo>
                  <a:lnTo>
                    <a:pt x="1457" y="128"/>
                  </a:lnTo>
                  <a:lnTo>
                    <a:pt x="1459" y="132"/>
                  </a:lnTo>
                  <a:lnTo>
                    <a:pt x="1461" y="134"/>
                  </a:lnTo>
                  <a:lnTo>
                    <a:pt x="1467" y="136"/>
                  </a:lnTo>
                  <a:lnTo>
                    <a:pt x="1469" y="134"/>
                  </a:lnTo>
                  <a:lnTo>
                    <a:pt x="1469" y="134"/>
                  </a:lnTo>
                  <a:lnTo>
                    <a:pt x="1471" y="139"/>
                  </a:lnTo>
                  <a:lnTo>
                    <a:pt x="1471" y="143"/>
                  </a:lnTo>
                  <a:lnTo>
                    <a:pt x="1471" y="147"/>
                  </a:lnTo>
                  <a:lnTo>
                    <a:pt x="1471" y="151"/>
                  </a:lnTo>
                  <a:lnTo>
                    <a:pt x="1471" y="157"/>
                  </a:lnTo>
                  <a:lnTo>
                    <a:pt x="1469" y="160"/>
                  </a:lnTo>
                  <a:lnTo>
                    <a:pt x="1469" y="166"/>
                  </a:lnTo>
                  <a:lnTo>
                    <a:pt x="1469" y="172"/>
                  </a:lnTo>
                  <a:lnTo>
                    <a:pt x="1469" y="172"/>
                  </a:lnTo>
                  <a:lnTo>
                    <a:pt x="1469" y="176"/>
                  </a:lnTo>
                  <a:lnTo>
                    <a:pt x="1469" y="179"/>
                  </a:lnTo>
                  <a:lnTo>
                    <a:pt x="1469" y="181"/>
                  </a:lnTo>
                  <a:lnTo>
                    <a:pt x="1471" y="183"/>
                  </a:lnTo>
                  <a:lnTo>
                    <a:pt x="1471" y="185"/>
                  </a:lnTo>
                  <a:lnTo>
                    <a:pt x="1473" y="187"/>
                  </a:lnTo>
                  <a:lnTo>
                    <a:pt x="1473" y="191"/>
                  </a:lnTo>
                  <a:lnTo>
                    <a:pt x="1473" y="195"/>
                  </a:lnTo>
                  <a:lnTo>
                    <a:pt x="1473" y="195"/>
                  </a:lnTo>
                  <a:lnTo>
                    <a:pt x="1473" y="199"/>
                  </a:lnTo>
                  <a:lnTo>
                    <a:pt x="1471" y="200"/>
                  </a:lnTo>
                  <a:lnTo>
                    <a:pt x="1471" y="202"/>
                  </a:lnTo>
                  <a:lnTo>
                    <a:pt x="1469" y="204"/>
                  </a:lnTo>
                  <a:lnTo>
                    <a:pt x="1467" y="208"/>
                  </a:lnTo>
                  <a:lnTo>
                    <a:pt x="1465" y="210"/>
                  </a:lnTo>
                  <a:lnTo>
                    <a:pt x="1465" y="214"/>
                  </a:lnTo>
                  <a:lnTo>
                    <a:pt x="1465" y="220"/>
                  </a:lnTo>
                  <a:lnTo>
                    <a:pt x="1465" y="220"/>
                  </a:lnTo>
                  <a:lnTo>
                    <a:pt x="1467" y="225"/>
                  </a:lnTo>
                  <a:lnTo>
                    <a:pt x="1471" y="229"/>
                  </a:lnTo>
                  <a:lnTo>
                    <a:pt x="1477" y="231"/>
                  </a:lnTo>
                  <a:lnTo>
                    <a:pt x="1482" y="233"/>
                  </a:lnTo>
                  <a:lnTo>
                    <a:pt x="1490" y="235"/>
                  </a:lnTo>
                  <a:lnTo>
                    <a:pt x="1496" y="239"/>
                  </a:lnTo>
                  <a:lnTo>
                    <a:pt x="1499" y="242"/>
                  </a:lnTo>
                  <a:lnTo>
                    <a:pt x="1499" y="248"/>
                  </a:lnTo>
                  <a:lnTo>
                    <a:pt x="1499" y="248"/>
                  </a:lnTo>
                  <a:lnTo>
                    <a:pt x="1499" y="254"/>
                  </a:lnTo>
                  <a:lnTo>
                    <a:pt x="1498" y="260"/>
                  </a:lnTo>
                  <a:lnTo>
                    <a:pt x="1494" y="263"/>
                  </a:lnTo>
                  <a:lnTo>
                    <a:pt x="1490" y="269"/>
                  </a:lnTo>
                  <a:lnTo>
                    <a:pt x="1486" y="273"/>
                  </a:lnTo>
                  <a:lnTo>
                    <a:pt x="1480" y="277"/>
                  </a:lnTo>
                  <a:lnTo>
                    <a:pt x="1475" y="281"/>
                  </a:lnTo>
                  <a:lnTo>
                    <a:pt x="1471" y="284"/>
                  </a:lnTo>
                  <a:lnTo>
                    <a:pt x="1471" y="284"/>
                  </a:lnTo>
                  <a:lnTo>
                    <a:pt x="1463" y="292"/>
                  </a:lnTo>
                  <a:lnTo>
                    <a:pt x="1457" y="298"/>
                  </a:lnTo>
                  <a:lnTo>
                    <a:pt x="1450" y="305"/>
                  </a:lnTo>
                  <a:lnTo>
                    <a:pt x="1444" y="313"/>
                  </a:lnTo>
                  <a:lnTo>
                    <a:pt x="1436" y="319"/>
                  </a:lnTo>
                  <a:lnTo>
                    <a:pt x="1431" y="326"/>
                  </a:lnTo>
                  <a:lnTo>
                    <a:pt x="1423" y="334"/>
                  </a:lnTo>
                  <a:lnTo>
                    <a:pt x="1415" y="340"/>
                  </a:lnTo>
                  <a:lnTo>
                    <a:pt x="1415" y="340"/>
                  </a:lnTo>
                  <a:lnTo>
                    <a:pt x="1414" y="342"/>
                  </a:lnTo>
                  <a:lnTo>
                    <a:pt x="1412" y="345"/>
                  </a:lnTo>
                  <a:lnTo>
                    <a:pt x="1408" y="347"/>
                  </a:lnTo>
                  <a:lnTo>
                    <a:pt x="1406" y="349"/>
                  </a:lnTo>
                  <a:lnTo>
                    <a:pt x="1404" y="351"/>
                  </a:lnTo>
                  <a:lnTo>
                    <a:pt x="1402" y="355"/>
                  </a:lnTo>
                  <a:lnTo>
                    <a:pt x="1400" y="359"/>
                  </a:lnTo>
                  <a:lnTo>
                    <a:pt x="1400" y="361"/>
                  </a:lnTo>
                  <a:lnTo>
                    <a:pt x="1400" y="361"/>
                  </a:lnTo>
                  <a:lnTo>
                    <a:pt x="1400" y="370"/>
                  </a:lnTo>
                  <a:lnTo>
                    <a:pt x="1398" y="378"/>
                  </a:lnTo>
                  <a:lnTo>
                    <a:pt x="1398" y="387"/>
                  </a:lnTo>
                  <a:lnTo>
                    <a:pt x="1396" y="395"/>
                  </a:lnTo>
                  <a:lnTo>
                    <a:pt x="1394" y="405"/>
                  </a:lnTo>
                  <a:lnTo>
                    <a:pt x="1393" y="412"/>
                  </a:lnTo>
                  <a:lnTo>
                    <a:pt x="1391" y="422"/>
                  </a:lnTo>
                  <a:lnTo>
                    <a:pt x="1389" y="431"/>
                  </a:lnTo>
                  <a:lnTo>
                    <a:pt x="1385" y="441"/>
                  </a:lnTo>
                  <a:lnTo>
                    <a:pt x="1383" y="450"/>
                  </a:lnTo>
                  <a:lnTo>
                    <a:pt x="1381" y="460"/>
                  </a:lnTo>
                  <a:lnTo>
                    <a:pt x="1379" y="469"/>
                  </a:lnTo>
                  <a:lnTo>
                    <a:pt x="1377" y="479"/>
                  </a:lnTo>
                  <a:lnTo>
                    <a:pt x="1377" y="490"/>
                  </a:lnTo>
                  <a:lnTo>
                    <a:pt x="1377" y="502"/>
                  </a:lnTo>
                  <a:lnTo>
                    <a:pt x="1375" y="513"/>
                  </a:lnTo>
                  <a:lnTo>
                    <a:pt x="1375" y="513"/>
                  </a:lnTo>
                  <a:lnTo>
                    <a:pt x="1375" y="515"/>
                  </a:lnTo>
                  <a:lnTo>
                    <a:pt x="1375" y="519"/>
                  </a:lnTo>
                  <a:lnTo>
                    <a:pt x="1375" y="521"/>
                  </a:lnTo>
                  <a:lnTo>
                    <a:pt x="1375" y="525"/>
                  </a:lnTo>
                  <a:lnTo>
                    <a:pt x="1377" y="527"/>
                  </a:lnTo>
                  <a:lnTo>
                    <a:pt x="1377" y="530"/>
                  </a:lnTo>
                  <a:lnTo>
                    <a:pt x="1377" y="532"/>
                  </a:lnTo>
                  <a:lnTo>
                    <a:pt x="1377" y="536"/>
                  </a:lnTo>
                  <a:lnTo>
                    <a:pt x="1377" y="536"/>
                  </a:lnTo>
                  <a:lnTo>
                    <a:pt x="1372" y="540"/>
                  </a:lnTo>
                  <a:lnTo>
                    <a:pt x="1366" y="544"/>
                  </a:lnTo>
                  <a:lnTo>
                    <a:pt x="1360" y="548"/>
                  </a:lnTo>
                  <a:lnTo>
                    <a:pt x="1356" y="553"/>
                  </a:lnTo>
                  <a:lnTo>
                    <a:pt x="1353" y="559"/>
                  </a:lnTo>
                  <a:lnTo>
                    <a:pt x="1349" y="563"/>
                  </a:lnTo>
                  <a:lnTo>
                    <a:pt x="1347" y="569"/>
                  </a:lnTo>
                  <a:lnTo>
                    <a:pt x="1347" y="574"/>
                  </a:lnTo>
                  <a:lnTo>
                    <a:pt x="1347" y="574"/>
                  </a:lnTo>
                  <a:lnTo>
                    <a:pt x="1347" y="578"/>
                  </a:lnTo>
                  <a:lnTo>
                    <a:pt x="1347" y="580"/>
                  </a:lnTo>
                  <a:lnTo>
                    <a:pt x="1349" y="584"/>
                  </a:lnTo>
                  <a:lnTo>
                    <a:pt x="1349" y="588"/>
                  </a:lnTo>
                  <a:lnTo>
                    <a:pt x="1349" y="590"/>
                  </a:lnTo>
                  <a:lnTo>
                    <a:pt x="1349" y="593"/>
                  </a:lnTo>
                  <a:lnTo>
                    <a:pt x="1347" y="595"/>
                  </a:lnTo>
                  <a:lnTo>
                    <a:pt x="1345" y="597"/>
                  </a:lnTo>
                  <a:lnTo>
                    <a:pt x="1345" y="597"/>
                  </a:lnTo>
                  <a:lnTo>
                    <a:pt x="1341" y="599"/>
                  </a:lnTo>
                  <a:lnTo>
                    <a:pt x="1337" y="601"/>
                  </a:lnTo>
                  <a:lnTo>
                    <a:pt x="1333" y="603"/>
                  </a:lnTo>
                  <a:lnTo>
                    <a:pt x="1330" y="605"/>
                  </a:lnTo>
                  <a:lnTo>
                    <a:pt x="1328" y="609"/>
                  </a:lnTo>
                  <a:lnTo>
                    <a:pt x="1326" y="613"/>
                  </a:lnTo>
                  <a:lnTo>
                    <a:pt x="1324" y="618"/>
                  </a:lnTo>
                  <a:lnTo>
                    <a:pt x="1322" y="624"/>
                  </a:lnTo>
                  <a:lnTo>
                    <a:pt x="1322" y="624"/>
                  </a:lnTo>
                  <a:lnTo>
                    <a:pt x="1324" y="628"/>
                  </a:lnTo>
                  <a:lnTo>
                    <a:pt x="1324" y="630"/>
                  </a:lnTo>
                  <a:lnTo>
                    <a:pt x="1326" y="634"/>
                  </a:lnTo>
                  <a:lnTo>
                    <a:pt x="1326" y="635"/>
                  </a:lnTo>
                  <a:lnTo>
                    <a:pt x="1328" y="637"/>
                  </a:lnTo>
                  <a:lnTo>
                    <a:pt x="1330" y="641"/>
                  </a:lnTo>
                  <a:lnTo>
                    <a:pt x="1332" y="643"/>
                  </a:lnTo>
                  <a:lnTo>
                    <a:pt x="1333" y="645"/>
                  </a:lnTo>
                  <a:lnTo>
                    <a:pt x="1333" y="645"/>
                  </a:lnTo>
                  <a:lnTo>
                    <a:pt x="1333" y="649"/>
                  </a:lnTo>
                  <a:lnTo>
                    <a:pt x="1335" y="653"/>
                  </a:lnTo>
                  <a:lnTo>
                    <a:pt x="1337" y="656"/>
                  </a:lnTo>
                  <a:lnTo>
                    <a:pt x="1341" y="658"/>
                  </a:lnTo>
                  <a:lnTo>
                    <a:pt x="1343" y="662"/>
                  </a:lnTo>
                  <a:lnTo>
                    <a:pt x="1345" y="666"/>
                  </a:lnTo>
                  <a:lnTo>
                    <a:pt x="1347" y="668"/>
                  </a:lnTo>
                  <a:lnTo>
                    <a:pt x="1349" y="672"/>
                  </a:lnTo>
                  <a:lnTo>
                    <a:pt x="1349" y="672"/>
                  </a:lnTo>
                  <a:lnTo>
                    <a:pt x="1351" y="677"/>
                  </a:lnTo>
                  <a:lnTo>
                    <a:pt x="1351" y="683"/>
                  </a:lnTo>
                  <a:lnTo>
                    <a:pt x="1351" y="687"/>
                  </a:lnTo>
                  <a:lnTo>
                    <a:pt x="1351" y="693"/>
                  </a:lnTo>
                  <a:lnTo>
                    <a:pt x="1351" y="696"/>
                  </a:lnTo>
                  <a:lnTo>
                    <a:pt x="1351" y="702"/>
                  </a:lnTo>
                  <a:lnTo>
                    <a:pt x="1351" y="708"/>
                  </a:lnTo>
                  <a:lnTo>
                    <a:pt x="1351" y="712"/>
                  </a:lnTo>
                  <a:lnTo>
                    <a:pt x="1351" y="712"/>
                  </a:lnTo>
                  <a:lnTo>
                    <a:pt x="1351" y="714"/>
                  </a:lnTo>
                  <a:lnTo>
                    <a:pt x="1351" y="716"/>
                  </a:lnTo>
                  <a:lnTo>
                    <a:pt x="1351" y="717"/>
                  </a:lnTo>
                  <a:lnTo>
                    <a:pt x="1351" y="719"/>
                  </a:lnTo>
                  <a:lnTo>
                    <a:pt x="1351" y="721"/>
                  </a:lnTo>
                  <a:lnTo>
                    <a:pt x="1351" y="723"/>
                  </a:lnTo>
                  <a:lnTo>
                    <a:pt x="1351" y="725"/>
                  </a:lnTo>
                  <a:lnTo>
                    <a:pt x="1351" y="725"/>
                  </a:lnTo>
                  <a:lnTo>
                    <a:pt x="1351" y="725"/>
                  </a:lnTo>
                  <a:lnTo>
                    <a:pt x="1351" y="727"/>
                  </a:lnTo>
                  <a:lnTo>
                    <a:pt x="1353" y="729"/>
                  </a:lnTo>
                  <a:lnTo>
                    <a:pt x="1353" y="731"/>
                  </a:lnTo>
                  <a:lnTo>
                    <a:pt x="1353" y="733"/>
                  </a:lnTo>
                  <a:lnTo>
                    <a:pt x="1353" y="733"/>
                  </a:lnTo>
                  <a:lnTo>
                    <a:pt x="1351" y="733"/>
                  </a:lnTo>
                  <a:lnTo>
                    <a:pt x="1349" y="733"/>
                  </a:lnTo>
                  <a:lnTo>
                    <a:pt x="1347" y="731"/>
                  </a:lnTo>
                  <a:lnTo>
                    <a:pt x="1345" y="731"/>
                  </a:lnTo>
                  <a:lnTo>
                    <a:pt x="1345" y="731"/>
                  </a:lnTo>
                  <a:lnTo>
                    <a:pt x="1345" y="733"/>
                  </a:lnTo>
                  <a:lnTo>
                    <a:pt x="1345" y="735"/>
                  </a:lnTo>
                  <a:lnTo>
                    <a:pt x="1345" y="735"/>
                  </a:lnTo>
                  <a:lnTo>
                    <a:pt x="1345" y="737"/>
                  </a:lnTo>
                  <a:lnTo>
                    <a:pt x="1345" y="738"/>
                  </a:lnTo>
                  <a:lnTo>
                    <a:pt x="1345" y="740"/>
                  </a:lnTo>
                  <a:lnTo>
                    <a:pt x="1345" y="742"/>
                  </a:lnTo>
                  <a:lnTo>
                    <a:pt x="1345" y="744"/>
                  </a:lnTo>
                  <a:lnTo>
                    <a:pt x="1345" y="744"/>
                  </a:lnTo>
                  <a:lnTo>
                    <a:pt x="1345" y="748"/>
                  </a:lnTo>
                  <a:lnTo>
                    <a:pt x="1345" y="752"/>
                  </a:lnTo>
                  <a:lnTo>
                    <a:pt x="1347" y="756"/>
                  </a:lnTo>
                  <a:lnTo>
                    <a:pt x="1347" y="759"/>
                  </a:lnTo>
                  <a:lnTo>
                    <a:pt x="1349" y="761"/>
                  </a:lnTo>
                  <a:lnTo>
                    <a:pt x="1349" y="765"/>
                  </a:lnTo>
                  <a:lnTo>
                    <a:pt x="1351" y="771"/>
                  </a:lnTo>
                  <a:lnTo>
                    <a:pt x="1351" y="775"/>
                  </a:lnTo>
                  <a:lnTo>
                    <a:pt x="1351" y="775"/>
                  </a:lnTo>
                  <a:lnTo>
                    <a:pt x="1351" y="780"/>
                  </a:lnTo>
                  <a:lnTo>
                    <a:pt x="1349" y="784"/>
                  </a:lnTo>
                  <a:lnTo>
                    <a:pt x="1349" y="790"/>
                  </a:lnTo>
                  <a:lnTo>
                    <a:pt x="1347" y="794"/>
                  </a:lnTo>
                  <a:lnTo>
                    <a:pt x="1347" y="798"/>
                  </a:lnTo>
                  <a:lnTo>
                    <a:pt x="1345" y="803"/>
                  </a:lnTo>
                  <a:lnTo>
                    <a:pt x="1345" y="809"/>
                  </a:lnTo>
                  <a:lnTo>
                    <a:pt x="1345" y="815"/>
                  </a:lnTo>
                  <a:lnTo>
                    <a:pt x="1345" y="815"/>
                  </a:lnTo>
                  <a:lnTo>
                    <a:pt x="1345" y="820"/>
                  </a:lnTo>
                  <a:lnTo>
                    <a:pt x="1345" y="824"/>
                  </a:lnTo>
                  <a:lnTo>
                    <a:pt x="1345" y="830"/>
                  </a:lnTo>
                  <a:lnTo>
                    <a:pt x="1347" y="834"/>
                  </a:lnTo>
                  <a:lnTo>
                    <a:pt x="1347" y="840"/>
                  </a:lnTo>
                  <a:lnTo>
                    <a:pt x="1349" y="843"/>
                  </a:lnTo>
                  <a:lnTo>
                    <a:pt x="1351" y="847"/>
                  </a:lnTo>
                  <a:lnTo>
                    <a:pt x="1351" y="851"/>
                  </a:lnTo>
                  <a:lnTo>
                    <a:pt x="1353" y="855"/>
                  </a:lnTo>
                  <a:lnTo>
                    <a:pt x="1354" y="859"/>
                  </a:lnTo>
                  <a:lnTo>
                    <a:pt x="1354" y="862"/>
                  </a:lnTo>
                  <a:lnTo>
                    <a:pt x="1356" y="866"/>
                  </a:lnTo>
                  <a:lnTo>
                    <a:pt x="1356" y="870"/>
                  </a:lnTo>
                  <a:lnTo>
                    <a:pt x="1358" y="874"/>
                  </a:lnTo>
                  <a:lnTo>
                    <a:pt x="1358" y="878"/>
                  </a:lnTo>
                  <a:lnTo>
                    <a:pt x="1358" y="880"/>
                  </a:lnTo>
                  <a:lnTo>
                    <a:pt x="1358" y="880"/>
                  </a:lnTo>
                  <a:lnTo>
                    <a:pt x="1358" y="883"/>
                  </a:lnTo>
                  <a:lnTo>
                    <a:pt x="1358" y="885"/>
                  </a:lnTo>
                  <a:lnTo>
                    <a:pt x="1358" y="887"/>
                  </a:lnTo>
                  <a:lnTo>
                    <a:pt x="1358" y="889"/>
                  </a:lnTo>
                  <a:lnTo>
                    <a:pt x="1358" y="893"/>
                  </a:lnTo>
                  <a:lnTo>
                    <a:pt x="1358" y="897"/>
                  </a:lnTo>
                  <a:lnTo>
                    <a:pt x="1358" y="901"/>
                  </a:lnTo>
                  <a:lnTo>
                    <a:pt x="1358" y="904"/>
                  </a:lnTo>
                  <a:lnTo>
                    <a:pt x="1358" y="904"/>
                  </a:lnTo>
                  <a:lnTo>
                    <a:pt x="1358" y="910"/>
                  </a:lnTo>
                  <a:lnTo>
                    <a:pt x="1360" y="914"/>
                  </a:lnTo>
                  <a:lnTo>
                    <a:pt x="1360" y="918"/>
                  </a:lnTo>
                  <a:lnTo>
                    <a:pt x="1362" y="923"/>
                  </a:lnTo>
                  <a:lnTo>
                    <a:pt x="1362" y="929"/>
                  </a:lnTo>
                  <a:lnTo>
                    <a:pt x="1364" y="933"/>
                  </a:lnTo>
                  <a:lnTo>
                    <a:pt x="1366" y="939"/>
                  </a:lnTo>
                  <a:lnTo>
                    <a:pt x="1370" y="944"/>
                  </a:lnTo>
                  <a:lnTo>
                    <a:pt x="1372" y="948"/>
                  </a:lnTo>
                  <a:lnTo>
                    <a:pt x="1374" y="954"/>
                  </a:lnTo>
                  <a:lnTo>
                    <a:pt x="1375" y="958"/>
                  </a:lnTo>
                  <a:lnTo>
                    <a:pt x="1377" y="964"/>
                  </a:lnTo>
                  <a:lnTo>
                    <a:pt x="1381" y="967"/>
                  </a:lnTo>
                  <a:lnTo>
                    <a:pt x="1383" y="971"/>
                  </a:lnTo>
                  <a:lnTo>
                    <a:pt x="1385" y="973"/>
                  </a:lnTo>
                  <a:lnTo>
                    <a:pt x="1387" y="977"/>
                  </a:lnTo>
                  <a:lnTo>
                    <a:pt x="1387" y="977"/>
                  </a:lnTo>
                  <a:lnTo>
                    <a:pt x="1391" y="981"/>
                  </a:lnTo>
                  <a:lnTo>
                    <a:pt x="1396" y="985"/>
                  </a:lnTo>
                  <a:lnTo>
                    <a:pt x="1402" y="988"/>
                  </a:lnTo>
                  <a:lnTo>
                    <a:pt x="1408" y="992"/>
                  </a:lnTo>
                  <a:lnTo>
                    <a:pt x="1414" y="996"/>
                  </a:lnTo>
                  <a:lnTo>
                    <a:pt x="1417" y="1002"/>
                  </a:lnTo>
                  <a:lnTo>
                    <a:pt x="1421" y="1006"/>
                  </a:lnTo>
                  <a:lnTo>
                    <a:pt x="1425" y="1011"/>
                  </a:lnTo>
                  <a:lnTo>
                    <a:pt x="1425" y="1011"/>
                  </a:lnTo>
                  <a:lnTo>
                    <a:pt x="1429" y="1021"/>
                  </a:lnTo>
                  <a:lnTo>
                    <a:pt x="1433" y="1028"/>
                  </a:lnTo>
                  <a:lnTo>
                    <a:pt x="1435" y="1038"/>
                  </a:lnTo>
                  <a:lnTo>
                    <a:pt x="1436" y="1046"/>
                  </a:lnTo>
                  <a:lnTo>
                    <a:pt x="1440" y="1051"/>
                  </a:lnTo>
                  <a:lnTo>
                    <a:pt x="1444" y="1059"/>
                  </a:lnTo>
                  <a:lnTo>
                    <a:pt x="1450" y="1065"/>
                  </a:lnTo>
                  <a:lnTo>
                    <a:pt x="1457" y="1070"/>
                  </a:lnTo>
                  <a:lnTo>
                    <a:pt x="1465" y="1078"/>
                  </a:lnTo>
                  <a:lnTo>
                    <a:pt x="1414" y="1082"/>
                  </a:lnTo>
                  <a:lnTo>
                    <a:pt x="1414" y="1082"/>
                  </a:lnTo>
                  <a:lnTo>
                    <a:pt x="1408" y="1086"/>
                  </a:lnTo>
                  <a:lnTo>
                    <a:pt x="1402" y="1086"/>
                  </a:lnTo>
                  <a:lnTo>
                    <a:pt x="1396" y="1088"/>
                  </a:lnTo>
                  <a:lnTo>
                    <a:pt x="1391" y="1088"/>
                  </a:lnTo>
                  <a:lnTo>
                    <a:pt x="1387" y="1088"/>
                  </a:lnTo>
                  <a:lnTo>
                    <a:pt x="1381" y="1089"/>
                  </a:lnTo>
                  <a:lnTo>
                    <a:pt x="1375" y="1089"/>
                  </a:lnTo>
                  <a:lnTo>
                    <a:pt x="1370" y="1089"/>
                  </a:lnTo>
                  <a:lnTo>
                    <a:pt x="1366" y="1089"/>
                  </a:lnTo>
                  <a:lnTo>
                    <a:pt x="1360" y="1089"/>
                  </a:lnTo>
                  <a:lnTo>
                    <a:pt x="1354" y="1091"/>
                  </a:lnTo>
                  <a:lnTo>
                    <a:pt x="1351" y="1091"/>
                  </a:lnTo>
                  <a:lnTo>
                    <a:pt x="1345" y="1093"/>
                  </a:lnTo>
                  <a:lnTo>
                    <a:pt x="1339" y="1095"/>
                  </a:lnTo>
                  <a:lnTo>
                    <a:pt x="1333" y="1097"/>
                  </a:lnTo>
                  <a:lnTo>
                    <a:pt x="1328" y="1101"/>
                  </a:lnTo>
                  <a:lnTo>
                    <a:pt x="1328" y="1101"/>
                  </a:lnTo>
                  <a:lnTo>
                    <a:pt x="1322" y="1105"/>
                  </a:lnTo>
                  <a:lnTo>
                    <a:pt x="1320" y="1109"/>
                  </a:lnTo>
                  <a:lnTo>
                    <a:pt x="1318" y="1114"/>
                  </a:lnTo>
                  <a:lnTo>
                    <a:pt x="1316" y="1120"/>
                  </a:lnTo>
                  <a:lnTo>
                    <a:pt x="1316" y="1126"/>
                  </a:lnTo>
                  <a:lnTo>
                    <a:pt x="1314" y="1131"/>
                  </a:lnTo>
                  <a:lnTo>
                    <a:pt x="1312" y="1135"/>
                  </a:lnTo>
                  <a:lnTo>
                    <a:pt x="1307" y="1141"/>
                  </a:lnTo>
                  <a:lnTo>
                    <a:pt x="1307" y="1141"/>
                  </a:lnTo>
                  <a:lnTo>
                    <a:pt x="1305" y="1143"/>
                  </a:lnTo>
                  <a:lnTo>
                    <a:pt x="1301" y="1145"/>
                  </a:lnTo>
                  <a:lnTo>
                    <a:pt x="1297" y="1149"/>
                  </a:lnTo>
                  <a:lnTo>
                    <a:pt x="1291" y="1151"/>
                  </a:lnTo>
                  <a:lnTo>
                    <a:pt x="1288" y="1154"/>
                  </a:lnTo>
                  <a:lnTo>
                    <a:pt x="1284" y="1158"/>
                  </a:lnTo>
                  <a:lnTo>
                    <a:pt x="1282" y="1164"/>
                  </a:lnTo>
                  <a:lnTo>
                    <a:pt x="1280" y="1170"/>
                  </a:lnTo>
                  <a:lnTo>
                    <a:pt x="1280" y="1170"/>
                  </a:lnTo>
                  <a:lnTo>
                    <a:pt x="1280" y="1173"/>
                  </a:lnTo>
                  <a:lnTo>
                    <a:pt x="1282" y="1175"/>
                  </a:lnTo>
                  <a:lnTo>
                    <a:pt x="1284" y="1179"/>
                  </a:lnTo>
                  <a:lnTo>
                    <a:pt x="1286" y="1181"/>
                  </a:lnTo>
                  <a:lnTo>
                    <a:pt x="1288" y="1185"/>
                  </a:lnTo>
                  <a:lnTo>
                    <a:pt x="1290" y="1187"/>
                  </a:lnTo>
                  <a:lnTo>
                    <a:pt x="1291" y="1191"/>
                  </a:lnTo>
                  <a:lnTo>
                    <a:pt x="1291" y="1194"/>
                  </a:lnTo>
                  <a:lnTo>
                    <a:pt x="1291" y="1194"/>
                  </a:lnTo>
                  <a:lnTo>
                    <a:pt x="1291" y="1198"/>
                  </a:lnTo>
                  <a:lnTo>
                    <a:pt x="1291" y="1202"/>
                  </a:lnTo>
                  <a:lnTo>
                    <a:pt x="1291" y="1208"/>
                  </a:lnTo>
                  <a:lnTo>
                    <a:pt x="1291" y="1213"/>
                  </a:lnTo>
                  <a:lnTo>
                    <a:pt x="1291" y="1217"/>
                  </a:lnTo>
                  <a:lnTo>
                    <a:pt x="1291" y="1223"/>
                  </a:lnTo>
                  <a:lnTo>
                    <a:pt x="1291" y="1231"/>
                  </a:lnTo>
                  <a:lnTo>
                    <a:pt x="1291" y="1236"/>
                  </a:lnTo>
                  <a:lnTo>
                    <a:pt x="1291" y="1244"/>
                  </a:lnTo>
                  <a:lnTo>
                    <a:pt x="1291" y="1250"/>
                  </a:lnTo>
                  <a:lnTo>
                    <a:pt x="1291" y="1257"/>
                  </a:lnTo>
                  <a:lnTo>
                    <a:pt x="1291" y="1263"/>
                  </a:lnTo>
                  <a:lnTo>
                    <a:pt x="1291" y="1271"/>
                  </a:lnTo>
                  <a:lnTo>
                    <a:pt x="1291" y="1278"/>
                  </a:lnTo>
                  <a:lnTo>
                    <a:pt x="1291" y="1286"/>
                  </a:lnTo>
                  <a:lnTo>
                    <a:pt x="1291" y="1294"/>
                  </a:lnTo>
                  <a:lnTo>
                    <a:pt x="1291" y="1294"/>
                  </a:lnTo>
                  <a:lnTo>
                    <a:pt x="1290" y="1297"/>
                  </a:lnTo>
                  <a:lnTo>
                    <a:pt x="1286" y="1301"/>
                  </a:lnTo>
                  <a:lnTo>
                    <a:pt x="1282" y="1305"/>
                  </a:lnTo>
                  <a:lnTo>
                    <a:pt x="1280" y="1309"/>
                  </a:lnTo>
                  <a:lnTo>
                    <a:pt x="1278" y="1315"/>
                  </a:lnTo>
                  <a:lnTo>
                    <a:pt x="1276" y="1320"/>
                  </a:lnTo>
                  <a:lnTo>
                    <a:pt x="1274" y="1328"/>
                  </a:lnTo>
                  <a:lnTo>
                    <a:pt x="1274" y="1334"/>
                  </a:lnTo>
                  <a:lnTo>
                    <a:pt x="1274" y="1334"/>
                  </a:lnTo>
                  <a:lnTo>
                    <a:pt x="1274" y="1341"/>
                  </a:lnTo>
                  <a:lnTo>
                    <a:pt x="1276" y="1347"/>
                  </a:lnTo>
                  <a:lnTo>
                    <a:pt x="1278" y="1353"/>
                  </a:lnTo>
                  <a:lnTo>
                    <a:pt x="1280" y="1360"/>
                  </a:lnTo>
                  <a:lnTo>
                    <a:pt x="1284" y="1366"/>
                  </a:lnTo>
                  <a:lnTo>
                    <a:pt x="1288" y="1372"/>
                  </a:lnTo>
                  <a:lnTo>
                    <a:pt x="1291" y="1378"/>
                  </a:lnTo>
                  <a:lnTo>
                    <a:pt x="1295" y="1385"/>
                  </a:lnTo>
                  <a:lnTo>
                    <a:pt x="1301" y="1391"/>
                  </a:lnTo>
                  <a:lnTo>
                    <a:pt x="1307" y="1395"/>
                  </a:lnTo>
                  <a:lnTo>
                    <a:pt x="1311" y="1400"/>
                  </a:lnTo>
                  <a:lnTo>
                    <a:pt x="1316" y="1404"/>
                  </a:lnTo>
                  <a:lnTo>
                    <a:pt x="1322" y="1410"/>
                  </a:lnTo>
                  <a:lnTo>
                    <a:pt x="1328" y="1414"/>
                  </a:lnTo>
                  <a:lnTo>
                    <a:pt x="1332" y="1416"/>
                  </a:lnTo>
                  <a:lnTo>
                    <a:pt x="1337" y="1419"/>
                  </a:lnTo>
                  <a:lnTo>
                    <a:pt x="1360" y="1419"/>
                  </a:lnTo>
                  <a:lnTo>
                    <a:pt x="1360" y="1419"/>
                  </a:lnTo>
                  <a:lnTo>
                    <a:pt x="1362" y="1416"/>
                  </a:lnTo>
                  <a:lnTo>
                    <a:pt x="1364" y="1412"/>
                  </a:lnTo>
                  <a:lnTo>
                    <a:pt x="1366" y="1410"/>
                  </a:lnTo>
                  <a:lnTo>
                    <a:pt x="1370" y="1406"/>
                  </a:lnTo>
                  <a:lnTo>
                    <a:pt x="1372" y="1404"/>
                  </a:lnTo>
                  <a:lnTo>
                    <a:pt x="1375" y="1402"/>
                  </a:lnTo>
                  <a:lnTo>
                    <a:pt x="1379" y="1400"/>
                  </a:lnTo>
                  <a:lnTo>
                    <a:pt x="1385" y="1399"/>
                  </a:lnTo>
                  <a:lnTo>
                    <a:pt x="1385" y="1484"/>
                  </a:lnTo>
                  <a:lnTo>
                    <a:pt x="1385" y="1484"/>
                  </a:lnTo>
                  <a:lnTo>
                    <a:pt x="1381" y="1484"/>
                  </a:lnTo>
                  <a:lnTo>
                    <a:pt x="1377" y="1484"/>
                  </a:lnTo>
                  <a:lnTo>
                    <a:pt x="1374" y="1484"/>
                  </a:lnTo>
                  <a:lnTo>
                    <a:pt x="1370" y="1484"/>
                  </a:lnTo>
                  <a:lnTo>
                    <a:pt x="1368" y="1484"/>
                  </a:lnTo>
                  <a:lnTo>
                    <a:pt x="1364" y="1484"/>
                  </a:lnTo>
                  <a:lnTo>
                    <a:pt x="1360" y="1484"/>
                  </a:lnTo>
                  <a:lnTo>
                    <a:pt x="1354" y="1484"/>
                  </a:lnTo>
                  <a:lnTo>
                    <a:pt x="1354" y="1484"/>
                  </a:lnTo>
                  <a:lnTo>
                    <a:pt x="1351" y="1484"/>
                  </a:lnTo>
                  <a:lnTo>
                    <a:pt x="1347" y="1486"/>
                  </a:lnTo>
                  <a:lnTo>
                    <a:pt x="1345" y="1486"/>
                  </a:lnTo>
                  <a:lnTo>
                    <a:pt x="1341" y="1488"/>
                  </a:lnTo>
                  <a:lnTo>
                    <a:pt x="1337" y="1490"/>
                  </a:lnTo>
                  <a:lnTo>
                    <a:pt x="1335" y="1492"/>
                  </a:lnTo>
                  <a:lnTo>
                    <a:pt x="1332" y="1494"/>
                  </a:lnTo>
                  <a:lnTo>
                    <a:pt x="1328" y="1494"/>
                  </a:lnTo>
                  <a:lnTo>
                    <a:pt x="1328" y="1494"/>
                  </a:lnTo>
                  <a:lnTo>
                    <a:pt x="1324" y="1494"/>
                  </a:lnTo>
                  <a:lnTo>
                    <a:pt x="1320" y="1492"/>
                  </a:lnTo>
                  <a:lnTo>
                    <a:pt x="1316" y="1488"/>
                  </a:lnTo>
                  <a:lnTo>
                    <a:pt x="1312" y="1484"/>
                  </a:lnTo>
                  <a:lnTo>
                    <a:pt x="1309" y="1481"/>
                  </a:lnTo>
                  <a:lnTo>
                    <a:pt x="1307" y="1477"/>
                  </a:lnTo>
                  <a:lnTo>
                    <a:pt x="1303" y="1471"/>
                  </a:lnTo>
                  <a:lnTo>
                    <a:pt x="1299" y="1465"/>
                  </a:lnTo>
                  <a:lnTo>
                    <a:pt x="1295" y="1460"/>
                  </a:lnTo>
                  <a:lnTo>
                    <a:pt x="1293" y="1454"/>
                  </a:lnTo>
                  <a:lnTo>
                    <a:pt x="1290" y="1448"/>
                  </a:lnTo>
                  <a:lnTo>
                    <a:pt x="1288" y="1442"/>
                  </a:lnTo>
                  <a:lnTo>
                    <a:pt x="1284" y="1437"/>
                  </a:lnTo>
                  <a:lnTo>
                    <a:pt x="1280" y="1433"/>
                  </a:lnTo>
                  <a:lnTo>
                    <a:pt x="1278" y="1429"/>
                  </a:lnTo>
                  <a:lnTo>
                    <a:pt x="1274" y="1425"/>
                  </a:lnTo>
                  <a:lnTo>
                    <a:pt x="1274" y="1425"/>
                  </a:lnTo>
                  <a:lnTo>
                    <a:pt x="1267" y="1419"/>
                  </a:lnTo>
                  <a:lnTo>
                    <a:pt x="1261" y="1416"/>
                  </a:lnTo>
                  <a:lnTo>
                    <a:pt x="1253" y="1414"/>
                  </a:lnTo>
                  <a:lnTo>
                    <a:pt x="1244" y="1412"/>
                  </a:lnTo>
                  <a:lnTo>
                    <a:pt x="1236" y="1410"/>
                  </a:lnTo>
                  <a:lnTo>
                    <a:pt x="1229" y="1408"/>
                  </a:lnTo>
                  <a:lnTo>
                    <a:pt x="1219" y="1404"/>
                  </a:lnTo>
                  <a:lnTo>
                    <a:pt x="1209" y="1399"/>
                  </a:lnTo>
                  <a:lnTo>
                    <a:pt x="1209" y="1399"/>
                  </a:lnTo>
                  <a:lnTo>
                    <a:pt x="1204" y="1395"/>
                  </a:lnTo>
                  <a:lnTo>
                    <a:pt x="1200" y="1387"/>
                  </a:lnTo>
                  <a:lnTo>
                    <a:pt x="1196" y="1381"/>
                  </a:lnTo>
                  <a:lnTo>
                    <a:pt x="1192" y="1376"/>
                  </a:lnTo>
                  <a:lnTo>
                    <a:pt x="1188" y="1368"/>
                  </a:lnTo>
                  <a:lnTo>
                    <a:pt x="1185" y="1362"/>
                  </a:lnTo>
                  <a:lnTo>
                    <a:pt x="1179" y="1357"/>
                  </a:lnTo>
                  <a:lnTo>
                    <a:pt x="1171" y="1351"/>
                  </a:lnTo>
                  <a:lnTo>
                    <a:pt x="1171" y="1351"/>
                  </a:lnTo>
                  <a:lnTo>
                    <a:pt x="1169" y="1357"/>
                  </a:lnTo>
                  <a:lnTo>
                    <a:pt x="1166" y="1362"/>
                  </a:lnTo>
                  <a:lnTo>
                    <a:pt x="1164" y="1366"/>
                  </a:lnTo>
                  <a:lnTo>
                    <a:pt x="1160" y="1372"/>
                  </a:lnTo>
                  <a:lnTo>
                    <a:pt x="1154" y="1376"/>
                  </a:lnTo>
                  <a:lnTo>
                    <a:pt x="1150" y="1378"/>
                  </a:lnTo>
                  <a:lnTo>
                    <a:pt x="1143" y="1381"/>
                  </a:lnTo>
                  <a:lnTo>
                    <a:pt x="1137" y="1381"/>
                  </a:lnTo>
                  <a:lnTo>
                    <a:pt x="1137" y="1381"/>
                  </a:lnTo>
                  <a:lnTo>
                    <a:pt x="1127" y="1381"/>
                  </a:lnTo>
                  <a:lnTo>
                    <a:pt x="1120" y="1381"/>
                  </a:lnTo>
                  <a:lnTo>
                    <a:pt x="1110" y="1379"/>
                  </a:lnTo>
                  <a:lnTo>
                    <a:pt x="1101" y="1378"/>
                  </a:lnTo>
                  <a:lnTo>
                    <a:pt x="1093" y="1376"/>
                  </a:lnTo>
                  <a:lnTo>
                    <a:pt x="1084" y="1374"/>
                  </a:lnTo>
                  <a:lnTo>
                    <a:pt x="1074" y="1370"/>
                  </a:lnTo>
                  <a:lnTo>
                    <a:pt x="1066" y="1368"/>
                  </a:lnTo>
                  <a:lnTo>
                    <a:pt x="1059" y="1364"/>
                  </a:lnTo>
                  <a:lnTo>
                    <a:pt x="1051" y="1358"/>
                  </a:lnTo>
                  <a:lnTo>
                    <a:pt x="1045" y="1355"/>
                  </a:lnTo>
                  <a:lnTo>
                    <a:pt x="1040" y="1349"/>
                  </a:lnTo>
                  <a:lnTo>
                    <a:pt x="1036" y="1343"/>
                  </a:lnTo>
                  <a:lnTo>
                    <a:pt x="1034" y="1337"/>
                  </a:lnTo>
                  <a:lnTo>
                    <a:pt x="1030" y="1330"/>
                  </a:lnTo>
                  <a:lnTo>
                    <a:pt x="1030" y="1322"/>
                  </a:lnTo>
                  <a:lnTo>
                    <a:pt x="1030" y="1322"/>
                  </a:lnTo>
                  <a:lnTo>
                    <a:pt x="1026" y="1322"/>
                  </a:lnTo>
                  <a:lnTo>
                    <a:pt x="1024" y="1324"/>
                  </a:lnTo>
                  <a:lnTo>
                    <a:pt x="1023" y="1324"/>
                  </a:lnTo>
                  <a:lnTo>
                    <a:pt x="1021" y="1322"/>
                  </a:lnTo>
                  <a:lnTo>
                    <a:pt x="1019" y="1322"/>
                  </a:lnTo>
                  <a:lnTo>
                    <a:pt x="1015" y="1322"/>
                  </a:lnTo>
                  <a:lnTo>
                    <a:pt x="1013" y="1322"/>
                  </a:lnTo>
                  <a:lnTo>
                    <a:pt x="1009" y="1322"/>
                  </a:lnTo>
                  <a:lnTo>
                    <a:pt x="1009" y="1322"/>
                  </a:lnTo>
                  <a:lnTo>
                    <a:pt x="1002" y="1322"/>
                  </a:lnTo>
                  <a:lnTo>
                    <a:pt x="996" y="1326"/>
                  </a:lnTo>
                  <a:lnTo>
                    <a:pt x="990" y="1328"/>
                  </a:lnTo>
                  <a:lnTo>
                    <a:pt x="984" y="1332"/>
                  </a:lnTo>
                  <a:lnTo>
                    <a:pt x="981" y="1334"/>
                  </a:lnTo>
                  <a:lnTo>
                    <a:pt x="975" y="1337"/>
                  </a:lnTo>
                  <a:lnTo>
                    <a:pt x="971" y="1339"/>
                  </a:lnTo>
                  <a:lnTo>
                    <a:pt x="965" y="1339"/>
                  </a:lnTo>
                  <a:lnTo>
                    <a:pt x="965" y="1339"/>
                  </a:lnTo>
                  <a:lnTo>
                    <a:pt x="960" y="1339"/>
                  </a:lnTo>
                  <a:lnTo>
                    <a:pt x="956" y="1336"/>
                  </a:lnTo>
                  <a:lnTo>
                    <a:pt x="954" y="1330"/>
                  </a:lnTo>
                  <a:lnTo>
                    <a:pt x="954" y="1324"/>
                  </a:lnTo>
                  <a:lnTo>
                    <a:pt x="954" y="1316"/>
                  </a:lnTo>
                  <a:lnTo>
                    <a:pt x="950" y="1313"/>
                  </a:lnTo>
                  <a:lnTo>
                    <a:pt x="942" y="1309"/>
                  </a:lnTo>
                  <a:lnTo>
                    <a:pt x="929" y="1307"/>
                  </a:lnTo>
                  <a:lnTo>
                    <a:pt x="929" y="1307"/>
                  </a:lnTo>
                  <a:lnTo>
                    <a:pt x="925" y="1309"/>
                  </a:lnTo>
                  <a:lnTo>
                    <a:pt x="920" y="1311"/>
                  </a:lnTo>
                  <a:lnTo>
                    <a:pt x="912" y="1311"/>
                  </a:lnTo>
                  <a:lnTo>
                    <a:pt x="906" y="1309"/>
                  </a:lnTo>
                  <a:lnTo>
                    <a:pt x="900" y="1309"/>
                  </a:lnTo>
                  <a:lnTo>
                    <a:pt x="893" y="1309"/>
                  </a:lnTo>
                  <a:lnTo>
                    <a:pt x="885" y="1307"/>
                  </a:lnTo>
                  <a:lnTo>
                    <a:pt x="879" y="1307"/>
                  </a:lnTo>
                  <a:lnTo>
                    <a:pt x="879" y="1307"/>
                  </a:lnTo>
                  <a:lnTo>
                    <a:pt x="876" y="1307"/>
                  </a:lnTo>
                  <a:lnTo>
                    <a:pt x="870" y="1307"/>
                  </a:lnTo>
                  <a:lnTo>
                    <a:pt x="866" y="1309"/>
                  </a:lnTo>
                  <a:lnTo>
                    <a:pt x="860" y="1309"/>
                  </a:lnTo>
                  <a:lnTo>
                    <a:pt x="855" y="1311"/>
                  </a:lnTo>
                  <a:lnTo>
                    <a:pt x="849" y="1313"/>
                  </a:lnTo>
                  <a:lnTo>
                    <a:pt x="843" y="1315"/>
                  </a:lnTo>
                  <a:lnTo>
                    <a:pt x="837" y="1316"/>
                  </a:lnTo>
                  <a:lnTo>
                    <a:pt x="832" y="1318"/>
                  </a:lnTo>
                  <a:lnTo>
                    <a:pt x="826" y="1318"/>
                  </a:lnTo>
                  <a:lnTo>
                    <a:pt x="820" y="1320"/>
                  </a:lnTo>
                  <a:lnTo>
                    <a:pt x="817" y="1322"/>
                  </a:lnTo>
                  <a:lnTo>
                    <a:pt x="811" y="1322"/>
                  </a:lnTo>
                  <a:lnTo>
                    <a:pt x="807" y="1324"/>
                  </a:lnTo>
                  <a:lnTo>
                    <a:pt x="803" y="1324"/>
                  </a:lnTo>
                  <a:lnTo>
                    <a:pt x="799" y="1324"/>
                  </a:lnTo>
                  <a:lnTo>
                    <a:pt x="799" y="1324"/>
                  </a:lnTo>
                  <a:lnTo>
                    <a:pt x="796" y="1324"/>
                  </a:lnTo>
                  <a:lnTo>
                    <a:pt x="792" y="1322"/>
                  </a:lnTo>
                  <a:lnTo>
                    <a:pt x="790" y="1320"/>
                  </a:lnTo>
                  <a:lnTo>
                    <a:pt x="788" y="1316"/>
                  </a:lnTo>
                  <a:lnTo>
                    <a:pt x="788" y="1316"/>
                  </a:lnTo>
                  <a:lnTo>
                    <a:pt x="788" y="1309"/>
                  </a:lnTo>
                  <a:lnTo>
                    <a:pt x="790" y="1303"/>
                  </a:lnTo>
                  <a:lnTo>
                    <a:pt x="792" y="1297"/>
                  </a:lnTo>
                  <a:lnTo>
                    <a:pt x="796" y="1292"/>
                  </a:lnTo>
                  <a:lnTo>
                    <a:pt x="797" y="1286"/>
                  </a:lnTo>
                  <a:lnTo>
                    <a:pt x="799" y="1280"/>
                  </a:lnTo>
                  <a:lnTo>
                    <a:pt x="801" y="1273"/>
                  </a:lnTo>
                  <a:lnTo>
                    <a:pt x="801" y="1265"/>
                  </a:lnTo>
                  <a:lnTo>
                    <a:pt x="801" y="1265"/>
                  </a:lnTo>
                  <a:lnTo>
                    <a:pt x="801" y="1259"/>
                  </a:lnTo>
                  <a:lnTo>
                    <a:pt x="799" y="1254"/>
                  </a:lnTo>
                  <a:lnTo>
                    <a:pt x="797" y="1250"/>
                  </a:lnTo>
                  <a:lnTo>
                    <a:pt x="796" y="1244"/>
                  </a:lnTo>
                  <a:lnTo>
                    <a:pt x="792" y="1240"/>
                  </a:lnTo>
                  <a:lnTo>
                    <a:pt x="790" y="1234"/>
                  </a:lnTo>
                  <a:lnTo>
                    <a:pt x="788" y="1229"/>
                  </a:lnTo>
                  <a:lnTo>
                    <a:pt x="788" y="1221"/>
                  </a:lnTo>
                  <a:lnTo>
                    <a:pt x="788" y="1221"/>
                  </a:lnTo>
                  <a:lnTo>
                    <a:pt x="782" y="1221"/>
                  </a:lnTo>
                  <a:lnTo>
                    <a:pt x="778" y="1217"/>
                  </a:lnTo>
                  <a:lnTo>
                    <a:pt x="773" y="1213"/>
                  </a:lnTo>
                  <a:lnTo>
                    <a:pt x="769" y="1210"/>
                  </a:lnTo>
                  <a:lnTo>
                    <a:pt x="767" y="1204"/>
                  </a:lnTo>
                  <a:lnTo>
                    <a:pt x="763" y="1198"/>
                  </a:lnTo>
                  <a:lnTo>
                    <a:pt x="761" y="1191"/>
                  </a:lnTo>
                  <a:lnTo>
                    <a:pt x="761" y="1187"/>
                  </a:lnTo>
                  <a:lnTo>
                    <a:pt x="761" y="1187"/>
                  </a:lnTo>
                  <a:lnTo>
                    <a:pt x="761" y="1175"/>
                  </a:lnTo>
                  <a:lnTo>
                    <a:pt x="761" y="1164"/>
                  </a:lnTo>
                  <a:lnTo>
                    <a:pt x="761" y="1152"/>
                  </a:lnTo>
                  <a:lnTo>
                    <a:pt x="761" y="1143"/>
                  </a:lnTo>
                  <a:lnTo>
                    <a:pt x="761" y="1131"/>
                  </a:lnTo>
                  <a:lnTo>
                    <a:pt x="761" y="1122"/>
                  </a:lnTo>
                  <a:lnTo>
                    <a:pt x="761" y="1110"/>
                  </a:lnTo>
                  <a:lnTo>
                    <a:pt x="761" y="1101"/>
                  </a:lnTo>
                  <a:lnTo>
                    <a:pt x="761" y="1089"/>
                  </a:lnTo>
                  <a:lnTo>
                    <a:pt x="761" y="1080"/>
                  </a:lnTo>
                  <a:lnTo>
                    <a:pt x="761" y="1068"/>
                  </a:lnTo>
                  <a:lnTo>
                    <a:pt x="761" y="1057"/>
                  </a:lnTo>
                  <a:lnTo>
                    <a:pt x="761" y="1046"/>
                  </a:lnTo>
                  <a:lnTo>
                    <a:pt x="761" y="1034"/>
                  </a:lnTo>
                  <a:lnTo>
                    <a:pt x="761" y="1023"/>
                  </a:lnTo>
                  <a:lnTo>
                    <a:pt x="761" y="1009"/>
                  </a:lnTo>
                  <a:lnTo>
                    <a:pt x="654" y="1009"/>
                  </a:lnTo>
                  <a:lnTo>
                    <a:pt x="654" y="992"/>
                  </a:lnTo>
                  <a:lnTo>
                    <a:pt x="654" y="992"/>
                  </a:lnTo>
                  <a:lnTo>
                    <a:pt x="647" y="990"/>
                  </a:lnTo>
                  <a:lnTo>
                    <a:pt x="639" y="990"/>
                  </a:lnTo>
                  <a:lnTo>
                    <a:pt x="633" y="990"/>
                  </a:lnTo>
                  <a:lnTo>
                    <a:pt x="628" y="988"/>
                  </a:lnTo>
                  <a:lnTo>
                    <a:pt x="622" y="986"/>
                  </a:lnTo>
                  <a:lnTo>
                    <a:pt x="614" y="986"/>
                  </a:lnTo>
                  <a:lnTo>
                    <a:pt x="607" y="986"/>
                  </a:lnTo>
                  <a:lnTo>
                    <a:pt x="599" y="986"/>
                  </a:lnTo>
                  <a:lnTo>
                    <a:pt x="599" y="986"/>
                  </a:lnTo>
                  <a:lnTo>
                    <a:pt x="588" y="986"/>
                  </a:lnTo>
                  <a:lnTo>
                    <a:pt x="580" y="990"/>
                  </a:lnTo>
                  <a:lnTo>
                    <a:pt x="578" y="996"/>
                  </a:lnTo>
                  <a:lnTo>
                    <a:pt x="576" y="1002"/>
                  </a:lnTo>
                  <a:lnTo>
                    <a:pt x="576" y="1009"/>
                  </a:lnTo>
                  <a:lnTo>
                    <a:pt x="578" y="1017"/>
                  </a:lnTo>
                  <a:lnTo>
                    <a:pt x="578" y="1025"/>
                  </a:lnTo>
                  <a:lnTo>
                    <a:pt x="576" y="1032"/>
                  </a:lnTo>
                  <a:lnTo>
                    <a:pt x="576" y="1032"/>
                  </a:lnTo>
                  <a:lnTo>
                    <a:pt x="572" y="1042"/>
                  </a:lnTo>
                  <a:lnTo>
                    <a:pt x="567" y="1049"/>
                  </a:lnTo>
                  <a:lnTo>
                    <a:pt x="563" y="1055"/>
                  </a:lnTo>
                  <a:lnTo>
                    <a:pt x="557" y="1059"/>
                  </a:lnTo>
                  <a:lnTo>
                    <a:pt x="549" y="1061"/>
                  </a:lnTo>
                  <a:lnTo>
                    <a:pt x="542" y="1063"/>
                  </a:lnTo>
                  <a:lnTo>
                    <a:pt x="530" y="1065"/>
                  </a:lnTo>
                  <a:lnTo>
                    <a:pt x="519" y="1065"/>
                  </a:lnTo>
                  <a:lnTo>
                    <a:pt x="519" y="1065"/>
                  </a:lnTo>
                  <a:lnTo>
                    <a:pt x="511" y="1065"/>
                  </a:lnTo>
                  <a:lnTo>
                    <a:pt x="502" y="1067"/>
                  </a:lnTo>
                  <a:lnTo>
                    <a:pt x="494" y="1068"/>
                  </a:lnTo>
                  <a:lnTo>
                    <a:pt x="487" y="1070"/>
                  </a:lnTo>
                  <a:lnTo>
                    <a:pt x="479" y="1070"/>
                  </a:lnTo>
                  <a:lnTo>
                    <a:pt x="471" y="1072"/>
                  </a:lnTo>
                  <a:lnTo>
                    <a:pt x="464" y="1074"/>
                  </a:lnTo>
                  <a:lnTo>
                    <a:pt x="454" y="1074"/>
                  </a:lnTo>
                  <a:lnTo>
                    <a:pt x="454" y="1074"/>
                  </a:lnTo>
                  <a:lnTo>
                    <a:pt x="445" y="1072"/>
                  </a:lnTo>
                  <a:lnTo>
                    <a:pt x="435" y="1070"/>
                  </a:lnTo>
                  <a:lnTo>
                    <a:pt x="425" y="1067"/>
                  </a:lnTo>
                  <a:lnTo>
                    <a:pt x="416" y="1061"/>
                  </a:lnTo>
                  <a:lnTo>
                    <a:pt x="408" y="1055"/>
                  </a:lnTo>
                  <a:lnTo>
                    <a:pt x="399" y="1047"/>
                  </a:lnTo>
                  <a:lnTo>
                    <a:pt x="393" y="1038"/>
                  </a:lnTo>
                  <a:lnTo>
                    <a:pt x="385" y="1030"/>
                  </a:lnTo>
                  <a:lnTo>
                    <a:pt x="378" y="1021"/>
                  </a:lnTo>
                  <a:lnTo>
                    <a:pt x="372" y="1011"/>
                  </a:lnTo>
                  <a:lnTo>
                    <a:pt x="366" y="1000"/>
                  </a:lnTo>
                  <a:lnTo>
                    <a:pt x="363" y="990"/>
                  </a:lnTo>
                  <a:lnTo>
                    <a:pt x="359" y="981"/>
                  </a:lnTo>
                  <a:lnTo>
                    <a:pt x="355" y="971"/>
                  </a:lnTo>
                  <a:lnTo>
                    <a:pt x="353" y="962"/>
                  </a:lnTo>
                  <a:lnTo>
                    <a:pt x="351" y="952"/>
                  </a:lnTo>
                  <a:lnTo>
                    <a:pt x="351" y="952"/>
                  </a:lnTo>
                  <a:lnTo>
                    <a:pt x="351" y="946"/>
                  </a:lnTo>
                  <a:lnTo>
                    <a:pt x="351" y="939"/>
                  </a:lnTo>
                  <a:lnTo>
                    <a:pt x="351" y="933"/>
                  </a:lnTo>
                  <a:lnTo>
                    <a:pt x="351" y="927"/>
                  </a:lnTo>
                  <a:lnTo>
                    <a:pt x="349" y="922"/>
                  </a:lnTo>
                  <a:lnTo>
                    <a:pt x="349" y="916"/>
                  </a:lnTo>
                  <a:lnTo>
                    <a:pt x="345" y="910"/>
                  </a:lnTo>
                  <a:lnTo>
                    <a:pt x="342" y="904"/>
                  </a:lnTo>
                  <a:lnTo>
                    <a:pt x="342" y="904"/>
                  </a:lnTo>
                  <a:lnTo>
                    <a:pt x="334" y="901"/>
                  </a:lnTo>
                  <a:lnTo>
                    <a:pt x="328" y="897"/>
                  </a:lnTo>
                  <a:lnTo>
                    <a:pt x="321" y="897"/>
                  </a:lnTo>
                  <a:lnTo>
                    <a:pt x="313" y="897"/>
                  </a:lnTo>
                  <a:lnTo>
                    <a:pt x="305" y="897"/>
                  </a:lnTo>
                  <a:lnTo>
                    <a:pt x="298" y="899"/>
                  </a:lnTo>
                  <a:lnTo>
                    <a:pt x="288" y="899"/>
                  </a:lnTo>
                  <a:lnTo>
                    <a:pt x="280" y="897"/>
                  </a:lnTo>
                  <a:lnTo>
                    <a:pt x="71" y="897"/>
                  </a:lnTo>
                  <a:lnTo>
                    <a:pt x="71" y="897"/>
                  </a:lnTo>
                  <a:lnTo>
                    <a:pt x="65" y="897"/>
                  </a:lnTo>
                  <a:lnTo>
                    <a:pt x="61" y="897"/>
                  </a:lnTo>
                  <a:lnTo>
                    <a:pt x="55" y="899"/>
                  </a:lnTo>
                  <a:lnTo>
                    <a:pt x="50" y="899"/>
                  </a:lnTo>
                  <a:lnTo>
                    <a:pt x="44" y="899"/>
                  </a:lnTo>
                  <a:lnTo>
                    <a:pt x="38" y="901"/>
                  </a:lnTo>
                  <a:lnTo>
                    <a:pt x="33" y="902"/>
                  </a:lnTo>
                  <a:lnTo>
                    <a:pt x="29" y="902"/>
                  </a:lnTo>
                  <a:lnTo>
                    <a:pt x="23" y="904"/>
                  </a:lnTo>
                  <a:lnTo>
                    <a:pt x="19" y="908"/>
                  </a:lnTo>
                  <a:lnTo>
                    <a:pt x="13" y="910"/>
                  </a:lnTo>
                  <a:lnTo>
                    <a:pt x="12" y="912"/>
                  </a:lnTo>
                  <a:lnTo>
                    <a:pt x="8" y="916"/>
                  </a:lnTo>
                  <a:lnTo>
                    <a:pt x="6" y="918"/>
                  </a:lnTo>
                  <a:lnTo>
                    <a:pt x="4" y="922"/>
                  </a:lnTo>
                  <a:lnTo>
                    <a:pt x="2" y="927"/>
                  </a:lnTo>
                  <a:lnTo>
                    <a:pt x="0" y="887"/>
                  </a:lnTo>
                  <a:lnTo>
                    <a:pt x="0" y="887"/>
                  </a:lnTo>
                  <a:lnTo>
                    <a:pt x="8" y="885"/>
                  </a:lnTo>
                  <a:lnTo>
                    <a:pt x="12" y="880"/>
                  </a:lnTo>
                  <a:lnTo>
                    <a:pt x="15" y="874"/>
                  </a:lnTo>
                  <a:lnTo>
                    <a:pt x="15" y="864"/>
                  </a:lnTo>
                  <a:lnTo>
                    <a:pt x="15" y="855"/>
                  </a:lnTo>
                  <a:lnTo>
                    <a:pt x="15" y="845"/>
                  </a:lnTo>
                  <a:lnTo>
                    <a:pt x="15" y="836"/>
                  </a:lnTo>
                  <a:lnTo>
                    <a:pt x="17" y="828"/>
                  </a:lnTo>
                  <a:lnTo>
                    <a:pt x="17" y="828"/>
                  </a:lnTo>
                  <a:lnTo>
                    <a:pt x="21" y="822"/>
                  </a:lnTo>
                  <a:lnTo>
                    <a:pt x="25" y="819"/>
                  </a:lnTo>
                  <a:lnTo>
                    <a:pt x="29" y="815"/>
                  </a:lnTo>
                  <a:lnTo>
                    <a:pt x="34" y="813"/>
                  </a:lnTo>
                  <a:lnTo>
                    <a:pt x="38" y="809"/>
                  </a:lnTo>
                  <a:lnTo>
                    <a:pt x="44" y="807"/>
                  </a:lnTo>
                  <a:lnTo>
                    <a:pt x="48" y="803"/>
                  </a:lnTo>
                  <a:lnTo>
                    <a:pt x="52" y="799"/>
                  </a:lnTo>
                  <a:lnTo>
                    <a:pt x="52" y="799"/>
                  </a:lnTo>
                  <a:lnTo>
                    <a:pt x="55" y="801"/>
                  </a:lnTo>
                  <a:lnTo>
                    <a:pt x="59" y="803"/>
                  </a:lnTo>
                  <a:lnTo>
                    <a:pt x="63" y="805"/>
                  </a:lnTo>
                  <a:lnTo>
                    <a:pt x="67" y="807"/>
                  </a:lnTo>
                  <a:lnTo>
                    <a:pt x="71" y="809"/>
                  </a:lnTo>
                  <a:lnTo>
                    <a:pt x="74" y="809"/>
                  </a:lnTo>
                  <a:lnTo>
                    <a:pt x="78" y="811"/>
                  </a:lnTo>
                  <a:lnTo>
                    <a:pt x="82" y="811"/>
                  </a:lnTo>
                  <a:lnTo>
                    <a:pt x="82" y="811"/>
                  </a:lnTo>
                  <a:lnTo>
                    <a:pt x="90" y="809"/>
                  </a:lnTo>
                  <a:lnTo>
                    <a:pt x="97" y="807"/>
                  </a:lnTo>
                  <a:lnTo>
                    <a:pt x="105" y="801"/>
                  </a:lnTo>
                  <a:lnTo>
                    <a:pt x="113" y="798"/>
                  </a:lnTo>
                  <a:lnTo>
                    <a:pt x="122" y="792"/>
                  </a:lnTo>
                  <a:lnTo>
                    <a:pt x="130" y="786"/>
                  </a:lnTo>
                  <a:lnTo>
                    <a:pt x="136" y="782"/>
                  </a:lnTo>
                  <a:lnTo>
                    <a:pt x="141" y="778"/>
                  </a:lnTo>
                  <a:lnTo>
                    <a:pt x="164" y="778"/>
                  </a:lnTo>
                  <a:lnTo>
                    <a:pt x="164" y="778"/>
                  </a:lnTo>
                  <a:lnTo>
                    <a:pt x="162" y="780"/>
                  </a:lnTo>
                  <a:lnTo>
                    <a:pt x="160" y="784"/>
                  </a:lnTo>
                  <a:lnTo>
                    <a:pt x="158" y="786"/>
                  </a:lnTo>
                  <a:lnTo>
                    <a:pt x="157" y="790"/>
                  </a:lnTo>
                  <a:lnTo>
                    <a:pt x="155" y="792"/>
                  </a:lnTo>
                  <a:lnTo>
                    <a:pt x="155" y="796"/>
                  </a:lnTo>
                  <a:lnTo>
                    <a:pt x="153" y="799"/>
                  </a:lnTo>
                  <a:lnTo>
                    <a:pt x="153" y="801"/>
                  </a:lnTo>
                  <a:lnTo>
                    <a:pt x="153" y="801"/>
                  </a:lnTo>
                  <a:lnTo>
                    <a:pt x="155" y="809"/>
                  </a:lnTo>
                  <a:lnTo>
                    <a:pt x="155" y="813"/>
                  </a:lnTo>
                  <a:lnTo>
                    <a:pt x="158" y="819"/>
                  </a:lnTo>
                  <a:lnTo>
                    <a:pt x="162" y="820"/>
                  </a:lnTo>
                  <a:lnTo>
                    <a:pt x="166" y="822"/>
                  </a:lnTo>
                  <a:lnTo>
                    <a:pt x="172" y="824"/>
                  </a:lnTo>
                  <a:lnTo>
                    <a:pt x="177" y="826"/>
                  </a:lnTo>
                  <a:lnTo>
                    <a:pt x="181" y="826"/>
                  </a:lnTo>
                  <a:lnTo>
                    <a:pt x="181" y="826"/>
                  </a:lnTo>
                  <a:lnTo>
                    <a:pt x="191" y="824"/>
                  </a:lnTo>
                  <a:lnTo>
                    <a:pt x="200" y="820"/>
                  </a:lnTo>
                  <a:lnTo>
                    <a:pt x="212" y="817"/>
                  </a:lnTo>
                  <a:lnTo>
                    <a:pt x="221" y="811"/>
                  </a:lnTo>
                  <a:lnTo>
                    <a:pt x="229" y="803"/>
                  </a:lnTo>
                  <a:lnTo>
                    <a:pt x="237" y="796"/>
                  </a:lnTo>
                  <a:lnTo>
                    <a:pt x="240" y="788"/>
                  </a:lnTo>
                  <a:lnTo>
                    <a:pt x="240" y="780"/>
                  </a:lnTo>
                  <a:lnTo>
                    <a:pt x="240" y="780"/>
                  </a:lnTo>
                  <a:lnTo>
                    <a:pt x="242" y="773"/>
                  </a:lnTo>
                  <a:lnTo>
                    <a:pt x="246" y="767"/>
                  </a:lnTo>
                  <a:lnTo>
                    <a:pt x="254" y="761"/>
                  </a:lnTo>
                  <a:lnTo>
                    <a:pt x="263" y="758"/>
                  </a:lnTo>
                  <a:lnTo>
                    <a:pt x="273" y="754"/>
                  </a:lnTo>
                  <a:lnTo>
                    <a:pt x="282" y="750"/>
                  </a:lnTo>
                  <a:lnTo>
                    <a:pt x="290" y="746"/>
                  </a:lnTo>
                  <a:lnTo>
                    <a:pt x="298" y="740"/>
                  </a:lnTo>
                  <a:lnTo>
                    <a:pt x="298" y="740"/>
                  </a:lnTo>
                  <a:lnTo>
                    <a:pt x="301" y="737"/>
                  </a:lnTo>
                  <a:lnTo>
                    <a:pt x="303" y="731"/>
                  </a:lnTo>
                  <a:lnTo>
                    <a:pt x="305" y="725"/>
                  </a:lnTo>
                  <a:lnTo>
                    <a:pt x="309" y="719"/>
                  </a:lnTo>
                  <a:lnTo>
                    <a:pt x="311" y="712"/>
                  </a:lnTo>
                  <a:lnTo>
                    <a:pt x="313" y="706"/>
                  </a:lnTo>
                  <a:lnTo>
                    <a:pt x="313" y="696"/>
                  </a:lnTo>
                  <a:lnTo>
                    <a:pt x="315" y="689"/>
                  </a:lnTo>
                  <a:lnTo>
                    <a:pt x="315" y="681"/>
                  </a:lnTo>
                  <a:lnTo>
                    <a:pt x="317" y="674"/>
                  </a:lnTo>
                  <a:lnTo>
                    <a:pt x="317" y="664"/>
                  </a:lnTo>
                  <a:lnTo>
                    <a:pt x="317" y="656"/>
                  </a:lnTo>
                  <a:lnTo>
                    <a:pt x="319" y="649"/>
                  </a:lnTo>
                  <a:lnTo>
                    <a:pt x="319" y="641"/>
                  </a:lnTo>
                  <a:lnTo>
                    <a:pt x="319" y="634"/>
                  </a:lnTo>
                  <a:lnTo>
                    <a:pt x="319" y="628"/>
                  </a:lnTo>
                  <a:lnTo>
                    <a:pt x="319" y="628"/>
                  </a:lnTo>
                  <a:lnTo>
                    <a:pt x="319" y="616"/>
                  </a:lnTo>
                  <a:lnTo>
                    <a:pt x="321" y="607"/>
                  </a:lnTo>
                  <a:lnTo>
                    <a:pt x="324" y="597"/>
                  </a:lnTo>
                  <a:lnTo>
                    <a:pt x="328" y="588"/>
                  </a:lnTo>
                  <a:lnTo>
                    <a:pt x="334" y="578"/>
                  </a:lnTo>
                  <a:lnTo>
                    <a:pt x="340" y="571"/>
                  </a:lnTo>
                  <a:lnTo>
                    <a:pt x="345" y="561"/>
                  </a:lnTo>
                  <a:lnTo>
                    <a:pt x="353" y="553"/>
                  </a:lnTo>
                  <a:lnTo>
                    <a:pt x="361" y="546"/>
                  </a:lnTo>
                  <a:lnTo>
                    <a:pt x="368" y="538"/>
                  </a:lnTo>
                  <a:lnTo>
                    <a:pt x="374" y="530"/>
                  </a:lnTo>
                  <a:lnTo>
                    <a:pt x="382" y="523"/>
                  </a:lnTo>
                  <a:lnTo>
                    <a:pt x="389" y="517"/>
                  </a:lnTo>
                  <a:lnTo>
                    <a:pt x="395" y="510"/>
                  </a:lnTo>
                  <a:lnTo>
                    <a:pt x="401" y="504"/>
                  </a:lnTo>
                  <a:lnTo>
                    <a:pt x="406" y="498"/>
                  </a:lnTo>
                  <a:lnTo>
                    <a:pt x="406" y="498"/>
                  </a:lnTo>
                  <a:lnTo>
                    <a:pt x="410" y="492"/>
                  </a:lnTo>
                  <a:lnTo>
                    <a:pt x="414" y="487"/>
                  </a:lnTo>
                  <a:lnTo>
                    <a:pt x="416" y="481"/>
                  </a:lnTo>
                  <a:lnTo>
                    <a:pt x="420" y="475"/>
                  </a:lnTo>
                  <a:lnTo>
                    <a:pt x="424" y="469"/>
                  </a:lnTo>
                  <a:lnTo>
                    <a:pt x="425" y="464"/>
                  </a:lnTo>
                  <a:lnTo>
                    <a:pt x="429" y="456"/>
                  </a:lnTo>
                  <a:lnTo>
                    <a:pt x="431" y="450"/>
                  </a:lnTo>
                  <a:lnTo>
                    <a:pt x="433" y="445"/>
                  </a:lnTo>
                  <a:lnTo>
                    <a:pt x="437" y="437"/>
                  </a:lnTo>
                  <a:lnTo>
                    <a:pt x="439" y="431"/>
                  </a:lnTo>
                  <a:lnTo>
                    <a:pt x="441" y="426"/>
                  </a:lnTo>
                  <a:lnTo>
                    <a:pt x="445" y="418"/>
                  </a:lnTo>
                  <a:lnTo>
                    <a:pt x="446" y="412"/>
                  </a:lnTo>
                  <a:lnTo>
                    <a:pt x="448" y="406"/>
                  </a:lnTo>
                  <a:lnTo>
                    <a:pt x="452" y="401"/>
                  </a:lnTo>
                  <a:lnTo>
                    <a:pt x="452" y="338"/>
                  </a:lnTo>
                  <a:lnTo>
                    <a:pt x="452" y="338"/>
                  </a:lnTo>
                  <a:lnTo>
                    <a:pt x="452" y="332"/>
                  </a:lnTo>
                  <a:lnTo>
                    <a:pt x="454" y="326"/>
                  </a:lnTo>
                  <a:lnTo>
                    <a:pt x="456" y="323"/>
                  </a:lnTo>
                  <a:lnTo>
                    <a:pt x="458" y="317"/>
                  </a:lnTo>
                  <a:lnTo>
                    <a:pt x="458" y="313"/>
                  </a:lnTo>
                  <a:lnTo>
                    <a:pt x="458" y="307"/>
                  </a:lnTo>
                  <a:lnTo>
                    <a:pt x="460" y="303"/>
                  </a:lnTo>
                  <a:lnTo>
                    <a:pt x="460" y="300"/>
                  </a:lnTo>
                  <a:lnTo>
                    <a:pt x="462" y="294"/>
                  </a:lnTo>
                  <a:lnTo>
                    <a:pt x="462" y="290"/>
                  </a:lnTo>
                  <a:lnTo>
                    <a:pt x="462" y="286"/>
                  </a:lnTo>
                  <a:lnTo>
                    <a:pt x="464" y="282"/>
                  </a:lnTo>
                  <a:lnTo>
                    <a:pt x="466" y="277"/>
                  </a:lnTo>
                  <a:lnTo>
                    <a:pt x="466" y="273"/>
                  </a:lnTo>
                  <a:lnTo>
                    <a:pt x="467" y="267"/>
                  </a:lnTo>
                  <a:lnTo>
                    <a:pt x="469" y="261"/>
                  </a:lnTo>
                  <a:lnTo>
                    <a:pt x="466" y="261"/>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85" name="Freeform 129"/>
            <p:cNvSpPr>
              <a:spLocks/>
            </p:cNvSpPr>
            <p:nvPr/>
          </p:nvSpPr>
          <p:spPr bwMode="gray">
            <a:xfrm>
              <a:off x="2208" y="1884"/>
              <a:ext cx="580" cy="370"/>
            </a:xfrm>
            <a:custGeom>
              <a:avLst/>
              <a:gdLst/>
              <a:ahLst/>
              <a:cxnLst>
                <a:cxn ang="0">
                  <a:pos x="1022" y="431"/>
                </a:cxn>
                <a:cxn ang="0">
                  <a:pos x="994" y="398"/>
                </a:cxn>
                <a:cxn ang="0">
                  <a:pos x="958" y="375"/>
                </a:cxn>
                <a:cxn ang="0">
                  <a:pos x="942" y="333"/>
                </a:cxn>
                <a:cxn ang="0">
                  <a:pos x="916" y="307"/>
                </a:cxn>
                <a:cxn ang="0">
                  <a:pos x="870" y="278"/>
                </a:cxn>
                <a:cxn ang="0">
                  <a:pos x="856" y="253"/>
                </a:cxn>
                <a:cxn ang="0">
                  <a:pos x="855" y="236"/>
                </a:cxn>
                <a:cxn ang="0">
                  <a:pos x="803" y="215"/>
                </a:cxn>
                <a:cxn ang="0">
                  <a:pos x="776" y="173"/>
                </a:cxn>
                <a:cxn ang="0">
                  <a:pos x="748" y="173"/>
                </a:cxn>
                <a:cxn ang="0">
                  <a:pos x="719" y="152"/>
                </a:cxn>
                <a:cxn ang="0">
                  <a:pos x="729" y="116"/>
                </a:cxn>
                <a:cxn ang="0">
                  <a:pos x="729" y="76"/>
                </a:cxn>
                <a:cxn ang="0">
                  <a:pos x="692" y="34"/>
                </a:cxn>
                <a:cxn ang="0">
                  <a:pos x="666" y="9"/>
                </a:cxn>
                <a:cxn ang="0">
                  <a:pos x="624" y="3"/>
                </a:cxn>
                <a:cxn ang="0">
                  <a:pos x="586" y="36"/>
                </a:cxn>
                <a:cxn ang="0">
                  <a:pos x="540" y="85"/>
                </a:cxn>
                <a:cxn ang="0">
                  <a:pos x="469" y="141"/>
                </a:cxn>
                <a:cxn ang="0">
                  <a:pos x="368" y="162"/>
                </a:cxn>
                <a:cxn ang="0">
                  <a:pos x="378" y="175"/>
                </a:cxn>
                <a:cxn ang="0">
                  <a:pos x="353" y="219"/>
                </a:cxn>
                <a:cxn ang="0">
                  <a:pos x="305" y="242"/>
                </a:cxn>
                <a:cxn ang="0">
                  <a:pos x="242" y="250"/>
                </a:cxn>
                <a:cxn ang="0">
                  <a:pos x="204" y="265"/>
                </a:cxn>
                <a:cxn ang="0">
                  <a:pos x="175" y="269"/>
                </a:cxn>
                <a:cxn ang="0">
                  <a:pos x="154" y="261"/>
                </a:cxn>
                <a:cxn ang="0">
                  <a:pos x="101" y="278"/>
                </a:cxn>
                <a:cxn ang="0">
                  <a:pos x="69" y="292"/>
                </a:cxn>
                <a:cxn ang="0">
                  <a:pos x="32" y="347"/>
                </a:cxn>
                <a:cxn ang="0">
                  <a:pos x="0" y="393"/>
                </a:cxn>
                <a:cxn ang="0">
                  <a:pos x="13" y="408"/>
                </a:cxn>
                <a:cxn ang="0">
                  <a:pos x="13" y="433"/>
                </a:cxn>
                <a:cxn ang="0">
                  <a:pos x="29" y="505"/>
                </a:cxn>
                <a:cxn ang="0">
                  <a:pos x="74" y="583"/>
                </a:cxn>
                <a:cxn ang="0">
                  <a:pos x="107" y="618"/>
                </a:cxn>
                <a:cxn ang="0">
                  <a:pos x="137" y="650"/>
                </a:cxn>
                <a:cxn ang="0">
                  <a:pos x="154" y="635"/>
                </a:cxn>
                <a:cxn ang="0">
                  <a:pos x="191" y="581"/>
                </a:cxn>
                <a:cxn ang="0">
                  <a:pos x="254" y="574"/>
                </a:cxn>
                <a:cxn ang="0">
                  <a:pos x="339" y="578"/>
                </a:cxn>
                <a:cxn ang="0">
                  <a:pos x="339" y="557"/>
                </a:cxn>
                <a:cxn ang="0">
                  <a:pos x="362" y="492"/>
                </a:cxn>
                <a:cxn ang="0">
                  <a:pos x="416" y="457"/>
                </a:cxn>
                <a:cxn ang="0">
                  <a:pos x="473" y="505"/>
                </a:cxn>
                <a:cxn ang="0">
                  <a:pos x="528" y="528"/>
                </a:cxn>
                <a:cxn ang="0">
                  <a:pos x="605" y="540"/>
                </a:cxn>
                <a:cxn ang="0">
                  <a:pos x="647" y="528"/>
                </a:cxn>
                <a:cxn ang="0">
                  <a:pos x="675" y="496"/>
                </a:cxn>
                <a:cxn ang="0">
                  <a:pos x="704" y="496"/>
                </a:cxn>
                <a:cxn ang="0">
                  <a:pos x="732" y="496"/>
                </a:cxn>
                <a:cxn ang="0">
                  <a:pos x="776" y="477"/>
                </a:cxn>
                <a:cxn ang="0">
                  <a:pos x="807" y="475"/>
                </a:cxn>
                <a:cxn ang="0">
                  <a:pos x="839" y="475"/>
                </a:cxn>
                <a:cxn ang="0">
                  <a:pos x="868" y="446"/>
                </a:cxn>
                <a:cxn ang="0">
                  <a:pos x="923" y="454"/>
                </a:cxn>
                <a:cxn ang="0">
                  <a:pos x="977" y="467"/>
                </a:cxn>
                <a:cxn ang="0">
                  <a:pos x="1017" y="457"/>
                </a:cxn>
              </a:cxnLst>
              <a:rect l="0" t="0" r="r" b="b"/>
              <a:pathLst>
                <a:path w="1024" h="671">
                  <a:moveTo>
                    <a:pt x="1024" y="457"/>
                  </a:moveTo>
                  <a:lnTo>
                    <a:pt x="1024" y="457"/>
                  </a:lnTo>
                  <a:lnTo>
                    <a:pt x="1020" y="454"/>
                  </a:lnTo>
                  <a:lnTo>
                    <a:pt x="1020" y="450"/>
                  </a:lnTo>
                  <a:lnTo>
                    <a:pt x="1020" y="444"/>
                  </a:lnTo>
                  <a:lnTo>
                    <a:pt x="1020" y="440"/>
                  </a:lnTo>
                  <a:lnTo>
                    <a:pt x="1020" y="435"/>
                  </a:lnTo>
                  <a:lnTo>
                    <a:pt x="1022" y="431"/>
                  </a:lnTo>
                  <a:lnTo>
                    <a:pt x="1022" y="425"/>
                  </a:lnTo>
                  <a:lnTo>
                    <a:pt x="1020" y="421"/>
                  </a:lnTo>
                  <a:lnTo>
                    <a:pt x="1020" y="421"/>
                  </a:lnTo>
                  <a:lnTo>
                    <a:pt x="1017" y="416"/>
                  </a:lnTo>
                  <a:lnTo>
                    <a:pt x="1013" y="410"/>
                  </a:lnTo>
                  <a:lnTo>
                    <a:pt x="1007" y="406"/>
                  </a:lnTo>
                  <a:lnTo>
                    <a:pt x="1001" y="402"/>
                  </a:lnTo>
                  <a:lnTo>
                    <a:pt x="994" y="398"/>
                  </a:lnTo>
                  <a:lnTo>
                    <a:pt x="988" y="395"/>
                  </a:lnTo>
                  <a:lnTo>
                    <a:pt x="980" y="393"/>
                  </a:lnTo>
                  <a:lnTo>
                    <a:pt x="975" y="391"/>
                  </a:lnTo>
                  <a:lnTo>
                    <a:pt x="975" y="391"/>
                  </a:lnTo>
                  <a:lnTo>
                    <a:pt x="969" y="387"/>
                  </a:lnTo>
                  <a:lnTo>
                    <a:pt x="965" y="385"/>
                  </a:lnTo>
                  <a:lnTo>
                    <a:pt x="961" y="381"/>
                  </a:lnTo>
                  <a:lnTo>
                    <a:pt x="958" y="375"/>
                  </a:lnTo>
                  <a:lnTo>
                    <a:pt x="956" y="372"/>
                  </a:lnTo>
                  <a:lnTo>
                    <a:pt x="954" y="366"/>
                  </a:lnTo>
                  <a:lnTo>
                    <a:pt x="952" y="360"/>
                  </a:lnTo>
                  <a:lnTo>
                    <a:pt x="950" y="354"/>
                  </a:lnTo>
                  <a:lnTo>
                    <a:pt x="948" y="349"/>
                  </a:lnTo>
                  <a:lnTo>
                    <a:pt x="946" y="343"/>
                  </a:lnTo>
                  <a:lnTo>
                    <a:pt x="944" y="339"/>
                  </a:lnTo>
                  <a:lnTo>
                    <a:pt x="942" y="333"/>
                  </a:lnTo>
                  <a:lnTo>
                    <a:pt x="940" y="328"/>
                  </a:lnTo>
                  <a:lnTo>
                    <a:pt x="937" y="324"/>
                  </a:lnTo>
                  <a:lnTo>
                    <a:pt x="933" y="320"/>
                  </a:lnTo>
                  <a:lnTo>
                    <a:pt x="929" y="316"/>
                  </a:lnTo>
                  <a:lnTo>
                    <a:pt x="929" y="316"/>
                  </a:lnTo>
                  <a:lnTo>
                    <a:pt x="925" y="313"/>
                  </a:lnTo>
                  <a:lnTo>
                    <a:pt x="921" y="311"/>
                  </a:lnTo>
                  <a:lnTo>
                    <a:pt x="916" y="307"/>
                  </a:lnTo>
                  <a:lnTo>
                    <a:pt x="910" y="303"/>
                  </a:lnTo>
                  <a:lnTo>
                    <a:pt x="904" y="299"/>
                  </a:lnTo>
                  <a:lnTo>
                    <a:pt x="898" y="297"/>
                  </a:lnTo>
                  <a:lnTo>
                    <a:pt x="891" y="293"/>
                  </a:lnTo>
                  <a:lnTo>
                    <a:pt x="885" y="290"/>
                  </a:lnTo>
                  <a:lnTo>
                    <a:pt x="879" y="286"/>
                  </a:lnTo>
                  <a:lnTo>
                    <a:pt x="874" y="282"/>
                  </a:lnTo>
                  <a:lnTo>
                    <a:pt x="870" y="278"/>
                  </a:lnTo>
                  <a:lnTo>
                    <a:pt x="864" y="274"/>
                  </a:lnTo>
                  <a:lnTo>
                    <a:pt x="860" y="271"/>
                  </a:lnTo>
                  <a:lnTo>
                    <a:pt x="858" y="267"/>
                  </a:lnTo>
                  <a:lnTo>
                    <a:pt x="856" y="263"/>
                  </a:lnTo>
                  <a:lnTo>
                    <a:pt x="856" y="259"/>
                  </a:lnTo>
                  <a:lnTo>
                    <a:pt x="856" y="259"/>
                  </a:lnTo>
                  <a:lnTo>
                    <a:pt x="856" y="255"/>
                  </a:lnTo>
                  <a:lnTo>
                    <a:pt x="856" y="253"/>
                  </a:lnTo>
                  <a:lnTo>
                    <a:pt x="856" y="251"/>
                  </a:lnTo>
                  <a:lnTo>
                    <a:pt x="856" y="250"/>
                  </a:lnTo>
                  <a:lnTo>
                    <a:pt x="856" y="248"/>
                  </a:lnTo>
                  <a:lnTo>
                    <a:pt x="856" y="248"/>
                  </a:lnTo>
                  <a:lnTo>
                    <a:pt x="856" y="246"/>
                  </a:lnTo>
                  <a:lnTo>
                    <a:pt x="856" y="242"/>
                  </a:lnTo>
                  <a:lnTo>
                    <a:pt x="856" y="242"/>
                  </a:lnTo>
                  <a:lnTo>
                    <a:pt x="855" y="236"/>
                  </a:lnTo>
                  <a:lnTo>
                    <a:pt x="853" y="232"/>
                  </a:lnTo>
                  <a:lnTo>
                    <a:pt x="847" y="229"/>
                  </a:lnTo>
                  <a:lnTo>
                    <a:pt x="841" y="225"/>
                  </a:lnTo>
                  <a:lnTo>
                    <a:pt x="835" y="223"/>
                  </a:lnTo>
                  <a:lnTo>
                    <a:pt x="828" y="221"/>
                  </a:lnTo>
                  <a:lnTo>
                    <a:pt x="818" y="219"/>
                  </a:lnTo>
                  <a:lnTo>
                    <a:pt x="811" y="217"/>
                  </a:lnTo>
                  <a:lnTo>
                    <a:pt x="803" y="215"/>
                  </a:lnTo>
                  <a:lnTo>
                    <a:pt x="795" y="211"/>
                  </a:lnTo>
                  <a:lnTo>
                    <a:pt x="788" y="209"/>
                  </a:lnTo>
                  <a:lnTo>
                    <a:pt x="782" y="208"/>
                  </a:lnTo>
                  <a:lnTo>
                    <a:pt x="778" y="204"/>
                  </a:lnTo>
                  <a:lnTo>
                    <a:pt x="774" y="200"/>
                  </a:lnTo>
                  <a:lnTo>
                    <a:pt x="774" y="194"/>
                  </a:lnTo>
                  <a:lnTo>
                    <a:pt x="776" y="188"/>
                  </a:lnTo>
                  <a:lnTo>
                    <a:pt x="776" y="173"/>
                  </a:lnTo>
                  <a:lnTo>
                    <a:pt x="776" y="173"/>
                  </a:lnTo>
                  <a:lnTo>
                    <a:pt x="771" y="173"/>
                  </a:lnTo>
                  <a:lnTo>
                    <a:pt x="765" y="173"/>
                  </a:lnTo>
                  <a:lnTo>
                    <a:pt x="761" y="173"/>
                  </a:lnTo>
                  <a:lnTo>
                    <a:pt x="757" y="173"/>
                  </a:lnTo>
                  <a:lnTo>
                    <a:pt x="753" y="173"/>
                  </a:lnTo>
                  <a:lnTo>
                    <a:pt x="750" y="173"/>
                  </a:lnTo>
                  <a:lnTo>
                    <a:pt x="748" y="173"/>
                  </a:lnTo>
                  <a:lnTo>
                    <a:pt x="744" y="173"/>
                  </a:lnTo>
                  <a:lnTo>
                    <a:pt x="744" y="173"/>
                  </a:lnTo>
                  <a:lnTo>
                    <a:pt x="738" y="173"/>
                  </a:lnTo>
                  <a:lnTo>
                    <a:pt x="734" y="171"/>
                  </a:lnTo>
                  <a:lnTo>
                    <a:pt x="729" y="168"/>
                  </a:lnTo>
                  <a:lnTo>
                    <a:pt x="725" y="164"/>
                  </a:lnTo>
                  <a:lnTo>
                    <a:pt x="723" y="158"/>
                  </a:lnTo>
                  <a:lnTo>
                    <a:pt x="719" y="152"/>
                  </a:lnTo>
                  <a:lnTo>
                    <a:pt x="717" y="147"/>
                  </a:lnTo>
                  <a:lnTo>
                    <a:pt x="717" y="139"/>
                  </a:lnTo>
                  <a:lnTo>
                    <a:pt x="717" y="139"/>
                  </a:lnTo>
                  <a:lnTo>
                    <a:pt x="717" y="133"/>
                  </a:lnTo>
                  <a:lnTo>
                    <a:pt x="719" y="127"/>
                  </a:lnTo>
                  <a:lnTo>
                    <a:pt x="723" y="124"/>
                  </a:lnTo>
                  <a:lnTo>
                    <a:pt x="725" y="120"/>
                  </a:lnTo>
                  <a:lnTo>
                    <a:pt x="729" y="116"/>
                  </a:lnTo>
                  <a:lnTo>
                    <a:pt x="732" y="110"/>
                  </a:lnTo>
                  <a:lnTo>
                    <a:pt x="734" y="106"/>
                  </a:lnTo>
                  <a:lnTo>
                    <a:pt x="734" y="101"/>
                  </a:lnTo>
                  <a:lnTo>
                    <a:pt x="734" y="101"/>
                  </a:lnTo>
                  <a:lnTo>
                    <a:pt x="734" y="95"/>
                  </a:lnTo>
                  <a:lnTo>
                    <a:pt x="732" y="87"/>
                  </a:lnTo>
                  <a:lnTo>
                    <a:pt x="731" y="82"/>
                  </a:lnTo>
                  <a:lnTo>
                    <a:pt x="729" y="76"/>
                  </a:lnTo>
                  <a:lnTo>
                    <a:pt x="725" y="70"/>
                  </a:lnTo>
                  <a:lnTo>
                    <a:pt x="721" y="64"/>
                  </a:lnTo>
                  <a:lnTo>
                    <a:pt x="717" y="59"/>
                  </a:lnTo>
                  <a:lnTo>
                    <a:pt x="711" y="53"/>
                  </a:lnTo>
                  <a:lnTo>
                    <a:pt x="708" y="49"/>
                  </a:lnTo>
                  <a:lnTo>
                    <a:pt x="702" y="44"/>
                  </a:lnTo>
                  <a:lnTo>
                    <a:pt x="698" y="38"/>
                  </a:lnTo>
                  <a:lnTo>
                    <a:pt x="692" y="34"/>
                  </a:lnTo>
                  <a:lnTo>
                    <a:pt x="689" y="28"/>
                  </a:lnTo>
                  <a:lnTo>
                    <a:pt x="685" y="23"/>
                  </a:lnTo>
                  <a:lnTo>
                    <a:pt x="681" y="19"/>
                  </a:lnTo>
                  <a:lnTo>
                    <a:pt x="677" y="13"/>
                  </a:lnTo>
                  <a:lnTo>
                    <a:pt x="677" y="13"/>
                  </a:lnTo>
                  <a:lnTo>
                    <a:pt x="673" y="13"/>
                  </a:lnTo>
                  <a:lnTo>
                    <a:pt x="669" y="11"/>
                  </a:lnTo>
                  <a:lnTo>
                    <a:pt x="666" y="9"/>
                  </a:lnTo>
                  <a:lnTo>
                    <a:pt x="660" y="5"/>
                  </a:lnTo>
                  <a:lnTo>
                    <a:pt x="654" y="3"/>
                  </a:lnTo>
                  <a:lnTo>
                    <a:pt x="649" y="2"/>
                  </a:lnTo>
                  <a:lnTo>
                    <a:pt x="643" y="0"/>
                  </a:lnTo>
                  <a:lnTo>
                    <a:pt x="637" y="0"/>
                  </a:lnTo>
                  <a:lnTo>
                    <a:pt x="637" y="0"/>
                  </a:lnTo>
                  <a:lnTo>
                    <a:pt x="629" y="2"/>
                  </a:lnTo>
                  <a:lnTo>
                    <a:pt x="624" y="3"/>
                  </a:lnTo>
                  <a:lnTo>
                    <a:pt x="616" y="7"/>
                  </a:lnTo>
                  <a:lnTo>
                    <a:pt x="610" y="11"/>
                  </a:lnTo>
                  <a:lnTo>
                    <a:pt x="605" y="15"/>
                  </a:lnTo>
                  <a:lnTo>
                    <a:pt x="599" y="19"/>
                  </a:lnTo>
                  <a:lnTo>
                    <a:pt x="591" y="23"/>
                  </a:lnTo>
                  <a:lnTo>
                    <a:pt x="584" y="24"/>
                  </a:lnTo>
                  <a:lnTo>
                    <a:pt x="584" y="24"/>
                  </a:lnTo>
                  <a:lnTo>
                    <a:pt x="586" y="36"/>
                  </a:lnTo>
                  <a:lnTo>
                    <a:pt x="582" y="45"/>
                  </a:lnTo>
                  <a:lnTo>
                    <a:pt x="578" y="55"/>
                  </a:lnTo>
                  <a:lnTo>
                    <a:pt x="570" y="61"/>
                  </a:lnTo>
                  <a:lnTo>
                    <a:pt x="563" y="68"/>
                  </a:lnTo>
                  <a:lnTo>
                    <a:pt x="555" y="74"/>
                  </a:lnTo>
                  <a:lnTo>
                    <a:pt x="547" y="80"/>
                  </a:lnTo>
                  <a:lnTo>
                    <a:pt x="540" y="85"/>
                  </a:lnTo>
                  <a:lnTo>
                    <a:pt x="540" y="85"/>
                  </a:lnTo>
                  <a:lnTo>
                    <a:pt x="530" y="93"/>
                  </a:lnTo>
                  <a:lnTo>
                    <a:pt x="523" y="103"/>
                  </a:lnTo>
                  <a:lnTo>
                    <a:pt x="513" y="110"/>
                  </a:lnTo>
                  <a:lnTo>
                    <a:pt x="505" y="118"/>
                  </a:lnTo>
                  <a:lnTo>
                    <a:pt x="496" y="126"/>
                  </a:lnTo>
                  <a:lnTo>
                    <a:pt x="488" y="131"/>
                  </a:lnTo>
                  <a:lnTo>
                    <a:pt x="479" y="137"/>
                  </a:lnTo>
                  <a:lnTo>
                    <a:pt x="469" y="141"/>
                  </a:lnTo>
                  <a:lnTo>
                    <a:pt x="460" y="147"/>
                  </a:lnTo>
                  <a:lnTo>
                    <a:pt x="450" y="150"/>
                  </a:lnTo>
                  <a:lnTo>
                    <a:pt x="439" y="154"/>
                  </a:lnTo>
                  <a:lnTo>
                    <a:pt x="427" y="156"/>
                  </a:lnTo>
                  <a:lnTo>
                    <a:pt x="414" y="160"/>
                  </a:lnTo>
                  <a:lnTo>
                    <a:pt x="399" y="160"/>
                  </a:lnTo>
                  <a:lnTo>
                    <a:pt x="385" y="162"/>
                  </a:lnTo>
                  <a:lnTo>
                    <a:pt x="368" y="162"/>
                  </a:lnTo>
                  <a:lnTo>
                    <a:pt x="368" y="162"/>
                  </a:lnTo>
                  <a:lnTo>
                    <a:pt x="370" y="164"/>
                  </a:lnTo>
                  <a:lnTo>
                    <a:pt x="370" y="166"/>
                  </a:lnTo>
                  <a:lnTo>
                    <a:pt x="372" y="168"/>
                  </a:lnTo>
                  <a:lnTo>
                    <a:pt x="374" y="169"/>
                  </a:lnTo>
                  <a:lnTo>
                    <a:pt x="374" y="171"/>
                  </a:lnTo>
                  <a:lnTo>
                    <a:pt x="376" y="173"/>
                  </a:lnTo>
                  <a:lnTo>
                    <a:pt x="378" y="175"/>
                  </a:lnTo>
                  <a:lnTo>
                    <a:pt x="380" y="177"/>
                  </a:lnTo>
                  <a:lnTo>
                    <a:pt x="380" y="177"/>
                  </a:lnTo>
                  <a:lnTo>
                    <a:pt x="374" y="185"/>
                  </a:lnTo>
                  <a:lnTo>
                    <a:pt x="370" y="190"/>
                  </a:lnTo>
                  <a:lnTo>
                    <a:pt x="366" y="198"/>
                  </a:lnTo>
                  <a:lnTo>
                    <a:pt x="362" y="206"/>
                  </a:lnTo>
                  <a:lnTo>
                    <a:pt x="359" y="211"/>
                  </a:lnTo>
                  <a:lnTo>
                    <a:pt x="353" y="219"/>
                  </a:lnTo>
                  <a:lnTo>
                    <a:pt x="347" y="225"/>
                  </a:lnTo>
                  <a:lnTo>
                    <a:pt x="339" y="230"/>
                  </a:lnTo>
                  <a:lnTo>
                    <a:pt x="339" y="230"/>
                  </a:lnTo>
                  <a:lnTo>
                    <a:pt x="332" y="234"/>
                  </a:lnTo>
                  <a:lnTo>
                    <a:pt x="326" y="236"/>
                  </a:lnTo>
                  <a:lnTo>
                    <a:pt x="319" y="238"/>
                  </a:lnTo>
                  <a:lnTo>
                    <a:pt x="311" y="240"/>
                  </a:lnTo>
                  <a:lnTo>
                    <a:pt x="305" y="242"/>
                  </a:lnTo>
                  <a:lnTo>
                    <a:pt x="298" y="244"/>
                  </a:lnTo>
                  <a:lnTo>
                    <a:pt x="290" y="244"/>
                  </a:lnTo>
                  <a:lnTo>
                    <a:pt x="280" y="244"/>
                  </a:lnTo>
                  <a:lnTo>
                    <a:pt x="273" y="246"/>
                  </a:lnTo>
                  <a:lnTo>
                    <a:pt x="265" y="246"/>
                  </a:lnTo>
                  <a:lnTo>
                    <a:pt x="257" y="246"/>
                  </a:lnTo>
                  <a:lnTo>
                    <a:pt x="250" y="248"/>
                  </a:lnTo>
                  <a:lnTo>
                    <a:pt x="242" y="250"/>
                  </a:lnTo>
                  <a:lnTo>
                    <a:pt x="235" y="250"/>
                  </a:lnTo>
                  <a:lnTo>
                    <a:pt x="225" y="251"/>
                  </a:lnTo>
                  <a:lnTo>
                    <a:pt x="219" y="253"/>
                  </a:lnTo>
                  <a:lnTo>
                    <a:pt x="219" y="253"/>
                  </a:lnTo>
                  <a:lnTo>
                    <a:pt x="214" y="255"/>
                  </a:lnTo>
                  <a:lnTo>
                    <a:pt x="210" y="259"/>
                  </a:lnTo>
                  <a:lnTo>
                    <a:pt x="206" y="263"/>
                  </a:lnTo>
                  <a:lnTo>
                    <a:pt x="204" y="265"/>
                  </a:lnTo>
                  <a:lnTo>
                    <a:pt x="200" y="269"/>
                  </a:lnTo>
                  <a:lnTo>
                    <a:pt x="196" y="271"/>
                  </a:lnTo>
                  <a:lnTo>
                    <a:pt x="191" y="271"/>
                  </a:lnTo>
                  <a:lnTo>
                    <a:pt x="185" y="272"/>
                  </a:lnTo>
                  <a:lnTo>
                    <a:pt x="185" y="272"/>
                  </a:lnTo>
                  <a:lnTo>
                    <a:pt x="181" y="271"/>
                  </a:lnTo>
                  <a:lnTo>
                    <a:pt x="179" y="271"/>
                  </a:lnTo>
                  <a:lnTo>
                    <a:pt x="175" y="269"/>
                  </a:lnTo>
                  <a:lnTo>
                    <a:pt x="174" y="265"/>
                  </a:lnTo>
                  <a:lnTo>
                    <a:pt x="172" y="263"/>
                  </a:lnTo>
                  <a:lnTo>
                    <a:pt x="170" y="259"/>
                  </a:lnTo>
                  <a:lnTo>
                    <a:pt x="166" y="257"/>
                  </a:lnTo>
                  <a:lnTo>
                    <a:pt x="164" y="253"/>
                  </a:lnTo>
                  <a:lnTo>
                    <a:pt x="164" y="253"/>
                  </a:lnTo>
                  <a:lnTo>
                    <a:pt x="160" y="257"/>
                  </a:lnTo>
                  <a:lnTo>
                    <a:pt x="154" y="261"/>
                  </a:lnTo>
                  <a:lnTo>
                    <a:pt x="149" y="265"/>
                  </a:lnTo>
                  <a:lnTo>
                    <a:pt x="141" y="267"/>
                  </a:lnTo>
                  <a:lnTo>
                    <a:pt x="135" y="269"/>
                  </a:lnTo>
                  <a:lnTo>
                    <a:pt x="128" y="271"/>
                  </a:lnTo>
                  <a:lnTo>
                    <a:pt x="120" y="272"/>
                  </a:lnTo>
                  <a:lnTo>
                    <a:pt x="114" y="274"/>
                  </a:lnTo>
                  <a:lnTo>
                    <a:pt x="107" y="276"/>
                  </a:lnTo>
                  <a:lnTo>
                    <a:pt x="101" y="278"/>
                  </a:lnTo>
                  <a:lnTo>
                    <a:pt x="93" y="278"/>
                  </a:lnTo>
                  <a:lnTo>
                    <a:pt x="88" y="280"/>
                  </a:lnTo>
                  <a:lnTo>
                    <a:pt x="84" y="282"/>
                  </a:lnTo>
                  <a:lnTo>
                    <a:pt x="80" y="282"/>
                  </a:lnTo>
                  <a:lnTo>
                    <a:pt x="76" y="284"/>
                  </a:lnTo>
                  <a:lnTo>
                    <a:pt x="72" y="286"/>
                  </a:lnTo>
                  <a:lnTo>
                    <a:pt x="72" y="286"/>
                  </a:lnTo>
                  <a:lnTo>
                    <a:pt x="69" y="292"/>
                  </a:lnTo>
                  <a:lnTo>
                    <a:pt x="63" y="299"/>
                  </a:lnTo>
                  <a:lnTo>
                    <a:pt x="57" y="305"/>
                  </a:lnTo>
                  <a:lnTo>
                    <a:pt x="53" y="313"/>
                  </a:lnTo>
                  <a:lnTo>
                    <a:pt x="50" y="318"/>
                  </a:lnTo>
                  <a:lnTo>
                    <a:pt x="46" y="326"/>
                  </a:lnTo>
                  <a:lnTo>
                    <a:pt x="42" y="333"/>
                  </a:lnTo>
                  <a:lnTo>
                    <a:pt x="38" y="339"/>
                  </a:lnTo>
                  <a:lnTo>
                    <a:pt x="32" y="347"/>
                  </a:lnTo>
                  <a:lnTo>
                    <a:pt x="29" y="353"/>
                  </a:lnTo>
                  <a:lnTo>
                    <a:pt x="25" y="360"/>
                  </a:lnTo>
                  <a:lnTo>
                    <a:pt x="21" y="368"/>
                  </a:lnTo>
                  <a:lnTo>
                    <a:pt x="17" y="374"/>
                  </a:lnTo>
                  <a:lnTo>
                    <a:pt x="11" y="379"/>
                  </a:lnTo>
                  <a:lnTo>
                    <a:pt x="6" y="387"/>
                  </a:lnTo>
                  <a:lnTo>
                    <a:pt x="0" y="393"/>
                  </a:lnTo>
                  <a:lnTo>
                    <a:pt x="0" y="393"/>
                  </a:lnTo>
                  <a:lnTo>
                    <a:pt x="2" y="395"/>
                  </a:lnTo>
                  <a:lnTo>
                    <a:pt x="4" y="396"/>
                  </a:lnTo>
                  <a:lnTo>
                    <a:pt x="8" y="398"/>
                  </a:lnTo>
                  <a:lnTo>
                    <a:pt x="9" y="400"/>
                  </a:lnTo>
                  <a:lnTo>
                    <a:pt x="11" y="402"/>
                  </a:lnTo>
                  <a:lnTo>
                    <a:pt x="13" y="404"/>
                  </a:lnTo>
                  <a:lnTo>
                    <a:pt x="13" y="406"/>
                  </a:lnTo>
                  <a:lnTo>
                    <a:pt x="13" y="408"/>
                  </a:lnTo>
                  <a:lnTo>
                    <a:pt x="13" y="408"/>
                  </a:lnTo>
                  <a:lnTo>
                    <a:pt x="15" y="412"/>
                  </a:lnTo>
                  <a:lnTo>
                    <a:pt x="15" y="414"/>
                  </a:lnTo>
                  <a:lnTo>
                    <a:pt x="15" y="417"/>
                  </a:lnTo>
                  <a:lnTo>
                    <a:pt x="15" y="419"/>
                  </a:lnTo>
                  <a:lnTo>
                    <a:pt x="15" y="423"/>
                  </a:lnTo>
                  <a:lnTo>
                    <a:pt x="15" y="427"/>
                  </a:lnTo>
                  <a:lnTo>
                    <a:pt x="13" y="433"/>
                  </a:lnTo>
                  <a:lnTo>
                    <a:pt x="13" y="437"/>
                  </a:lnTo>
                  <a:lnTo>
                    <a:pt x="13" y="437"/>
                  </a:lnTo>
                  <a:lnTo>
                    <a:pt x="15" y="448"/>
                  </a:lnTo>
                  <a:lnTo>
                    <a:pt x="17" y="459"/>
                  </a:lnTo>
                  <a:lnTo>
                    <a:pt x="19" y="471"/>
                  </a:lnTo>
                  <a:lnTo>
                    <a:pt x="21" y="482"/>
                  </a:lnTo>
                  <a:lnTo>
                    <a:pt x="25" y="494"/>
                  </a:lnTo>
                  <a:lnTo>
                    <a:pt x="29" y="505"/>
                  </a:lnTo>
                  <a:lnTo>
                    <a:pt x="34" y="517"/>
                  </a:lnTo>
                  <a:lnTo>
                    <a:pt x="40" y="526"/>
                  </a:lnTo>
                  <a:lnTo>
                    <a:pt x="46" y="538"/>
                  </a:lnTo>
                  <a:lnTo>
                    <a:pt x="51" y="547"/>
                  </a:lnTo>
                  <a:lnTo>
                    <a:pt x="57" y="557"/>
                  </a:lnTo>
                  <a:lnTo>
                    <a:pt x="63" y="566"/>
                  </a:lnTo>
                  <a:lnTo>
                    <a:pt x="69" y="576"/>
                  </a:lnTo>
                  <a:lnTo>
                    <a:pt x="74" y="583"/>
                  </a:lnTo>
                  <a:lnTo>
                    <a:pt x="80" y="591"/>
                  </a:lnTo>
                  <a:lnTo>
                    <a:pt x="86" y="599"/>
                  </a:lnTo>
                  <a:lnTo>
                    <a:pt x="86" y="599"/>
                  </a:lnTo>
                  <a:lnTo>
                    <a:pt x="90" y="602"/>
                  </a:lnTo>
                  <a:lnTo>
                    <a:pt x="93" y="606"/>
                  </a:lnTo>
                  <a:lnTo>
                    <a:pt x="97" y="610"/>
                  </a:lnTo>
                  <a:lnTo>
                    <a:pt x="101" y="614"/>
                  </a:lnTo>
                  <a:lnTo>
                    <a:pt x="107" y="618"/>
                  </a:lnTo>
                  <a:lnTo>
                    <a:pt x="111" y="620"/>
                  </a:lnTo>
                  <a:lnTo>
                    <a:pt x="116" y="623"/>
                  </a:lnTo>
                  <a:lnTo>
                    <a:pt x="120" y="627"/>
                  </a:lnTo>
                  <a:lnTo>
                    <a:pt x="124" y="631"/>
                  </a:lnTo>
                  <a:lnTo>
                    <a:pt x="130" y="635"/>
                  </a:lnTo>
                  <a:lnTo>
                    <a:pt x="132" y="639"/>
                  </a:lnTo>
                  <a:lnTo>
                    <a:pt x="135" y="644"/>
                  </a:lnTo>
                  <a:lnTo>
                    <a:pt x="137" y="650"/>
                  </a:lnTo>
                  <a:lnTo>
                    <a:pt x="141" y="656"/>
                  </a:lnTo>
                  <a:lnTo>
                    <a:pt x="141" y="664"/>
                  </a:lnTo>
                  <a:lnTo>
                    <a:pt x="141" y="671"/>
                  </a:lnTo>
                  <a:lnTo>
                    <a:pt x="141" y="671"/>
                  </a:lnTo>
                  <a:lnTo>
                    <a:pt x="145" y="662"/>
                  </a:lnTo>
                  <a:lnTo>
                    <a:pt x="149" y="654"/>
                  </a:lnTo>
                  <a:lnTo>
                    <a:pt x="151" y="644"/>
                  </a:lnTo>
                  <a:lnTo>
                    <a:pt x="154" y="635"/>
                  </a:lnTo>
                  <a:lnTo>
                    <a:pt x="156" y="627"/>
                  </a:lnTo>
                  <a:lnTo>
                    <a:pt x="160" y="620"/>
                  </a:lnTo>
                  <a:lnTo>
                    <a:pt x="164" y="612"/>
                  </a:lnTo>
                  <a:lnTo>
                    <a:pt x="168" y="604"/>
                  </a:lnTo>
                  <a:lnTo>
                    <a:pt x="172" y="597"/>
                  </a:lnTo>
                  <a:lnTo>
                    <a:pt x="177" y="591"/>
                  </a:lnTo>
                  <a:lnTo>
                    <a:pt x="183" y="585"/>
                  </a:lnTo>
                  <a:lnTo>
                    <a:pt x="191" y="581"/>
                  </a:lnTo>
                  <a:lnTo>
                    <a:pt x="198" y="578"/>
                  </a:lnTo>
                  <a:lnTo>
                    <a:pt x="210" y="576"/>
                  </a:lnTo>
                  <a:lnTo>
                    <a:pt x="219" y="574"/>
                  </a:lnTo>
                  <a:lnTo>
                    <a:pt x="233" y="574"/>
                  </a:lnTo>
                  <a:lnTo>
                    <a:pt x="233" y="574"/>
                  </a:lnTo>
                  <a:lnTo>
                    <a:pt x="240" y="574"/>
                  </a:lnTo>
                  <a:lnTo>
                    <a:pt x="246" y="574"/>
                  </a:lnTo>
                  <a:lnTo>
                    <a:pt x="254" y="574"/>
                  </a:lnTo>
                  <a:lnTo>
                    <a:pt x="259" y="574"/>
                  </a:lnTo>
                  <a:lnTo>
                    <a:pt x="265" y="576"/>
                  </a:lnTo>
                  <a:lnTo>
                    <a:pt x="271" y="578"/>
                  </a:lnTo>
                  <a:lnTo>
                    <a:pt x="277" y="580"/>
                  </a:lnTo>
                  <a:lnTo>
                    <a:pt x="284" y="581"/>
                  </a:lnTo>
                  <a:lnTo>
                    <a:pt x="339" y="581"/>
                  </a:lnTo>
                  <a:lnTo>
                    <a:pt x="339" y="581"/>
                  </a:lnTo>
                  <a:lnTo>
                    <a:pt x="339" y="578"/>
                  </a:lnTo>
                  <a:lnTo>
                    <a:pt x="339" y="576"/>
                  </a:lnTo>
                  <a:lnTo>
                    <a:pt x="339" y="572"/>
                  </a:lnTo>
                  <a:lnTo>
                    <a:pt x="339" y="570"/>
                  </a:lnTo>
                  <a:lnTo>
                    <a:pt x="339" y="566"/>
                  </a:lnTo>
                  <a:lnTo>
                    <a:pt x="339" y="564"/>
                  </a:lnTo>
                  <a:lnTo>
                    <a:pt x="339" y="561"/>
                  </a:lnTo>
                  <a:lnTo>
                    <a:pt x="339" y="557"/>
                  </a:lnTo>
                  <a:lnTo>
                    <a:pt x="339" y="557"/>
                  </a:lnTo>
                  <a:lnTo>
                    <a:pt x="339" y="549"/>
                  </a:lnTo>
                  <a:lnTo>
                    <a:pt x="339" y="541"/>
                  </a:lnTo>
                  <a:lnTo>
                    <a:pt x="343" y="534"/>
                  </a:lnTo>
                  <a:lnTo>
                    <a:pt x="345" y="524"/>
                  </a:lnTo>
                  <a:lnTo>
                    <a:pt x="349" y="517"/>
                  </a:lnTo>
                  <a:lnTo>
                    <a:pt x="353" y="507"/>
                  </a:lnTo>
                  <a:lnTo>
                    <a:pt x="357" y="499"/>
                  </a:lnTo>
                  <a:lnTo>
                    <a:pt x="362" y="492"/>
                  </a:lnTo>
                  <a:lnTo>
                    <a:pt x="368" y="484"/>
                  </a:lnTo>
                  <a:lnTo>
                    <a:pt x="374" y="478"/>
                  </a:lnTo>
                  <a:lnTo>
                    <a:pt x="381" y="473"/>
                  </a:lnTo>
                  <a:lnTo>
                    <a:pt x="387" y="467"/>
                  </a:lnTo>
                  <a:lnTo>
                    <a:pt x="395" y="463"/>
                  </a:lnTo>
                  <a:lnTo>
                    <a:pt x="401" y="459"/>
                  </a:lnTo>
                  <a:lnTo>
                    <a:pt x="408" y="457"/>
                  </a:lnTo>
                  <a:lnTo>
                    <a:pt x="416" y="457"/>
                  </a:lnTo>
                  <a:lnTo>
                    <a:pt x="416" y="457"/>
                  </a:lnTo>
                  <a:lnTo>
                    <a:pt x="427" y="459"/>
                  </a:lnTo>
                  <a:lnTo>
                    <a:pt x="437" y="465"/>
                  </a:lnTo>
                  <a:lnTo>
                    <a:pt x="444" y="471"/>
                  </a:lnTo>
                  <a:lnTo>
                    <a:pt x="452" y="480"/>
                  </a:lnTo>
                  <a:lnTo>
                    <a:pt x="460" y="490"/>
                  </a:lnTo>
                  <a:lnTo>
                    <a:pt x="467" y="498"/>
                  </a:lnTo>
                  <a:lnTo>
                    <a:pt x="473" y="505"/>
                  </a:lnTo>
                  <a:lnTo>
                    <a:pt x="481" y="511"/>
                  </a:lnTo>
                  <a:lnTo>
                    <a:pt x="481" y="511"/>
                  </a:lnTo>
                  <a:lnTo>
                    <a:pt x="486" y="513"/>
                  </a:lnTo>
                  <a:lnTo>
                    <a:pt x="494" y="517"/>
                  </a:lnTo>
                  <a:lnTo>
                    <a:pt x="502" y="520"/>
                  </a:lnTo>
                  <a:lnTo>
                    <a:pt x="511" y="522"/>
                  </a:lnTo>
                  <a:lnTo>
                    <a:pt x="521" y="526"/>
                  </a:lnTo>
                  <a:lnTo>
                    <a:pt x="528" y="528"/>
                  </a:lnTo>
                  <a:lnTo>
                    <a:pt x="538" y="530"/>
                  </a:lnTo>
                  <a:lnTo>
                    <a:pt x="547" y="532"/>
                  </a:lnTo>
                  <a:lnTo>
                    <a:pt x="557" y="534"/>
                  </a:lnTo>
                  <a:lnTo>
                    <a:pt x="566" y="536"/>
                  </a:lnTo>
                  <a:lnTo>
                    <a:pt x="576" y="538"/>
                  </a:lnTo>
                  <a:lnTo>
                    <a:pt x="586" y="538"/>
                  </a:lnTo>
                  <a:lnTo>
                    <a:pt x="595" y="540"/>
                  </a:lnTo>
                  <a:lnTo>
                    <a:pt x="605" y="540"/>
                  </a:lnTo>
                  <a:lnTo>
                    <a:pt x="612" y="540"/>
                  </a:lnTo>
                  <a:lnTo>
                    <a:pt x="620" y="540"/>
                  </a:lnTo>
                  <a:lnTo>
                    <a:pt x="620" y="540"/>
                  </a:lnTo>
                  <a:lnTo>
                    <a:pt x="628" y="540"/>
                  </a:lnTo>
                  <a:lnTo>
                    <a:pt x="633" y="538"/>
                  </a:lnTo>
                  <a:lnTo>
                    <a:pt x="639" y="536"/>
                  </a:lnTo>
                  <a:lnTo>
                    <a:pt x="643" y="532"/>
                  </a:lnTo>
                  <a:lnTo>
                    <a:pt x="647" y="528"/>
                  </a:lnTo>
                  <a:lnTo>
                    <a:pt x="650" y="524"/>
                  </a:lnTo>
                  <a:lnTo>
                    <a:pt x="654" y="520"/>
                  </a:lnTo>
                  <a:lnTo>
                    <a:pt x="656" y="515"/>
                  </a:lnTo>
                  <a:lnTo>
                    <a:pt x="660" y="511"/>
                  </a:lnTo>
                  <a:lnTo>
                    <a:pt x="664" y="507"/>
                  </a:lnTo>
                  <a:lnTo>
                    <a:pt x="666" y="501"/>
                  </a:lnTo>
                  <a:lnTo>
                    <a:pt x="669" y="499"/>
                  </a:lnTo>
                  <a:lnTo>
                    <a:pt x="675" y="496"/>
                  </a:lnTo>
                  <a:lnTo>
                    <a:pt x="681" y="492"/>
                  </a:lnTo>
                  <a:lnTo>
                    <a:pt x="687" y="492"/>
                  </a:lnTo>
                  <a:lnTo>
                    <a:pt x="692" y="490"/>
                  </a:lnTo>
                  <a:lnTo>
                    <a:pt x="692" y="490"/>
                  </a:lnTo>
                  <a:lnTo>
                    <a:pt x="694" y="492"/>
                  </a:lnTo>
                  <a:lnTo>
                    <a:pt x="698" y="492"/>
                  </a:lnTo>
                  <a:lnTo>
                    <a:pt x="700" y="494"/>
                  </a:lnTo>
                  <a:lnTo>
                    <a:pt x="704" y="496"/>
                  </a:lnTo>
                  <a:lnTo>
                    <a:pt x="706" y="496"/>
                  </a:lnTo>
                  <a:lnTo>
                    <a:pt x="708" y="498"/>
                  </a:lnTo>
                  <a:lnTo>
                    <a:pt x="711" y="499"/>
                  </a:lnTo>
                  <a:lnTo>
                    <a:pt x="715" y="499"/>
                  </a:lnTo>
                  <a:lnTo>
                    <a:pt x="715" y="499"/>
                  </a:lnTo>
                  <a:lnTo>
                    <a:pt x="721" y="499"/>
                  </a:lnTo>
                  <a:lnTo>
                    <a:pt x="727" y="498"/>
                  </a:lnTo>
                  <a:lnTo>
                    <a:pt x="732" y="496"/>
                  </a:lnTo>
                  <a:lnTo>
                    <a:pt x="738" y="494"/>
                  </a:lnTo>
                  <a:lnTo>
                    <a:pt x="744" y="492"/>
                  </a:lnTo>
                  <a:lnTo>
                    <a:pt x="750" y="490"/>
                  </a:lnTo>
                  <a:lnTo>
                    <a:pt x="755" y="486"/>
                  </a:lnTo>
                  <a:lnTo>
                    <a:pt x="761" y="484"/>
                  </a:lnTo>
                  <a:lnTo>
                    <a:pt x="767" y="480"/>
                  </a:lnTo>
                  <a:lnTo>
                    <a:pt x="771" y="478"/>
                  </a:lnTo>
                  <a:lnTo>
                    <a:pt x="776" y="477"/>
                  </a:lnTo>
                  <a:lnTo>
                    <a:pt x="782" y="473"/>
                  </a:lnTo>
                  <a:lnTo>
                    <a:pt x="786" y="471"/>
                  </a:lnTo>
                  <a:lnTo>
                    <a:pt x="792" y="469"/>
                  </a:lnTo>
                  <a:lnTo>
                    <a:pt x="797" y="467"/>
                  </a:lnTo>
                  <a:lnTo>
                    <a:pt x="803" y="467"/>
                  </a:lnTo>
                  <a:lnTo>
                    <a:pt x="803" y="467"/>
                  </a:lnTo>
                  <a:lnTo>
                    <a:pt x="805" y="471"/>
                  </a:lnTo>
                  <a:lnTo>
                    <a:pt x="807" y="475"/>
                  </a:lnTo>
                  <a:lnTo>
                    <a:pt x="811" y="477"/>
                  </a:lnTo>
                  <a:lnTo>
                    <a:pt x="813" y="477"/>
                  </a:lnTo>
                  <a:lnTo>
                    <a:pt x="816" y="477"/>
                  </a:lnTo>
                  <a:lnTo>
                    <a:pt x="820" y="477"/>
                  </a:lnTo>
                  <a:lnTo>
                    <a:pt x="824" y="475"/>
                  </a:lnTo>
                  <a:lnTo>
                    <a:pt x="830" y="475"/>
                  </a:lnTo>
                  <a:lnTo>
                    <a:pt x="830" y="475"/>
                  </a:lnTo>
                  <a:lnTo>
                    <a:pt x="839" y="475"/>
                  </a:lnTo>
                  <a:lnTo>
                    <a:pt x="847" y="475"/>
                  </a:lnTo>
                  <a:lnTo>
                    <a:pt x="855" y="473"/>
                  </a:lnTo>
                  <a:lnTo>
                    <a:pt x="858" y="469"/>
                  </a:lnTo>
                  <a:lnTo>
                    <a:pt x="862" y="465"/>
                  </a:lnTo>
                  <a:lnTo>
                    <a:pt x="866" y="461"/>
                  </a:lnTo>
                  <a:lnTo>
                    <a:pt x="868" y="454"/>
                  </a:lnTo>
                  <a:lnTo>
                    <a:pt x="868" y="446"/>
                  </a:lnTo>
                  <a:lnTo>
                    <a:pt x="868" y="446"/>
                  </a:lnTo>
                  <a:lnTo>
                    <a:pt x="876" y="444"/>
                  </a:lnTo>
                  <a:lnTo>
                    <a:pt x="883" y="444"/>
                  </a:lnTo>
                  <a:lnTo>
                    <a:pt x="891" y="446"/>
                  </a:lnTo>
                  <a:lnTo>
                    <a:pt x="896" y="446"/>
                  </a:lnTo>
                  <a:lnTo>
                    <a:pt x="904" y="448"/>
                  </a:lnTo>
                  <a:lnTo>
                    <a:pt x="910" y="450"/>
                  </a:lnTo>
                  <a:lnTo>
                    <a:pt x="916" y="452"/>
                  </a:lnTo>
                  <a:lnTo>
                    <a:pt x="923" y="454"/>
                  </a:lnTo>
                  <a:lnTo>
                    <a:pt x="929" y="456"/>
                  </a:lnTo>
                  <a:lnTo>
                    <a:pt x="935" y="457"/>
                  </a:lnTo>
                  <a:lnTo>
                    <a:pt x="940" y="461"/>
                  </a:lnTo>
                  <a:lnTo>
                    <a:pt x="948" y="463"/>
                  </a:lnTo>
                  <a:lnTo>
                    <a:pt x="954" y="465"/>
                  </a:lnTo>
                  <a:lnTo>
                    <a:pt x="961" y="465"/>
                  </a:lnTo>
                  <a:lnTo>
                    <a:pt x="969" y="467"/>
                  </a:lnTo>
                  <a:lnTo>
                    <a:pt x="977" y="467"/>
                  </a:lnTo>
                  <a:lnTo>
                    <a:pt x="977" y="467"/>
                  </a:lnTo>
                  <a:lnTo>
                    <a:pt x="984" y="467"/>
                  </a:lnTo>
                  <a:lnTo>
                    <a:pt x="992" y="465"/>
                  </a:lnTo>
                  <a:lnTo>
                    <a:pt x="996" y="465"/>
                  </a:lnTo>
                  <a:lnTo>
                    <a:pt x="1001" y="463"/>
                  </a:lnTo>
                  <a:lnTo>
                    <a:pt x="1007" y="461"/>
                  </a:lnTo>
                  <a:lnTo>
                    <a:pt x="1011" y="459"/>
                  </a:lnTo>
                  <a:lnTo>
                    <a:pt x="1017" y="457"/>
                  </a:lnTo>
                  <a:lnTo>
                    <a:pt x="1024" y="457"/>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86" name="Freeform 130"/>
            <p:cNvSpPr>
              <a:spLocks/>
            </p:cNvSpPr>
            <p:nvPr/>
          </p:nvSpPr>
          <p:spPr bwMode="gray">
            <a:xfrm>
              <a:off x="2052" y="2200"/>
              <a:ext cx="351" cy="386"/>
            </a:xfrm>
            <a:custGeom>
              <a:avLst/>
              <a:gdLst/>
              <a:ahLst/>
              <a:cxnLst>
                <a:cxn ang="0">
                  <a:pos x="409" y="126"/>
                </a:cxn>
                <a:cxn ang="0">
                  <a:pos x="391" y="143"/>
                </a:cxn>
                <a:cxn ang="0">
                  <a:pos x="357" y="133"/>
                </a:cxn>
                <a:cxn ang="0">
                  <a:pos x="306" y="120"/>
                </a:cxn>
                <a:cxn ang="0">
                  <a:pos x="254" y="109"/>
                </a:cxn>
                <a:cxn ang="0">
                  <a:pos x="206" y="111"/>
                </a:cxn>
                <a:cxn ang="0">
                  <a:pos x="176" y="131"/>
                </a:cxn>
                <a:cxn ang="0">
                  <a:pos x="170" y="168"/>
                </a:cxn>
                <a:cxn ang="0">
                  <a:pos x="170" y="208"/>
                </a:cxn>
                <a:cxn ang="0">
                  <a:pos x="201" y="200"/>
                </a:cxn>
                <a:cxn ang="0">
                  <a:pos x="229" y="191"/>
                </a:cxn>
                <a:cxn ang="0">
                  <a:pos x="262" y="204"/>
                </a:cxn>
                <a:cxn ang="0">
                  <a:pos x="264" y="248"/>
                </a:cxn>
                <a:cxn ang="0">
                  <a:pos x="224" y="294"/>
                </a:cxn>
                <a:cxn ang="0">
                  <a:pos x="277" y="338"/>
                </a:cxn>
                <a:cxn ang="0">
                  <a:pos x="275" y="385"/>
                </a:cxn>
                <a:cxn ang="0">
                  <a:pos x="262" y="442"/>
                </a:cxn>
                <a:cxn ang="0">
                  <a:pos x="252" y="473"/>
                </a:cxn>
                <a:cxn ang="0">
                  <a:pos x="239" y="488"/>
                </a:cxn>
                <a:cxn ang="0">
                  <a:pos x="225" y="469"/>
                </a:cxn>
                <a:cxn ang="0">
                  <a:pos x="203" y="479"/>
                </a:cxn>
                <a:cxn ang="0">
                  <a:pos x="163" y="471"/>
                </a:cxn>
                <a:cxn ang="0">
                  <a:pos x="132" y="444"/>
                </a:cxn>
                <a:cxn ang="0">
                  <a:pos x="105" y="477"/>
                </a:cxn>
                <a:cxn ang="0">
                  <a:pos x="54" y="484"/>
                </a:cxn>
                <a:cxn ang="0">
                  <a:pos x="46" y="524"/>
                </a:cxn>
                <a:cxn ang="0">
                  <a:pos x="50" y="549"/>
                </a:cxn>
                <a:cxn ang="0">
                  <a:pos x="73" y="566"/>
                </a:cxn>
                <a:cxn ang="0">
                  <a:pos x="63" y="586"/>
                </a:cxn>
                <a:cxn ang="0">
                  <a:pos x="50" y="578"/>
                </a:cxn>
                <a:cxn ang="0">
                  <a:pos x="25" y="582"/>
                </a:cxn>
                <a:cxn ang="0">
                  <a:pos x="2" y="607"/>
                </a:cxn>
                <a:cxn ang="0">
                  <a:pos x="40" y="650"/>
                </a:cxn>
                <a:cxn ang="0">
                  <a:pos x="84" y="694"/>
                </a:cxn>
                <a:cxn ang="0">
                  <a:pos x="122" y="671"/>
                </a:cxn>
                <a:cxn ang="0">
                  <a:pos x="149" y="662"/>
                </a:cxn>
                <a:cxn ang="0">
                  <a:pos x="164" y="671"/>
                </a:cxn>
                <a:cxn ang="0">
                  <a:pos x="191" y="681"/>
                </a:cxn>
                <a:cxn ang="0">
                  <a:pos x="239" y="656"/>
                </a:cxn>
                <a:cxn ang="0">
                  <a:pos x="267" y="656"/>
                </a:cxn>
                <a:cxn ang="0">
                  <a:pos x="264" y="679"/>
                </a:cxn>
                <a:cxn ang="0">
                  <a:pos x="290" y="696"/>
                </a:cxn>
                <a:cxn ang="0">
                  <a:pos x="346" y="666"/>
                </a:cxn>
                <a:cxn ang="0">
                  <a:pos x="372" y="628"/>
                </a:cxn>
                <a:cxn ang="0">
                  <a:pos x="412" y="601"/>
                </a:cxn>
                <a:cxn ang="0">
                  <a:pos x="424" y="551"/>
                </a:cxn>
                <a:cxn ang="0">
                  <a:pos x="428" y="498"/>
                </a:cxn>
                <a:cxn ang="0">
                  <a:pos x="449" y="441"/>
                </a:cxn>
                <a:cxn ang="0">
                  <a:pos x="498" y="387"/>
                </a:cxn>
                <a:cxn ang="0">
                  <a:pos x="525" y="351"/>
                </a:cxn>
                <a:cxn ang="0">
                  <a:pos x="546" y="307"/>
                </a:cxn>
                <a:cxn ang="0">
                  <a:pos x="561" y="208"/>
                </a:cxn>
                <a:cxn ang="0">
                  <a:pos x="567" y="177"/>
                </a:cxn>
                <a:cxn ang="0">
                  <a:pos x="575" y="147"/>
                </a:cxn>
                <a:cxn ang="0">
                  <a:pos x="584" y="112"/>
                </a:cxn>
                <a:cxn ang="0">
                  <a:pos x="616" y="67"/>
                </a:cxn>
                <a:cxn ang="0">
                  <a:pos x="618" y="15"/>
                </a:cxn>
                <a:cxn ang="0">
                  <a:pos x="536" y="0"/>
                </a:cxn>
                <a:cxn ang="0">
                  <a:pos x="487" y="2"/>
                </a:cxn>
                <a:cxn ang="0">
                  <a:pos x="441" y="38"/>
                </a:cxn>
                <a:cxn ang="0">
                  <a:pos x="418" y="97"/>
                </a:cxn>
              </a:cxnLst>
              <a:rect l="0" t="0" r="r" b="b"/>
              <a:pathLst>
                <a:path w="620" h="702">
                  <a:moveTo>
                    <a:pt x="418" y="90"/>
                  </a:moveTo>
                  <a:lnTo>
                    <a:pt x="418" y="90"/>
                  </a:lnTo>
                  <a:lnTo>
                    <a:pt x="414" y="97"/>
                  </a:lnTo>
                  <a:lnTo>
                    <a:pt x="412" y="103"/>
                  </a:lnTo>
                  <a:lnTo>
                    <a:pt x="410" y="111"/>
                  </a:lnTo>
                  <a:lnTo>
                    <a:pt x="409" y="118"/>
                  </a:lnTo>
                  <a:lnTo>
                    <a:pt x="409" y="126"/>
                  </a:lnTo>
                  <a:lnTo>
                    <a:pt x="407" y="133"/>
                  </a:lnTo>
                  <a:lnTo>
                    <a:pt x="405" y="141"/>
                  </a:lnTo>
                  <a:lnTo>
                    <a:pt x="401" y="149"/>
                  </a:lnTo>
                  <a:lnTo>
                    <a:pt x="401" y="149"/>
                  </a:lnTo>
                  <a:lnTo>
                    <a:pt x="399" y="147"/>
                  </a:lnTo>
                  <a:lnTo>
                    <a:pt x="395" y="145"/>
                  </a:lnTo>
                  <a:lnTo>
                    <a:pt x="391" y="143"/>
                  </a:lnTo>
                  <a:lnTo>
                    <a:pt x="388" y="139"/>
                  </a:lnTo>
                  <a:lnTo>
                    <a:pt x="382" y="137"/>
                  </a:lnTo>
                  <a:lnTo>
                    <a:pt x="376" y="137"/>
                  </a:lnTo>
                  <a:lnTo>
                    <a:pt x="370" y="135"/>
                  </a:lnTo>
                  <a:lnTo>
                    <a:pt x="365" y="135"/>
                  </a:lnTo>
                  <a:lnTo>
                    <a:pt x="365" y="135"/>
                  </a:lnTo>
                  <a:lnTo>
                    <a:pt x="357" y="133"/>
                  </a:lnTo>
                  <a:lnTo>
                    <a:pt x="348" y="133"/>
                  </a:lnTo>
                  <a:lnTo>
                    <a:pt x="340" y="131"/>
                  </a:lnTo>
                  <a:lnTo>
                    <a:pt x="332" y="130"/>
                  </a:lnTo>
                  <a:lnTo>
                    <a:pt x="325" y="128"/>
                  </a:lnTo>
                  <a:lnTo>
                    <a:pt x="319" y="126"/>
                  </a:lnTo>
                  <a:lnTo>
                    <a:pt x="313" y="124"/>
                  </a:lnTo>
                  <a:lnTo>
                    <a:pt x="306" y="120"/>
                  </a:lnTo>
                  <a:lnTo>
                    <a:pt x="300" y="118"/>
                  </a:lnTo>
                  <a:lnTo>
                    <a:pt x="292" y="116"/>
                  </a:lnTo>
                  <a:lnTo>
                    <a:pt x="286" y="114"/>
                  </a:lnTo>
                  <a:lnTo>
                    <a:pt x="279" y="112"/>
                  </a:lnTo>
                  <a:lnTo>
                    <a:pt x="271" y="111"/>
                  </a:lnTo>
                  <a:lnTo>
                    <a:pt x="264" y="109"/>
                  </a:lnTo>
                  <a:lnTo>
                    <a:pt x="254" y="109"/>
                  </a:lnTo>
                  <a:lnTo>
                    <a:pt x="245" y="107"/>
                  </a:lnTo>
                  <a:lnTo>
                    <a:pt x="245" y="107"/>
                  </a:lnTo>
                  <a:lnTo>
                    <a:pt x="235" y="107"/>
                  </a:lnTo>
                  <a:lnTo>
                    <a:pt x="227" y="109"/>
                  </a:lnTo>
                  <a:lnTo>
                    <a:pt x="220" y="109"/>
                  </a:lnTo>
                  <a:lnTo>
                    <a:pt x="214" y="109"/>
                  </a:lnTo>
                  <a:lnTo>
                    <a:pt x="206" y="111"/>
                  </a:lnTo>
                  <a:lnTo>
                    <a:pt x="201" y="112"/>
                  </a:lnTo>
                  <a:lnTo>
                    <a:pt x="195" y="114"/>
                  </a:lnTo>
                  <a:lnTo>
                    <a:pt x="191" y="116"/>
                  </a:lnTo>
                  <a:lnTo>
                    <a:pt x="185" y="120"/>
                  </a:lnTo>
                  <a:lnTo>
                    <a:pt x="182" y="124"/>
                  </a:lnTo>
                  <a:lnTo>
                    <a:pt x="180" y="128"/>
                  </a:lnTo>
                  <a:lnTo>
                    <a:pt x="176" y="131"/>
                  </a:lnTo>
                  <a:lnTo>
                    <a:pt x="174" y="137"/>
                  </a:lnTo>
                  <a:lnTo>
                    <a:pt x="172" y="143"/>
                  </a:lnTo>
                  <a:lnTo>
                    <a:pt x="172" y="151"/>
                  </a:lnTo>
                  <a:lnTo>
                    <a:pt x="170" y="158"/>
                  </a:lnTo>
                  <a:lnTo>
                    <a:pt x="170" y="158"/>
                  </a:lnTo>
                  <a:lnTo>
                    <a:pt x="170" y="162"/>
                  </a:lnTo>
                  <a:lnTo>
                    <a:pt x="170" y="168"/>
                  </a:lnTo>
                  <a:lnTo>
                    <a:pt x="170" y="173"/>
                  </a:lnTo>
                  <a:lnTo>
                    <a:pt x="170" y="179"/>
                  </a:lnTo>
                  <a:lnTo>
                    <a:pt x="170" y="187"/>
                  </a:lnTo>
                  <a:lnTo>
                    <a:pt x="170" y="193"/>
                  </a:lnTo>
                  <a:lnTo>
                    <a:pt x="170" y="200"/>
                  </a:lnTo>
                  <a:lnTo>
                    <a:pt x="170" y="208"/>
                  </a:lnTo>
                  <a:lnTo>
                    <a:pt x="170" y="208"/>
                  </a:lnTo>
                  <a:lnTo>
                    <a:pt x="176" y="208"/>
                  </a:lnTo>
                  <a:lnTo>
                    <a:pt x="180" y="208"/>
                  </a:lnTo>
                  <a:lnTo>
                    <a:pt x="185" y="206"/>
                  </a:lnTo>
                  <a:lnTo>
                    <a:pt x="189" y="206"/>
                  </a:lnTo>
                  <a:lnTo>
                    <a:pt x="193" y="204"/>
                  </a:lnTo>
                  <a:lnTo>
                    <a:pt x="197" y="202"/>
                  </a:lnTo>
                  <a:lnTo>
                    <a:pt x="201" y="200"/>
                  </a:lnTo>
                  <a:lnTo>
                    <a:pt x="204" y="198"/>
                  </a:lnTo>
                  <a:lnTo>
                    <a:pt x="208" y="196"/>
                  </a:lnTo>
                  <a:lnTo>
                    <a:pt x="212" y="196"/>
                  </a:lnTo>
                  <a:lnTo>
                    <a:pt x="216" y="194"/>
                  </a:lnTo>
                  <a:lnTo>
                    <a:pt x="220" y="193"/>
                  </a:lnTo>
                  <a:lnTo>
                    <a:pt x="225" y="193"/>
                  </a:lnTo>
                  <a:lnTo>
                    <a:pt x="229" y="191"/>
                  </a:lnTo>
                  <a:lnTo>
                    <a:pt x="233" y="191"/>
                  </a:lnTo>
                  <a:lnTo>
                    <a:pt x="239" y="191"/>
                  </a:lnTo>
                  <a:lnTo>
                    <a:pt x="239" y="191"/>
                  </a:lnTo>
                  <a:lnTo>
                    <a:pt x="245" y="191"/>
                  </a:lnTo>
                  <a:lnTo>
                    <a:pt x="252" y="194"/>
                  </a:lnTo>
                  <a:lnTo>
                    <a:pt x="258" y="198"/>
                  </a:lnTo>
                  <a:lnTo>
                    <a:pt x="262" y="204"/>
                  </a:lnTo>
                  <a:lnTo>
                    <a:pt x="266" y="210"/>
                  </a:lnTo>
                  <a:lnTo>
                    <a:pt x="269" y="217"/>
                  </a:lnTo>
                  <a:lnTo>
                    <a:pt x="271" y="223"/>
                  </a:lnTo>
                  <a:lnTo>
                    <a:pt x="271" y="231"/>
                  </a:lnTo>
                  <a:lnTo>
                    <a:pt x="271" y="231"/>
                  </a:lnTo>
                  <a:lnTo>
                    <a:pt x="269" y="240"/>
                  </a:lnTo>
                  <a:lnTo>
                    <a:pt x="264" y="248"/>
                  </a:lnTo>
                  <a:lnTo>
                    <a:pt x="256" y="254"/>
                  </a:lnTo>
                  <a:lnTo>
                    <a:pt x="248" y="259"/>
                  </a:lnTo>
                  <a:lnTo>
                    <a:pt x="239" y="265"/>
                  </a:lnTo>
                  <a:lnTo>
                    <a:pt x="231" y="273"/>
                  </a:lnTo>
                  <a:lnTo>
                    <a:pt x="225" y="282"/>
                  </a:lnTo>
                  <a:lnTo>
                    <a:pt x="224" y="294"/>
                  </a:lnTo>
                  <a:lnTo>
                    <a:pt x="224" y="294"/>
                  </a:lnTo>
                  <a:lnTo>
                    <a:pt x="227" y="303"/>
                  </a:lnTo>
                  <a:lnTo>
                    <a:pt x="233" y="309"/>
                  </a:lnTo>
                  <a:lnTo>
                    <a:pt x="241" y="315"/>
                  </a:lnTo>
                  <a:lnTo>
                    <a:pt x="252" y="320"/>
                  </a:lnTo>
                  <a:lnTo>
                    <a:pt x="262" y="324"/>
                  </a:lnTo>
                  <a:lnTo>
                    <a:pt x="271" y="330"/>
                  </a:lnTo>
                  <a:lnTo>
                    <a:pt x="277" y="338"/>
                  </a:lnTo>
                  <a:lnTo>
                    <a:pt x="279" y="347"/>
                  </a:lnTo>
                  <a:lnTo>
                    <a:pt x="279" y="347"/>
                  </a:lnTo>
                  <a:lnTo>
                    <a:pt x="279" y="355"/>
                  </a:lnTo>
                  <a:lnTo>
                    <a:pt x="279" y="362"/>
                  </a:lnTo>
                  <a:lnTo>
                    <a:pt x="279" y="370"/>
                  </a:lnTo>
                  <a:lnTo>
                    <a:pt x="277" y="378"/>
                  </a:lnTo>
                  <a:lnTo>
                    <a:pt x="275" y="385"/>
                  </a:lnTo>
                  <a:lnTo>
                    <a:pt x="273" y="393"/>
                  </a:lnTo>
                  <a:lnTo>
                    <a:pt x="271" y="402"/>
                  </a:lnTo>
                  <a:lnTo>
                    <a:pt x="269" y="410"/>
                  </a:lnTo>
                  <a:lnTo>
                    <a:pt x="267" y="420"/>
                  </a:lnTo>
                  <a:lnTo>
                    <a:pt x="266" y="427"/>
                  </a:lnTo>
                  <a:lnTo>
                    <a:pt x="264" y="435"/>
                  </a:lnTo>
                  <a:lnTo>
                    <a:pt x="262" y="442"/>
                  </a:lnTo>
                  <a:lnTo>
                    <a:pt x="260" y="448"/>
                  </a:lnTo>
                  <a:lnTo>
                    <a:pt x="256" y="454"/>
                  </a:lnTo>
                  <a:lnTo>
                    <a:pt x="256" y="460"/>
                  </a:lnTo>
                  <a:lnTo>
                    <a:pt x="254" y="465"/>
                  </a:lnTo>
                  <a:lnTo>
                    <a:pt x="254" y="465"/>
                  </a:lnTo>
                  <a:lnTo>
                    <a:pt x="252" y="469"/>
                  </a:lnTo>
                  <a:lnTo>
                    <a:pt x="252" y="473"/>
                  </a:lnTo>
                  <a:lnTo>
                    <a:pt x="252" y="477"/>
                  </a:lnTo>
                  <a:lnTo>
                    <a:pt x="250" y="481"/>
                  </a:lnTo>
                  <a:lnTo>
                    <a:pt x="248" y="483"/>
                  </a:lnTo>
                  <a:lnTo>
                    <a:pt x="246" y="486"/>
                  </a:lnTo>
                  <a:lnTo>
                    <a:pt x="243" y="488"/>
                  </a:lnTo>
                  <a:lnTo>
                    <a:pt x="239" y="488"/>
                  </a:lnTo>
                  <a:lnTo>
                    <a:pt x="239" y="488"/>
                  </a:lnTo>
                  <a:lnTo>
                    <a:pt x="239" y="488"/>
                  </a:lnTo>
                  <a:lnTo>
                    <a:pt x="237" y="486"/>
                  </a:lnTo>
                  <a:lnTo>
                    <a:pt x="233" y="483"/>
                  </a:lnTo>
                  <a:lnTo>
                    <a:pt x="231" y="479"/>
                  </a:lnTo>
                  <a:lnTo>
                    <a:pt x="229" y="475"/>
                  </a:lnTo>
                  <a:lnTo>
                    <a:pt x="225" y="473"/>
                  </a:lnTo>
                  <a:lnTo>
                    <a:pt x="225" y="469"/>
                  </a:lnTo>
                  <a:lnTo>
                    <a:pt x="224" y="467"/>
                  </a:lnTo>
                  <a:lnTo>
                    <a:pt x="224" y="467"/>
                  </a:lnTo>
                  <a:lnTo>
                    <a:pt x="218" y="469"/>
                  </a:lnTo>
                  <a:lnTo>
                    <a:pt x="214" y="471"/>
                  </a:lnTo>
                  <a:lnTo>
                    <a:pt x="210" y="473"/>
                  </a:lnTo>
                  <a:lnTo>
                    <a:pt x="206" y="477"/>
                  </a:lnTo>
                  <a:lnTo>
                    <a:pt x="203" y="479"/>
                  </a:lnTo>
                  <a:lnTo>
                    <a:pt x="199" y="481"/>
                  </a:lnTo>
                  <a:lnTo>
                    <a:pt x="193" y="483"/>
                  </a:lnTo>
                  <a:lnTo>
                    <a:pt x="185" y="483"/>
                  </a:lnTo>
                  <a:lnTo>
                    <a:pt x="185" y="483"/>
                  </a:lnTo>
                  <a:lnTo>
                    <a:pt x="176" y="483"/>
                  </a:lnTo>
                  <a:lnTo>
                    <a:pt x="168" y="477"/>
                  </a:lnTo>
                  <a:lnTo>
                    <a:pt x="163" y="471"/>
                  </a:lnTo>
                  <a:lnTo>
                    <a:pt x="159" y="463"/>
                  </a:lnTo>
                  <a:lnTo>
                    <a:pt x="153" y="458"/>
                  </a:lnTo>
                  <a:lnTo>
                    <a:pt x="149" y="450"/>
                  </a:lnTo>
                  <a:lnTo>
                    <a:pt x="143" y="446"/>
                  </a:lnTo>
                  <a:lnTo>
                    <a:pt x="138" y="444"/>
                  </a:lnTo>
                  <a:lnTo>
                    <a:pt x="138" y="444"/>
                  </a:lnTo>
                  <a:lnTo>
                    <a:pt x="132" y="444"/>
                  </a:lnTo>
                  <a:lnTo>
                    <a:pt x="126" y="448"/>
                  </a:lnTo>
                  <a:lnTo>
                    <a:pt x="122" y="452"/>
                  </a:lnTo>
                  <a:lnTo>
                    <a:pt x="119" y="456"/>
                  </a:lnTo>
                  <a:lnTo>
                    <a:pt x="117" y="462"/>
                  </a:lnTo>
                  <a:lnTo>
                    <a:pt x="113" y="467"/>
                  </a:lnTo>
                  <a:lnTo>
                    <a:pt x="109" y="473"/>
                  </a:lnTo>
                  <a:lnTo>
                    <a:pt x="105" y="477"/>
                  </a:lnTo>
                  <a:lnTo>
                    <a:pt x="105" y="477"/>
                  </a:lnTo>
                  <a:lnTo>
                    <a:pt x="98" y="483"/>
                  </a:lnTo>
                  <a:lnTo>
                    <a:pt x="90" y="484"/>
                  </a:lnTo>
                  <a:lnTo>
                    <a:pt x="80" y="483"/>
                  </a:lnTo>
                  <a:lnTo>
                    <a:pt x="71" y="481"/>
                  </a:lnTo>
                  <a:lnTo>
                    <a:pt x="61" y="481"/>
                  </a:lnTo>
                  <a:lnTo>
                    <a:pt x="54" y="484"/>
                  </a:lnTo>
                  <a:lnTo>
                    <a:pt x="48" y="494"/>
                  </a:lnTo>
                  <a:lnTo>
                    <a:pt x="46" y="513"/>
                  </a:lnTo>
                  <a:lnTo>
                    <a:pt x="46" y="513"/>
                  </a:lnTo>
                  <a:lnTo>
                    <a:pt x="46" y="515"/>
                  </a:lnTo>
                  <a:lnTo>
                    <a:pt x="46" y="519"/>
                  </a:lnTo>
                  <a:lnTo>
                    <a:pt x="46" y="523"/>
                  </a:lnTo>
                  <a:lnTo>
                    <a:pt x="46" y="524"/>
                  </a:lnTo>
                  <a:lnTo>
                    <a:pt x="46" y="528"/>
                  </a:lnTo>
                  <a:lnTo>
                    <a:pt x="46" y="532"/>
                  </a:lnTo>
                  <a:lnTo>
                    <a:pt x="46" y="538"/>
                  </a:lnTo>
                  <a:lnTo>
                    <a:pt x="46" y="542"/>
                  </a:lnTo>
                  <a:lnTo>
                    <a:pt x="46" y="542"/>
                  </a:lnTo>
                  <a:lnTo>
                    <a:pt x="48" y="545"/>
                  </a:lnTo>
                  <a:lnTo>
                    <a:pt x="50" y="549"/>
                  </a:lnTo>
                  <a:lnTo>
                    <a:pt x="54" y="553"/>
                  </a:lnTo>
                  <a:lnTo>
                    <a:pt x="58" y="557"/>
                  </a:lnTo>
                  <a:lnTo>
                    <a:pt x="61" y="561"/>
                  </a:lnTo>
                  <a:lnTo>
                    <a:pt x="65" y="563"/>
                  </a:lnTo>
                  <a:lnTo>
                    <a:pt x="69" y="565"/>
                  </a:lnTo>
                  <a:lnTo>
                    <a:pt x="73" y="566"/>
                  </a:lnTo>
                  <a:lnTo>
                    <a:pt x="73" y="566"/>
                  </a:lnTo>
                  <a:lnTo>
                    <a:pt x="71" y="568"/>
                  </a:lnTo>
                  <a:lnTo>
                    <a:pt x="71" y="570"/>
                  </a:lnTo>
                  <a:lnTo>
                    <a:pt x="69" y="572"/>
                  </a:lnTo>
                  <a:lnTo>
                    <a:pt x="67" y="576"/>
                  </a:lnTo>
                  <a:lnTo>
                    <a:pt x="65" y="578"/>
                  </a:lnTo>
                  <a:lnTo>
                    <a:pt x="65" y="582"/>
                  </a:lnTo>
                  <a:lnTo>
                    <a:pt x="63" y="586"/>
                  </a:lnTo>
                  <a:lnTo>
                    <a:pt x="61" y="589"/>
                  </a:lnTo>
                  <a:lnTo>
                    <a:pt x="61" y="589"/>
                  </a:lnTo>
                  <a:lnTo>
                    <a:pt x="61" y="589"/>
                  </a:lnTo>
                  <a:lnTo>
                    <a:pt x="59" y="587"/>
                  </a:lnTo>
                  <a:lnTo>
                    <a:pt x="56" y="584"/>
                  </a:lnTo>
                  <a:lnTo>
                    <a:pt x="54" y="582"/>
                  </a:lnTo>
                  <a:lnTo>
                    <a:pt x="50" y="578"/>
                  </a:lnTo>
                  <a:lnTo>
                    <a:pt x="46" y="576"/>
                  </a:lnTo>
                  <a:lnTo>
                    <a:pt x="44" y="574"/>
                  </a:lnTo>
                  <a:lnTo>
                    <a:pt x="40" y="574"/>
                  </a:lnTo>
                  <a:lnTo>
                    <a:pt x="40" y="574"/>
                  </a:lnTo>
                  <a:lnTo>
                    <a:pt x="35" y="576"/>
                  </a:lnTo>
                  <a:lnTo>
                    <a:pt x="29" y="578"/>
                  </a:lnTo>
                  <a:lnTo>
                    <a:pt x="25" y="582"/>
                  </a:lnTo>
                  <a:lnTo>
                    <a:pt x="21" y="586"/>
                  </a:lnTo>
                  <a:lnTo>
                    <a:pt x="16" y="591"/>
                  </a:lnTo>
                  <a:lnTo>
                    <a:pt x="12" y="595"/>
                  </a:lnTo>
                  <a:lnTo>
                    <a:pt x="6" y="597"/>
                  </a:lnTo>
                  <a:lnTo>
                    <a:pt x="0" y="597"/>
                  </a:lnTo>
                  <a:lnTo>
                    <a:pt x="0" y="597"/>
                  </a:lnTo>
                  <a:lnTo>
                    <a:pt x="2" y="607"/>
                  </a:lnTo>
                  <a:lnTo>
                    <a:pt x="6" y="612"/>
                  </a:lnTo>
                  <a:lnTo>
                    <a:pt x="12" y="620"/>
                  </a:lnTo>
                  <a:lnTo>
                    <a:pt x="16" y="626"/>
                  </a:lnTo>
                  <a:lnTo>
                    <a:pt x="21" y="633"/>
                  </a:lnTo>
                  <a:lnTo>
                    <a:pt x="27" y="639"/>
                  </a:lnTo>
                  <a:lnTo>
                    <a:pt x="35" y="645"/>
                  </a:lnTo>
                  <a:lnTo>
                    <a:pt x="40" y="650"/>
                  </a:lnTo>
                  <a:lnTo>
                    <a:pt x="46" y="656"/>
                  </a:lnTo>
                  <a:lnTo>
                    <a:pt x="54" y="662"/>
                  </a:lnTo>
                  <a:lnTo>
                    <a:pt x="59" y="669"/>
                  </a:lnTo>
                  <a:lnTo>
                    <a:pt x="67" y="675"/>
                  </a:lnTo>
                  <a:lnTo>
                    <a:pt x="73" y="681"/>
                  </a:lnTo>
                  <a:lnTo>
                    <a:pt x="79" y="689"/>
                  </a:lnTo>
                  <a:lnTo>
                    <a:pt x="84" y="694"/>
                  </a:lnTo>
                  <a:lnTo>
                    <a:pt x="88" y="702"/>
                  </a:lnTo>
                  <a:lnTo>
                    <a:pt x="88" y="702"/>
                  </a:lnTo>
                  <a:lnTo>
                    <a:pt x="92" y="696"/>
                  </a:lnTo>
                  <a:lnTo>
                    <a:pt x="98" y="690"/>
                  </a:lnTo>
                  <a:lnTo>
                    <a:pt x="105" y="685"/>
                  </a:lnTo>
                  <a:lnTo>
                    <a:pt x="113" y="677"/>
                  </a:lnTo>
                  <a:lnTo>
                    <a:pt x="122" y="671"/>
                  </a:lnTo>
                  <a:lnTo>
                    <a:pt x="130" y="666"/>
                  </a:lnTo>
                  <a:lnTo>
                    <a:pt x="136" y="662"/>
                  </a:lnTo>
                  <a:lnTo>
                    <a:pt x="142" y="660"/>
                  </a:lnTo>
                  <a:lnTo>
                    <a:pt x="142" y="660"/>
                  </a:lnTo>
                  <a:lnTo>
                    <a:pt x="143" y="660"/>
                  </a:lnTo>
                  <a:lnTo>
                    <a:pt x="145" y="662"/>
                  </a:lnTo>
                  <a:lnTo>
                    <a:pt x="149" y="662"/>
                  </a:lnTo>
                  <a:lnTo>
                    <a:pt x="153" y="664"/>
                  </a:lnTo>
                  <a:lnTo>
                    <a:pt x="155" y="666"/>
                  </a:lnTo>
                  <a:lnTo>
                    <a:pt x="159" y="668"/>
                  </a:lnTo>
                  <a:lnTo>
                    <a:pt x="161" y="668"/>
                  </a:lnTo>
                  <a:lnTo>
                    <a:pt x="161" y="669"/>
                  </a:lnTo>
                  <a:lnTo>
                    <a:pt x="161" y="669"/>
                  </a:lnTo>
                  <a:lnTo>
                    <a:pt x="164" y="671"/>
                  </a:lnTo>
                  <a:lnTo>
                    <a:pt x="168" y="673"/>
                  </a:lnTo>
                  <a:lnTo>
                    <a:pt x="172" y="675"/>
                  </a:lnTo>
                  <a:lnTo>
                    <a:pt x="176" y="677"/>
                  </a:lnTo>
                  <a:lnTo>
                    <a:pt x="180" y="679"/>
                  </a:lnTo>
                  <a:lnTo>
                    <a:pt x="183" y="679"/>
                  </a:lnTo>
                  <a:lnTo>
                    <a:pt x="187" y="681"/>
                  </a:lnTo>
                  <a:lnTo>
                    <a:pt x="191" y="681"/>
                  </a:lnTo>
                  <a:lnTo>
                    <a:pt x="191" y="681"/>
                  </a:lnTo>
                  <a:lnTo>
                    <a:pt x="199" y="679"/>
                  </a:lnTo>
                  <a:lnTo>
                    <a:pt x="206" y="677"/>
                  </a:lnTo>
                  <a:lnTo>
                    <a:pt x="214" y="671"/>
                  </a:lnTo>
                  <a:lnTo>
                    <a:pt x="222" y="668"/>
                  </a:lnTo>
                  <a:lnTo>
                    <a:pt x="231" y="662"/>
                  </a:lnTo>
                  <a:lnTo>
                    <a:pt x="239" y="656"/>
                  </a:lnTo>
                  <a:lnTo>
                    <a:pt x="245" y="652"/>
                  </a:lnTo>
                  <a:lnTo>
                    <a:pt x="250" y="648"/>
                  </a:lnTo>
                  <a:lnTo>
                    <a:pt x="273" y="648"/>
                  </a:lnTo>
                  <a:lnTo>
                    <a:pt x="273" y="648"/>
                  </a:lnTo>
                  <a:lnTo>
                    <a:pt x="271" y="650"/>
                  </a:lnTo>
                  <a:lnTo>
                    <a:pt x="269" y="654"/>
                  </a:lnTo>
                  <a:lnTo>
                    <a:pt x="267" y="656"/>
                  </a:lnTo>
                  <a:lnTo>
                    <a:pt x="266" y="660"/>
                  </a:lnTo>
                  <a:lnTo>
                    <a:pt x="264" y="662"/>
                  </a:lnTo>
                  <a:lnTo>
                    <a:pt x="264" y="666"/>
                  </a:lnTo>
                  <a:lnTo>
                    <a:pt x="262" y="669"/>
                  </a:lnTo>
                  <a:lnTo>
                    <a:pt x="262" y="671"/>
                  </a:lnTo>
                  <a:lnTo>
                    <a:pt x="262" y="671"/>
                  </a:lnTo>
                  <a:lnTo>
                    <a:pt x="264" y="679"/>
                  </a:lnTo>
                  <a:lnTo>
                    <a:pt x="264" y="683"/>
                  </a:lnTo>
                  <a:lnTo>
                    <a:pt x="267" y="689"/>
                  </a:lnTo>
                  <a:lnTo>
                    <a:pt x="271" y="690"/>
                  </a:lnTo>
                  <a:lnTo>
                    <a:pt x="275" y="692"/>
                  </a:lnTo>
                  <a:lnTo>
                    <a:pt x="281" y="694"/>
                  </a:lnTo>
                  <a:lnTo>
                    <a:pt x="286" y="696"/>
                  </a:lnTo>
                  <a:lnTo>
                    <a:pt x="290" y="696"/>
                  </a:lnTo>
                  <a:lnTo>
                    <a:pt x="290" y="696"/>
                  </a:lnTo>
                  <a:lnTo>
                    <a:pt x="300" y="694"/>
                  </a:lnTo>
                  <a:lnTo>
                    <a:pt x="309" y="690"/>
                  </a:lnTo>
                  <a:lnTo>
                    <a:pt x="321" y="687"/>
                  </a:lnTo>
                  <a:lnTo>
                    <a:pt x="330" y="681"/>
                  </a:lnTo>
                  <a:lnTo>
                    <a:pt x="338" y="673"/>
                  </a:lnTo>
                  <a:lnTo>
                    <a:pt x="346" y="666"/>
                  </a:lnTo>
                  <a:lnTo>
                    <a:pt x="349" y="658"/>
                  </a:lnTo>
                  <a:lnTo>
                    <a:pt x="349" y="650"/>
                  </a:lnTo>
                  <a:lnTo>
                    <a:pt x="349" y="650"/>
                  </a:lnTo>
                  <a:lnTo>
                    <a:pt x="351" y="643"/>
                  </a:lnTo>
                  <a:lnTo>
                    <a:pt x="355" y="637"/>
                  </a:lnTo>
                  <a:lnTo>
                    <a:pt x="363" y="631"/>
                  </a:lnTo>
                  <a:lnTo>
                    <a:pt x="372" y="628"/>
                  </a:lnTo>
                  <a:lnTo>
                    <a:pt x="382" y="624"/>
                  </a:lnTo>
                  <a:lnTo>
                    <a:pt x="391" y="620"/>
                  </a:lnTo>
                  <a:lnTo>
                    <a:pt x="399" y="616"/>
                  </a:lnTo>
                  <a:lnTo>
                    <a:pt x="407" y="610"/>
                  </a:lnTo>
                  <a:lnTo>
                    <a:pt x="407" y="610"/>
                  </a:lnTo>
                  <a:lnTo>
                    <a:pt x="410" y="607"/>
                  </a:lnTo>
                  <a:lnTo>
                    <a:pt x="412" y="601"/>
                  </a:lnTo>
                  <a:lnTo>
                    <a:pt x="414" y="595"/>
                  </a:lnTo>
                  <a:lnTo>
                    <a:pt x="418" y="589"/>
                  </a:lnTo>
                  <a:lnTo>
                    <a:pt x="420" y="582"/>
                  </a:lnTo>
                  <a:lnTo>
                    <a:pt x="422" y="576"/>
                  </a:lnTo>
                  <a:lnTo>
                    <a:pt x="422" y="566"/>
                  </a:lnTo>
                  <a:lnTo>
                    <a:pt x="424" y="559"/>
                  </a:lnTo>
                  <a:lnTo>
                    <a:pt x="424" y="551"/>
                  </a:lnTo>
                  <a:lnTo>
                    <a:pt x="426" y="544"/>
                  </a:lnTo>
                  <a:lnTo>
                    <a:pt x="426" y="534"/>
                  </a:lnTo>
                  <a:lnTo>
                    <a:pt x="426" y="526"/>
                  </a:lnTo>
                  <a:lnTo>
                    <a:pt x="428" y="519"/>
                  </a:lnTo>
                  <a:lnTo>
                    <a:pt x="428" y="511"/>
                  </a:lnTo>
                  <a:lnTo>
                    <a:pt x="428" y="504"/>
                  </a:lnTo>
                  <a:lnTo>
                    <a:pt x="428" y="498"/>
                  </a:lnTo>
                  <a:lnTo>
                    <a:pt x="428" y="498"/>
                  </a:lnTo>
                  <a:lnTo>
                    <a:pt x="428" y="486"/>
                  </a:lnTo>
                  <a:lnTo>
                    <a:pt x="430" y="477"/>
                  </a:lnTo>
                  <a:lnTo>
                    <a:pt x="433" y="467"/>
                  </a:lnTo>
                  <a:lnTo>
                    <a:pt x="437" y="458"/>
                  </a:lnTo>
                  <a:lnTo>
                    <a:pt x="443" y="448"/>
                  </a:lnTo>
                  <a:lnTo>
                    <a:pt x="449" y="441"/>
                  </a:lnTo>
                  <a:lnTo>
                    <a:pt x="454" y="431"/>
                  </a:lnTo>
                  <a:lnTo>
                    <a:pt x="462" y="423"/>
                  </a:lnTo>
                  <a:lnTo>
                    <a:pt x="470" y="416"/>
                  </a:lnTo>
                  <a:lnTo>
                    <a:pt x="477" y="408"/>
                  </a:lnTo>
                  <a:lnTo>
                    <a:pt x="483" y="400"/>
                  </a:lnTo>
                  <a:lnTo>
                    <a:pt x="491" y="393"/>
                  </a:lnTo>
                  <a:lnTo>
                    <a:pt x="498" y="387"/>
                  </a:lnTo>
                  <a:lnTo>
                    <a:pt x="504" y="380"/>
                  </a:lnTo>
                  <a:lnTo>
                    <a:pt x="510" y="374"/>
                  </a:lnTo>
                  <a:lnTo>
                    <a:pt x="515" y="368"/>
                  </a:lnTo>
                  <a:lnTo>
                    <a:pt x="515" y="368"/>
                  </a:lnTo>
                  <a:lnTo>
                    <a:pt x="519" y="362"/>
                  </a:lnTo>
                  <a:lnTo>
                    <a:pt x="523" y="357"/>
                  </a:lnTo>
                  <a:lnTo>
                    <a:pt x="525" y="351"/>
                  </a:lnTo>
                  <a:lnTo>
                    <a:pt x="529" y="345"/>
                  </a:lnTo>
                  <a:lnTo>
                    <a:pt x="533" y="339"/>
                  </a:lnTo>
                  <a:lnTo>
                    <a:pt x="534" y="334"/>
                  </a:lnTo>
                  <a:lnTo>
                    <a:pt x="538" y="326"/>
                  </a:lnTo>
                  <a:lnTo>
                    <a:pt x="540" y="320"/>
                  </a:lnTo>
                  <a:lnTo>
                    <a:pt x="542" y="315"/>
                  </a:lnTo>
                  <a:lnTo>
                    <a:pt x="546" y="307"/>
                  </a:lnTo>
                  <a:lnTo>
                    <a:pt x="548" y="301"/>
                  </a:lnTo>
                  <a:lnTo>
                    <a:pt x="550" y="296"/>
                  </a:lnTo>
                  <a:lnTo>
                    <a:pt x="554" y="288"/>
                  </a:lnTo>
                  <a:lnTo>
                    <a:pt x="555" y="282"/>
                  </a:lnTo>
                  <a:lnTo>
                    <a:pt x="557" y="276"/>
                  </a:lnTo>
                  <a:lnTo>
                    <a:pt x="561" y="271"/>
                  </a:lnTo>
                  <a:lnTo>
                    <a:pt x="561" y="208"/>
                  </a:lnTo>
                  <a:lnTo>
                    <a:pt x="561" y="208"/>
                  </a:lnTo>
                  <a:lnTo>
                    <a:pt x="561" y="202"/>
                  </a:lnTo>
                  <a:lnTo>
                    <a:pt x="563" y="196"/>
                  </a:lnTo>
                  <a:lnTo>
                    <a:pt x="565" y="193"/>
                  </a:lnTo>
                  <a:lnTo>
                    <a:pt x="567" y="187"/>
                  </a:lnTo>
                  <a:lnTo>
                    <a:pt x="567" y="183"/>
                  </a:lnTo>
                  <a:lnTo>
                    <a:pt x="567" y="177"/>
                  </a:lnTo>
                  <a:lnTo>
                    <a:pt x="569" y="173"/>
                  </a:lnTo>
                  <a:lnTo>
                    <a:pt x="569" y="170"/>
                  </a:lnTo>
                  <a:lnTo>
                    <a:pt x="571" y="164"/>
                  </a:lnTo>
                  <a:lnTo>
                    <a:pt x="571" y="160"/>
                  </a:lnTo>
                  <a:lnTo>
                    <a:pt x="571" y="156"/>
                  </a:lnTo>
                  <a:lnTo>
                    <a:pt x="573" y="152"/>
                  </a:lnTo>
                  <a:lnTo>
                    <a:pt x="575" y="147"/>
                  </a:lnTo>
                  <a:lnTo>
                    <a:pt x="575" y="143"/>
                  </a:lnTo>
                  <a:lnTo>
                    <a:pt x="576" y="137"/>
                  </a:lnTo>
                  <a:lnTo>
                    <a:pt x="578" y="131"/>
                  </a:lnTo>
                  <a:lnTo>
                    <a:pt x="575" y="131"/>
                  </a:lnTo>
                  <a:lnTo>
                    <a:pt x="575" y="131"/>
                  </a:lnTo>
                  <a:lnTo>
                    <a:pt x="580" y="120"/>
                  </a:lnTo>
                  <a:lnTo>
                    <a:pt x="584" y="112"/>
                  </a:lnTo>
                  <a:lnTo>
                    <a:pt x="590" y="105"/>
                  </a:lnTo>
                  <a:lnTo>
                    <a:pt x="596" y="99"/>
                  </a:lnTo>
                  <a:lnTo>
                    <a:pt x="601" y="91"/>
                  </a:lnTo>
                  <a:lnTo>
                    <a:pt x="607" y="84"/>
                  </a:lnTo>
                  <a:lnTo>
                    <a:pt x="611" y="76"/>
                  </a:lnTo>
                  <a:lnTo>
                    <a:pt x="616" y="67"/>
                  </a:lnTo>
                  <a:lnTo>
                    <a:pt x="616" y="67"/>
                  </a:lnTo>
                  <a:lnTo>
                    <a:pt x="618" y="59"/>
                  </a:lnTo>
                  <a:lnTo>
                    <a:pt x="618" y="51"/>
                  </a:lnTo>
                  <a:lnTo>
                    <a:pt x="620" y="44"/>
                  </a:lnTo>
                  <a:lnTo>
                    <a:pt x="620" y="36"/>
                  </a:lnTo>
                  <a:lnTo>
                    <a:pt x="620" y="28"/>
                  </a:lnTo>
                  <a:lnTo>
                    <a:pt x="618" y="21"/>
                  </a:lnTo>
                  <a:lnTo>
                    <a:pt x="618" y="15"/>
                  </a:lnTo>
                  <a:lnTo>
                    <a:pt x="616" y="7"/>
                  </a:lnTo>
                  <a:lnTo>
                    <a:pt x="561" y="7"/>
                  </a:lnTo>
                  <a:lnTo>
                    <a:pt x="561" y="7"/>
                  </a:lnTo>
                  <a:lnTo>
                    <a:pt x="554" y="6"/>
                  </a:lnTo>
                  <a:lnTo>
                    <a:pt x="548" y="4"/>
                  </a:lnTo>
                  <a:lnTo>
                    <a:pt x="542" y="2"/>
                  </a:lnTo>
                  <a:lnTo>
                    <a:pt x="536" y="0"/>
                  </a:lnTo>
                  <a:lnTo>
                    <a:pt x="531" y="0"/>
                  </a:lnTo>
                  <a:lnTo>
                    <a:pt x="523" y="0"/>
                  </a:lnTo>
                  <a:lnTo>
                    <a:pt x="517" y="0"/>
                  </a:lnTo>
                  <a:lnTo>
                    <a:pt x="510" y="0"/>
                  </a:lnTo>
                  <a:lnTo>
                    <a:pt x="510" y="0"/>
                  </a:lnTo>
                  <a:lnTo>
                    <a:pt x="496" y="0"/>
                  </a:lnTo>
                  <a:lnTo>
                    <a:pt x="487" y="2"/>
                  </a:lnTo>
                  <a:lnTo>
                    <a:pt x="475" y="4"/>
                  </a:lnTo>
                  <a:lnTo>
                    <a:pt x="468" y="7"/>
                  </a:lnTo>
                  <a:lnTo>
                    <a:pt x="460" y="11"/>
                  </a:lnTo>
                  <a:lnTo>
                    <a:pt x="454" y="17"/>
                  </a:lnTo>
                  <a:lnTo>
                    <a:pt x="449" y="23"/>
                  </a:lnTo>
                  <a:lnTo>
                    <a:pt x="445" y="30"/>
                  </a:lnTo>
                  <a:lnTo>
                    <a:pt x="441" y="38"/>
                  </a:lnTo>
                  <a:lnTo>
                    <a:pt x="437" y="46"/>
                  </a:lnTo>
                  <a:lnTo>
                    <a:pt x="433" y="53"/>
                  </a:lnTo>
                  <a:lnTo>
                    <a:pt x="431" y="61"/>
                  </a:lnTo>
                  <a:lnTo>
                    <a:pt x="428" y="70"/>
                  </a:lnTo>
                  <a:lnTo>
                    <a:pt x="426" y="80"/>
                  </a:lnTo>
                  <a:lnTo>
                    <a:pt x="422" y="88"/>
                  </a:lnTo>
                  <a:lnTo>
                    <a:pt x="418" y="97"/>
                  </a:lnTo>
                  <a:lnTo>
                    <a:pt x="418" y="9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87" name="Freeform 131"/>
            <p:cNvSpPr>
              <a:spLocks/>
            </p:cNvSpPr>
            <p:nvPr/>
          </p:nvSpPr>
          <p:spPr bwMode="gray">
            <a:xfrm>
              <a:off x="2102" y="2563"/>
              <a:ext cx="41" cy="56"/>
            </a:xfrm>
            <a:custGeom>
              <a:avLst/>
              <a:gdLst/>
              <a:ahLst/>
              <a:cxnLst>
                <a:cxn ang="0">
                  <a:pos x="21" y="97"/>
                </a:cxn>
                <a:cxn ang="0">
                  <a:pos x="29" y="95"/>
                </a:cxn>
                <a:cxn ang="0">
                  <a:pos x="33" y="90"/>
                </a:cxn>
                <a:cxn ang="0">
                  <a:pos x="36" y="84"/>
                </a:cxn>
                <a:cxn ang="0">
                  <a:pos x="36" y="74"/>
                </a:cxn>
                <a:cxn ang="0">
                  <a:pos x="36" y="65"/>
                </a:cxn>
                <a:cxn ang="0">
                  <a:pos x="36" y="55"/>
                </a:cxn>
                <a:cxn ang="0">
                  <a:pos x="36" y="46"/>
                </a:cxn>
                <a:cxn ang="0">
                  <a:pos x="38" y="38"/>
                </a:cxn>
                <a:cxn ang="0">
                  <a:pos x="42" y="32"/>
                </a:cxn>
                <a:cxn ang="0">
                  <a:pos x="46" y="29"/>
                </a:cxn>
                <a:cxn ang="0">
                  <a:pos x="50" y="25"/>
                </a:cxn>
                <a:cxn ang="0">
                  <a:pos x="55" y="23"/>
                </a:cxn>
                <a:cxn ang="0">
                  <a:pos x="59" y="19"/>
                </a:cxn>
                <a:cxn ang="0">
                  <a:pos x="65" y="17"/>
                </a:cxn>
                <a:cxn ang="0">
                  <a:pos x="69" y="13"/>
                </a:cxn>
                <a:cxn ang="0">
                  <a:pos x="73" y="9"/>
                </a:cxn>
                <a:cxn ang="0">
                  <a:pos x="73" y="8"/>
                </a:cxn>
                <a:cxn ang="0">
                  <a:pos x="71" y="8"/>
                </a:cxn>
                <a:cxn ang="0">
                  <a:pos x="67" y="6"/>
                </a:cxn>
                <a:cxn ang="0">
                  <a:pos x="65" y="4"/>
                </a:cxn>
                <a:cxn ang="0">
                  <a:pos x="61" y="2"/>
                </a:cxn>
                <a:cxn ang="0">
                  <a:pos x="57" y="2"/>
                </a:cxn>
                <a:cxn ang="0">
                  <a:pos x="55" y="0"/>
                </a:cxn>
                <a:cxn ang="0">
                  <a:pos x="54" y="0"/>
                </a:cxn>
                <a:cxn ang="0">
                  <a:pos x="48" y="2"/>
                </a:cxn>
                <a:cxn ang="0">
                  <a:pos x="42" y="6"/>
                </a:cxn>
                <a:cxn ang="0">
                  <a:pos x="34" y="11"/>
                </a:cxn>
                <a:cxn ang="0">
                  <a:pos x="25" y="17"/>
                </a:cxn>
                <a:cxn ang="0">
                  <a:pos x="17" y="25"/>
                </a:cxn>
                <a:cxn ang="0">
                  <a:pos x="10" y="30"/>
                </a:cxn>
                <a:cxn ang="0">
                  <a:pos x="4" y="36"/>
                </a:cxn>
                <a:cxn ang="0">
                  <a:pos x="0" y="42"/>
                </a:cxn>
                <a:cxn ang="0">
                  <a:pos x="2" y="42"/>
                </a:cxn>
                <a:cxn ang="0">
                  <a:pos x="4" y="50"/>
                </a:cxn>
                <a:cxn ang="0">
                  <a:pos x="6" y="55"/>
                </a:cxn>
                <a:cxn ang="0">
                  <a:pos x="8" y="63"/>
                </a:cxn>
                <a:cxn ang="0">
                  <a:pos x="10" y="69"/>
                </a:cxn>
                <a:cxn ang="0">
                  <a:pos x="13" y="76"/>
                </a:cxn>
                <a:cxn ang="0">
                  <a:pos x="15" y="82"/>
                </a:cxn>
                <a:cxn ang="0">
                  <a:pos x="19" y="92"/>
                </a:cxn>
                <a:cxn ang="0">
                  <a:pos x="21" y="101"/>
                </a:cxn>
                <a:cxn ang="0">
                  <a:pos x="21" y="97"/>
                </a:cxn>
              </a:cxnLst>
              <a:rect l="0" t="0" r="r" b="b"/>
              <a:pathLst>
                <a:path w="73" h="101">
                  <a:moveTo>
                    <a:pt x="21" y="97"/>
                  </a:moveTo>
                  <a:lnTo>
                    <a:pt x="29" y="95"/>
                  </a:lnTo>
                  <a:lnTo>
                    <a:pt x="33" y="90"/>
                  </a:lnTo>
                  <a:lnTo>
                    <a:pt x="36" y="84"/>
                  </a:lnTo>
                  <a:lnTo>
                    <a:pt x="36" y="74"/>
                  </a:lnTo>
                  <a:lnTo>
                    <a:pt x="36" y="65"/>
                  </a:lnTo>
                  <a:lnTo>
                    <a:pt x="36" y="55"/>
                  </a:lnTo>
                  <a:lnTo>
                    <a:pt x="36" y="46"/>
                  </a:lnTo>
                  <a:lnTo>
                    <a:pt x="38" y="38"/>
                  </a:lnTo>
                  <a:lnTo>
                    <a:pt x="42" y="32"/>
                  </a:lnTo>
                  <a:lnTo>
                    <a:pt x="46" y="29"/>
                  </a:lnTo>
                  <a:lnTo>
                    <a:pt x="50" y="25"/>
                  </a:lnTo>
                  <a:lnTo>
                    <a:pt x="55" y="23"/>
                  </a:lnTo>
                  <a:lnTo>
                    <a:pt x="59" y="19"/>
                  </a:lnTo>
                  <a:lnTo>
                    <a:pt x="65" y="17"/>
                  </a:lnTo>
                  <a:lnTo>
                    <a:pt x="69" y="13"/>
                  </a:lnTo>
                  <a:lnTo>
                    <a:pt x="73" y="9"/>
                  </a:lnTo>
                  <a:lnTo>
                    <a:pt x="73" y="8"/>
                  </a:lnTo>
                  <a:lnTo>
                    <a:pt x="71" y="8"/>
                  </a:lnTo>
                  <a:lnTo>
                    <a:pt x="67" y="6"/>
                  </a:lnTo>
                  <a:lnTo>
                    <a:pt x="65" y="4"/>
                  </a:lnTo>
                  <a:lnTo>
                    <a:pt x="61" y="2"/>
                  </a:lnTo>
                  <a:lnTo>
                    <a:pt x="57" y="2"/>
                  </a:lnTo>
                  <a:lnTo>
                    <a:pt x="55" y="0"/>
                  </a:lnTo>
                  <a:lnTo>
                    <a:pt x="54" y="0"/>
                  </a:lnTo>
                  <a:lnTo>
                    <a:pt x="48" y="2"/>
                  </a:lnTo>
                  <a:lnTo>
                    <a:pt x="42" y="6"/>
                  </a:lnTo>
                  <a:lnTo>
                    <a:pt x="34" y="11"/>
                  </a:lnTo>
                  <a:lnTo>
                    <a:pt x="25" y="17"/>
                  </a:lnTo>
                  <a:lnTo>
                    <a:pt x="17" y="25"/>
                  </a:lnTo>
                  <a:lnTo>
                    <a:pt x="10" y="30"/>
                  </a:lnTo>
                  <a:lnTo>
                    <a:pt x="4" y="36"/>
                  </a:lnTo>
                  <a:lnTo>
                    <a:pt x="0" y="42"/>
                  </a:lnTo>
                  <a:lnTo>
                    <a:pt x="2" y="42"/>
                  </a:lnTo>
                  <a:lnTo>
                    <a:pt x="4" y="50"/>
                  </a:lnTo>
                  <a:lnTo>
                    <a:pt x="6" y="55"/>
                  </a:lnTo>
                  <a:lnTo>
                    <a:pt x="8" y="63"/>
                  </a:lnTo>
                  <a:lnTo>
                    <a:pt x="10" y="69"/>
                  </a:lnTo>
                  <a:lnTo>
                    <a:pt x="13" y="76"/>
                  </a:lnTo>
                  <a:lnTo>
                    <a:pt x="15" y="82"/>
                  </a:lnTo>
                  <a:lnTo>
                    <a:pt x="19" y="92"/>
                  </a:lnTo>
                  <a:lnTo>
                    <a:pt x="21" y="101"/>
                  </a:lnTo>
                  <a:lnTo>
                    <a:pt x="21" y="97"/>
                  </a:lnTo>
                  <a:close/>
                </a:path>
              </a:pathLst>
            </a:custGeom>
            <a:no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388" name="Freeform 132"/>
            <p:cNvSpPr>
              <a:spLocks/>
            </p:cNvSpPr>
            <p:nvPr/>
          </p:nvSpPr>
          <p:spPr bwMode="gray">
            <a:xfrm>
              <a:off x="1952" y="2267"/>
              <a:ext cx="257" cy="262"/>
            </a:xfrm>
            <a:custGeom>
              <a:avLst/>
              <a:gdLst/>
              <a:ahLst/>
              <a:cxnLst>
                <a:cxn ang="0">
                  <a:pos x="351" y="11"/>
                </a:cxn>
                <a:cxn ang="0">
                  <a:pos x="347" y="27"/>
                </a:cxn>
                <a:cxn ang="0">
                  <a:pos x="345" y="42"/>
                </a:cxn>
                <a:cxn ang="0">
                  <a:pos x="345" y="67"/>
                </a:cxn>
                <a:cxn ang="0">
                  <a:pos x="345" y="88"/>
                </a:cxn>
                <a:cxn ang="0">
                  <a:pos x="364" y="86"/>
                </a:cxn>
                <a:cxn ang="0">
                  <a:pos x="379" y="78"/>
                </a:cxn>
                <a:cxn ang="0">
                  <a:pos x="395" y="73"/>
                </a:cxn>
                <a:cxn ang="0">
                  <a:pos x="414" y="71"/>
                </a:cxn>
                <a:cxn ang="0">
                  <a:pos x="433" y="78"/>
                </a:cxn>
                <a:cxn ang="0">
                  <a:pos x="446" y="103"/>
                </a:cxn>
                <a:cxn ang="0">
                  <a:pos x="439" y="128"/>
                </a:cxn>
                <a:cxn ang="0">
                  <a:pos x="406" y="153"/>
                </a:cxn>
                <a:cxn ang="0">
                  <a:pos x="402" y="183"/>
                </a:cxn>
                <a:cxn ang="0">
                  <a:pos x="437" y="204"/>
                </a:cxn>
                <a:cxn ang="0">
                  <a:pos x="454" y="227"/>
                </a:cxn>
                <a:cxn ang="0">
                  <a:pos x="452" y="258"/>
                </a:cxn>
                <a:cxn ang="0">
                  <a:pos x="444" y="290"/>
                </a:cxn>
                <a:cxn ang="0">
                  <a:pos x="437" y="322"/>
                </a:cxn>
                <a:cxn ang="0">
                  <a:pos x="429" y="345"/>
                </a:cxn>
                <a:cxn ang="0">
                  <a:pos x="427" y="357"/>
                </a:cxn>
                <a:cxn ang="0">
                  <a:pos x="418" y="368"/>
                </a:cxn>
                <a:cxn ang="0">
                  <a:pos x="412" y="366"/>
                </a:cxn>
                <a:cxn ang="0">
                  <a:pos x="400" y="353"/>
                </a:cxn>
                <a:cxn ang="0">
                  <a:pos x="393" y="349"/>
                </a:cxn>
                <a:cxn ang="0">
                  <a:pos x="378" y="359"/>
                </a:cxn>
                <a:cxn ang="0">
                  <a:pos x="360" y="363"/>
                </a:cxn>
                <a:cxn ang="0">
                  <a:pos x="334" y="343"/>
                </a:cxn>
                <a:cxn ang="0">
                  <a:pos x="313" y="324"/>
                </a:cxn>
                <a:cxn ang="0">
                  <a:pos x="297" y="332"/>
                </a:cxn>
                <a:cxn ang="0">
                  <a:pos x="284" y="353"/>
                </a:cxn>
                <a:cxn ang="0">
                  <a:pos x="265" y="364"/>
                </a:cxn>
                <a:cxn ang="0">
                  <a:pos x="229" y="364"/>
                </a:cxn>
                <a:cxn ang="0">
                  <a:pos x="221" y="395"/>
                </a:cxn>
                <a:cxn ang="0">
                  <a:pos x="221" y="408"/>
                </a:cxn>
                <a:cxn ang="0">
                  <a:pos x="221" y="422"/>
                </a:cxn>
                <a:cxn ang="0">
                  <a:pos x="233" y="437"/>
                </a:cxn>
                <a:cxn ang="0">
                  <a:pos x="248" y="446"/>
                </a:cxn>
                <a:cxn ang="0">
                  <a:pos x="244" y="452"/>
                </a:cxn>
                <a:cxn ang="0">
                  <a:pos x="238" y="466"/>
                </a:cxn>
                <a:cxn ang="0">
                  <a:pos x="234" y="467"/>
                </a:cxn>
                <a:cxn ang="0">
                  <a:pos x="221" y="456"/>
                </a:cxn>
                <a:cxn ang="0">
                  <a:pos x="210" y="456"/>
                </a:cxn>
                <a:cxn ang="0">
                  <a:pos x="191" y="471"/>
                </a:cxn>
                <a:cxn ang="0">
                  <a:pos x="175" y="477"/>
                </a:cxn>
                <a:cxn ang="0">
                  <a:pos x="158" y="452"/>
                </a:cxn>
                <a:cxn ang="0">
                  <a:pos x="139" y="431"/>
                </a:cxn>
                <a:cxn ang="0">
                  <a:pos x="118" y="414"/>
                </a:cxn>
                <a:cxn ang="0">
                  <a:pos x="95" y="393"/>
                </a:cxn>
                <a:cxn ang="0">
                  <a:pos x="78" y="368"/>
                </a:cxn>
                <a:cxn ang="0">
                  <a:pos x="63" y="336"/>
                </a:cxn>
                <a:cxn ang="0">
                  <a:pos x="49" y="319"/>
                </a:cxn>
                <a:cxn ang="0">
                  <a:pos x="30" y="296"/>
                </a:cxn>
                <a:cxn ang="0">
                  <a:pos x="13" y="269"/>
                </a:cxn>
                <a:cxn ang="0">
                  <a:pos x="2" y="242"/>
                </a:cxn>
                <a:cxn ang="0">
                  <a:pos x="6" y="231"/>
                </a:cxn>
                <a:cxn ang="0">
                  <a:pos x="27" y="208"/>
                </a:cxn>
                <a:cxn ang="0">
                  <a:pos x="46" y="160"/>
                </a:cxn>
                <a:cxn ang="0">
                  <a:pos x="61" y="113"/>
                </a:cxn>
                <a:cxn ang="0">
                  <a:pos x="204" y="94"/>
                </a:cxn>
                <a:cxn ang="0">
                  <a:pos x="360" y="4"/>
                </a:cxn>
              </a:cxnLst>
              <a:rect l="0" t="0" r="r" b="b"/>
              <a:pathLst>
                <a:path w="454" h="477">
                  <a:moveTo>
                    <a:pt x="357" y="4"/>
                  </a:moveTo>
                  <a:lnTo>
                    <a:pt x="357" y="4"/>
                  </a:lnTo>
                  <a:lnTo>
                    <a:pt x="355" y="8"/>
                  </a:lnTo>
                  <a:lnTo>
                    <a:pt x="351" y="11"/>
                  </a:lnTo>
                  <a:lnTo>
                    <a:pt x="351" y="15"/>
                  </a:lnTo>
                  <a:lnTo>
                    <a:pt x="349" y="19"/>
                  </a:lnTo>
                  <a:lnTo>
                    <a:pt x="347" y="23"/>
                  </a:lnTo>
                  <a:lnTo>
                    <a:pt x="347" y="27"/>
                  </a:lnTo>
                  <a:lnTo>
                    <a:pt x="345" y="32"/>
                  </a:lnTo>
                  <a:lnTo>
                    <a:pt x="345" y="38"/>
                  </a:lnTo>
                  <a:lnTo>
                    <a:pt x="345" y="38"/>
                  </a:lnTo>
                  <a:lnTo>
                    <a:pt x="345" y="42"/>
                  </a:lnTo>
                  <a:lnTo>
                    <a:pt x="345" y="48"/>
                  </a:lnTo>
                  <a:lnTo>
                    <a:pt x="345" y="53"/>
                  </a:lnTo>
                  <a:lnTo>
                    <a:pt x="345" y="59"/>
                  </a:lnTo>
                  <a:lnTo>
                    <a:pt x="345" y="67"/>
                  </a:lnTo>
                  <a:lnTo>
                    <a:pt x="345" y="73"/>
                  </a:lnTo>
                  <a:lnTo>
                    <a:pt x="345" y="80"/>
                  </a:lnTo>
                  <a:lnTo>
                    <a:pt x="345" y="88"/>
                  </a:lnTo>
                  <a:lnTo>
                    <a:pt x="345" y="88"/>
                  </a:lnTo>
                  <a:lnTo>
                    <a:pt x="351" y="88"/>
                  </a:lnTo>
                  <a:lnTo>
                    <a:pt x="355" y="88"/>
                  </a:lnTo>
                  <a:lnTo>
                    <a:pt x="360" y="86"/>
                  </a:lnTo>
                  <a:lnTo>
                    <a:pt x="364" y="86"/>
                  </a:lnTo>
                  <a:lnTo>
                    <a:pt x="368" y="84"/>
                  </a:lnTo>
                  <a:lnTo>
                    <a:pt x="372" y="82"/>
                  </a:lnTo>
                  <a:lnTo>
                    <a:pt x="376" y="80"/>
                  </a:lnTo>
                  <a:lnTo>
                    <a:pt x="379" y="78"/>
                  </a:lnTo>
                  <a:lnTo>
                    <a:pt x="383" y="76"/>
                  </a:lnTo>
                  <a:lnTo>
                    <a:pt x="387" y="76"/>
                  </a:lnTo>
                  <a:lnTo>
                    <a:pt x="391" y="74"/>
                  </a:lnTo>
                  <a:lnTo>
                    <a:pt x="395" y="73"/>
                  </a:lnTo>
                  <a:lnTo>
                    <a:pt x="400" y="73"/>
                  </a:lnTo>
                  <a:lnTo>
                    <a:pt x="404" y="71"/>
                  </a:lnTo>
                  <a:lnTo>
                    <a:pt x="408" y="71"/>
                  </a:lnTo>
                  <a:lnTo>
                    <a:pt x="414" y="71"/>
                  </a:lnTo>
                  <a:lnTo>
                    <a:pt x="414" y="71"/>
                  </a:lnTo>
                  <a:lnTo>
                    <a:pt x="420" y="71"/>
                  </a:lnTo>
                  <a:lnTo>
                    <a:pt x="427" y="74"/>
                  </a:lnTo>
                  <a:lnTo>
                    <a:pt x="433" y="78"/>
                  </a:lnTo>
                  <a:lnTo>
                    <a:pt x="437" y="84"/>
                  </a:lnTo>
                  <a:lnTo>
                    <a:pt x="441" y="90"/>
                  </a:lnTo>
                  <a:lnTo>
                    <a:pt x="444" y="97"/>
                  </a:lnTo>
                  <a:lnTo>
                    <a:pt x="446" y="103"/>
                  </a:lnTo>
                  <a:lnTo>
                    <a:pt x="446" y="111"/>
                  </a:lnTo>
                  <a:lnTo>
                    <a:pt x="446" y="111"/>
                  </a:lnTo>
                  <a:lnTo>
                    <a:pt x="444" y="120"/>
                  </a:lnTo>
                  <a:lnTo>
                    <a:pt x="439" y="128"/>
                  </a:lnTo>
                  <a:lnTo>
                    <a:pt x="431" y="134"/>
                  </a:lnTo>
                  <a:lnTo>
                    <a:pt x="423" y="139"/>
                  </a:lnTo>
                  <a:lnTo>
                    <a:pt x="414" y="145"/>
                  </a:lnTo>
                  <a:lnTo>
                    <a:pt x="406" y="153"/>
                  </a:lnTo>
                  <a:lnTo>
                    <a:pt x="400" y="162"/>
                  </a:lnTo>
                  <a:lnTo>
                    <a:pt x="399" y="174"/>
                  </a:lnTo>
                  <a:lnTo>
                    <a:pt x="399" y="174"/>
                  </a:lnTo>
                  <a:lnTo>
                    <a:pt x="402" y="183"/>
                  </a:lnTo>
                  <a:lnTo>
                    <a:pt x="408" y="189"/>
                  </a:lnTo>
                  <a:lnTo>
                    <a:pt x="416" y="195"/>
                  </a:lnTo>
                  <a:lnTo>
                    <a:pt x="427" y="200"/>
                  </a:lnTo>
                  <a:lnTo>
                    <a:pt x="437" y="204"/>
                  </a:lnTo>
                  <a:lnTo>
                    <a:pt x="446" y="210"/>
                  </a:lnTo>
                  <a:lnTo>
                    <a:pt x="452" y="218"/>
                  </a:lnTo>
                  <a:lnTo>
                    <a:pt x="454" y="227"/>
                  </a:lnTo>
                  <a:lnTo>
                    <a:pt x="454" y="227"/>
                  </a:lnTo>
                  <a:lnTo>
                    <a:pt x="454" y="235"/>
                  </a:lnTo>
                  <a:lnTo>
                    <a:pt x="454" y="242"/>
                  </a:lnTo>
                  <a:lnTo>
                    <a:pt x="454" y="250"/>
                  </a:lnTo>
                  <a:lnTo>
                    <a:pt x="452" y="258"/>
                  </a:lnTo>
                  <a:lnTo>
                    <a:pt x="450" y="265"/>
                  </a:lnTo>
                  <a:lnTo>
                    <a:pt x="448" y="273"/>
                  </a:lnTo>
                  <a:lnTo>
                    <a:pt x="446" y="282"/>
                  </a:lnTo>
                  <a:lnTo>
                    <a:pt x="444" y="290"/>
                  </a:lnTo>
                  <a:lnTo>
                    <a:pt x="442" y="300"/>
                  </a:lnTo>
                  <a:lnTo>
                    <a:pt x="441" y="307"/>
                  </a:lnTo>
                  <a:lnTo>
                    <a:pt x="439" y="315"/>
                  </a:lnTo>
                  <a:lnTo>
                    <a:pt x="437" y="322"/>
                  </a:lnTo>
                  <a:lnTo>
                    <a:pt x="435" y="328"/>
                  </a:lnTo>
                  <a:lnTo>
                    <a:pt x="431" y="334"/>
                  </a:lnTo>
                  <a:lnTo>
                    <a:pt x="431" y="340"/>
                  </a:lnTo>
                  <a:lnTo>
                    <a:pt x="429" y="345"/>
                  </a:lnTo>
                  <a:lnTo>
                    <a:pt x="429" y="345"/>
                  </a:lnTo>
                  <a:lnTo>
                    <a:pt x="427" y="349"/>
                  </a:lnTo>
                  <a:lnTo>
                    <a:pt x="427" y="353"/>
                  </a:lnTo>
                  <a:lnTo>
                    <a:pt x="427" y="357"/>
                  </a:lnTo>
                  <a:lnTo>
                    <a:pt x="425" y="361"/>
                  </a:lnTo>
                  <a:lnTo>
                    <a:pt x="423" y="363"/>
                  </a:lnTo>
                  <a:lnTo>
                    <a:pt x="421" y="366"/>
                  </a:lnTo>
                  <a:lnTo>
                    <a:pt x="418" y="368"/>
                  </a:lnTo>
                  <a:lnTo>
                    <a:pt x="414" y="368"/>
                  </a:lnTo>
                  <a:lnTo>
                    <a:pt x="414" y="368"/>
                  </a:lnTo>
                  <a:lnTo>
                    <a:pt x="414" y="368"/>
                  </a:lnTo>
                  <a:lnTo>
                    <a:pt x="412" y="366"/>
                  </a:lnTo>
                  <a:lnTo>
                    <a:pt x="408" y="363"/>
                  </a:lnTo>
                  <a:lnTo>
                    <a:pt x="406" y="359"/>
                  </a:lnTo>
                  <a:lnTo>
                    <a:pt x="404" y="355"/>
                  </a:lnTo>
                  <a:lnTo>
                    <a:pt x="400" y="353"/>
                  </a:lnTo>
                  <a:lnTo>
                    <a:pt x="400" y="349"/>
                  </a:lnTo>
                  <a:lnTo>
                    <a:pt x="399" y="347"/>
                  </a:lnTo>
                  <a:lnTo>
                    <a:pt x="399" y="347"/>
                  </a:lnTo>
                  <a:lnTo>
                    <a:pt x="393" y="349"/>
                  </a:lnTo>
                  <a:lnTo>
                    <a:pt x="389" y="351"/>
                  </a:lnTo>
                  <a:lnTo>
                    <a:pt x="385" y="353"/>
                  </a:lnTo>
                  <a:lnTo>
                    <a:pt x="381" y="357"/>
                  </a:lnTo>
                  <a:lnTo>
                    <a:pt x="378" y="359"/>
                  </a:lnTo>
                  <a:lnTo>
                    <a:pt x="374" y="361"/>
                  </a:lnTo>
                  <a:lnTo>
                    <a:pt x="368" y="363"/>
                  </a:lnTo>
                  <a:lnTo>
                    <a:pt x="360" y="363"/>
                  </a:lnTo>
                  <a:lnTo>
                    <a:pt x="360" y="363"/>
                  </a:lnTo>
                  <a:lnTo>
                    <a:pt x="351" y="363"/>
                  </a:lnTo>
                  <a:lnTo>
                    <a:pt x="343" y="357"/>
                  </a:lnTo>
                  <a:lnTo>
                    <a:pt x="338" y="351"/>
                  </a:lnTo>
                  <a:lnTo>
                    <a:pt x="334" y="343"/>
                  </a:lnTo>
                  <a:lnTo>
                    <a:pt x="328" y="338"/>
                  </a:lnTo>
                  <a:lnTo>
                    <a:pt x="324" y="330"/>
                  </a:lnTo>
                  <a:lnTo>
                    <a:pt x="318" y="326"/>
                  </a:lnTo>
                  <a:lnTo>
                    <a:pt x="313" y="324"/>
                  </a:lnTo>
                  <a:lnTo>
                    <a:pt x="313" y="324"/>
                  </a:lnTo>
                  <a:lnTo>
                    <a:pt x="307" y="324"/>
                  </a:lnTo>
                  <a:lnTo>
                    <a:pt x="301" y="328"/>
                  </a:lnTo>
                  <a:lnTo>
                    <a:pt x="297" y="332"/>
                  </a:lnTo>
                  <a:lnTo>
                    <a:pt x="294" y="336"/>
                  </a:lnTo>
                  <a:lnTo>
                    <a:pt x="292" y="342"/>
                  </a:lnTo>
                  <a:lnTo>
                    <a:pt x="288" y="347"/>
                  </a:lnTo>
                  <a:lnTo>
                    <a:pt x="284" y="353"/>
                  </a:lnTo>
                  <a:lnTo>
                    <a:pt x="280" y="357"/>
                  </a:lnTo>
                  <a:lnTo>
                    <a:pt x="280" y="357"/>
                  </a:lnTo>
                  <a:lnTo>
                    <a:pt x="273" y="363"/>
                  </a:lnTo>
                  <a:lnTo>
                    <a:pt x="265" y="364"/>
                  </a:lnTo>
                  <a:lnTo>
                    <a:pt x="255" y="363"/>
                  </a:lnTo>
                  <a:lnTo>
                    <a:pt x="246" y="361"/>
                  </a:lnTo>
                  <a:lnTo>
                    <a:pt x="236" y="361"/>
                  </a:lnTo>
                  <a:lnTo>
                    <a:pt x="229" y="364"/>
                  </a:lnTo>
                  <a:lnTo>
                    <a:pt x="223" y="374"/>
                  </a:lnTo>
                  <a:lnTo>
                    <a:pt x="221" y="393"/>
                  </a:lnTo>
                  <a:lnTo>
                    <a:pt x="221" y="393"/>
                  </a:lnTo>
                  <a:lnTo>
                    <a:pt x="221" y="395"/>
                  </a:lnTo>
                  <a:lnTo>
                    <a:pt x="221" y="399"/>
                  </a:lnTo>
                  <a:lnTo>
                    <a:pt x="221" y="403"/>
                  </a:lnTo>
                  <a:lnTo>
                    <a:pt x="221" y="404"/>
                  </a:lnTo>
                  <a:lnTo>
                    <a:pt x="221" y="408"/>
                  </a:lnTo>
                  <a:lnTo>
                    <a:pt x="221" y="412"/>
                  </a:lnTo>
                  <a:lnTo>
                    <a:pt x="221" y="418"/>
                  </a:lnTo>
                  <a:lnTo>
                    <a:pt x="221" y="422"/>
                  </a:lnTo>
                  <a:lnTo>
                    <a:pt x="221" y="422"/>
                  </a:lnTo>
                  <a:lnTo>
                    <a:pt x="223" y="425"/>
                  </a:lnTo>
                  <a:lnTo>
                    <a:pt x="225" y="429"/>
                  </a:lnTo>
                  <a:lnTo>
                    <a:pt x="229" y="433"/>
                  </a:lnTo>
                  <a:lnTo>
                    <a:pt x="233" y="437"/>
                  </a:lnTo>
                  <a:lnTo>
                    <a:pt x="236" y="441"/>
                  </a:lnTo>
                  <a:lnTo>
                    <a:pt x="240" y="443"/>
                  </a:lnTo>
                  <a:lnTo>
                    <a:pt x="244" y="445"/>
                  </a:lnTo>
                  <a:lnTo>
                    <a:pt x="248" y="446"/>
                  </a:lnTo>
                  <a:lnTo>
                    <a:pt x="248" y="446"/>
                  </a:lnTo>
                  <a:lnTo>
                    <a:pt x="246" y="448"/>
                  </a:lnTo>
                  <a:lnTo>
                    <a:pt x="246" y="450"/>
                  </a:lnTo>
                  <a:lnTo>
                    <a:pt x="244" y="452"/>
                  </a:lnTo>
                  <a:lnTo>
                    <a:pt x="242" y="456"/>
                  </a:lnTo>
                  <a:lnTo>
                    <a:pt x="240" y="458"/>
                  </a:lnTo>
                  <a:lnTo>
                    <a:pt x="240" y="462"/>
                  </a:lnTo>
                  <a:lnTo>
                    <a:pt x="238" y="466"/>
                  </a:lnTo>
                  <a:lnTo>
                    <a:pt x="236" y="469"/>
                  </a:lnTo>
                  <a:lnTo>
                    <a:pt x="236" y="469"/>
                  </a:lnTo>
                  <a:lnTo>
                    <a:pt x="236" y="469"/>
                  </a:lnTo>
                  <a:lnTo>
                    <a:pt x="234" y="467"/>
                  </a:lnTo>
                  <a:lnTo>
                    <a:pt x="231" y="464"/>
                  </a:lnTo>
                  <a:lnTo>
                    <a:pt x="229" y="462"/>
                  </a:lnTo>
                  <a:lnTo>
                    <a:pt x="225" y="458"/>
                  </a:lnTo>
                  <a:lnTo>
                    <a:pt x="221" y="456"/>
                  </a:lnTo>
                  <a:lnTo>
                    <a:pt x="219" y="454"/>
                  </a:lnTo>
                  <a:lnTo>
                    <a:pt x="215" y="454"/>
                  </a:lnTo>
                  <a:lnTo>
                    <a:pt x="215" y="454"/>
                  </a:lnTo>
                  <a:lnTo>
                    <a:pt x="210" y="456"/>
                  </a:lnTo>
                  <a:lnTo>
                    <a:pt x="204" y="458"/>
                  </a:lnTo>
                  <a:lnTo>
                    <a:pt x="200" y="462"/>
                  </a:lnTo>
                  <a:lnTo>
                    <a:pt x="196" y="466"/>
                  </a:lnTo>
                  <a:lnTo>
                    <a:pt x="191" y="471"/>
                  </a:lnTo>
                  <a:lnTo>
                    <a:pt x="187" y="475"/>
                  </a:lnTo>
                  <a:lnTo>
                    <a:pt x="181" y="477"/>
                  </a:lnTo>
                  <a:lnTo>
                    <a:pt x="175" y="477"/>
                  </a:lnTo>
                  <a:lnTo>
                    <a:pt x="175" y="477"/>
                  </a:lnTo>
                  <a:lnTo>
                    <a:pt x="172" y="471"/>
                  </a:lnTo>
                  <a:lnTo>
                    <a:pt x="168" y="464"/>
                  </a:lnTo>
                  <a:lnTo>
                    <a:pt x="162" y="458"/>
                  </a:lnTo>
                  <a:lnTo>
                    <a:pt x="158" y="452"/>
                  </a:lnTo>
                  <a:lnTo>
                    <a:pt x="152" y="446"/>
                  </a:lnTo>
                  <a:lnTo>
                    <a:pt x="149" y="441"/>
                  </a:lnTo>
                  <a:lnTo>
                    <a:pt x="143" y="437"/>
                  </a:lnTo>
                  <a:lnTo>
                    <a:pt x="139" y="431"/>
                  </a:lnTo>
                  <a:lnTo>
                    <a:pt x="133" y="427"/>
                  </a:lnTo>
                  <a:lnTo>
                    <a:pt x="128" y="422"/>
                  </a:lnTo>
                  <a:lnTo>
                    <a:pt x="122" y="418"/>
                  </a:lnTo>
                  <a:lnTo>
                    <a:pt x="118" y="414"/>
                  </a:lnTo>
                  <a:lnTo>
                    <a:pt x="112" y="408"/>
                  </a:lnTo>
                  <a:lnTo>
                    <a:pt x="107" y="403"/>
                  </a:lnTo>
                  <a:lnTo>
                    <a:pt x="101" y="399"/>
                  </a:lnTo>
                  <a:lnTo>
                    <a:pt x="95" y="393"/>
                  </a:lnTo>
                  <a:lnTo>
                    <a:pt x="95" y="393"/>
                  </a:lnTo>
                  <a:lnTo>
                    <a:pt x="88" y="385"/>
                  </a:lnTo>
                  <a:lnTo>
                    <a:pt x="82" y="378"/>
                  </a:lnTo>
                  <a:lnTo>
                    <a:pt x="78" y="368"/>
                  </a:lnTo>
                  <a:lnTo>
                    <a:pt x="74" y="361"/>
                  </a:lnTo>
                  <a:lnTo>
                    <a:pt x="70" y="353"/>
                  </a:lnTo>
                  <a:lnTo>
                    <a:pt x="67" y="345"/>
                  </a:lnTo>
                  <a:lnTo>
                    <a:pt x="63" y="336"/>
                  </a:lnTo>
                  <a:lnTo>
                    <a:pt x="57" y="328"/>
                  </a:lnTo>
                  <a:lnTo>
                    <a:pt x="57" y="328"/>
                  </a:lnTo>
                  <a:lnTo>
                    <a:pt x="53" y="322"/>
                  </a:lnTo>
                  <a:lnTo>
                    <a:pt x="49" y="319"/>
                  </a:lnTo>
                  <a:lnTo>
                    <a:pt x="44" y="313"/>
                  </a:lnTo>
                  <a:lnTo>
                    <a:pt x="40" y="307"/>
                  </a:lnTo>
                  <a:lnTo>
                    <a:pt x="36" y="301"/>
                  </a:lnTo>
                  <a:lnTo>
                    <a:pt x="30" y="296"/>
                  </a:lnTo>
                  <a:lnTo>
                    <a:pt x="27" y="288"/>
                  </a:lnTo>
                  <a:lnTo>
                    <a:pt x="21" y="282"/>
                  </a:lnTo>
                  <a:lnTo>
                    <a:pt x="17" y="275"/>
                  </a:lnTo>
                  <a:lnTo>
                    <a:pt x="13" y="269"/>
                  </a:lnTo>
                  <a:lnTo>
                    <a:pt x="9" y="261"/>
                  </a:lnTo>
                  <a:lnTo>
                    <a:pt x="6" y="256"/>
                  </a:lnTo>
                  <a:lnTo>
                    <a:pt x="4" y="248"/>
                  </a:lnTo>
                  <a:lnTo>
                    <a:pt x="2" y="242"/>
                  </a:lnTo>
                  <a:lnTo>
                    <a:pt x="0" y="235"/>
                  </a:lnTo>
                  <a:lnTo>
                    <a:pt x="0" y="229"/>
                  </a:lnTo>
                  <a:lnTo>
                    <a:pt x="0" y="229"/>
                  </a:lnTo>
                  <a:lnTo>
                    <a:pt x="6" y="231"/>
                  </a:lnTo>
                  <a:lnTo>
                    <a:pt x="9" y="229"/>
                  </a:lnTo>
                  <a:lnTo>
                    <a:pt x="15" y="225"/>
                  </a:lnTo>
                  <a:lnTo>
                    <a:pt x="21" y="218"/>
                  </a:lnTo>
                  <a:lnTo>
                    <a:pt x="27" y="208"/>
                  </a:lnTo>
                  <a:lnTo>
                    <a:pt x="32" y="198"/>
                  </a:lnTo>
                  <a:lnTo>
                    <a:pt x="36" y="187"/>
                  </a:lnTo>
                  <a:lnTo>
                    <a:pt x="42" y="174"/>
                  </a:lnTo>
                  <a:lnTo>
                    <a:pt x="46" y="160"/>
                  </a:lnTo>
                  <a:lnTo>
                    <a:pt x="51" y="147"/>
                  </a:lnTo>
                  <a:lnTo>
                    <a:pt x="55" y="136"/>
                  </a:lnTo>
                  <a:lnTo>
                    <a:pt x="57" y="124"/>
                  </a:lnTo>
                  <a:lnTo>
                    <a:pt x="61" y="113"/>
                  </a:lnTo>
                  <a:lnTo>
                    <a:pt x="63" y="105"/>
                  </a:lnTo>
                  <a:lnTo>
                    <a:pt x="65" y="97"/>
                  </a:lnTo>
                  <a:lnTo>
                    <a:pt x="65" y="94"/>
                  </a:lnTo>
                  <a:lnTo>
                    <a:pt x="204" y="94"/>
                  </a:lnTo>
                  <a:lnTo>
                    <a:pt x="204" y="0"/>
                  </a:lnTo>
                  <a:lnTo>
                    <a:pt x="349" y="0"/>
                  </a:lnTo>
                  <a:lnTo>
                    <a:pt x="360" y="6"/>
                  </a:lnTo>
                  <a:lnTo>
                    <a:pt x="360" y="4"/>
                  </a:lnTo>
                  <a:lnTo>
                    <a:pt x="357" y="4"/>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89" name="Freeform 133"/>
            <p:cNvSpPr>
              <a:spLocks/>
            </p:cNvSpPr>
            <p:nvPr/>
          </p:nvSpPr>
          <p:spPr bwMode="gray">
            <a:xfrm>
              <a:off x="1985" y="2267"/>
              <a:ext cx="83" cy="51"/>
            </a:xfrm>
            <a:custGeom>
              <a:avLst/>
              <a:gdLst/>
              <a:ahLst/>
              <a:cxnLst>
                <a:cxn ang="0">
                  <a:pos x="147" y="0"/>
                </a:cxn>
                <a:cxn ang="0">
                  <a:pos x="25" y="0"/>
                </a:cxn>
                <a:cxn ang="0">
                  <a:pos x="25" y="0"/>
                </a:cxn>
                <a:cxn ang="0">
                  <a:pos x="25" y="4"/>
                </a:cxn>
                <a:cxn ang="0">
                  <a:pos x="23" y="10"/>
                </a:cxn>
                <a:cxn ang="0">
                  <a:pos x="23" y="15"/>
                </a:cxn>
                <a:cxn ang="0">
                  <a:pos x="21" y="19"/>
                </a:cxn>
                <a:cxn ang="0">
                  <a:pos x="19" y="23"/>
                </a:cxn>
                <a:cxn ang="0">
                  <a:pos x="15" y="27"/>
                </a:cxn>
                <a:cxn ang="0">
                  <a:pos x="13" y="31"/>
                </a:cxn>
                <a:cxn ang="0">
                  <a:pos x="12" y="34"/>
                </a:cxn>
                <a:cxn ang="0">
                  <a:pos x="10" y="38"/>
                </a:cxn>
                <a:cxn ang="0">
                  <a:pos x="8" y="42"/>
                </a:cxn>
                <a:cxn ang="0">
                  <a:pos x="6" y="46"/>
                </a:cxn>
                <a:cxn ang="0">
                  <a:pos x="4" y="50"/>
                </a:cxn>
                <a:cxn ang="0">
                  <a:pos x="2" y="53"/>
                </a:cxn>
                <a:cxn ang="0">
                  <a:pos x="0" y="59"/>
                </a:cxn>
                <a:cxn ang="0">
                  <a:pos x="0" y="63"/>
                </a:cxn>
                <a:cxn ang="0">
                  <a:pos x="0" y="69"/>
                </a:cxn>
                <a:cxn ang="0">
                  <a:pos x="0" y="69"/>
                </a:cxn>
                <a:cxn ang="0">
                  <a:pos x="0" y="71"/>
                </a:cxn>
                <a:cxn ang="0">
                  <a:pos x="0" y="74"/>
                </a:cxn>
                <a:cxn ang="0">
                  <a:pos x="2" y="78"/>
                </a:cxn>
                <a:cxn ang="0">
                  <a:pos x="2" y="82"/>
                </a:cxn>
                <a:cxn ang="0">
                  <a:pos x="4" y="84"/>
                </a:cxn>
                <a:cxn ang="0">
                  <a:pos x="6" y="88"/>
                </a:cxn>
                <a:cxn ang="0">
                  <a:pos x="6" y="90"/>
                </a:cxn>
                <a:cxn ang="0">
                  <a:pos x="8" y="94"/>
                </a:cxn>
                <a:cxn ang="0">
                  <a:pos x="147" y="94"/>
                </a:cxn>
                <a:cxn ang="0">
                  <a:pos x="147" y="0"/>
                </a:cxn>
                <a:cxn ang="0">
                  <a:pos x="147" y="0"/>
                </a:cxn>
              </a:cxnLst>
              <a:rect l="0" t="0" r="r" b="b"/>
              <a:pathLst>
                <a:path w="147" h="94">
                  <a:moveTo>
                    <a:pt x="147" y="0"/>
                  </a:moveTo>
                  <a:lnTo>
                    <a:pt x="25" y="0"/>
                  </a:lnTo>
                  <a:lnTo>
                    <a:pt x="25" y="0"/>
                  </a:lnTo>
                  <a:lnTo>
                    <a:pt x="25" y="4"/>
                  </a:lnTo>
                  <a:lnTo>
                    <a:pt x="23" y="10"/>
                  </a:lnTo>
                  <a:lnTo>
                    <a:pt x="23" y="15"/>
                  </a:lnTo>
                  <a:lnTo>
                    <a:pt x="21" y="19"/>
                  </a:lnTo>
                  <a:lnTo>
                    <a:pt x="19" y="23"/>
                  </a:lnTo>
                  <a:lnTo>
                    <a:pt x="15" y="27"/>
                  </a:lnTo>
                  <a:lnTo>
                    <a:pt x="13" y="31"/>
                  </a:lnTo>
                  <a:lnTo>
                    <a:pt x="12" y="34"/>
                  </a:lnTo>
                  <a:lnTo>
                    <a:pt x="10" y="38"/>
                  </a:lnTo>
                  <a:lnTo>
                    <a:pt x="8" y="42"/>
                  </a:lnTo>
                  <a:lnTo>
                    <a:pt x="6" y="46"/>
                  </a:lnTo>
                  <a:lnTo>
                    <a:pt x="4" y="50"/>
                  </a:lnTo>
                  <a:lnTo>
                    <a:pt x="2" y="53"/>
                  </a:lnTo>
                  <a:lnTo>
                    <a:pt x="0" y="59"/>
                  </a:lnTo>
                  <a:lnTo>
                    <a:pt x="0" y="63"/>
                  </a:lnTo>
                  <a:lnTo>
                    <a:pt x="0" y="69"/>
                  </a:lnTo>
                  <a:lnTo>
                    <a:pt x="0" y="69"/>
                  </a:lnTo>
                  <a:lnTo>
                    <a:pt x="0" y="71"/>
                  </a:lnTo>
                  <a:lnTo>
                    <a:pt x="0" y="74"/>
                  </a:lnTo>
                  <a:lnTo>
                    <a:pt x="2" y="78"/>
                  </a:lnTo>
                  <a:lnTo>
                    <a:pt x="2" y="82"/>
                  </a:lnTo>
                  <a:lnTo>
                    <a:pt x="4" y="84"/>
                  </a:lnTo>
                  <a:lnTo>
                    <a:pt x="6" y="88"/>
                  </a:lnTo>
                  <a:lnTo>
                    <a:pt x="6" y="90"/>
                  </a:lnTo>
                  <a:lnTo>
                    <a:pt x="8" y="94"/>
                  </a:lnTo>
                  <a:lnTo>
                    <a:pt x="147" y="94"/>
                  </a:lnTo>
                  <a:lnTo>
                    <a:pt x="147" y="0"/>
                  </a:lnTo>
                  <a:lnTo>
                    <a:pt x="147" y="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0" name="Freeform 134"/>
            <p:cNvSpPr>
              <a:spLocks/>
            </p:cNvSpPr>
            <p:nvPr/>
          </p:nvSpPr>
          <p:spPr bwMode="gray">
            <a:xfrm>
              <a:off x="1942" y="1790"/>
              <a:ext cx="347" cy="492"/>
            </a:xfrm>
            <a:custGeom>
              <a:avLst/>
              <a:gdLst/>
              <a:ahLst/>
              <a:cxnLst>
                <a:cxn ang="0">
                  <a:pos x="101" y="857"/>
                </a:cxn>
                <a:cxn ang="0">
                  <a:pos x="107" y="826"/>
                </a:cxn>
                <a:cxn ang="0">
                  <a:pos x="112" y="797"/>
                </a:cxn>
                <a:cxn ang="0">
                  <a:pos x="93" y="755"/>
                </a:cxn>
                <a:cxn ang="0">
                  <a:pos x="49" y="723"/>
                </a:cxn>
                <a:cxn ang="0">
                  <a:pos x="21" y="698"/>
                </a:cxn>
                <a:cxn ang="0">
                  <a:pos x="2" y="660"/>
                </a:cxn>
                <a:cxn ang="0">
                  <a:pos x="13" y="628"/>
                </a:cxn>
                <a:cxn ang="0">
                  <a:pos x="21" y="593"/>
                </a:cxn>
                <a:cxn ang="0">
                  <a:pos x="49" y="549"/>
                </a:cxn>
                <a:cxn ang="0">
                  <a:pos x="110" y="504"/>
                </a:cxn>
                <a:cxn ang="0">
                  <a:pos x="150" y="494"/>
                </a:cxn>
                <a:cxn ang="0">
                  <a:pos x="164" y="477"/>
                </a:cxn>
                <a:cxn ang="0">
                  <a:pos x="208" y="527"/>
                </a:cxn>
                <a:cxn ang="0">
                  <a:pos x="238" y="509"/>
                </a:cxn>
                <a:cxn ang="0">
                  <a:pos x="272" y="450"/>
                </a:cxn>
                <a:cxn ang="0">
                  <a:pos x="286" y="410"/>
                </a:cxn>
                <a:cxn ang="0">
                  <a:pos x="305" y="374"/>
                </a:cxn>
                <a:cxn ang="0">
                  <a:pos x="335" y="347"/>
                </a:cxn>
                <a:cxn ang="0">
                  <a:pos x="343" y="321"/>
                </a:cxn>
                <a:cxn ang="0">
                  <a:pos x="362" y="294"/>
                </a:cxn>
                <a:cxn ang="0">
                  <a:pos x="379" y="273"/>
                </a:cxn>
                <a:cxn ang="0">
                  <a:pos x="377" y="244"/>
                </a:cxn>
                <a:cxn ang="0">
                  <a:pos x="398" y="206"/>
                </a:cxn>
                <a:cxn ang="0">
                  <a:pos x="429" y="166"/>
                </a:cxn>
                <a:cxn ang="0">
                  <a:pos x="477" y="132"/>
                </a:cxn>
                <a:cxn ang="0">
                  <a:pos x="486" y="88"/>
                </a:cxn>
                <a:cxn ang="0">
                  <a:pos x="486" y="65"/>
                </a:cxn>
                <a:cxn ang="0">
                  <a:pos x="452" y="55"/>
                </a:cxn>
                <a:cxn ang="0">
                  <a:pos x="477" y="31"/>
                </a:cxn>
                <a:cxn ang="0">
                  <a:pos x="505" y="128"/>
                </a:cxn>
                <a:cxn ang="0">
                  <a:pos x="522" y="179"/>
                </a:cxn>
                <a:cxn ang="0">
                  <a:pos x="538" y="227"/>
                </a:cxn>
                <a:cxn ang="0">
                  <a:pos x="498" y="235"/>
                </a:cxn>
                <a:cxn ang="0">
                  <a:pos x="446" y="246"/>
                </a:cxn>
                <a:cxn ang="0">
                  <a:pos x="438" y="286"/>
                </a:cxn>
                <a:cxn ang="0">
                  <a:pos x="461" y="319"/>
                </a:cxn>
                <a:cxn ang="0">
                  <a:pos x="492" y="342"/>
                </a:cxn>
                <a:cxn ang="0">
                  <a:pos x="522" y="378"/>
                </a:cxn>
                <a:cxn ang="0">
                  <a:pos x="549" y="427"/>
                </a:cxn>
                <a:cxn ang="0">
                  <a:pos x="551" y="456"/>
                </a:cxn>
                <a:cxn ang="0">
                  <a:pos x="536" y="466"/>
                </a:cxn>
                <a:cxn ang="0">
                  <a:pos x="505" y="513"/>
                </a:cxn>
                <a:cxn ang="0">
                  <a:pos x="475" y="561"/>
                </a:cxn>
                <a:cxn ang="0">
                  <a:pos x="480" y="576"/>
                </a:cxn>
                <a:cxn ang="0">
                  <a:pos x="484" y="591"/>
                </a:cxn>
                <a:cxn ang="0">
                  <a:pos x="484" y="622"/>
                </a:cxn>
                <a:cxn ang="0">
                  <a:pos x="509" y="700"/>
                </a:cxn>
                <a:cxn ang="0">
                  <a:pos x="549" y="765"/>
                </a:cxn>
                <a:cxn ang="0">
                  <a:pos x="576" y="792"/>
                </a:cxn>
                <a:cxn ang="0">
                  <a:pos x="604" y="818"/>
                </a:cxn>
                <a:cxn ang="0">
                  <a:pos x="610" y="845"/>
                </a:cxn>
                <a:cxn ang="0">
                  <a:pos x="602" y="859"/>
                </a:cxn>
                <a:cxn ang="0">
                  <a:pos x="591" y="895"/>
                </a:cxn>
                <a:cxn ang="0">
                  <a:pos x="557" y="883"/>
                </a:cxn>
                <a:cxn ang="0">
                  <a:pos x="511" y="874"/>
                </a:cxn>
                <a:cxn ang="0">
                  <a:pos x="463" y="859"/>
                </a:cxn>
                <a:cxn ang="0">
                  <a:pos x="406" y="857"/>
                </a:cxn>
              </a:cxnLst>
              <a:rect l="0" t="0" r="r" b="b"/>
              <a:pathLst>
                <a:path w="610" h="897">
                  <a:moveTo>
                    <a:pt x="366" y="868"/>
                  </a:moveTo>
                  <a:lnTo>
                    <a:pt x="221" y="868"/>
                  </a:lnTo>
                  <a:lnTo>
                    <a:pt x="221" y="868"/>
                  </a:lnTo>
                  <a:lnTo>
                    <a:pt x="99" y="868"/>
                  </a:lnTo>
                  <a:lnTo>
                    <a:pt x="99" y="868"/>
                  </a:lnTo>
                  <a:lnTo>
                    <a:pt x="99" y="862"/>
                  </a:lnTo>
                  <a:lnTo>
                    <a:pt x="101" y="857"/>
                  </a:lnTo>
                  <a:lnTo>
                    <a:pt x="101" y="851"/>
                  </a:lnTo>
                  <a:lnTo>
                    <a:pt x="101" y="847"/>
                  </a:lnTo>
                  <a:lnTo>
                    <a:pt x="103" y="841"/>
                  </a:lnTo>
                  <a:lnTo>
                    <a:pt x="103" y="838"/>
                  </a:lnTo>
                  <a:lnTo>
                    <a:pt x="105" y="834"/>
                  </a:lnTo>
                  <a:lnTo>
                    <a:pt x="107" y="830"/>
                  </a:lnTo>
                  <a:lnTo>
                    <a:pt x="107" y="826"/>
                  </a:lnTo>
                  <a:lnTo>
                    <a:pt x="108" y="822"/>
                  </a:lnTo>
                  <a:lnTo>
                    <a:pt x="108" y="818"/>
                  </a:lnTo>
                  <a:lnTo>
                    <a:pt x="110" y="813"/>
                  </a:lnTo>
                  <a:lnTo>
                    <a:pt x="110" y="809"/>
                  </a:lnTo>
                  <a:lnTo>
                    <a:pt x="110" y="805"/>
                  </a:lnTo>
                  <a:lnTo>
                    <a:pt x="112" y="801"/>
                  </a:lnTo>
                  <a:lnTo>
                    <a:pt x="112" y="797"/>
                  </a:lnTo>
                  <a:lnTo>
                    <a:pt x="112" y="797"/>
                  </a:lnTo>
                  <a:lnTo>
                    <a:pt x="110" y="790"/>
                  </a:lnTo>
                  <a:lnTo>
                    <a:pt x="108" y="782"/>
                  </a:lnTo>
                  <a:lnTo>
                    <a:pt x="107" y="775"/>
                  </a:lnTo>
                  <a:lnTo>
                    <a:pt x="103" y="769"/>
                  </a:lnTo>
                  <a:lnTo>
                    <a:pt x="99" y="761"/>
                  </a:lnTo>
                  <a:lnTo>
                    <a:pt x="93" y="755"/>
                  </a:lnTo>
                  <a:lnTo>
                    <a:pt x="87" y="750"/>
                  </a:lnTo>
                  <a:lnTo>
                    <a:pt x="82" y="744"/>
                  </a:lnTo>
                  <a:lnTo>
                    <a:pt x="76" y="740"/>
                  </a:lnTo>
                  <a:lnTo>
                    <a:pt x="68" y="735"/>
                  </a:lnTo>
                  <a:lnTo>
                    <a:pt x="63" y="731"/>
                  </a:lnTo>
                  <a:lnTo>
                    <a:pt x="57" y="727"/>
                  </a:lnTo>
                  <a:lnTo>
                    <a:pt x="49" y="723"/>
                  </a:lnTo>
                  <a:lnTo>
                    <a:pt x="44" y="719"/>
                  </a:lnTo>
                  <a:lnTo>
                    <a:pt x="40" y="715"/>
                  </a:lnTo>
                  <a:lnTo>
                    <a:pt x="34" y="714"/>
                  </a:lnTo>
                  <a:lnTo>
                    <a:pt x="34" y="714"/>
                  </a:lnTo>
                  <a:lnTo>
                    <a:pt x="30" y="710"/>
                  </a:lnTo>
                  <a:lnTo>
                    <a:pt x="26" y="704"/>
                  </a:lnTo>
                  <a:lnTo>
                    <a:pt x="21" y="698"/>
                  </a:lnTo>
                  <a:lnTo>
                    <a:pt x="17" y="691"/>
                  </a:lnTo>
                  <a:lnTo>
                    <a:pt x="13" y="683"/>
                  </a:lnTo>
                  <a:lnTo>
                    <a:pt x="7" y="675"/>
                  </a:lnTo>
                  <a:lnTo>
                    <a:pt x="4" y="670"/>
                  </a:lnTo>
                  <a:lnTo>
                    <a:pt x="0" y="666"/>
                  </a:lnTo>
                  <a:lnTo>
                    <a:pt x="0" y="666"/>
                  </a:lnTo>
                  <a:lnTo>
                    <a:pt x="2" y="660"/>
                  </a:lnTo>
                  <a:lnTo>
                    <a:pt x="4" y="656"/>
                  </a:lnTo>
                  <a:lnTo>
                    <a:pt x="5" y="652"/>
                  </a:lnTo>
                  <a:lnTo>
                    <a:pt x="7" y="647"/>
                  </a:lnTo>
                  <a:lnTo>
                    <a:pt x="9" y="643"/>
                  </a:lnTo>
                  <a:lnTo>
                    <a:pt x="9" y="637"/>
                  </a:lnTo>
                  <a:lnTo>
                    <a:pt x="11" y="631"/>
                  </a:lnTo>
                  <a:lnTo>
                    <a:pt x="13" y="628"/>
                  </a:lnTo>
                  <a:lnTo>
                    <a:pt x="13" y="622"/>
                  </a:lnTo>
                  <a:lnTo>
                    <a:pt x="15" y="618"/>
                  </a:lnTo>
                  <a:lnTo>
                    <a:pt x="15" y="612"/>
                  </a:lnTo>
                  <a:lnTo>
                    <a:pt x="17" y="607"/>
                  </a:lnTo>
                  <a:lnTo>
                    <a:pt x="19" y="603"/>
                  </a:lnTo>
                  <a:lnTo>
                    <a:pt x="19" y="597"/>
                  </a:lnTo>
                  <a:lnTo>
                    <a:pt x="21" y="593"/>
                  </a:lnTo>
                  <a:lnTo>
                    <a:pt x="23" y="588"/>
                  </a:lnTo>
                  <a:lnTo>
                    <a:pt x="23" y="588"/>
                  </a:lnTo>
                  <a:lnTo>
                    <a:pt x="26" y="580"/>
                  </a:lnTo>
                  <a:lnTo>
                    <a:pt x="30" y="572"/>
                  </a:lnTo>
                  <a:lnTo>
                    <a:pt x="36" y="565"/>
                  </a:lnTo>
                  <a:lnTo>
                    <a:pt x="42" y="557"/>
                  </a:lnTo>
                  <a:lnTo>
                    <a:pt x="49" y="549"/>
                  </a:lnTo>
                  <a:lnTo>
                    <a:pt x="57" y="542"/>
                  </a:lnTo>
                  <a:lnTo>
                    <a:pt x="65" y="534"/>
                  </a:lnTo>
                  <a:lnTo>
                    <a:pt x="74" y="527"/>
                  </a:lnTo>
                  <a:lnTo>
                    <a:pt x="82" y="521"/>
                  </a:lnTo>
                  <a:lnTo>
                    <a:pt x="91" y="515"/>
                  </a:lnTo>
                  <a:lnTo>
                    <a:pt x="101" y="509"/>
                  </a:lnTo>
                  <a:lnTo>
                    <a:pt x="110" y="504"/>
                  </a:lnTo>
                  <a:lnTo>
                    <a:pt x="120" y="502"/>
                  </a:lnTo>
                  <a:lnTo>
                    <a:pt x="128" y="498"/>
                  </a:lnTo>
                  <a:lnTo>
                    <a:pt x="137" y="496"/>
                  </a:lnTo>
                  <a:lnTo>
                    <a:pt x="145" y="496"/>
                  </a:lnTo>
                  <a:lnTo>
                    <a:pt x="145" y="496"/>
                  </a:lnTo>
                  <a:lnTo>
                    <a:pt x="148" y="496"/>
                  </a:lnTo>
                  <a:lnTo>
                    <a:pt x="150" y="494"/>
                  </a:lnTo>
                  <a:lnTo>
                    <a:pt x="154" y="490"/>
                  </a:lnTo>
                  <a:lnTo>
                    <a:pt x="156" y="488"/>
                  </a:lnTo>
                  <a:lnTo>
                    <a:pt x="160" y="485"/>
                  </a:lnTo>
                  <a:lnTo>
                    <a:pt x="162" y="483"/>
                  </a:lnTo>
                  <a:lnTo>
                    <a:pt x="164" y="479"/>
                  </a:lnTo>
                  <a:lnTo>
                    <a:pt x="164" y="477"/>
                  </a:lnTo>
                  <a:lnTo>
                    <a:pt x="164" y="477"/>
                  </a:lnTo>
                  <a:lnTo>
                    <a:pt x="171" y="485"/>
                  </a:lnTo>
                  <a:lnTo>
                    <a:pt x="179" y="492"/>
                  </a:lnTo>
                  <a:lnTo>
                    <a:pt x="185" y="500"/>
                  </a:lnTo>
                  <a:lnTo>
                    <a:pt x="190" y="509"/>
                  </a:lnTo>
                  <a:lnTo>
                    <a:pt x="196" y="517"/>
                  </a:lnTo>
                  <a:lnTo>
                    <a:pt x="202" y="523"/>
                  </a:lnTo>
                  <a:lnTo>
                    <a:pt x="208" y="527"/>
                  </a:lnTo>
                  <a:lnTo>
                    <a:pt x="215" y="528"/>
                  </a:lnTo>
                  <a:lnTo>
                    <a:pt x="215" y="528"/>
                  </a:lnTo>
                  <a:lnTo>
                    <a:pt x="219" y="528"/>
                  </a:lnTo>
                  <a:lnTo>
                    <a:pt x="223" y="525"/>
                  </a:lnTo>
                  <a:lnTo>
                    <a:pt x="229" y="521"/>
                  </a:lnTo>
                  <a:lnTo>
                    <a:pt x="234" y="515"/>
                  </a:lnTo>
                  <a:lnTo>
                    <a:pt x="238" y="509"/>
                  </a:lnTo>
                  <a:lnTo>
                    <a:pt x="244" y="502"/>
                  </a:lnTo>
                  <a:lnTo>
                    <a:pt x="250" y="494"/>
                  </a:lnTo>
                  <a:lnTo>
                    <a:pt x="255" y="487"/>
                  </a:lnTo>
                  <a:lnTo>
                    <a:pt x="259" y="477"/>
                  </a:lnTo>
                  <a:lnTo>
                    <a:pt x="265" y="467"/>
                  </a:lnTo>
                  <a:lnTo>
                    <a:pt x="269" y="460"/>
                  </a:lnTo>
                  <a:lnTo>
                    <a:pt x="272" y="450"/>
                  </a:lnTo>
                  <a:lnTo>
                    <a:pt x="276" y="443"/>
                  </a:lnTo>
                  <a:lnTo>
                    <a:pt x="280" y="437"/>
                  </a:lnTo>
                  <a:lnTo>
                    <a:pt x="282" y="429"/>
                  </a:lnTo>
                  <a:lnTo>
                    <a:pt x="282" y="425"/>
                  </a:lnTo>
                  <a:lnTo>
                    <a:pt x="282" y="425"/>
                  </a:lnTo>
                  <a:lnTo>
                    <a:pt x="284" y="418"/>
                  </a:lnTo>
                  <a:lnTo>
                    <a:pt x="286" y="410"/>
                  </a:lnTo>
                  <a:lnTo>
                    <a:pt x="288" y="404"/>
                  </a:lnTo>
                  <a:lnTo>
                    <a:pt x="290" y="399"/>
                  </a:lnTo>
                  <a:lnTo>
                    <a:pt x="293" y="393"/>
                  </a:lnTo>
                  <a:lnTo>
                    <a:pt x="295" y="387"/>
                  </a:lnTo>
                  <a:lnTo>
                    <a:pt x="299" y="383"/>
                  </a:lnTo>
                  <a:lnTo>
                    <a:pt x="303" y="378"/>
                  </a:lnTo>
                  <a:lnTo>
                    <a:pt x="305" y="374"/>
                  </a:lnTo>
                  <a:lnTo>
                    <a:pt x="309" y="370"/>
                  </a:lnTo>
                  <a:lnTo>
                    <a:pt x="314" y="366"/>
                  </a:lnTo>
                  <a:lnTo>
                    <a:pt x="318" y="362"/>
                  </a:lnTo>
                  <a:lnTo>
                    <a:pt x="322" y="359"/>
                  </a:lnTo>
                  <a:lnTo>
                    <a:pt x="326" y="355"/>
                  </a:lnTo>
                  <a:lnTo>
                    <a:pt x="332" y="351"/>
                  </a:lnTo>
                  <a:lnTo>
                    <a:pt x="335" y="347"/>
                  </a:lnTo>
                  <a:lnTo>
                    <a:pt x="335" y="347"/>
                  </a:lnTo>
                  <a:lnTo>
                    <a:pt x="339" y="345"/>
                  </a:lnTo>
                  <a:lnTo>
                    <a:pt x="341" y="340"/>
                  </a:lnTo>
                  <a:lnTo>
                    <a:pt x="343" y="336"/>
                  </a:lnTo>
                  <a:lnTo>
                    <a:pt x="343" y="330"/>
                  </a:lnTo>
                  <a:lnTo>
                    <a:pt x="343" y="324"/>
                  </a:lnTo>
                  <a:lnTo>
                    <a:pt x="343" y="321"/>
                  </a:lnTo>
                  <a:lnTo>
                    <a:pt x="345" y="315"/>
                  </a:lnTo>
                  <a:lnTo>
                    <a:pt x="345" y="313"/>
                  </a:lnTo>
                  <a:lnTo>
                    <a:pt x="345" y="313"/>
                  </a:lnTo>
                  <a:lnTo>
                    <a:pt x="349" y="307"/>
                  </a:lnTo>
                  <a:lnTo>
                    <a:pt x="353" y="303"/>
                  </a:lnTo>
                  <a:lnTo>
                    <a:pt x="356" y="298"/>
                  </a:lnTo>
                  <a:lnTo>
                    <a:pt x="362" y="294"/>
                  </a:lnTo>
                  <a:lnTo>
                    <a:pt x="368" y="290"/>
                  </a:lnTo>
                  <a:lnTo>
                    <a:pt x="372" y="286"/>
                  </a:lnTo>
                  <a:lnTo>
                    <a:pt x="375" y="282"/>
                  </a:lnTo>
                  <a:lnTo>
                    <a:pt x="377" y="280"/>
                  </a:lnTo>
                  <a:lnTo>
                    <a:pt x="377" y="280"/>
                  </a:lnTo>
                  <a:lnTo>
                    <a:pt x="377" y="277"/>
                  </a:lnTo>
                  <a:lnTo>
                    <a:pt x="379" y="273"/>
                  </a:lnTo>
                  <a:lnTo>
                    <a:pt x="377" y="269"/>
                  </a:lnTo>
                  <a:lnTo>
                    <a:pt x="377" y="263"/>
                  </a:lnTo>
                  <a:lnTo>
                    <a:pt x="377" y="258"/>
                  </a:lnTo>
                  <a:lnTo>
                    <a:pt x="377" y="254"/>
                  </a:lnTo>
                  <a:lnTo>
                    <a:pt x="377" y="248"/>
                  </a:lnTo>
                  <a:lnTo>
                    <a:pt x="377" y="244"/>
                  </a:lnTo>
                  <a:lnTo>
                    <a:pt x="377" y="244"/>
                  </a:lnTo>
                  <a:lnTo>
                    <a:pt x="377" y="240"/>
                  </a:lnTo>
                  <a:lnTo>
                    <a:pt x="381" y="237"/>
                  </a:lnTo>
                  <a:lnTo>
                    <a:pt x="383" y="231"/>
                  </a:lnTo>
                  <a:lnTo>
                    <a:pt x="387" y="223"/>
                  </a:lnTo>
                  <a:lnTo>
                    <a:pt x="391" y="218"/>
                  </a:lnTo>
                  <a:lnTo>
                    <a:pt x="395" y="212"/>
                  </a:lnTo>
                  <a:lnTo>
                    <a:pt x="398" y="206"/>
                  </a:lnTo>
                  <a:lnTo>
                    <a:pt x="400" y="200"/>
                  </a:lnTo>
                  <a:lnTo>
                    <a:pt x="400" y="200"/>
                  </a:lnTo>
                  <a:lnTo>
                    <a:pt x="406" y="191"/>
                  </a:lnTo>
                  <a:lnTo>
                    <a:pt x="410" y="183"/>
                  </a:lnTo>
                  <a:lnTo>
                    <a:pt x="416" y="177"/>
                  </a:lnTo>
                  <a:lnTo>
                    <a:pt x="421" y="172"/>
                  </a:lnTo>
                  <a:lnTo>
                    <a:pt x="429" y="166"/>
                  </a:lnTo>
                  <a:lnTo>
                    <a:pt x="437" y="162"/>
                  </a:lnTo>
                  <a:lnTo>
                    <a:pt x="444" y="156"/>
                  </a:lnTo>
                  <a:lnTo>
                    <a:pt x="452" y="153"/>
                  </a:lnTo>
                  <a:lnTo>
                    <a:pt x="458" y="149"/>
                  </a:lnTo>
                  <a:lnTo>
                    <a:pt x="465" y="143"/>
                  </a:lnTo>
                  <a:lnTo>
                    <a:pt x="471" y="137"/>
                  </a:lnTo>
                  <a:lnTo>
                    <a:pt x="477" y="132"/>
                  </a:lnTo>
                  <a:lnTo>
                    <a:pt x="480" y="126"/>
                  </a:lnTo>
                  <a:lnTo>
                    <a:pt x="484" y="118"/>
                  </a:lnTo>
                  <a:lnTo>
                    <a:pt x="486" y="109"/>
                  </a:lnTo>
                  <a:lnTo>
                    <a:pt x="486" y="99"/>
                  </a:lnTo>
                  <a:lnTo>
                    <a:pt x="486" y="99"/>
                  </a:lnTo>
                  <a:lnTo>
                    <a:pt x="486" y="94"/>
                  </a:lnTo>
                  <a:lnTo>
                    <a:pt x="486" y="88"/>
                  </a:lnTo>
                  <a:lnTo>
                    <a:pt x="486" y="84"/>
                  </a:lnTo>
                  <a:lnTo>
                    <a:pt x="484" y="80"/>
                  </a:lnTo>
                  <a:lnTo>
                    <a:pt x="484" y="76"/>
                  </a:lnTo>
                  <a:lnTo>
                    <a:pt x="484" y="73"/>
                  </a:lnTo>
                  <a:lnTo>
                    <a:pt x="486" y="69"/>
                  </a:lnTo>
                  <a:lnTo>
                    <a:pt x="486" y="65"/>
                  </a:lnTo>
                  <a:lnTo>
                    <a:pt x="486" y="65"/>
                  </a:lnTo>
                  <a:lnTo>
                    <a:pt x="480" y="63"/>
                  </a:lnTo>
                  <a:lnTo>
                    <a:pt x="475" y="63"/>
                  </a:lnTo>
                  <a:lnTo>
                    <a:pt x="469" y="61"/>
                  </a:lnTo>
                  <a:lnTo>
                    <a:pt x="463" y="59"/>
                  </a:lnTo>
                  <a:lnTo>
                    <a:pt x="459" y="59"/>
                  </a:lnTo>
                  <a:lnTo>
                    <a:pt x="454" y="57"/>
                  </a:lnTo>
                  <a:lnTo>
                    <a:pt x="452" y="55"/>
                  </a:lnTo>
                  <a:lnTo>
                    <a:pt x="448" y="53"/>
                  </a:lnTo>
                  <a:lnTo>
                    <a:pt x="448" y="0"/>
                  </a:lnTo>
                  <a:lnTo>
                    <a:pt x="448" y="0"/>
                  </a:lnTo>
                  <a:lnTo>
                    <a:pt x="458" y="8"/>
                  </a:lnTo>
                  <a:lnTo>
                    <a:pt x="465" y="15"/>
                  </a:lnTo>
                  <a:lnTo>
                    <a:pt x="471" y="21"/>
                  </a:lnTo>
                  <a:lnTo>
                    <a:pt x="477" y="31"/>
                  </a:lnTo>
                  <a:lnTo>
                    <a:pt x="482" y="38"/>
                  </a:lnTo>
                  <a:lnTo>
                    <a:pt x="488" y="46"/>
                  </a:lnTo>
                  <a:lnTo>
                    <a:pt x="496" y="55"/>
                  </a:lnTo>
                  <a:lnTo>
                    <a:pt x="501" y="65"/>
                  </a:lnTo>
                  <a:lnTo>
                    <a:pt x="501" y="120"/>
                  </a:lnTo>
                  <a:lnTo>
                    <a:pt x="501" y="120"/>
                  </a:lnTo>
                  <a:lnTo>
                    <a:pt x="505" y="128"/>
                  </a:lnTo>
                  <a:lnTo>
                    <a:pt x="509" y="135"/>
                  </a:lnTo>
                  <a:lnTo>
                    <a:pt x="511" y="143"/>
                  </a:lnTo>
                  <a:lnTo>
                    <a:pt x="515" y="151"/>
                  </a:lnTo>
                  <a:lnTo>
                    <a:pt x="517" y="156"/>
                  </a:lnTo>
                  <a:lnTo>
                    <a:pt x="519" y="164"/>
                  </a:lnTo>
                  <a:lnTo>
                    <a:pt x="520" y="172"/>
                  </a:lnTo>
                  <a:lnTo>
                    <a:pt x="522" y="179"/>
                  </a:lnTo>
                  <a:lnTo>
                    <a:pt x="524" y="185"/>
                  </a:lnTo>
                  <a:lnTo>
                    <a:pt x="526" y="193"/>
                  </a:lnTo>
                  <a:lnTo>
                    <a:pt x="528" y="200"/>
                  </a:lnTo>
                  <a:lnTo>
                    <a:pt x="530" y="206"/>
                  </a:lnTo>
                  <a:lnTo>
                    <a:pt x="532" y="214"/>
                  </a:lnTo>
                  <a:lnTo>
                    <a:pt x="534" y="221"/>
                  </a:lnTo>
                  <a:lnTo>
                    <a:pt x="538" y="227"/>
                  </a:lnTo>
                  <a:lnTo>
                    <a:pt x="540" y="235"/>
                  </a:lnTo>
                  <a:lnTo>
                    <a:pt x="540" y="235"/>
                  </a:lnTo>
                  <a:lnTo>
                    <a:pt x="532" y="235"/>
                  </a:lnTo>
                  <a:lnTo>
                    <a:pt x="524" y="235"/>
                  </a:lnTo>
                  <a:lnTo>
                    <a:pt x="515" y="235"/>
                  </a:lnTo>
                  <a:lnTo>
                    <a:pt x="507" y="235"/>
                  </a:lnTo>
                  <a:lnTo>
                    <a:pt x="498" y="235"/>
                  </a:lnTo>
                  <a:lnTo>
                    <a:pt x="490" y="237"/>
                  </a:lnTo>
                  <a:lnTo>
                    <a:pt x="480" y="237"/>
                  </a:lnTo>
                  <a:lnTo>
                    <a:pt x="473" y="237"/>
                  </a:lnTo>
                  <a:lnTo>
                    <a:pt x="465" y="238"/>
                  </a:lnTo>
                  <a:lnTo>
                    <a:pt x="458" y="240"/>
                  </a:lnTo>
                  <a:lnTo>
                    <a:pt x="452" y="242"/>
                  </a:lnTo>
                  <a:lnTo>
                    <a:pt x="446" y="246"/>
                  </a:lnTo>
                  <a:lnTo>
                    <a:pt x="442" y="250"/>
                  </a:lnTo>
                  <a:lnTo>
                    <a:pt x="438" y="256"/>
                  </a:lnTo>
                  <a:lnTo>
                    <a:pt x="437" y="263"/>
                  </a:lnTo>
                  <a:lnTo>
                    <a:pt x="437" y="271"/>
                  </a:lnTo>
                  <a:lnTo>
                    <a:pt x="437" y="271"/>
                  </a:lnTo>
                  <a:lnTo>
                    <a:pt x="437" y="279"/>
                  </a:lnTo>
                  <a:lnTo>
                    <a:pt x="438" y="286"/>
                  </a:lnTo>
                  <a:lnTo>
                    <a:pt x="440" y="292"/>
                  </a:lnTo>
                  <a:lnTo>
                    <a:pt x="442" y="298"/>
                  </a:lnTo>
                  <a:lnTo>
                    <a:pt x="446" y="303"/>
                  </a:lnTo>
                  <a:lnTo>
                    <a:pt x="448" y="307"/>
                  </a:lnTo>
                  <a:lnTo>
                    <a:pt x="452" y="311"/>
                  </a:lnTo>
                  <a:lnTo>
                    <a:pt x="458" y="315"/>
                  </a:lnTo>
                  <a:lnTo>
                    <a:pt x="461" y="319"/>
                  </a:lnTo>
                  <a:lnTo>
                    <a:pt x="467" y="322"/>
                  </a:lnTo>
                  <a:lnTo>
                    <a:pt x="471" y="326"/>
                  </a:lnTo>
                  <a:lnTo>
                    <a:pt x="475" y="328"/>
                  </a:lnTo>
                  <a:lnTo>
                    <a:pt x="480" y="332"/>
                  </a:lnTo>
                  <a:lnTo>
                    <a:pt x="484" y="336"/>
                  </a:lnTo>
                  <a:lnTo>
                    <a:pt x="490" y="338"/>
                  </a:lnTo>
                  <a:lnTo>
                    <a:pt x="492" y="342"/>
                  </a:lnTo>
                  <a:lnTo>
                    <a:pt x="492" y="342"/>
                  </a:lnTo>
                  <a:lnTo>
                    <a:pt x="498" y="347"/>
                  </a:lnTo>
                  <a:lnTo>
                    <a:pt x="503" y="355"/>
                  </a:lnTo>
                  <a:lnTo>
                    <a:pt x="509" y="361"/>
                  </a:lnTo>
                  <a:lnTo>
                    <a:pt x="515" y="366"/>
                  </a:lnTo>
                  <a:lnTo>
                    <a:pt x="519" y="372"/>
                  </a:lnTo>
                  <a:lnTo>
                    <a:pt x="522" y="378"/>
                  </a:lnTo>
                  <a:lnTo>
                    <a:pt x="528" y="385"/>
                  </a:lnTo>
                  <a:lnTo>
                    <a:pt x="532" y="391"/>
                  </a:lnTo>
                  <a:lnTo>
                    <a:pt x="536" y="399"/>
                  </a:lnTo>
                  <a:lnTo>
                    <a:pt x="540" y="404"/>
                  </a:lnTo>
                  <a:lnTo>
                    <a:pt x="541" y="412"/>
                  </a:lnTo>
                  <a:lnTo>
                    <a:pt x="545" y="420"/>
                  </a:lnTo>
                  <a:lnTo>
                    <a:pt x="549" y="427"/>
                  </a:lnTo>
                  <a:lnTo>
                    <a:pt x="551" y="437"/>
                  </a:lnTo>
                  <a:lnTo>
                    <a:pt x="555" y="445"/>
                  </a:lnTo>
                  <a:lnTo>
                    <a:pt x="557" y="454"/>
                  </a:lnTo>
                  <a:lnTo>
                    <a:pt x="557" y="454"/>
                  </a:lnTo>
                  <a:lnTo>
                    <a:pt x="555" y="454"/>
                  </a:lnTo>
                  <a:lnTo>
                    <a:pt x="553" y="454"/>
                  </a:lnTo>
                  <a:lnTo>
                    <a:pt x="551" y="456"/>
                  </a:lnTo>
                  <a:lnTo>
                    <a:pt x="551" y="456"/>
                  </a:lnTo>
                  <a:lnTo>
                    <a:pt x="549" y="458"/>
                  </a:lnTo>
                  <a:lnTo>
                    <a:pt x="547" y="458"/>
                  </a:lnTo>
                  <a:lnTo>
                    <a:pt x="545" y="458"/>
                  </a:lnTo>
                  <a:lnTo>
                    <a:pt x="541" y="460"/>
                  </a:lnTo>
                  <a:lnTo>
                    <a:pt x="541" y="460"/>
                  </a:lnTo>
                  <a:lnTo>
                    <a:pt x="536" y="466"/>
                  </a:lnTo>
                  <a:lnTo>
                    <a:pt x="532" y="473"/>
                  </a:lnTo>
                  <a:lnTo>
                    <a:pt x="526" y="479"/>
                  </a:lnTo>
                  <a:lnTo>
                    <a:pt x="522" y="487"/>
                  </a:lnTo>
                  <a:lnTo>
                    <a:pt x="517" y="492"/>
                  </a:lnTo>
                  <a:lnTo>
                    <a:pt x="513" y="500"/>
                  </a:lnTo>
                  <a:lnTo>
                    <a:pt x="509" y="506"/>
                  </a:lnTo>
                  <a:lnTo>
                    <a:pt x="505" y="513"/>
                  </a:lnTo>
                  <a:lnTo>
                    <a:pt x="501" y="521"/>
                  </a:lnTo>
                  <a:lnTo>
                    <a:pt x="498" y="527"/>
                  </a:lnTo>
                  <a:lnTo>
                    <a:pt x="494" y="534"/>
                  </a:lnTo>
                  <a:lnTo>
                    <a:pt x="490" y="540"/>
                  </a:lnTo>
                  <a:lnTo>
                    <a:pt x="484" y="548"/>
                  </a:lnTo>
                  <a:lnTo>
                    <a:pt x="480" y="553"/>
                  </a:lnTo>
                  <a:lnTo>
                    <a:pt x="475" y="561"/>
                  </a:lnTo>
                  <a:lnTo>
                    <a:pt x="469" y="567"/>
                  </a:lnTo>
                  <a:lnTo>
                    <a:pt x="469" y="567"/>
                  </a:lnTo>
                  <a:lnTo>
                    <a:pt x="471" y="569"/>
                  </a:lnTo>
                  <a:lnTo>
                    <a:pt x="473" y="570"/>
                  </a:lnTo>
                  <a:lnTo>
                    <a:pt x="477" y="572"/>
                  </a:lnTo>
                  <a:lnTo>
                    <a:pt x="478" y="574"/>
                  </a:lnTo>
                  <a:lnTo>
                    <a:pt x="480" y="576"/>
                  </a:lnTo>
                  <a:lnTo>
                    <a:pt x="482" y="578"/>
                  </a:lnTo>
                  <a:lnTo>
                    <a:pt x="482" y="580"/>
                  </a:lnTo>
                  <a:lnTo>
                    <a:pt x="482" y="582"/>
                  </a:lnTo>
                  <a:lnTo>
                    <a:pt x="482" y="582"/>
                  </a:lnTo>
                  <a:lnTo>
                    <a:pt x="484" y="586"/>
                  </a:lnTo>
                  <a:lnTo>
                    <a:pt x="484" y="588"/>
                  </a:lnTo>
                  <a:lnTo>
                    <a:pt x="484" y="591"/>
                  </a:lnTo>
                  <a:lnTo>
                    <a:pt x="484" y="593"/>
                  </a:lnTo>
                  <a:lnTo>
                    <a:pt x="484" y="597"/>
                  </a:lnTo>
                  <a:lnTo>
                    <a:pt x="484" y="601"/>
                  </a:lnTo>
                  <a:lnTo>
                    <a:pt x="482" y="607"/>
                  </a:lnTo>
                  <a:lnTo>
                    <a:pt x="482" y="611"/>
                  </a:lnTo>
                  <a:lnTo>
                    <a:pt x="482" y="611"/>
                  </a:lnTo>
                  <a:lnTo>
                    <a:pt x="484" y="622"/>
                  </a:lnTo>
                  <a:lnTo>
                    <a:pt x="486" y="633"/>
                  </a:lnTo>
                  <a:lnTo>
                    <a:pt x="488" y="645"/>
                  </a:lnTo>
                  <a:lnTo>
                    <a:pt x="490" y="656"/>
                  </a:lnTo>
                  <a:lnTo>
                    <a:pt x="494" y="668"/>
                  </a:lnTo>
                  <a:lnTo>
                    <a:pt x="498" y="679"/>
                  </a:lnTo>
                  <a:lnTo>
                    <a:pt x="503" y="691"/>
                  </a:lnTo>
                  <a:lnTo>
                    <a:pt x="509" y="700"/>
                  </a:lnTo>
                  <a:lnTo>
                    <a:pt x="515" y="712"/>
                  </a:lnTo>
                  <a:lnTo>
                    <a:pt x="520" y="721"/>
                  </a:lnTo>
                  <a:lnTo>
                    <a:pt x="526" y="731"/>
                  </a:lnTo>
                  <a:lnTo>
                    <a:pt x="532" y="740"/>
                  </a:lnTo>
                  <a:lnTo>
                    <a:pt x="538" y="750"/>
                  </a:lnTo>
                  <a:lnTo>
                    <a:pt x="543" y="757"/>
                  </a:lnTo>
                  <a:lnTo>
                    <a:pt x="549" y="765"/>
                  </a:lnTo>
                  <a:lnTo>
                    <a:pt x="555" y="773"/>
                  </a:lnTo>
                  <a:lnTo>
                    <a:pt x="555" y="773"/>
                  </a:lnTo>
                  <a:lnTo>
                    <a:pt x="559" y="776"/>
                  </a:lnTo>
                  <a:lnTo>
                    <a:pt x="562" y="780"/>
                  </a:lnTo>
                  <a:lnTo>
                    <a:pt x="566" y="784"/>
                  </a:lnTo>
                  <a:lnTo>
                    <a:pt x="570" y="788"/>
                  </a:lnTo>
                  <a:lnTo>
                    <a:pt x="576" y="792"/>
                  </a:lnTo>
                  <a:lnTo>
                    <a:pt x="580" y="794"/>
                  </a:lnTo>
                  <a:lnTo>
                    <a:pt x="585" y="797"/>
                  </a:lnTo>
                  <a:lnTo>
                    <a:pt x="589" y="801"/>
                  </a:lnTo>
                  <a:lnTo>
                    <a:pt x="593" y="805"/>
                  </a:lnTo>
                  <a:lnTo>
                    <a:pt x="597" y="809"/>
                  </a:lnTo>
                  <a:lnTo>
                    <a:pt x="601" y="813"/>
                  </a:lnTo>
                  <a:lnTo>
                    <a:pt x="604" y="818"/>
                  </a:lnTo>
                  <a:lnTo>
                    <a:pt x="606" y="824"/>
                  </a:lnTo>
                  <a:lnTo>
                    <a:pt x="608" y="830"/>
                  </a:lnTo>
                  <a:lnTo>
                    <a:pt x="610" y="838"/>
                  </a:lnTo>
                  <a:lnTo>
                    <a:pt x="610" y="845"/>
                  </a:lnTo>
                  <a:lnTo>
                    <a:pt x="610" y="845"/>
                  </a:lnTo>
                  <a:lnTo>
                    <a:pt x="610" y="847"/>
                  </a:lnTo>
                  <a:lnTo>
                    <a:pt x="610" y="845"/>
                  </a:lnTo>
                  <a:lnTo>
                    <a:pt x="610" y="843"/>
                  </a:lnTo>
                  <a:lnTo>
                    <a:pt x="610" y="845"/>
                  </a:lnTo>
                  <a:lnTo>
                    <a:pt x="610" y="838"/>
                  </a:lnTo>
                  <a:lnTo>
                    <a:pt x="610" y="838"/>
                  </a:lnTo>
                  <a:lnTo>
                    <a:pt x="606" y="845"/>
                  </a:lnTo>
                  <a:lnTo>
                    <a:pt x="604" y="851"/>
                  </a:lnTo>
                  <a:lnTo>
                    <a:pt x="602" y="859"/>
                  </a:lnTo>
                  <a:lnTo>
                    <a:pt x="601" y="866"/>
                  </a:lnTo>
                  <a:lnTo>
                    <a:pt x="601" y="874"/>
                  </a:lnTo>
                  <a:lnTo>
                    <a:pt x="599" y="881"/>
                  </a:lnTo>
                  <a:lnTo>
                    <a:pt x="597" y="889"/>
                  </a:lnTo>
                  <a:lnTo>
                    <a:pt x="593" y="897"/>
                  </a:lnTo>
                  <a:lnTo>
                    <a:pt x="593" y="897"/>
                  </a:lnTo>
                  <a:lnTo>
                    <a:pt x="591" y="895"/>
                  </a:lnTo>
                  <a:lnTo>
                    <a:pt x="587" y="893"/>
                  </a:lnTo>
                  <a:lnTo>
                    <a:pt x="583" y="891"/>
                  </a:lnTo>
                  <a:lnTo>
                    <a:pt x="580" y="887"/>
                  </a:lnTo>
                  <a:lnTo>
                    <a:pt x="574" y="885"/>
                  </a:lnTo>
                  <a:lnTo>
                    <a:pt x="568" y="885"/>
                  </a:lnTo>
                  <a:lnTo>
                    <a:pt x="562" y="883"/>
                  </a:lnTo>
                  <a:lnTo>
                    <a:pt x="557" y="883"/>
                  </a:lnTo>
                  <a:lnTo>
                    <a:pt x="557" y="883"/>
                  </a:lnTo>
                  <a:lnTo>
                    <a:pt x="549" y="881"/>
                  </a:lnTo>
                  <a:lnTo>
                    <a:pt x="540" y="881"/>
                  </a:lnTo>
                  <a:lnTo>
                    <a:pt x="532" y="879"/>
                  </a:lnTo>
                  <a:lnTo>
                    <a:pt x="524" y="878"/>
                  </a:lnTo>
                  <a:lnTo>
                    <a:pt x="517" y="876"/>
                  </a:lnTo>
                  <a:lnTo>
                    <a:pt x="511" y="874"/>
                  </a:lnTo>
                  <a:lnTo>
                    <a:pt x="505" y="872"/>
                  </a:lnTo>
                  <a:lnTo>
                    <a:pt x="498" y="868"/>
                  </a:lnTo>
                  <a:lnTo>
                    <a:pt x="492" y="866"/>
                  </a:lnTo>
                  <a:lnTo>
                    <a:pt x="484" y="864"/>
                  </a:lnTo>
                  <a:lnTo>
                    <a:pt x="478" y="862"/>
                  </a:lnTo>
                  <a:lnTo>
                    <a:pt x="471" y="860"/>
                  </a:lnTo>
                  <a:lnTo>
                    <a:pt x="463" y="859"/>
                  </a:lnTo>
                  <a:lnTo>
                    <a:pt x="456" y="857"/>
                  </a:lnTo>
                  <a:lnTo>
                    <a:pt x="446" y="857"/>
                  </a:lnTo>
                  <a:lnTo>
                    <a:pt x="437" y="855"/>
                  </a:lnTo>
                  <a:lnTo>
                    <a:pt x="437" y="855"/>
                  </a:lnTo>
                  <a:lnTo>
                    <a:pt x="425" y="855"/>
                  </a:lnTo>
                  <a:lnTo>
                    <a:pt x="416" y="857"/>
                  </a:lnTo>
                  <a:lnTo>
                    <a:pt x="406" y="857"/>
                  </a:lnTo>
                  <a:lnTo>
                    <a:pt x="398" y="859"/>
                  </a:lnTo>
                  <a:lnTo>
                    <a:pt x="391" y="860"/>
                  </a:lnTo>
                  <a:lnTo>
                    <a:pt x="383" y="864"/>
                  </a:lnTo>
                  <a:lnTo>
                    <a:pt x="377" y="868"/>
                  </a:lnTo>
                  <a:lnTo>
                    <a:pt x="374" y="872"/>
                  </a:lnTo>
                  <a:lnTo>
                    <a:pt x="366" y="86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1" name="Freeform 135"/>
            <p:cNvSpPr>
              <a:spLocks/>
            </p:cNvSpPr>
            <p:nvPr/>
          </p:nvSpPr>
          <p:spPr bwMode="gray">
            <a:xfrm>
              <a:off x="1683" y="1749"/>
              <a:ext cx="535" cy="420"/>
            </a:xfrm>
            <a:custGeom>
              <a:avLst/>
              <a:gdLst/>
              <a:ahLst/>
              <a:cxnLst>
                <a:cxn ang="0">
                  <a:pos x="442" y="730"/>
                </a:cxn>
                <a:cxn ang="0">
                  <a:pos x="421" y="738"/>
                </a:cxn>
                <a:cxn ang="0">
                  <a:pos x="379" y="751"/>
                </a:cxn>
                <a:cxn ang="0">
                  <a:pos x="339" y="755"/>
                </a:cxn>
                <a:cxn ang="0">
                  <a:pos x="311" y="757"/>
                </a:cxn>
                <a:cxn ang="0">
                  <a:pos x="280" y="761"/>
                </a:cxn>
                <a:cxn ang="0">
                  <a:pos x="236" y="751"/>
                </a:cxn>
                <a:cxn ang="0">
                  <a:pos x="208" y="703"/>
                </a:cxn>
                <a:cxn ang="0">
                  <a:pos x="183" y="658"/>
                </a:cxn>
                <a:cxn ang="0">
                  <a:pos x="141" y="608"/>
                </a:cxn>
                <a:cxn ang="0">
                  <a:pos x="97" y="599"/>
                </a:cxn>
                <a:cxn ang="0">
                  <a:pos x="4" y="595"/>
                </a:cxn>
                <a:cxn ang="0">
                  <a:pos x="4" y="427"/>
                </a:cxn>
                <a:cxn ang="0">
                  <a:pos x="23" y="394"/>
                </a:cxn>
                <a:cxn ang="0">
                  <a:pos x="30" y="352"/>
                </a:cxn>
                <a:cxn ang="0">
                  <a:pos x="61" y="312"/>
                </a:cxn>
                <a:cxn ang="0">
                  <a:pos x="93" y="267"/>
                </a:cxn>
                <a:cxn ang="0">
                  <a:pos x="88" y="215"/>
                </a:cxn>
                <a:cxn ang="0">
                  <a:pos x="78" y="145"/>
                </a:cxn>
                <a:cxn ang="0">
                  <a:pos x="99" y="89"/>
                </a:cxn>
                <a:cxn ang="0">
                  <a:pos x="124" y="43"/>
                </a:cxn>
                <a:cxn ang="0">
                  <a:pos x="147" y="13"/>
                </a:cxn>
                <a:cxn ang="0">
                  <a:pos x="202" y="1"/>
                </a:cxn>
                <a:cxn ang="0">
                  <a:pos x="242" y="1"/>
                </a:cxn>
                <a:cxn ang="0">
                  <a:pos x="288" y="15"/>
                </a:cxn>
                <a:cxn ang="0">
                  <a:pos x="313" y="30"/>
                </a:cxn>
                <a:cxn ang="0">
                  <a:pos x="341" y="68"/>
                </a:cxn>
                <a:cxn ang="0">
                  <a:pos x="372" y="62"/>
                </a:cxn>
                <a:cxn ang="0">
                  <a:pos x="400" y="49"/>
                </a:cxn>
                <a:cxn ang="0">
                  <a:pos x="435" y="47"/>
                </a:cxn>
                <a:cxn ang="0">
                  <a:pos x="477" y="70"/>
                </a:cxn>
                <a:cxn ang="0">
                  <a:pos x="528" y="87"/>
                </a:cxn>
                <a:cxn ang="0">
                  <a:pos x="578" y="72"/>
                </a:cxn>
                <a:cxn ang="0">
                  <a:pos x="627" y="45"/>
                </a:cxn>
                <a:cxn ang="0">
                  <a:pos x="683" y="45"/>
                </a:cxn>
                <a:cxn ang="0">
                  <a:pos x="723" y="64"/>
                </a:cxn>
                <a:cxn ang="0">
                  <a:pos x="759" y="76"/>
                </a:cxn>
                <a:cxn ang="0">
                  <a:pos x="799" y="55"/>
                </a:cxn>
                <a:cxn ang="0">
                  <a:pos x="851" y="24"/>
                </a:cxn>
                <a:cxn ang="0">
                  <a:pos x="879" y="38"/>
                </a:cxn>
                <a:cxn ang="0">
                  <a:pos x="906" y="125"/>
                </a:cxn>
                <a:cxn ang="0">
                  <a:pos x="938" y="135"/>
                </a:cxn>
                <a:cxn ang="0">
                  <a:pos x="944" y="156"/>
                </a:cxn>
                <a:cxn ang="0">
                  <a:pos x="938" y="198"/>
                </a:cxn>
                <a:cxn ang="0">
                  <a:pos x="895" y="234"/>
                </a:cxn>
                <a:cxn ang="0">
                  <a:pos x="858" y="272"/>
                </a:cxn>
                <a:cxn ang="0">
                  <a:pos x="835" y="312"/>
                </a:cxn>
                <a:cxn ang="0">
                  <a:pos x="835" y="341"/>
                </a:cxn>
                <a:cxn ang="0">
                  <a:pos x="826" y="362"/>
                </a:cxn>
                <a:cxn ang="0">
                  <a:pos x="803" y="387"/>
                </a:cxn>
                <a:cxn ang="0">
                  <a:pos x="793" y="419"/>
                </a:cxn>
                <a:cxn ang="0">
                  <a:pos x="767" y="442"/>
                </a:cxn>
                <a:cxn ang="0">
                  <a:pos x="746" y="476"/>
                </a:cxn>
                <a:cxn ang="0">
                  <a:pos x="734" y="515"/>
                </a:cxn>
                <a:cxn ang="0">
                  <a:pos x="702" y="574"/>
                </a:cxn>
                <a:cxn ang="0">
                  <a:pos x="673" y="600"/>
                </a:cxn>
                <a:cxn ang="0">
                  <a:pos x="629" y="557"/>
                </a:cxn>
                <a:cxn ang="0">
                  <a:pos x="612" y="562"/>
                </a:cxn>
                <a:cxn ang="0">
                  <a:pos x="578" y="574"/>
                </a:cxn>
                <a:cxn ang="0">
                  <a:pos x="515" y="614"/>
                </a:cxn>
                <a:cxn ang="0">
                  <a:pos x="481" y="660"/>
                </a:cxn>
                <a:cxn ang="0">
                  <a:pos x="471" y="694"/>
                </a:cxn>
                <a:cxn ang="0">
                  <a:pos x="462" y="728"/>
                </a:cxn>
              </a:cxnLst>
              <a:rect l="0" t="0" r="r" b="b"/>
              <a:pathLst>
                <a:path w="944" h="763">
                  <a:moveTo>
                    <a:pt x="454" y="736"/>
                  </a:moveTo>
                  <a:lnTo>
                    <a:pt x="454" y="736"/>
                  </a:lnTo>
                  <a:lnTo>
                    <a:pt x="452" y="736"/>
                  </a:lnTo>
                  <a:lnTo>
                    <a:pt x="450" y="734"/>
                  </a:lnTo>
                  <a:lnTo>
                    <a:pt x="446" y="732"/>
                  </a:lnTo>
                  <a:lnTo>
                    <a:pt x="444" y="732"/>
                  </a:lnTo>
                  <a:lnTo>
                    <a:pt x="442" y="730"/>
                  </a:lnTo>
                  <a:lnTo>
                    <a:pt x="441" y="730"/>
                  </a:lnTo>
                  <a:lnTo>
                    <a:pt x="439" y="728"/>
                  </a:lnTo>
                  <a:lnTo>
                    <a:pt x="437" y="726"/>
                  </a:lnTo>
                  <a:lnTo>
                    <a:pt x="437" y="726"/>
                  </a:lnTo>
                  <a:lnTo>
                    <a:pt x="431" y="732"/>
                  </a:lnTo>
                  <a:lnTo>
                    <a:pt x="427" y="736"/>
                  </a:lnTo>
                  <a:lnTo>
                    <a:pt x="421" y="738"/>
                  </a:lnTo>
                  <a:lnTo>
                    <a:pt x="418" y="742"/>
                  </a:lnTo>
                  <a:lnTo>
                    <a:pt x="412" y="745"/>
                  </a:lnTo>
                  <a:lnTo>
                    <a:pt x="406" y="747"/>
                  </a:lnTo>
                  <a:lnTo>
                    <a:pt x="399" y="747"/>
                  </a:lnTo>
                  <a:lnTo>
                    <a:pt x="393" y="749"/>
                  </a:lnTo>
                  <a:lnTo>
                    <a:pt x="385" y="751"/>
                  </a:lnTo>
                  <a:lnTo>
                    <a:pt x="379" y="751"/>
                  </a:lnTo>
                  <a:lnTo>
                    <a:pt x="372" y="753"/>
                  </a:lnTo>
                  <a:lnTo>
                    <a:pt x="366" y="753"/>
                  </a:lnTo>
                  <a:lnTo>
                    <a:pt x="359" y="753"/>
                  </a:lnTo>
                  <a:lnTo>
                    <a:pt x="353" y="755"/>
                  </a:lnTo>
                  <a:lnTo>
                    <a:pt x="345" y="755"/>
                  </a:lnTo>
                  <a:lnTo>
                    <a:pt x="339" y="755"/>
                  </a:lnTo>
                  <a:lnTo>
                    <a:pt x="339" y="755"/>
                  </a:lnTo>
                  <a:lnTo>
                    <a:pt x="336" y="755"/>
                  </a:lnTo>
                  <a:lnTo>
                    <a:pt x="330" y="755"/>
                  </a:lnTo>
                  <a:lnTo>
                    <a:pt x="326" y="755"/>
                  </a:lnTo>
                  <a:lnTo>
                    <a:pt x="322" y="755"/>
                  </a:lnTo>
                  <a:lnTo>
                    <a:pt x="318" y="755"/>
                  </a:lnTo>
                  <a:lnTo>
                    <a:pt x="315" y="757"/>
                  </a:lnTo>
                  <a:lnTo>
                    <a:pt x="311" y="757"/>
                  </a:lnTo>
                  <a:lnTo>
                    <a:pt x="305" y="757"/>
                  </a:lnTo>
                  <a:lnTo>
                    <a:pt x="301" y="759"/>
                  </a:lnTo>
                  <a:lnTo>
                    <a:pt x="297" y="759"/>
                  </a:lnTo>
                  <a:lnTo>
                    <a:pt x="294" y="761"/>
                  </a:lnTo>
                  <a:lnTo>
                    <a:pt x="290" y="761"/>
                  </a:lnTo>
                  <a:lnTo>
                    <a:pt x="284" y="761"/>
                  </a:lnTo>
                  <a:lnTo>
                    <a:pt x="280" y="761"/>
                  </a:lnTo>
                  <a:lnTo>
                    <a:pt x="276" y="763"/>
                  </a:lnTo>
                  <a:lnTo>
                    <a:pt x="273" y="763"/>
                  </a:lnTo>
                  <a:lnTo>
                    <a:pt x="273" y="763"/>
                  </a:lnTo>
                  <a:lnTo>
                    <a:pt x="261" y="761"/>
                  </a:lnTo>
                  <a:lnTo>
                    <a:pt x="252" y="759"/>
                  </a:lnTo>
                  <a:lnTo>
                    <a:pt x="242" y="757"/>
                  </a:lnTo>
                  <a:lnTo>
                    <a:pt x="236" y="751"/>
                  </a:lnTo>
                  <a:lnTo>
                    <a:pt x="229" y="747"/>
                  </a:lnTo>
                  <a:lnTo>
                    <a:pt x="225" y="742"/>
                  </a:lnTo>
                  <a:lnTo>
                    <a:pt x="219" y="734"/>
                  </a:lnTo>
                  <a:lnTo>
                    <a:pt x="217" y="728"/>
                  </a:lnTo>
                  <a:lnTo>
                    <a:pt x="214" y="721"/>
                  </a:lnTo>
                  <a:lnTo>
                    <a:pt x="210" y="713"/>
                  </a:lnTo>
                  <a:lnTo>
                    <a:pt x="208" y="703"/>
                  </a:lnTo>
                  <a:lnTo>
                    <a:pt x="204" y="696"/>
                  </a:lnTo>
                  <a:lnTo>
                    <a:pt x="202" y="688"/>
                  </a:lnTo>
                  <a:lnTo>
                    <a:pt x="198" y="681"/>
                  </a:lnTo>
                  <a:lnTo>
                    <a:pt x="194" y="673"/>
                  </a:lnTo>
                  <a:lnTo>
                    <a:pt x="189" y="665"/>
                  </a:lnTo>
                  <a:lnTo>
                    <a:pt x="189" y="665"/>
                  </a:lnTo>
                  <a:lnTo>
                    <a:pt x="183" y="658"/>
                  </a:lnTo>
                  <a:lnTo>
                    <a:pt x="177" y="650"/>
                  </a:lnTo>
                  <a:lnTo>
                    <a:pt x="173" y="642"/>
                  </a:lnTo>
                  <a:lnTo>
                    <a:pt x="168" y="635"/>
                  </a:lnTo>
                  <a:lnTo>
                    <a:pt x="162" y="629"/>
                  </a:lnTo>
                  <a:lnTo>
                    <a:pt x="156" y="621"/>
                  </a:lnTo>
                  <a:lnTo>
                    <a:pt x="149" y="616"/>
                  </a:lnTo>
                  <a:lnTo>
                    <a:pt x="141" y="608"/>
                  </a:lnTo>
                  <a:lnTo>
                    <a:pt x="141" y="608"/>
                  </a:lnTo>
                  <a:lnTo>
                    <a:pt x="133" y="604"/>
                  </a:lnTo>
                  <a:lnTo>
                    <a:pt x="128" y="602"/>
                  </a:lnTo>
                  <a:lnTo>
                    <a:pt x="120" y="600"/>
                  </a:lnTo>
                  <a:lnTo>
                    <a:pt x="112" y="600"/>
                  </a:lnTo>
                  <a:lnTo>
                    <a:pt x="105" y="599"/>
                  </a:lnTo>
                  <a:lnTo>
                    <a:pt x="97" y="599"/>
                  </a:lnTo>
                  <a:lnTo>
                    <a:pt x="90" y="595"/>
                  </a:lnTo>
                  <a:lnTo>
                    <a:pt x="84" y="591"/>
                  </a:lnTo>
                  <a:lnTo>
                    <a:pt x="6" y="591"/>
                  </a:lnTo>
                  <a:lnTo>
                    <a:pt x="6" y="591"/>
                  </a:lnTo>
                  <a:lnTo>
                    <a:pt x="6" y="591"/>
                  </a:lnTo>
                  <a:lnTo>
                    <a:pt x="6" y="593"/>
                  </a:lnTo>
                  <a:lnTo>
                    <a:pt x="4" y="595"/>
                  </a:lnTo>
                  <a:lnTo>
                    <a:pt x="2" y="595"/>
                  </a:lnTo>
                  <a:lnTo>
                    <a:pt x="2" y="459"/>
                  </a:lnTo>
                  <a:lnTo>
                    <a:pt x="2" y="459"/>
                  </a:lnTo>
                  <a:lnTo>
                    <a:pt x="0" y="450"/>
                  </a:lnTo>
                  <a:lnTo>
                    <a:pt x="0" y="440"/>
                  </a:lnTo>
                  <a:lnTo>
                    <a:pt x="2" y="433"/>
                  </a:lnTo>
                  <a:lnTo>
                    <a:pt x="4" y="427"/>
                  </a:lnTo>
                  <a:lnTo>
                    <a:pt x="8" y="421"/>
                  </a:lnTo>
                  <a:lnTo>
                    <a:pt x="11" y="415"/>
                  </a:lnTo>
                  <a:lnTo>
                    <a:pt x="13" y="412"/>
                  </a:lnTo>
                  <a:lnTo>
                    <a:pt x="17" y="406"/>
                  </a:lnTo>
                  <a:lnTo>
                    <a:pt x="17" y="406"/>
                  </a:lnTo>
                  <a:lnTo>
                    <a:pt x="21" y="400"/>
                  </a:lnTo>
                  <a:lnTo>
                    <a:pt x="23" y="394"/>
                  </a:lnTo>
                  <a:lnTo>
                    <a:pt x="25" y="387"/>
                  </a:lnTo>
                  <a:lnTo>
                    <a:pt x="25" y="381"/>
                  </a:lnTo>
                  <a:lnTo>
                    <a:pt x="25" y="373"/>
                  </a:lnTo>
                  <a:lnTo>
                    <a:pt x="27" y="368"/>
                  </a:lnTo>
                  <a:lnTo>
                    <a:pt x="27" y="360"/>
                  </a:lnTo>
                  <a:lnTo>
                    <a:pt x="30" y="352"/>
                  </a:lnTo>
                  <a:lnTo>
                    <a:pt x="30" y="352"/>
                  </a:lnTo>
                  <a:lnTo>
                    <a:pt x="32" y="347"/>
                  </a:lnTo>
                  <a:lnTo>
                    <a:pt x="36" y="339"/>
                  </a:lnTo>
                  <a:lnTo>
                    <a:pt x="40" y="333"/>
                  </a:lnTo>
                  <a:lnTo>
                    <a:pt x="46" y="330"/>
                  </a:lnTo>
                  <a:lnTo>
                    <a:pt x="51" y="324"/>
                  </a:lnTo>
                  <a:lnTo>
                    <a:pt x="57" y="318"/>
                  </a:lnTo>
                  <a:lnTo>
                    <a:pt x="61" y="312"/>
                  </a:lnTo>
                  <a:lnTo>
                    <a:pt x="67" y="307"/>
                  </a:lnTo>
                  <a:lnTo>
                    <a:pt x="72" y="303"/>
                  </a:lnTo>
                  <a:lnTo>
                    <a:pt x="78" y="295"/>
                  </a:lnTo>
                  <a:lnTo>
                    <a:pt x="82" y="290"/>
                  </a:lnTo>
                  <a:lnTo>
                    <a:pt x="86" y="282"/>
                  </a:lnTo>
                  <a:lnTo>
                    <a:pt x="90" y="274"/>
                  </a:lnTo>
                  <a:lnTo>
                    <a:pt x="93" y="267"/>
                  </a:lnTo>
                  <a:lnTo>
                    <a:pt x="93" y="259"/>
                  </a:lnTo>
                  <a:lnTo>
                    <a:pt x="95" y="249"/>
                  </a:lnTo>
                  <a:lnTo>
                    <a:pt x="95" y="249"/>
                  </a:lnTo>
                  <a:lnTo>
                    <a:pt x="93" y="238"/>
                  </a:lnTo>
                  <a:lnTo>
                    <a:pt x="93" y="228"/>
                  </a:lnTo>
                  <a:lnTo>
                    <a:pt x="90" y="221"/>
                  </a:lnTo>
                  <a:lnTo>
                    <a:pt x="88" y="215"/>
                  </a:lnTo>
                  <a:lnTo>
                    <a:pt x="86" y="207"/>
                  </a:lnTo>
                  <a:lnTo>
                    <a:pt x="82" y="200"/>
                  </a:lnTo>
                  <a:lnTo>
                    <a:pt x="80" y="192"/>
                  </a:lnTo>
                  <a:lnTo>
                    <a:pt x="80" y="185"/>
                  </a:lnTo>
                  <a:lnTo>
                    <a:pt x="80" y="185"/>
                  </a:lnTo>
                  <a:lnTo>
                    <a:pt x="78" y="162"/>
                  </a:lnTo>
                  <a:lnTo>
                    <a:pt x="78" y="145"/>
                  </a:lnTo>
                  <a:lnTo>
                    <a:pt x="78" y="131"/>
                  </a:lnTo>
                  <a:lnTo>
                    <a:pt x="80" y="120"/>
                  </a:lnTo>
                  <a:lnTo>
                    <a:pt x="82" y="110"/>
                  </a:lnTo>
                  <a:lnTo>
                    <a:pt x="86" y="103"/>
                  </a:lnTo>
                  <a:lnTo>
                    <a:pt x="90" y="97"/>
                  </a:lnTo>
                  <a:lnTo>
                    <a:pt x="93" y="93"/>
                  </a:lnTo>
                  <a:lnTo>
                    <a:pt x="99" y="89"/>
                  </a:lnTo>
                  <a:lnTo>
                    <a:pt x="103" y="85"/>
                  </a:lnTo>
                  <a:lnTo>
                    <a:pt x="107" y="82"/>
                  </a:lnTo>
                  <a:lnTo>
                    <a:pt x="112" y="76"/>
                  </a:lnTo>
                  <a:lnTo>
                    <a:pt x="116" y="72"/>
                  </a:lnTo>
                  <a:lnTo>
                    <a:pt x="120" y="64"/>
                  </a:lnTo>
                  <a:lnTo>
                    <a:pt x="122" y="55"/>
                  </a:lnTo>
                  <a:lnTo>
                    <a:pt x="124" y="43"/>
                  </a:lnTo>
                  <a:lnTo>
                    <a:pt x="124" y="43"/>
                  </a:lnTo>
                  <a:lnTo>
                    <a:pt x="126" y="36"/>
                  </a:lnTo>
                  <a:lnTo>
                    <a:pt x="130" y="30"/>
                  </a:lnTo>
                  <a:lnTo>
                    <a:pt x="132" y="26"/>
                  </a:lnTo>
                  <a:lnTo>
                    <a:pt x="137" y="21"/>
                  </a:lnTo>
                  <a:lnTo>
                    <a:pt x="141" y="17"/>
                  </a:lnTo>
                  <a:lnTo>
                    <a:pt x="147" y="13"/>
                  </a:lnTo>
                  <a:lnTo>
                    <a:pt x="154" y="11"/>
                  </a:lnTo>
                  <a:lnTo>
                    <a:pt x="160" y="9"/>
                  </a:lnTo>
                  <a:lnTo>
                    <a:pt x="168" y="7"/>
                  </a:lnTo>
                  <a:lnTo>
                    <a:pt x="177" y="5"/>
                  </a:lnTo>
                  <a:lnTo>
                    <a:pt x="185" y="3"/>
                  </a:lnTo>
                  <a:lnTo>
                    <a:pt x="193" y="1"/>
                  </a:lnTo>
                  <a:lnTo>
                    <a:pt x="202" y="1"/>
                  </a:lnTo>
                  <a:lnTo>
                    <a:pt x="210" y="1"/>
                  </a:lnTo>
                  <a:lnTo>
                    <a:pt x="219" y="0"/>
                  </a:lnTo>
                  <a:lnTo>
                    <a:pt x="227" y="0"/>
                  </a:lnTo>
                  <a:lnTo>
                    <a:pt x="227" y="0"/>
                  </a:lnTo>
                  <a:lnTo>
                    <a:pt x="231" y="0"/>
                  </a:lnTo>
                  <a:lnTo>
                    <a:pt x="236" y="1"/>
                  </a:lnTo>
                  <a:lnTo>
                    <a:pt x="242" y="1"/>
                  </a:lnTo>
                  <a:lnTo>
                    <a:pt x="248" y="3"/>
                  </a:lnTo>
                  <a:lnTo>
                    <a:pt x="256" y="5"/>
                  </a:lnTo>
                  <a:lnTo>
                    <a:pt x="261" y="7"/>
                  </a:lnTo>
                  <a:lnTo>
                    <a:pt x="269" y="9"/>
                  </a:lnTo>
                  <a:lnTo>
                    <a:pt x="275" y="11"/>
                  </a:lnTo>
                  <a:lnTo>
                    <a:pt x="282" y="13"/>
                  </a:lnTo>
                  <a:lnTo>
                    <a:pt x="288" y="15"/>
                  </a:lnTo>
                  <a:lnTo>
                    <a:pt x="294" y="17"/>
                  </a:lnTo>
                  <a:lnTo>
                    <a:pt x="299" y="21"/>
                  </a:lnTo>
                  <a:lnTo>
                    <a:pt x="303" y="22"/>
                  </a:lnTo>
                  <a:lnTo>
                    <a:pt x="307" y="24"/>
                  </a:lnTo>
                  <a:lnTo>
                    <a:pt x="311" y="28"/>
                  </a:lnTo>
                  <a:lnTo>
                    <a:pt x="313" y="30"/>
                  </a:lnTo>
                  <a:lnTo>
                    <a:pt x="313" y="30"/>
                  </a:lnTo>
                  <a:lnTo>
                    <a:pt x="317" y="36"/>
                  </a:lnTo>
                  <a:lnTo>
                    <a:pt x="320" y="42"/>
                  </a:lnTo>
                  <a:lnTo>
                    <a:pt x="324" y="47"/>
                  </a:lnTo>
                  <a:lnTo>
                    <a:pt x="328" y="55"/>
                  </a:lnTo>
                  <a:lnTo>
                    <a:pt x="332" y="61"/>
                  </a:lnTo>
                  <a:lnTo>
                    <a:pt x="338" y="64"/>
                  </a:lnTo>
                  <a:lnTo>
                    <a:pt x="341" y="68"/>
                  </a:lnTo>
                  <a:lnTo>
                    <a:pt x="349" y="68"/>
                  </a:lnTo>
                  <a:lnTo>
                    <a:pt x="349" y="68"/>
                  </a:lnTo>
                  <a:lnTo>
                    <a:pt x="353" y="68"/>
                  </a:lnTo>
                  <a:lnTo>
                    <a:pt x="359" y="68"/>
                  </a:lnTo>
                  <a:lnTo>
                    <a:pt x="362" y="66"/>
                  </a:lnTo>
                  <a:lnTo>
                    <a:pt x="368" y="64"/>
                  </a:lnTo>
                  <a:lnTo>
                    <a:pt x="372" y="62"/>
                  </a:lnTo>
                  <a:lnTo>
                    <a:pt x="376" y="61"/>
                  </a:lnTo>
                  <a:lnTo>
                    <a:pt x="379" y="59"/>
                  </a:lnTo>
                  <a:lnTo>
                    <a:pt x="383" y="57"/>
                  </a:lnTo>
                  <a:lnTo>
                    <a:pt x="387" y="55"/>
                  </a:lnTo>
                  <a:lnTo>
                    <a:pt x="391" y="53"/>
                  </a:lnTo>
                  <a:lnTo>
                    <a:pt x="397" y="51"/>
                  </a:lnTo>
                  <a:lnTo>
                    <a:pt x="400" y="49"/>
                  </a:lnTo>
                  <a:lnTo>
                    <a:pt x="404" y="47"/>
                  </a:lnTo>
                  <a:lnTo>
                    <a:pt x="410" y="45"/>
                  </a:lnTo>
                  <a:lnTo>
                    <a:pt x="414" y="45"/>
                  </a:lnTo>
                  <a:lnTo>
                    <a:pt x="420" y="45"/>
                  </a:lnTo>
                  <a:lnTo>
                    <a:pt x="420" y="45"/>
                  </a:lnTo>
                  <a:lnTo>
                    <a:pt x="427" y="45"/>
                  </a:lnTo>
                  <a:lnTo>
                    <a:pt x="435" y="47"/>
                  </a:lnTo>
                  <a:lnTo>
                    <a:pt x="441" y="49"/>
                  </a:lnTo>
                  <a:lnTo>
                    <a:pt x="448" y="51"/>
                  </a:lnTo>
                  <a:lnTo>
                    <a:pt x="454" y="55"/>
                  </a:lnTo>
                  <a:lnTo>
                    <a:pt x="460" y="59"/>
                  </a:lnTo>
                  <a:lnTo>
                    <a:pt x="465" y="62"/>
                  </a:lnTo>
                  <a:lnTo>
                    <a:pt x="471" y="66"/>
                  </a:lnTo>
                  <a:lnTo>
                    <a:pt x="477" y="70"/>
                  </a:lnTo>
                  <a:lnTo>
                    <a:pt x="482" y="74"/>
                  </a:lnTo>
                  <a:lnTo>
                    <a:pt x="490" y="78"/>
                  </a:lnTo>
                  <a:lnTo>
                    <a:pt x="496" y="80"/>
                  </a:lnTo>
                  <a:lnTo>
                    <a:pt x="503" y="83"/>
                  </a:lnTo>
                  <a:lnTo>
                    <a:pt x="511" y="85"/>
                  </a:lnTo>
                  <a:lnTo>
                    <a:pt x="519" y="85"/>
                  </a:lnTo>
                  <a:lnTo>
                    <a:pt x="528" y="87"/>
                  </a:lnTo>
                  <a:lnTo>
                    <a:pt x="528" y="87"/>
                  </a:lnTo>
                  <a:lnTo>
                    <a:pt x="538" y="85"/>
                  </a:lnTo>
                  <a:lnTo>
                    <a:pt x="547" y="85"/>
                  </a:lnTo>
                  <a:lnTo>
                    <a:pt x="557" y="82"/>
                  </a:lnTo>
                  <a:lnTo>
                    <a:pt x="565" y="80"/>
                  </a:lnTo>
                  <a:lnTo>
                    <a:pt x="570" y="76"/>
                  </a:lnTo>
                  <a:lnTo>
                    <a:pt x="578" y="72"/>
                  </a:lnTo>
                  <a:lnTo>
                    <a:pt x="586" y="68"/>
                  </a:lnTo>
                  <a:lnTo>
                    <a:pt x="591" y="64"/>
                  </a:lnTo>
                  <a:lnTo>
                    <a:pt x="597" y="61"/>
                  </a:lnTo>
                  <a:lnTo>
                    <a:pt x="605" y="57"/>
                  </a:lnTo>
                  <a:lnTo>
                    <a:pt x="612" y="53"/>
                  </a:lnTo>
                  <a:lnTo>
                    <a:pt x="620" y="49"/>
                  </a:lnTo>
                  <a:lnTo>
                    <a:pt x="627" y="45"/>
                  </a:lnTo>
                  <a:lnTo>
                    <a:pt x="637" y="43"/>
                  </a:lnTo>
                  <a:lnTo>
                    <a:pt x="647" y="42"/>
                  </a:lnTo>
                  <a:lnTo>
                    <a:pt x="658" y="42"/>
                  </a:lnTo>
                  <a:lnTo>
                    <a:pt x="658" y="42"/>
                  </a:lnTo>
                  <a:lnTo>
                    <a:pt x="668" y="42"/>
                  </a:lnTo>
                  <a:lnTo>
                    <a:pt x="675" y="43"/>
                  </a:lnTo>
                  <a:lnTo>
                    <a:pt x="683" y="45"/>
                  </a:lnTo>
                  <a:lnTo>
                    <a:pt x="689" y="47"/>
                  </a:lnTo>
                  <a:lnTo>
                    <a:pt x="696" y="49"/>
                  </a:lnTo>
                  <a:lnTo>
                    <a:pt x="702" y="53"/>
                  </a:lnTo>
                  <a:lnTo>
                    <a:pt x="706" y="55"/>
                  </a:lnTo>
                  <a:lnTo>
                    <a:pt x="711" y="59"/>
                  </a:lnTo>
                  <a:lnTo>
                    <a:pt x="717" y="61"/>
                  </a:lnTo>
                  <a:lnTo>
                    <a:pt x="723" y="64"/>
                  </a:lnTo>
                  <a:lnTo>
                    <a:pt x="727" y="66"/>
                  </a:lnTo>
                  <a:lnTo>
                    <a:pt x="732" y="70"/>
                  </a:lnTo>
                  <a:lnTo>
                    <a:pt x="738" y="72"/>
                  </a:lnTo>
                  <a:lnTo>
                    <a:pt x="746" y="74"/>
                  </a:lnTo>
                  <a:lnTo>
                    <a:pt x="751" y="74"/>
                  </a:lnTo>
                  <a:lnTo>
                    <a:pt x="759" y="76"/>
                  </a:lnTo>
                  <a:lnTo>
                    <a:pt x="759" y="76"/>
                  </a:lnTo>
                  <a:lnTo>
                    <a:pt x="763" y="74"/>
                  </a:lnTo>
                  <a:lnTo>
                    <a:pt x="769" y="72"/>
                  </a:lnTo>
                  <a:lnTo>
                    <a:pt x="774" y="70"/>
                  </a:lnTo>
                  <a:lnTo>
                    <a:pt x="780" y="66"/>
                  </a:lnTo>
                  <a:lnTo>
                    <a:pt x="788" y="62"/>
                  </a:lnTo>
                  <a:lnTo>
                    <a:pt x="793" y="59"/>
                  </a:lnTo>
                  <a:lnTo>
                    <a:pt x="799" y="55"/>
                  </a:lnTo>
                  <a:lnTo>
                    <a:pt x="807" y="49"/>
                  </a:lnTo>
                  <a:lnTo>
                    <a:pt x="814" y="45"/>
                  </a:lnTo>
                  <a:lnTo>
                    <a:pt x="820" y="40"/>
                  </a:lnTo>
                  <a:lnTo>
                    <a:pt x="828" y="36"/>
                  </a:lnTo>
                  <a:lnTo>
                    <a:pt x="835" y="32"/>
                  </a:lnTo>
                  <a:lnTo>
                    <a:pt x="843" y="28"/>
                  </a:lnTo>
                  <a:lnTo>
                    <a:pt x="851" y="24"/>
                  </a:lnTo>
                  <a:lnTo>
                    <a:pt x="856" y="22"/>
                  </a:lnTo>
                  <a:lnTo>
                    <a:pt x="864" y="22"/>
                  </a:lnTo>
                  <a:lnTo>
                    <a:pt x="864" y="17"/>
                  </a:lnTo>
                  <a:lnTo>
                    <a:pt x="864" y="17"/>
                  </a:lnTo>
                  <a:lnTo>
                    <a:pt x="868" y="24"/>
                  </a:lnTo>
                  <a:lnTo>
                    <a:pt x="874" y="32"/>
                  </a:lnTo>
                  <a:lnTo>
                    <a:pt x="879" y="38"/>
                  </a:lnTo>
                  <a:lnTo>
                    <a:pt x="885" y="43"/>
                  </a:lnTo>
                  <a:lnTo>
                    <a:pt x="889" y="51"/>
                  </a:lnTo>
                  <a:lnTo>
                    <a:pt x="895" y="57"/>
                  </a:lnTo>
                  <a:lnTo>
                    <a:pt x="900" y="64"/>
                  </a:lnTo>
                  <a:lnTo>
                    <a:pt x="906" y="72"/>
                  </a:lnTo>
                  <a:lnTo>
                    <a:pt x="906" y="125"/>
                  </a:lnTo>
                  <a:lnTo>
                    <a:pt x="906" y="125"/>
                  </a:lnTo>
                  <a:lnTo>
                    <a:pt x="910" y="127"/>
                  </a:lnTo>
                  <a:lnTo>
                    <a:pt x="912" y="129"/>
                  </a:lnTo>
                  <a:lnTo>
                    <a:pt x="917" y="131"/>
                  </a:lnTo>
                  <a:lnTo>
                    <a:pt x="921" y="131"/>
                  </a:lnTo>
                  <a:lnTo>
                    <a:pt x="927" y="133"/>
                  </a:lnTo>
                  <a:lnTo>
                    <a:pt x="933" y="135"/>
                  </a:lnTo>
                  <a:lnTo>
                    <a:pt x="938" y="135"/>
                  </a:lnTo>
                  <a:lnTo>
                    <a:pt x="944" y="137"/>
                  </a:lnTo>
                  <a:lnTo>
                    <a:pt x="944" y="137"/>
                  </a:lnTo>
                  <a:lnTo>
                    <a:pt x="944" y="141"/>
                  </a:lnTo>
                  <a:lnTo>
                    <a:pt x="942" y="145"/>
                  </a:lnTo>
                  <a:lnTo>
                    <a:pt x="942" y="148"/>
                  </a:lnTo>
                  <a:lnTo>
                    <a:pt x="942" y="152"/>
                  </a:lnTo>
                  <a:lnTo>
                    <a:pt x="944" y="156"/>
                  </a:lnTo>
                  <a:lnTo>
                    <a:pt x="944" y="160"/>
                  </a:lnTo>
                  <a:lnTo>
                    <a:pt x="944" y="166"/>
                  </a:lnTo>
                  <a:lnTo>
                    <a:pt x="944" y="171"/>
                  </a:lnTo>
                  <a:lnTo>
                    <a:pt x="944" y="171"/>
                  </a:lnTo>
                  <a:lnTo>
                    <a:pt x="944" y="181"/>
                  </a:lnTo>
                  <a:lnTo>
                    <a:pt x="942" y="190"/>
                  </a:lnTo>
                  <a:lnTo>
                    <a:pt x="938" y="198"/>
                  </a:lnTo>
                  <a:lnTo>
                    <a:pt x="935" y="204"/>
                  </a:lnTo>
                  <a:lnTo>
                    <a:pt x="929" y="209"/>
                  </a:lnTo>
                  <a:lnTo>
                    <a:pt x="923" y="215"/>
                  </a:lnTo>
                  <a:lnTo>
                    <a:pt x="916" y="221"/>
                  </a:lnTo>
                  <a:lnTo>
                    <a:pt x="910" y="225"/>
                  </a:lnTo>
                  <a:lnTo>
                    <a:pt x="902" y="228"/>
                  </a:lnTo>
                  <a:lnTo>
                    <a:pt x="895" y="234"/>
                  </a:lnTo>
                  <a:lnTo>
                    <a:pt x="887" y="238"/>
                  </a:lnTo>
                  <a:lnTo>
                    <a:pt x="879" y="244"/>
                  </a:lnTo>
                  <a:lnTo>
                    <a:pt x="874" y="249"/>
                  </a:lnTo>
                  <a:lnTo>
                    <a:pt x="868" y="255"/>
                  </a:lnTo>
                  <a:lnTo>
                    <a:pt x="864" y="263"/>
                  </a:lnTo>
                  <a:lnTo>
                    <a:pt x="858" y="272"/>
                  </a:lnTo>
                  <a:lnTo>
                    <a:pt x="858" y="272"/>
                  </a:lnTo>
                  <a:lnTo>
                    <a:pt x="856" y="278"/>
                  </a:lnTo>
                  <a:lnTo>
                    <a:pt x="853" y="284"/>
                  </a:lnTo>
                  <a:lnTo>
                    <a:pt x="849" y="290"/>
                  </a:lnTo>
                  <a:lnTo>
                    <a:pt x="845" y="295"/>
                  </a:lnTo>
                  <a:lnTo>
                    <a:pt x="841" y="303"/>
                  </a:lnTo>
                  <a:lnTo>
                    <a:pt x="839" y="309"/>
                  </a:lnTo>
                  <a:lnTo>
                    <a:pt x="835" y="312"/>
                  </a:lnTo>
                  <a:lnTo>
                    <a:pt x="835" y="316"/>
                  </a:lnTo>
                  <a:lnTo>
                    <a:pt x="835" y="316"/>
                  </a:lnTo>
                  <a:lnTo>
                    <a:pt x="835" y="320"/>
                  </a:lnTo>
                  <a:lnTo>
                    <a:pt x="835" y="326"/>
                  </a:lnTo>
                  <a:lnTo>
                    <a:pt x="835" y="330"/>
                  </a:lnTo>
                  <a:lnTo>
                    <a:pt x="835" y="335"/>
                  </a:lnTo>
                  <a:lnTo>
                    <a:pt x="835" y="341"/>
                  </a:lnTo>
                  <a:lnTo>
                    <a:pt x="837" y="345"/>
                  </a:lnTo>
                  <a:lnTo>
                    <a:pt x="835" y="349"/>
                  </a:lnTo>
                  <a:lnTo>
                    <a:pt x="835" y="352"/>
                  </a:lnTo>
                  <a:lnTo>
                    <a:pt x="835" y="352"/>
                  </a:lnTo>
                  <a:lnTo>
                    <a:pt x="833" y="354"/>
                  </a:lnTo>
                  <a:lnTo>
                    <a:pt x="830" y="358"/>
                  </a:lnTo>
                  <a:lnTo>
                    <a:pt x="826" y="362"/>
                  </a:lnTo>
                  <a:lnTo>
                    <a:pt x="820" y="366"/>
                  </a:lnTo>
                  <a:lnTo>
                    <a:pt x="814" y="370"/>
                  </a:lnTo>
                  <a:lnTo>
                    <a:pt x="811" y="375"/>
                  </a:lnTo>
                  <a:lnTo>
                    <a:pt x="807" y="379"/>
                  </a:lnTo>
                  <a:lnTo>
                    <a:pt x="803" y="385"/>
                  </a:lnTo>
                  <a:lnTo>
                    <a:pt x="803" y="385"/>
                  </a:lnTo>
                  <a:lnTo>
                    <a:pt x="803" y="387"/>
                  </a:lnTo>
                  <a:lnTo>
                    <a:pt x="801" y="393"/>
                  </a:lnTo>
                  <a:lnTo>
                    <a:pt x="801" y="396"/>
                  </a:lnTo>
                  <a:lnTo>
                    <a:pt x="801" y="402"/>
                  </a:lnTo>
                  <a:lnTo>
                    <a:pt x="801" y="408"/>
                  </a:lnTo>
                  <a:lnTo>
                    <a:pt x="799" y="412"/>
                  </a:lnTo>
                  <a:lnTo>
                    <a:pt x="797" y="417"/>
                  </a:lnTo>
                  <a:lnTo>
                    <a:pt x="793" y="419"/>
                  </a:lnTo>
                  <a:lnTo>
                    <a:pt x="793" y="419"/>
                  </a:lnTo>
                  <a:lnTo>
                    <a:pt x="790" y="423"/>
                  </a:lnTo>
                  <a:lnTo>
                    <a:pt x="784" y="427"/>
                  </a:lnTo>
                  <a:lnTo>
                    <a:pt x="780" y="431"/>
                  </a:lnTo>
                  <a:lnTo>
                    <a:pt x="776" y="434"/>
                  </a:lnTo>
                  <a:lnTo>
                    <a:pt x="772" y="438"/>
                  </a:lnTo>
                  <a:lnTo>
                    <a:pt x="767" y="442"/>
                  </a:lnTo>
                  <a:lnTo>
                    <a:pt x="763" y="446"/>
                  </a:lnTo>
                  <a:lnTo>
                    <a:pt x="761" y="450"/>
                  </a:lnTo>
                  <a:lnTo>
                    <a:pt x="757" y="455"/>
                  </a:lnTo>
                  <a:lnTo>
                    <a:pt x="753" y="459"/>
                  </a:lnTo>
                  <a:lnTo>
                    <a:pt x="751" y="465"/>
                  </a:lnTo>
                  <a:lnTo>
                    <a:pt x="748" y="471"/>
                  </a:lnTo>
                  <a:lnTo>
                    <a:pt x="746" y="476"/>
                  </a:lnTo>
                  <a:lnTo>
                    <a:pt x="744" y="482"/>
                  </a:lnTo>
                  <a:lnTo>
                    <a:pt x="742" y="490"/>
                  </a:lnTo>
                  <a:lnTo>
                    <a:pt x="740" y="497"/>
                  </a:lnTo>
                  <a:lnTo>
                    <a:pt x="740" y="497"/>
                  </a:lnTo>
                  <a:lnTo>
                    <a:pt x="740" y="501"/>
                  </a:lnTo>
                  <a:lnTo>
                    <a:pt x="738" y="509"/>
                  </a:lnTo>
                  <a:lnTo>
                    <a:pt x="734" y="515"/>
                  </a:lnTo>
                  <a:lnTo>
                    <a:pt x="730" y="522"/>
                  </a:lnTo>
                  <a:lnTo>
                    <a:pt x="727" y="532"/>
                  </a:lnTo>
                  <a:lnTo>
                    <a:pt x="723" y="539"/>
                  </a:lnTo>
                  <a:lnTo>
                    <a:pt x="717" y="549"/>
                  </a:lnTo>
                  <a:lnTo>
                    <a:pt x="713" y="559"/>
                  </a:lnTo>
                  <a:lnTo>
                    <a:pt x="708" y="566"/>
                  </a:lnTo>
                  <a:lnTo>
                    <a:pt x="702" y="574"/>
                  </a:lnTo>
                  <a:lnTo>
                    <a:pt x="696" y="581"/>
                  </a:lnTo>
                  <a:lnTo>
                    <a:pt x="692" y="587"/>
                  </a:lnTo>
                  <a:lnTo>
                    <a:pt x="687" y="593"/>
                  </a:lnTo>
                  <a:lnTo>
                    <a:pt x="681" y="597"/>
                  </a:lnTo>
                  <a:lnTo>
                    <a:pt x="677" y="600"/>
                  </a:lnTo>
                  <a:lnTo>
                    <a:pt x="673" y="600"/>
                  </a:lnTo>
                  <a:lnTo>
                    <a:pt x="673" y="600"/>
                  </a:lnTo>
                  <a:lnTo>
                    <a:pt x="666" y="599"/>
                  </a:lnTo>
                  <a:lnTo>
                    <a:pt x="660" y="595"/>
                  </a:lnTo>
                  <a:lnTo>
                    <a:pt x="654" y="589"/>
                  </a:lnTo>
                  <a:lnTo>
                    <a:pt x="648" y="581"/>
                  </a:lnTo>
                  <a:lnTo>
                    <a:pt x="643" y="572"/>
                  </a:lnTo>
                  <a:lnTo>
                    <a:pt x="637" y="564"/>
                  </a:lnTo>
                  <a:lnTo>
                    <a:pt x="629" y="557"/>
                  </a:lnTo>
                  <a:lnTo>
                    <a:pt x="622" y="549"/>
                  </a:lnTo>
                  <a:lnTo>
                    <a:pt x="622" y="549"/>
                  </a:lnTo>
                  <a:lnTo>
                    <a:pt x="622" y="551"/>
                  </a:lnTo>
                  <a:lnTo>
                    <a:pt x="620" y="555"/>
                  </a:lnTo>
                  <a:lnTo>
                    <a:pt x="618" y="557"/>
                  </a:lnTo>
                  <a:lnTo>
                    <a:pt x="614" y="560"/>
                  </a:lnTo>
                  <a:lnTo>
                    <a:pt x="612" y="562"/>
                  </a:lnTo>
                  <a:lnTo>
                    <a:pt x="608" y="566"/>
                  </a:lnTo>
                  <a:lnTo>
                    <a:pt x="606" y="568"/>
                  </a:lnTo>
                  <a:lnTo>
                    <a:pt x="603" y="568"/>
                  </a:lnTo>
                  <a:lnTo>
                    <a:pt x="603" y="568"/>
                  </a:lnTo>
                  <a:lnTo>
                    <a:pt x="595" y="568"/>
                  </a:lnTo>
                  <a:lnTo>
                    <a:pt x="586" y="570"/>
                  </a:lnTo>
                  <a:lnTo>
                    <a:pt x="578" y="574"/>
                  </a:lnTo>
                  <a:lnTo>
                    <a:pt x="568" y="576"/>
                  </a:lnTo>
                  <a:lnTo>
                    <a:pt x="559" y="581"/>
                  </a:lnTo>
                  <a:lnTo>
                    <a:pt x="549" y="587"/>
                  </a:lnTo>
                  <a:lnTo>
                    <a:pt x="540" y="593"/>
                  </a:lnTo>
                  <a:lnTo>
                    <a:pt x="532" y="599"/>
                  </a:lnTo>
                  <a:lnTo>
                    <a:pt x="523" y="606"/>
                  </a:lnTo>
                  <a:lnTo>
                    <a:pt x="515" y="614"/>
                  </a:lnTo>
                  <a:lnTo>
                    <a:pt x="507" y="621"/>
                  </a:lnTo>
                  <a:lnTo>
                    <a:pt x="500" y="629"/>
                  </a:lnTo>
                  <a:lnTo>
                    <a:pt x="494" y="637"/>
                  </a:lnTo>
                  <a:lnTo>
                    <a:pt x="488" y="644"/>
                  </a:lnTo>
                  <a:lnTo>
                    <a:pt x="484" y="652"/>
                  </a:lnTo>
                  <a:lnTo>
                    <a:pt x="481" y="660"/>
                  </a:lnTo>
                  <a:lnTo>
                    <a:pt x="481" y="660"/>
                  </a:lnTo>
                  <a:lnTo>
                    <a:pt x="479" y="665"/>
                  </a:lnTo>
                  <a:lnTo>
                    <a:pt x="477" y="669"/>
                  </a:lnTo>
                  <a:lnTo>
                    <a:pt x="477" y="675"/>
                  </a:lnTo>
                  <a:lnTo>
                    <a:pt x="475" y="679"/>
                  </a:lnTo>
                  <a:lnTo>
                    <a:pt x="473" y="684"/>
                  </a:lnTo>
                  <a:lnTo>
                    <a:pt x="473" y="690"/>
                  </a:lnTo>
                  <a:lnTo>
                    <a:pt x="471" y="694"/>
                  </a:lnTo>
                  <a:lnTo>
                    <a:pt x="471" y="700"/>
                  </a:lnTo>
                  <a:lnTo>
                    <a:pt x="469" y="703"/>
                  </a:lnTo>
                  <a:lnTo>
                    <a:pt x="467" y="709"/>
                  </a:lnTo>
                  <a:lnTo>
                    <a:pt x="467" y="715"/>
                  </a:lnTo>
                  <a:lnTo>
                    <a:pt x="465" y="719"/>
                  </a:lnTo>
                  <a:lnTo>
                    <a:pt x="463" y="724"/>
                  </a:lnTo>
                  <a:lnTo>
                    <a:pt x="462" y="728"/>
                  </a:lnTo>
                  <a:lnTo>
                    <a:pt x="460" y="732"/>
                  </a:lnTo>
                  <a:lnTo>
                    <a:pt x="458" y="738"/>
                  </a:lnTo>
                  <a:lnTo>
                    <a:pt x="454" y="736"/>
                  </a:lnTo>
                </a:path>
              </a:pathLst>
            </a:custGeom>
            <a:solidFill>
              <a:schemeClr val="hlink"/>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2" name="Freeform 136"/>
            <p:cNvSpPr>
              <a:spLocks/>
            </p:cNvSpPr>
            <p:nvPr/>
          </p:nvSpPr>
          <p:spPr bwMode="gray">
            <a:xfrm>
              <a:off x="1603" y="1809"/>
              <a:ext cx="134" cy="271"/>
            </a:xfrm>
            <a:custGeom>
              <a:avLst/>
              <a:gdLst/>
              <a:ahLst/>
              <a:cxnLst>
                <a:cxn ang="0">
                  <a:pos x="147" y="485"/>
                </a:cxn>
                <a:cxn ang="0">
                  <a:pos x="143" y="489"/>
                </a:cxn>
                <a:cxn ang="0">
                  <a:pos x="141" y="344"/>
                </a:cxn>
                <a:cxn ang="0">
                  <a:pos x="145" y="321"/>
                </a:cxn>
                <a:cxn ang="0">
                  <a:pos x="154" y="306"/>
                </a:cxn>
                <a:cxn ang="0">
                  <a:pos x="162" y="294"/>
                </a:cxn>
                <a:cxn ang="0">
                  <a:pos x="166" y="275"/>
                </a:cxn>
                <a:cxn ang="0">
                  <a:pos x="168" y="254"/>
                </a:cxn>
                <a:cxn ang="0">
                  <a:pos x="173" y="241"/>
                </a:cxn>
                <a:cxn ang="0">
                  <a:pos x="187" y="224"/>
                </a:cxn>
                <a:cxn ang="0">
                  <a:pos x="202" y="206"/>
                </a:cxn>
                <a:cxn ang="0">
                  <a:pos x="219" y="189"/>
                </a:cxn>
                <a:cxn ang="0">
                  <a:pos x="231" y="168"/>
                </a:cxn>
                <a:cxn ang="0">
                  <a:pos x="236" y="143"/>
                </a:cxn>
                <a:cxn ang="0">
                  <a:pos x="232" y="122"/>
                </a:cxn>
                <a:cxn ang="0">
                  <a:pos x="225" y="101"/>
                </a:cxn>
                <a:cxn ang="0">
                  <a:pos x="221" y="79"/>
                </a:cxn>
                <a:cxn ang="0">
                  <a:pos x="221" y="71"/>
                </a:cxn>
                <a:cxn ang="0">
                  <a:pos x="221" y="61"/>
                </a:cxn>
                <a:cxn ang="0">
                  <a:pos x="221" y="50"/>
                </a:cxn>
                <a:cxn ang="0">
                  <a:pos x="217" y="52"/>
                </a:cxn>
                <a:cxn ang="0">
                  <a:pos x="194" y="25"/>
                </a:cxn>
                <a:cxn ang="0">
                  <a:pos x="168" y="2"/>
                </a:cxn>
                <a:cxn ang="0">
                  <a:pos x="158" y="2"/>
                </a:cxn>
                <a:cxn ang="0">
                  <a:pos x="137" y="14"/>
                </a:cxn>
                <a:cxn ang="0">
                  <a:pos x="122" y="25"/>
                </a:cxn>
                <a:cxn ang="0">
                  <a:pos x="120" y="37"/>
                </a:cxn>
                <a:cxn ang="0">
                  <a:pos x="110" y="61"/>
                </a:cxn>
                <a:cxn ang="0">
                  <a:pos x="87" y="77"/>
                </a:cxn>
                <a:cxn ang="0">
                  <a:pos x="68" y="79"/>
                </a:cxn>
                <a:cxn ang="0">
                  <a:pos x="47" y="80"/>
                </a:cxn>
                <a:cxn ang="0">
                  <a:pos x="28" y="90"/>
                </a:cxn>
                <a:cxn ang="0">
                  <a:pos x="13" y="103"/>
                </a:cxn>
                <a:cxn ang="0">
                  <a:pos x="4" y="122"/>
                </a:cxn>
                <a:cxn ang="0">
                  <a:pos x="0" y="145"/>
                </a:cxn>
                <a:cxn ang="0">
                  <a:pos x="2" y="166"/>
                </a:cxn>
                <a:cxn ang="0">
                  <a:pos x="15" y="191"/>
                </a:cxn>
                <a:cxn ang="0">
                  <a:pos x="32" y="214"/>
                </a:cxn>
                <a:cxn ang="0">
                  <a:pos x="49" y="237"/>
                </a:cxn>
                <a:cxn ang="0">
                  <a:pos x="61" y="262"/>
                </a:cxn>
                <a:cxn ang="0">
                  <a:pos x="65" y="283"/>
                </a:cxn>
                <a:cxn ang="0">
                  <a:pos x="63" y="315"/>
                </a:cxn>
                <a:cxn ang="0">
                  <a:pos x="57" y="348"/>
                </a:cxn>
                <a:cxn ang="0">
                  <a:pos x="51" y="378"/>
                </a:cxn>
                <a:cxn ang="0">
                  <a:pos x="46" y="411"/>
                </a:cxn>
                <a:cxn ang="0">
                  <a:pos x="44" y="447"/>
                </a:cxn>
                <a:cxn ang="0">
                  <a:pos x="44" y="464"/>
                </a:cxn>
                <a:cxn ang="0">
                  <a:pos x="51" y="481"/>
                </a:cxn>
                <a:cxn ang="0">
                  <a:pos x="61" y="493"/>
                </a:cxn>
                <a:cxn ang="0">
                  <a:pos x="68" y="494"/>
                </a:cxn>
                <a:cxn ang="0">
                  <a:pos x="84" y="493"/>
                </a:cxn>
                <a:cxn ang="0">
                  <a:pos x="97" y="491"/>
                </a:cxn>
                <a:cxn ang="0">
                  <a:pos x="112" y="489"/>
                </a:cxn>
                <a:cxn ang="0">
                  <a:pos x="128" y="485"/>
                </a:cxn>
                <a:cxn ang="0">
                  <a:pos x="143" y="483"/>
                </a:cxn>
              </a:cxnLst>
              <a:rect l="0" t="0" r="r" b="b"/>
              <a:pathLst>
                <a:path w="236" h="494">
                  <a:moveTo>
                    <a:pt x="147" y="485"/>
                  </a:moveTo>
                  <a:lnTo>
                    <a:pt x="147" y="485"/>
                  </a:lnTo>
                  <a:lnTo>
                    <a:pt x="147" y="485"/>
                  </a:lnTo>
                  <a:lnTo>
                    <a:pt x="147" y="487"/>
                  </a:lnTo>
                  <a:lnTo>
                    <a:pt x="145" y="489"/>
                  </a:lnTo>
                  <a:lnTo>
                    <a:pt x="143" y="489"/>
                  </a:lnTo>
                  <a:lnTo>
                    <a:pt x="143" y="353"/>
                  </a:lnTo>
                  <a:lnTo>
                    <a:pt x="143" y="353"/>
                  </a:lnTo>
                  <a:lnTo>
                    <a:pt x="141" y="344"/>
                  </a:lnTo>
                  <a:lnTo>
                    <a:pt x="141" y="334"/>
                  </a:lnTo>
                  <a:lnTo>
                    <a:pt x="143" y="327"/>
                  </a:lnTo>
                  <a:lnTo>
                    <a:pt x="145" y="321"/>
                  </a:lnTo>
                  <a:lnTo>
                    <a:pt x="149" y="315"/>
                  </a:lnTo>
                  <a:lnTo>
                    <a:pt x="152" y="309"/>
                  </a:lnTo>
                  <a:lnTo>
                    <a:pt x="154" y="306"/>
                  </a:lnTo>
                  <a:lnTo>
                    <a:pt x="158" y="300"/>
                  </a:lnTo>
                  <a:lnTo>
                    <a:pt x="158" y="300"/>
                  </a:lnTo>
                  <a:lnTo>
                    <a:pt x="162" y="294"/>
                  </a:lnTo>
                  <a:lnTo>
                    <a:pt x="164" y="288"/>
                  </a:lnTo>
                  <a:lnTo>
                    <a:pt x="166" y="281"/>
                  </a:lnTo>
                  <a:lnTo>
                    <a:pt x="166" y="275"/>
                  </a:lnTo>
                  <a:lnTo>
                    <a:pt x="166" y="267"/>
                  </a:lnTo>
                  <a:lnTo>
                    <a:pt x="168" y="262"/>
                  </a:lnTo>
                  <a:lnTo>
                    <a:pt x="168" y="254"/>
                  </a:lnTo>
                  <a:lnTo>
                    <a:pt x="171" y="246"/>
                  </a:lnTo>
                  <a:lnTo>
                    <a:pt x="171" y="246"/>
                  </a:lnTo>
                  <a:lnTo>
                    <a:pt x="173" y="241"/>
                  </a:lnTo>
                  <a:lnTo>
                    <a:pt x="177" y="233"/>
                  </a:lnTo>
                  <a:lnTo>
                    <a:pt x="181" y="227"/>
                  </a:lnTo>
                  <a:lnTo>
                    <a:pt x="187" y="224"/>
                  </a:lnTo>
                  <a:lnTo>
                    <a:pt x="192" y="218"/>
                  </a:lnTo>
                  <a:lnTo>
                    <a:pt x="198" y="212"/>
                  </a:lnTo>
                  <a:lnTo>
                    <a:pt x="202" y="206"/>
                  </a:lnTo>
                  <a:lnTo>
                    <a:pt x="208" y="201"/>
                  </a:lnTo>
                  <a:lnTo>
                    <a:pt x="213" y="197"/>
                  </a:lnTo>
                  <a:lnTo>
                    <a:pt x="219" y="189"/>
                  </a:lnTo>
                  <a:lnTo>
                    <a:pt x="223" y="184"/>
                  </a:lnTo>
                  <a:lnTo>
                    <a:pt x="227" y="176"/>
                  </a:lnTo>
                  <a:lnTo>
                    <a:pt x="231" y="168"/>
                  </a:lnTo>
                  <a:lnTo>
                    <a:pt x="234" y="161"/>
                  </a:lnTo>
                  <a:lnTo>
                    <a:pt x="234" y="153"/>
                  </a:lnTo>
                  <a:lnTo>
                    <a:pt x="236" y="143"/>
                  </a:lnTo>
                  <a:lnTo>
                    <a:pt x="236" y="143"/>
                  </a:lnTo>
                  <a:lnTo>
                    <a:pt x="234" y="132"/>
                  </a:lnTo>
                  <a:lnTo>
                    <a:pt x="232" y="122"/>
                  </a:lnTo>
                  <a:lnTo>
                    <a:pt x="231" y="115"/>
                  </a:lnTo>
                  <a:lnTo>
                    <a:pt x="229" y="109"/>
                  </a:lnTo>
                  <a:lnTo>
                    <a:pt x="225" y="101"/>
                  </a:lnTo>
                  <a:lnTo>
                    <a:pt x="223" y="94"/>
                  </a:lnTo>
                  <a:lnTo>
                    <a:pt x="221" y="86"/>
                  </a:lnTo>
                  <a:lnTo>
                    <a:pt x="221" y="79"/>
                  </a:lnTo>
                  <a:lnTo>
                    <a:pt x="221" y="79"/>
                  </a:lnTo>
                  <a:lnTo>
                    <a:pt x="221" y="75"/>
                  </a:lnTo>
                  <a:lnTo>
                    <a:pt x="221" y="71"/>
                  </a:lnTo>
                  <a:lnTo>
                    <a:pt x="221" y="67"/>
                  </a:lnTo>
                  <a:lnTo>
                    <a:pt x="221" y="63"/>
                  </a:lnTo>
                  <a:lnTo>
                    <a:pt x="221" y="61"/>
                  </a:lnTo>
                  <a:lnTo>
                    <a:pt x="221" y="58"/>
                  </a:lnTo>
                  <a:lnTo>
                    <a:pt x="221" y="54"/>
                  </a:lnTo>
                  <a:lnTo>
                    <a:pt x="221" y="50"/>
                  </a:lnTo>
                  <a:lnTo>
                    <a:pt x="225" y="58"/>
                  </a:lnTo>
                  <a:lnTo>
                    <a:pt x="225" y="58"/>
                  </a:lnTo>
                  <a:lnTo>
                    <a:pt x="217" y="52"/>
                  </a:lnTo>
                  <a:lnTo>
                    <a:pt x="211" y="44"/>
                  </a:lnTo>
                  <a:lnTo>
                    <a:pt x="202" y="37"/>
                  </a:lnTo>
                  <a:lnTo>
                    <a:pt x="194" y="25"/>
                  </a:lnTo>
                  <a:lnTo>
                    <a:pt x="185" y="16"/>
                  </a:lnTo>
                  <a:lnTo>
                    <a:pt x="177" y="8"/>
                  </a:lnTo>
                  <a:lnTo>
                    <a:pt x="168" y="2"/>
                  </a:lnTo>
                  <a:lnTo>
                    <a:pt x="162" y="0"/>
                  </a:lnTo>
                  <a:lnTo>
                    <a:pt x="162" y="0"/>
                  </a:lnTo>
                  <a:lnTo>
                    <a:pt x="158" y="2"/>
                  </a:lnTo>
                  <a:lnTo>
                    <a:pt x="152" y="4"/>
                  </a:lnTo>
                  <a:lnTo>
                    <a:pt x="145" y="8"/>
                  </a:lnTo>
                  <a:lnTo>
                    <a:pt x="137" y="14"/>
                  </a:lnTo>
                  <a:lnTo>
                    <a:pt x="131" y="18"/>
                  </a:lnTo>
                  <a:lnTo>
                    <a:pt x="126" y="21"/>
                  </a:lnTo>
                  <a:lnTo>
                    <a:pt x="122" y="25"/>
                  </a:lnTo>
                  <a:lnTo>
                    <a:pt x="120" y="29"/>
                  </a:lnTo>
                  <a:lnTo>
                    <a:pt x="120" y="29"/>
                  </a:lnTo>
                  <a:lnTo>
                    <a:pt x="120" y="37"/>
                  </a:lnTo>
                  <a:lnTo>
                    <a:pt x="118" y="46"/>
                  </a:lnTo>
                  <a:lnTo>
                    <a:pt x="114" y="54"/>
                  </a:lnTo>
                  <a:lnTo>
                    <a:pt x="110" y="61"/>
                  </a:lnTo>
                  <a:lnTo>
                    <a:pt x="105" y="67"/>
                  </a:lnTo>
                  <a:lnTo>
                    <a:pt x="97" y="73"/>
                  </a:lnTo>
                  <a:lnTo>
                    <a:pt x="87" y="77"/>
                  </a:lnTo>
                  <a:lnTo>
                    <a:pt x="76" y="79"/>
                  </a:lnTo>
                  <a:lnTo>
                    <a:pt x="76" y="79"/>
                  </a:lnTo>
                  <a:lnTo>
                    <a:pt x="68" y="79"/>
                  </a:lnTo>
                  <a:lnTo>
                    <a:pt x="61" y="79"/>
                  </a:lnTo>
                  <a:lnTo>
                    <a:pt x="55" y="80"/>
                  </a:lnTo>
                  <a:lnTo>
                    <a:pt x="47" y="80"/>
                  </a:lnTo>
                  <a:lnTo>
                    <a:pt x="42" y="84"/>
                  </a:lnTo>
                  <a:lnTo>
                    <a:pt x="34" y="86"/>
                  </a:lnTo>
                  <a:lnTo>
                    <a:pt x="28" y="90"/>
                  </a:lnTo>
                  <a:lnTo>
                    <a:pt x="23" y="94"/>
                  </a:lnTo>
                  <a:lnTo>
                    <a:pt x="19" y="98"/>
                  </a:lnTo>
                  <a:lnTo>
                    <a:pt x="13" y="103"/>
                  </a:lnTo>
                  <a:lnTo>
                    <a:pt x="9" y="109"/>
                  </a:lnTo>
                  <a:lnTo>
                    <a:pt x="5" y="115"/>
                  </a:lnTo>
                  <a:lnTo>
                    <a:pt x="4" y="122"/>
                  </a:lnTo>
                  <a:lnTo>
                    <a:pt x="2" y="128"/>
                  </a:lnTo>
                  <a:lnTo>
                    <a:pt x="0" y="138"/>
                  </a:lnTo>
                  <a:lnTo>
                    <a:pt x="0" y="145"/>
                  </a:lnTo>
                  <a:lnTo>
                    <a:pt x="0" y="145"/>
                  </a:lnTo>
                  <a:lnTo>
                    <a:pt x="0" y="157"/>
                  </a:lnTo>
                  <a:lnTo>
                    <a:pt x="2" y="166"/>
                  </a:lnTo>
                  <a:lnTo>
                    <a:pt x="5" y="174"/>
                  </a:lnTo>
                  <a:lnTo>
                    <a:pt x="9" y="184"/>
                  </a:lnTo>
                  <a:lnTo>
                    <a:pt x="15" y="191"/>
                  </a:lnTo>
                  <a:lnTo>
                    <a:pt x="21" y="199"/>
                  </a:lnTo>
                  <a:lnTo>
                    <a:pt x="26" y="206"/>
                  </a:lnTo>
                  <a:lnTo>
                    <a:pt x="32" y="214"/>
                  </a:lnTo>
                  <a:lnTo>
                    <a:pt x="38" y="222"/>
                  </a:lnTo>
                  <a:lnTo>
                    <a:pt x="44" y="229"/>
                  </a:lnTo>
                  <a:lnTo>
                    <a:pt x="49" y="237"/>
                  </a:lnTo>
                  <a:lnTo>
                    <a:pt x="53" y="245"/>
                  </a:lnTo>
                  <a:lnTo>
                    <a:pt x="59" y="252"/>
                  </a:lnTo>
                  <a:lnTo>
                    <a:pt x="61" y="262"/>
                  </a:lnTo>
                  <a:lnTo>
                    <a:pt x="63" y="271"/>
                  </a:lnTo>
                  <a:lnTo>
                    <a:pt x="65" y="283"/>
                  </a:lnTo>
                  <a:lnTo>
                    <a:pt x="65" y="283"/>
                  </a:lnTo>
                  <a:lnTo>
                    <a:pt x="65" y="292"/>
                  </a:lnTo>
                  <a:lnTo>
                    <a:pt x="63" y="304"/>
                  </a:lnTo>
                  <a:lnTo>
                    <a:pt x="63" y="315"/>
                  </a:lnTo>
                  <a:lnTo>
                    <a:pt x="61" y="327"/>
                  </a:lnTo>
                  <a:lnTo>
                    <a:pt x="59" y="336"/>
                  </a:lnTo>
                  <a:lnTo>
                    <a:pt x="57" y="348"/>
                  </a:lnTo>
                  <a:lnTo>
                    <a:pt x="55" y="357"/>
                  </a:lnTo>
                  <a:lnTo>
                    <a:pt x="53" y="369"/>
                  </a:lnTo>
                  <a:lnTo>
                    <a:pt x="51" y="378"/>
                  </a:lnTo>
                  <a:lnTo>
                    <a:pt x="49" y="390"/>
                  </a:lnTo>
                  <a:lnTo>
                    <a:pt x="47" y="399"/>
                  </a:lnTo>
                  <a:lnTo>
                    <a:pt x="46" y="411"/>
                  </a:lnTo>
                  <a:lnTo>
                    <a:pt x="46" y="422"/>
                  </a:lnTo>
                  <a:lnTo>
                    <a:pt x="44" y="433"/>
                  </a:lnTo>
                  <a:lnTo>
                    <a:pt x="44" y="447"/>
                  </a:lnTo>
                  <a:lnTo>
                    <a:pt x="44" y="458"/>
                  </a:lnTo>
                  <a:lnTo>
                    <a:pt x="44" y="458"/>
                  </a:lnTo>
                  <a:lnTo>
                    <a:pt x="44" y="464"/>
                  </a:lnTo>
                  <a:lnTo>
                    <a:pt x="46" y="470"/>
                  </a:lnTo>
                  <a:lnTo>
                    <a:pt x="47" y="475"/>
                  </a:lnTo>
                  <a:lnTo>
                    <a:pt x="51" y="481"/>
                  </a:lnTo>
                  <a:lnTo>
                    <a:pt x="53" y="487"/>
                  </a:lnTo>
                  <a:lnTo>
                    <a:pt x="57" y="491"/>
                  </a:lnTo>
                  <a:lnTo>
                    <a:pt x="61" y="493"/>
                  </a:lnTo>
                  <a:lnTo>
                    <a:pt x="65" y="494"/>
                  </a:lnTo>
                  <a:lnTo>
                    <a:pt x="65" y="494"/>
                  </a:lnTo>
                  <a:lnTo>
                    <a:pt x="68" y="494"/>
                  </a:lnTo>
                  <a:lnTo>
                    <a:pt x="74" y="494"/>
                  </a:lnTo>
                  <a:lnTo>
                    <a:pt x="78" y="494"/>
                  </a:lnTo>
                  <a:lnTo>
                    <a:pt x="84" y="493"/>
                  </a:lnTo>
                  <a:lnTo>
                    <a:pt x="87" y="493"/>
                  </a:lnTo>
                  <a:lnTo>
                    <a:pt x="93" y="493"/>
                  </a:lnTo>
                  <a:lnTo>
                    <a:pt x="97" y="491"/>
                  </a:lnTo>
                  <a:lnTo>
                    <a:pt x="103" y="491"/>
                  </a:lnTo>
                  <a:lnTo>
                    <a:pt x="108" y="489"/>
                  </a:lnTo>
                  <a:lnTo>
                    <a:pt x="112" y="489"/>
                  </a:lnTo>
                  <a:lnTo>
                    <a:pt x="118" y="487"/>
                  </a:lnTo>
                  <a:lnTo>
                    <a:pt x="124" y="487"/>
                  </a:lnTo>
                  <a:lnTo>
                    <a:pt x="128" y="485"/>
                  </a:lnTo>
                  <a:lnTo>
                    <a:pt x="133" y="485"/>
                  </a:lnTo>
                  <a:lnTo>
                    <a:pt x="139" y="483"/>
                  </a:lnTo>
                  <a:lnTo>
                    <a:pt x="143" y="483"/>
                  </a:lnTo>
                  <a:lnTo>
                    <a:pt x="147" y="485"/>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3" name="Freeform 137"/>
            <p:cNvSpPr>
              <a:spLocks/>
            </p:cNvSpPr>
            <p:nvPr/>
          </p:nvSpPr>
          <p:spPr bwMode="gray">
            <a:xfrm>
              <a:off x="1566" y="1864"/>
              <a:ext cx="74" cy="223"/>
            </a:xfrm>
            <a:custGeom>
              <a:avLst/>
              <a:gdLst/>
              <a:ahLst/>
              <a:cxnLst>
                <a:cxn ang="0">
                  <a:pos x="67" y="27"/>
                </a:cxn>
                <a:cxn ang="0">
                  <a:pos x="65" y="35"/>
                </a:cxn>
                <a:cxn ang="0">
                  <a:pos x="65" y="42"/>
                </a:cxn>
                <a:cxn ang="0">
                  <a:pos x="65" y="56"/>
                </a:cxn>
                <a:cxn ang="0">
                  <a:pos x="74" y="83"/>
                </a:cxn>
                <a:cxn ang="0">
                  <a:pos x="91" y="105"/>
                </a:cxn>
                <a:cxn ang="0">
                  <a:pos x="109" y="128"/>
                </a:cxn>
                <a:cxn ang="0">
                  <a:pos x="124" y="151"/>
                </a:cxn>
                <a:cxn ang="0">
                  <a:pos x="130" y="182"/>
                </a:cxn>
                <a:cxn ang="0">
                  <a:pos x="128" y="203"/>
                </a:cxn>
                <a:cxn ang="0">
                  <a:pos x="124" y="235"/>
                </a:cxn>
                <a:cxn ang="0">
                  <a:pos x="118" y="268"/>
                </a:cxn>
                <a:cxn ang="0">
                  <a:pos x="112" y="298"/>
                </a:cxn>
                <a:cxn ang="0">
                  <a:pos x="109" y="332"/>
                </a:cxn>
                <a:cxn ang="0">
                  <a:pos x="109" y="357"/>
                </a:cxn>
                <a:cxn ang="0">
                  <a:pos x="112" y="374"/>
                </a:cxn>
                <a:cxn ang="0">
                  <a:pos x="122" y="390"/>
                </a:cxn>
                <a:cxn ang="0">
                  <a:pos x="130" y="393"/>
                </a:cxn>
                <a:cxn ang="0">
                  <a:pos x="109" y="401"/>
                </a:cxn>
                <a:cxn ang="0">
                  <a:pos x="91" y="407"/>
                </a:cxn>
                <a:cxn ang="0">
                  <a:pos x="78" y="407"/>
                </a:cxn>
                <a:cxn ang="0">
                  <a:pos x="55" y="393"/>
                </a:cxn>
                <a:cxn ang="0">
                  <a:pos x="36" y="363"/>
                </a:cxn>
                <a:cxn ang="0">
                  <a:pos x="32" y="342"/>
                </a:cxn>
                <a:cxn ang="0">
                  <a:pos x="34" y="329"/>
                </a:cxn>
                <a:cxn ang="0">
                  <a:pos x="40" y="317"/>
                </a:cxn>
                <a:cxn ang="0">
                  <a:pos x="40" y="311"/>
                </a:cxn>
                <a:cxn ang="0">
                  <a:pos x="40" y="302"/>
                </a:cxn>
                <a:cxn ang="0">
                  <a:pos x="40" y="298"/>
                </a:cxn>
                <a:cxn ang="0">
                  <a:pos x="40" y="292"/>
                </a:cxn>
                <a:cxn ang="0">
                  <a:pos x="42" y="285"/>
                </a:cxn>
                <a:cxn ang="0">
                  <a:pos x="44" y="271"/>
                </a:cxn>
                <a:cxn ang="0">
                  <a:pos x="46" y="258"/>
                </a:cxn>
                <a:cxn ang="0">
                  <a:pos x="48" y="243"/>
                </a:cxn>
                <a:cxn ang="0">
                  <a:pos x="49" y="229"/>
                </a:cxn>
                <a:cxn ang="0">
                  <a:pos x="48" y="218"/>
                </a:cxn>
                <a:cxn ang="0">
                  <a:pos x="40" y="205"/>
                </a:cxn>
                <a:cxn ang="0">
                  <a:pos x="30" y="195"/>
                </a:cxn>
                <a:cxn ang="0">
                  <a:pos x="28" y="184"/>
                </a:cxn>
                <a:cxn ang="0">
                  <a:pos x="34" y="168"/>
                </a:cxn>
                <a:cxn ang="0">
                  <a:pos x="40" y="157"/>
                </a:cxn>
                <a:cxn ang="0">
                  <a:pos x="40" y="147"/>
                </a:cxn>
                <a:cxn ang="0">
                  <a:pos x="32" y="134"/>
                </a:cxn>
                <a:cxn ang="0">
                  <a:pos x="25" y="119"/>
                </a:cxn>
                <a:cxn ang="0">
                  <a:pos x="23" y="105"/>
                </a:cxn>
                <a:cxn ang="0">
                  <a:pos x="23" y="92"/>
                </a:cxn>
                <a:cxn ang="0">
                  <a:pos x="23" y="84"/>
                </a:cxn>
                <a:cxn ang="0">
                  <a:pos x="23" y="75"/>
                </a:cxn>
                <a:cxn ang="0">
                  <a:pos x="11" y="58"/>
                </a:cxn>
                <a:cxn ang="0">
                  <a:pos x="0" y="37"/>
                </a:cxn>
                <a:cxn ang="0">
                  <a:pos x="0" y="21"/>
                </a:cxn>
                <a:cxn ang="0">
                  <a:pos x="2" y="8"/>
                </a:cxn>
                <a:cxn ang="0">
                  <a:pos x="9" y="0"/>
                </a:cxn>
                <a:cxn ang="0">
                  <a:pos x="21" y="0"/>
                </a:cxn>
                <a:cxn ang="0">
                  <a:pos x="40" y="8"/>
                </a:cxn>
                <a:cxn ang="0">
                  <a:pos x="61" y="18"/>
                </a:cxn>
              </a:cxnLst>
              <a:rect l="0" t="0" r="r" b="b"/>
              <a:pathLst>
                <a:path w="130" h="407">
                  <a:moveTo>
                    <a:pt x="67" y="23"/>
                  </a:moveTo>
                  <a:lnTo>
                    <a:pt x="67" y="23"/>
                  </a:lnTo>
                  <a:lnTo>
                    <a:pt x="67" y="27"/>
                  </a:lnTo>
                  <a:lnTo>
                    <a:pt x="65" y="29"/>
                  </a:lnTo>
                  <a:lnTo>
                    <a:pt x="65" y="31"/>
                  </a:lnTo>
                  <a:lnTo>
                    <a:pt x="65" y="35"/>
                  </a:lnTo>
                  <a:lnTo>
                    <a:pt x="65" y="37"/>
                  </a:lnTo>
                  <a:lnTo>
                    <a:pt x="65" y="39"/>
                  </a:lnTo>
                  <a:lnTo>
                    <a:pt x="65" y="42"/>
                  </a:lnTo>
                  <a:lnTo>
                    <a:pt x="65" y="44"/>
                  </a:lnTo>
                  <a:lnTo>
                    <a:pt x="65" y="44"/>
                  </a:lnTo>
                  <a:lnTo>
                    <a:pt x="65" y="56"/>
                  </a:lnTo>
                  <a:lnTo>
                    <a:pt x="67" y="65"/>
                  </a:lnTo>
                  <a:lnTo>
                    <a:pt x="70" y="73"/>
                  </a:lnTo>
                  <a:lnTo>
                    <a:pt x="74" y="83"/>
                  </a:lnTo>
                  <a:lnTo>
                    <a:pt x="80" y="90"/>
                  </a:lnTo>
                  <a:lnTo>
                    <a:pt x="86" y="98"/>
                  </a:lnTo>
                  <a:lnTo>
                    <a:pt x="91" y="105"/>
                  </a:lnTo>
                  <a:lnTo>
                    <a:pt x="97" y="113"/>
                  </a:lnTo>
                  <a:lnTo>
                    <a:pt x="103" y="121"/>
                  </a:lnTo>
                  <a:lnTo>
                    <a:pt x="109" y="128"/>
                  </a:lnTo>
                  <a:lnTo>
                    <a:pt x="114" y="136"/>
                  </a:lnTo>
                  <a:lnTo>
                    <a:pt x="118" y="144"/>
                  </a:lnTo>
                  <a:lnTo>
                    <a:pt x="124" y="151"/>
                  </a:lnTo>
                  <a:lnTo>
                    <a:pt x="126" y="161"/>
                  </a:lnTo>
                  <a:lnTo>
                    <a:pt x="128" y="170"/>
                  </a:lnTo>
                  <a:lnTo>
                    <a:pt x="130" y="182"/>
                  </a:lnTo>
                  <a:lnTo>
                    <a:pt x="130" y="182"/>
                  </a:lnTo>
                  <a:lnTo>
                    <a:pt x="130" y="191"/>
                  </a:lnTo>
                  <a:lnTo>
                    <a:pt x="128" y="203"/>
                  </a:lnTo>
                  <a:lnTo>
                    <a:pt x="128" y="214"/>
                  </a:lnTo>
                  <a:lnTo>
                    <a:pt x="126" y="226"/>
                  </a:lnTo>
                  <a:lnTo>
                    <a:pt x="124" y="235"/>
                  </a:lnTo>
                  <a:lnTo>
                    <a:pt x="122" y="247"/>
                  </a:lnTo>
                  <a:lnTo>
                    <a:pt x="120" y="256"/>
                  </a:lnTo>
                  <a:lnTo>
                    <a:pt x="118" y="268"/>
                  </a:lnTo>
                  <a:lnTo>
                    <a:pt x="116" y="277"/>
                  </a:lnTo>
                  <a:lnTo>
                    <a:pt x="114" y="289"/>
                  </a:lnTo>
                  <a:lnTo>
                    <a:pt x="112" y="298"/>
                  </a:lnTo>
                  <a:lnTo>
                    <a:pt x="111" y="310"/>
                  </a:lnTo>
                  <a:lnTo>
                    <a:pt x="111" y="321"/>
                  </a:lnTo>
                  <a:lnTo>
                    <a:pt x="109" y="332"/>
                  </a:lnTo>
                  <a:lnTo>
                    <a:pt x="109" y="346"/>
                  </a:lnTo>
                  <a:lnTo>
                    <a:pt x="109" y="357"/>
                  </a:lnTo>
                  <a:lnTo>
                    <a:pt x="109" y="357"/>
                  </a:lnTo>
                  <a:lnTo>
                    <a:pt x="109" y="363"/>
                  </a:lnTo>
                  <a:lnTo>
                    <a:pt x="111" y="369"/>
                  </a:lnTo>
                  <a:lnTo>
                    <a:pt x="112" y="374"/>
                  </a:lnTo>
                  <a:lnTo>
                    <a:pt x="116" y="380"/>
                  </a:lnTo>
                  <a:lnTo>
                    <a:pt x="118" y="386"/>
                  </a:lnTo>
                  <a:lnTo>
                    <a:pt x="122" y="390"/>
                  </a:lnTo>
                  <a:lnTo>
                    <a:pt x="126" y="392"/>
                  </a:lnTo>
                  <a:lnTo>
                    <a:pt x="130" y="393"/>
                  </a:lnTo>
                  <a:lnTo>
                    <a:pt x="130" y="393"/>
                  </a:lnTo>
                  <a:lnTo>
                    <a:pt x="122" y="395"/>
                  </a:lnTo>
                  <a:lnTo>
                    <a:pt x="116" y="397"/>
                  </a:lnTo>
                  <a:lnTo>
                    <a:pt x="109" y="401"/>
                  </a:lnTo>
                  <a:lnTo>
                    <a:pt x="105" y="403"/>
                  </a:lnTo>
                  <a:lnTo>
                    <a:pt x="99" y="405"/>
                  </a:lnTo>
                  <a:lnTo>
                    <a:pt x="91" y="407"/>
                  </a:lnTo>
                  <a:lnTo>
                    <a:pt x="86" y="407"/>
                  </a:lnTo>
                  <a:lnTo>
                    <a:pt x="78" y="407"/>
                  </a:lnTo>
                  <a:lnTo>
                    <a:pt x="78" y="407"/>
                  </a:lnTo>
                  <a:lnTo>
                    <a:pt x="70" y="405"/>
                  </a:lnTo>
                  <a:lnTo>
                    <a:pt x="63" y="401"/>
                  </a:lnTo>
                  <a:lnTo>
                    <a:pt x="55" y="393"/>
                  </a:lnTo>
                  <a:lnTo>
                    <a:pt x="48" y="384"/>
                  </a:lnTo>
                  <a:lnTo>
                    <a:pt x="42" y="372"/>
                  </a:lnTo>
                  <a:lnTo>
                    <a:pt x="36" y="363"/>
                  </a:lnTo>
                  <a:lnTo>
                    <a:pt x="32" y="352"/>
                  </a:lnTo>
                  <a:lnTo>
                    <a:pt x="32" y="342"/>
                  </a:lnTo>
                  <a:lnTo>
                    <a:pt x="32" y="342"/>
                  </a:lnTo>
                  <a:lnTo>
                    <a:pt x="32" y="336"/>
                  </a:lnTo>
                  <a:lnTo>
                    <a:pt x="32" y="332"/>
                  </a:lnTo>
                  <a:lnTo>
                    <a:pt x="34" y="329"/>
                  </a:lnTo>
                  <a:lnTo>
                    <a:pt x="36" y="325"/>
                  </a:lnTo>
                  <a:lnTo>
                    <a:pt x="38" y="321"/>
                  </a:lnTo>
                  <a:lnTo>
                    <a:pt x="40" y="317"/>
                  </a:lnTo>
                  <a:lnTo>
                    <a:pt x="40" y="313"/>
                  </a:lnTo>
                  <a:lnTo>
                    <a:pt x="40" y="311"/>
                  </a:lnTo>
                  <a:lnTo>
                    <a:pt x="40" y="311"/>
                  </a:lnTo>
                  <a:lnTo>
                    <a:pt x="40" y="308"/>
                  </a:lnTo>
                  <a:lnTo>
                    <a:pt x="40" y="304"/>
                  </a:lnTo>
                  <a:lnTo>
                    <a:pt x="40" y="302"/>
                  </a:lnTo>
                  <a:lnTo>
                    <a:pt x="40" y="302"/>
                  </a:lnTo>
                  <a:lnTo>
                    <a:pt x="40" y="300"/>
                  </a:lnTo>
                  <a:lnTo>
                    <a:pt x="40" y="298"/>
                  </a:lnTo>
                  <a:lnTo>
                    <a:pt x="40" y="296"/>
                  </a:lnTo>
                  <a:lnTo>
                    <a:pt x="40" y="292"/>
                  </a:lnTo>
                  <a:lnTo>
                    <a:pt x="40" y="292"/>
                  </a:lnTo>
                  <a:lnTo>
                    <a:pt x="40" y="290"/>
                  </a:lnTo>
                  <a:lnTo>
                    <a:pt x="42" y="287"/>
                  </a:lnTo>
                  <a:lnTo>
                    <a:pt x="42" y="285"/>
                  </a:lnTo>
                  <a:lnTo>
                    <a:pt x="42" y="279"/>
                  </a:lnTo>
                  <a:lnTo>
                    <a:pt x="44" y="275"/>
                  </a:lnTo>
                  <a:lnTo>
                    <a:pt x="44" y="271"/>
                  </a:lnTo>
                  <a:lnTo>
                    <a:pt x="44" y="268"/>
                  </a:lnTo>
                  <a:lnTo>
                    <a:pt x="46" y="262"/>
                  </a:lnTo>
                  <a:lnTo>
                    <a:pt x="46" y="258"/>
                  </a:lnTo>
                  <a:lnTo>
                    <a:pt x="48" y="252"/>
                  </a:lnTo>
                  <a:lnTo>
                    <a:pt x="48" y="247"/>
                  </a:lnTo>
                  <a:lnTo>
                    <a:pt x="48" y="243"/>
                  </a:lnTo>
                  <a:lnTo>
                    <a:pt x="48" y="237"/>
                  </a:lnTo>
                  <a:lnTo>
                    <a:pt x="49" y="233"/>
                  </a:lnTo>
                  <a:lnTo>
                    <a:pt x="49" y="229"/>
                  </a:lnTo>
                  <a:lnTo>
                    <a:pt x="49" y="224"/>
                  </a:lnTo>
                  <a:lnTo>
                    <a:pt x="49" y="224"/>
                  </a:lnTo>
                  <a:lnTo>
                    <a:pt x="48" y="218"/>
                  </a:lnTo>
                  <a:lnTo>
                    <a:pt x="46" y="212"/>
                  </a:lnTo>
                  <a:lnTo>
                    <a:pt x="42" y="208"/>
                  </a:lnTo>
                  <a:lnTo>
                    <a:pt x="40" y="205"/>
                  </a:lnTo>
                  <a:lnTo>
                    <a:pt x="36" y="203"/>
                  </a:lnTo>
                  <a:lnTo>
                    <a:pt x="32" y="199"/>
                  </a:lnTo>
                  <a:lnTo>
                    <a:pt x="30" y="195"/>
                  </a:lnTo>
                  <a:lnTo>
                    <a:pt x="28" y="189"/>
                  </a:lnTo>
                  <a:lnTo>
                    <a:pt x="28" y="189"/>
                  </a:lnTo>
                  <a:lnTo>
                    <a:pt x="28" y="184"/>
                  </a:lnTo>
                  <a:lnTo>
                    <a:pt x="30" y="178"/>
                  </a:lnTo>
                  <a:lnTo>
                    <a:pt x="32" y="174"/>
                  </a:lnTo>
                  <a:lnTo>
                    <a:pt x="34" y="168"/>
                  </a:lnTo>
                  <a:lnTo>
                    <a:pt x="38" y="165"/>
                  </a:lnTo>
                  <a:lnTo>
                    <a:pt x="38" y="161"/>
                  </a:lnTo>
                  <a:lnTo>
                    <a:pt x="40" y="157"/>
                  </a:lnTo>
                  <a:lnTo>
                    <a:pt x="40" y="151"/>
                  </a:lnTo>
                  <a:lnTo>
                    <a:pt x="40" y="151"/>
                  </a:lnTo>
                  <a:lnTo>
                    <a:pt x="40" y="147"/>
                  </a:lnTo>
                  <a:lnTo>
                    <a:pt x="38" y="142"/>
                  </a:lnTo>
                  <a:lnTo>
                    <a:pt x="34" y="140"/>
                  </a:lnTo>
                  <a:lnTo>
                    <a:pt x="32" y="134"/>
                  </a:lnTo>
                  <a:lnTo>
                    <a:pt x="28" y="130"/>
                  </a:lnTo>
                  <a:lnTo>
                    <a:pt x="27" y="124"/>
                  </a:lnTo>
                  <a:lnTo>
                    <a:pt x="25" y="119"/>
                  </a:lnTo>
                  <a:lnTo>
                    <a:pt x="23" y="113"/>
                  </a:lnTo>
                  <a:lnTo>
                    <a:pt x="23" y="113"/>
                  </a:lnTo>
                  <a:lnTo>
                    <a:pt x="23" y="105"/>
                  </a:lnTo>
                  <a:lnTo>
                    <a:pt x="23" y="100"/>
                  </a:lnTo>
                  <a:lnTo>
                    <a:pt x="23" y="96"/>
                  </a:lnTo>
                  <a:lnTo>
                    <a:pt x="23" y="92"/>
                  </a:lnTo>
                  <a:lnTo>
                    <a:pt x="23" y="90"/>
                  </a:lnTo>
                  <a:lnTo>
                    <a:pt x="23" y="88"/>
                  </a:lnTo>
                  <a:lnTo>
                    <a:pt x="23" y="84"/>
                  </a:lnTo>
                  <a:lnTo>
                    <a:pt x="23" y="81"/>
                  </a:lnTo>
                  <a:lnTo>
                    <a:pt x="23" y="81"/>
                  </a:lnTo>
                  <a:lnTo>
                    <a:pt x="23" y="75"/>
                  </a:lnTo>
                  <a:lnTo>
                    <a:pt x="19" y="69"/>
                  </a:lnTo>
                  <a:lnTo>
                    <a:pt x="15" y="63"/>
                  </a:lnTo>
                  <a:lnTo>
                    <a:pt x="11" y="58"/>
                  </a:lnTo>
                  <a:lnTo>
                    <a:pt x="8" y="52"/>
                  </a:lnTo>
                  <a:lnTo>
                    <a:pt x="4" y="44"/>
                  </a:lnTo>
                  <a:lnTo>
                    <a:pt x="0" y="37"/>
                  </a:lnTo>
                  <a:lnTo>
                    <a:pt x="0" y="27"/>
                  </a:lnTo>
                  <a:lnTo>
                    <a:pt x="0" y="27"/>
                  </a:lnTo>
                  <a:lnTo>
                    <a:pt x="0" y="21"/>
                  </a:lnTo>
                  <a:lnTo>
                    <a:pt x="0" y="18"/>
                  </a:lnTo>
                  <a:lnTo>
                    <a:pt x="2" y="14"/>
                  </a:lnTo>
                  <a:lnTo>
                    <a:pt x="2" y="8"/>
                  </a:lnTo>
                  <a:lnTo>
                    <a:pt x="4" y="4"/>
                  </a:lnTo>
                  <a:lnTo>
                    <a:pt x="8" y="2"/>
                  </a:lnTo>
                  <a:lnTo>
                    <a:pt x="9" y="0"/>
                  </a:lnTo>
                  <a:lnTo>
                    <a:pt x="13" y="0"/>
                  </a:lnTo>
                  <a:lnTo>
                    <a:pt x="13" y="0"/>
                  </a:lnTo>
                  <a:lnTo>
                    <a:pt x="21" y="0"/>
                  </a:lnTo>
                  <a:lnTo>
                    <a:pt x="28" y="2"/>
                  </a:lnTo>
                  <a:lnTo>
                    <a:pt x="34" y="6"/>
                  </a:lnTo>
                  <a:lnTo>
                    <a:pt x="40" y="8"/>
                  </a:lnTo>
                  <a:lnTo>
                    <a:pt x="48" y="12"/>
                  </a:lnTo>
                  <a:lnTo>
                    <a:pt x="53" y="16"/>
                  </a:lnTo>
                  <a:lnTo>
                    <a:pt x="61" y="18"/>
                  </a:lnTo>
                  <a:lnTo>
                    <a:pt x="70" y="18"/>
                  </a:lnTo>
                  <a:lnTo>
                    <a:pt x="67" y="23"/>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4" name="Freeform 138"/>
            <p:cNvSpPr>
              <a:spLocks/>
            </p:cNvSpPr>
            <p:nvPr/>
          </p:nvSpPr>
          <p:spPr bwMode="gray">
            <a:xfrm>
              <a:off x="1419" y="1862"/>
              <a:ext cx="192" cy="281"/>
            </a:xfrm>
            <a:custGeom>
              <a:avLst/>
              <a:gdLst/>
              <a:ahLst/>
              <a:cxnLst>
                <a:cxn ang="0">
                  <a:pos x="246" y="7"/>
                </a:cxn>
                <a:cxn ang="0">
                  <a:pos x="227" y="19"/>
                </a:cxn>
                <a:cxn ang="0">
                  <a:pos x="202" y="15"/>
                </a:cxn>
                <a:cxn ang="0">
                  <a:pos x="68" y="0"/>
                </a:cxn>
                <a:cxn ang="0">
                  <a:pos x="47" y="9"/>
                </a:cxn>
                <a:cxn ang="0">
                  <a:pos x="38" y="34"/>
                </a:cxn>
                <a:cxn ang="0">
                  <a:pos x="38" y="57"/>
                </a:cxn>
                <a:cxn ang="0">
                  <a:pos x="38" y="74"/>
                </a:cxn>
                <a:cxn ang="0">
                  <a:pos x="38" y="97"/>
                </a:cxn>
                <a:cxn ang="0">
                  <a:pos x="42" y="120"/>
                </a:cxn>
                <a:cxn ang="0">
                  <a:pos x="49" y="150"/>
                </a:cxn>
                <a:cxn ang="0">
                  <a:pos x="57" y="177"/>
                </a:cxn>
                <a:cxn ang="0">
                  <a:pos x="59" y="202"/>
                </a:cxn>
                <a:cxn ang="0">
                  <a:pos x="51" y="230"/>
                </a:cxn>
                <a:cxn ang="0">
                  <a:pos x="36" y="253"/>
                </a:cxn>
                <a:cxn ang="0">
                  <a:pos x="26" y="278"/>
                </a:cxn>
                <a:cxn ang="0">
                  <a:pos x="28" y="303"/>
                </a:cxn>
                <a:cxn ang="0">
                  <a:pos x="24" y="330"/>
                </a:cxn>
                <a:cxn ang="0">
                  <a:pos x="5" y="349"/>
                </a:cxn>
                <a:cxn ang="0">
                  <a:pos x="1" y="377"/>
                </a:cxn>
                <a:cxn ang="0">
                  <a:pos x="7" y="406"/>
                </a:cxn>
                <a:cxn ang="0">
                  <a:pos x="22" y="425"/>
                </a:cxn>
                <a:cxn ang="0">
                  <a:pos x="36" y="444"/>
                </a:cxn>
                <a:cxn ang="0">
                  <a:pos x="36" y="461"/>
                </a:cxn>
                <a:cxn ang="0">
                  <a:pos x="38" y="482"/>
                </a:cxn>
                <a:cxn ang="0">
                  <a:pos x="74" y="501"/>
                </a:cxn>
                <a:cxn ang="0">
                  <a:pos x="101" y="509"/>
                </a:cxn>
                <a:cxn ang="0">
                  <a:pos x="125" y="501"/>
                </a:cxn>
                <a:cxn ang="0">
                  <a:pos x="145" y="486"/>
                </a:cxn>
                <a:cxn ang="0">
                  <a:pos x="167" y="473"/>
                </a:cxn>
                <a:cxn ang="0">
                  <a:pos x="196" y="471"/>
                </a:cxn>
                <a:cxn ang="0">
                  <a:pos x="219" y="467"/>
                </a:cxn>
                <a:cxn ang="0">
                  <a:pos x="246" y="444"/>
                </a:cxn>
                <a:cxn ang="0">
                  <a:pos x="272" y="431"/>
                </a:cxn>
                <a:cxn ang="0">
                  <a:pos x="299" y="429"/>
                </a:cxn>
                <a:cxn ang="0">
                  <a:pos x="322" y="427"/>
                </a:cxn>
                <a:cxn ang="0">
                  <a:pos x="339" y="408"/>
                </a:cxn>
                <a:cxn ang="0">
                  <a:pos x="309" y="385"/>
                </a:cxn>
                <a:cxn ang="0">
                  <a:pos x="293" y="343"/>
                </a:cxn>
                <a:cxn ang="0">
                  <a:pos x="299" y="322"/>
                </a:cxn>
                <a:cxn ang="0">
                  <a:pos x="301" y="309"/>
                </a:cxn>
                <a:cxn ang="0">
                  <a:pos x="301" y="299"/>
                </a:cxn>
                <a:cxn ang="0">
                  <a:pos x="303" y="288"/>
                </a:cxn>
                <a:cxn ang="0">
                  <a:pos x="305" y="269"/>
                </a:cxn>
                <a:cxn ang="0">
                  <a:pos x="309" y="244"/>
                </a:cxn>
                <a:cxn ang="0">
                  <a:pos x="310" y="225"/>
                </a:cxn>
                <a:cxn ang="0">
                  <a:pos x="297" y="204"/>
                </a:cxn>
                <a:cxn ang="0">
                  <a:pos x="289" y="185"/>
                </a:cxn>
                <a:cxn ang="0">
                  <a:pos x="299" y="162"/>
                </a:cxn>
                <a:cxn ang="0">
                  <a:pos x="299" y="143"/>
                </a:cxn>
                <a:cxn ang="0">
                  <a:pos x="286" y="120"/>
                </a:cxn>
                <a:cxn ang="0">
                  <a:pos x="284" y="97"/>
                </a:cxn>
                <a:cxn ang="0">
                  <a:pos x="284" y="82"/>
                </a:cxn>
                <a:cxn ang="0">
                  <a:pos x="272" y="59"/>
                </a:cxn>
                <a:cxn ang="0">
                  <a:pos x="261" y="28"/>
                </a:cxn>
                <a:cxn ang="0">
                  <a:pos x="261" y="17"/>
                </a:cxn>
              </a:cxnLst>
              <a:rect l="0" t="0" r="r" b="b"/>
              <a:pathLst>
                <a:path w="339" h="509">
                  <a:moveTo>
                    <a:pt x="267" y="13"/>
                  </a:moveTo>
                  <a:lnTo>
                    <a:pt x="267" y="13"/>
                  </a:lnTo>
                  <a:lnTo>
                    <a:pt x="259" y="7"/>
                  </a:lnTo>
                  <a:lnTo>
                    <a:pt x="251" y="5"/>
                  </a:lnTo>
                  <a:lnTo>
                    <a:pt x="246" y="7"/>
                  </a:lnTo>
                  <a:lnTo>
                    <a:pt x="240" y="9"/>
                  </a:lnTo>
                  <a:lnTo>
                    <a:pt x="236" y="13"/>
                  </a:lnTo>
                  <a:lnTo>
                    <a:pt x="232" y="15"/>
                  </a:lnTo>
                  <a:lnTo>
                    <a:pt x="228" y="19"/>
                  </a:lnTo>
                  <a:lnTo>
                    <a:pt x="227" y="19"/>
                  </a:lnTo>
                  <a:lnTo>
                    <a:pt x="227" y="19"/>
                  </a:lnTo>
                  <a:lnTo>
                    <a:pt x="221" y="19"/>
                  </a:lnTo>
                  <a:lnTo>
                    <a:pt x="215" y="19"/>
                  </a:lnTo>
                  <a:lnTo>
                    <a:pt x="209" y="17"/>
                  </a:lnTo>
                  <a:lnTo>
                    <a:pt x="202" y="15"/>
                  </a:lnTo>
                  <a:lnTo>
                    <a:pt x="196" y="15"/>
                  </a:lnTo>
                  <a:lnTo>
                    <a:pt x="188" y="13"/>
                  </a:lnTo>
                  <a:lnTo>
                    <a:pt x="179" y="13"/>
                  </a:lnTo>
                  <a:lnTo>
                    <a:pt x="167" y="13"/>
                  </a:lnTo>
                  <a:lnTo>
                    <a:pt x="68" y="0"/>
                  </a:lnTo>
                  <a:lnTo>
                    <a:pt x="68" y="0"/>
                  </a:lnTo>
                  <a:lnTo>
                    <a:pt x="62" y="0"/>
                  </a:lnTo>
                  <a:lnTo>
                    <a:pt x="57" y="3"/>
                  </a:lnTo>
                  <a:lnTo>
                    <a:pt x="51" y="5"/>
                  </a:lnTo>
                  <a:lnTo>
                    <a:pt x="47" y="9"/>
                  </a:lnTo>
                  <a:lnTo>
                    <a:pt x="43" y="15"/>
                  </a:lnTo>
                  <a:lnTo>
                    <a:pt x="42" y="21"/>
                  </a:lnTo>
                  <a:lnTo>
                    <a:pt x="40" y="26"/>
                  </a:lnTo>
                  <a:lnTo>
                    <a:pt x="38" y="34"/>
                  </a:lnTo>
                  <a:lnTo>
                    <a:pt x="38" y="34"/>
                  </a:lnTo>
                  <a:lnTo>
                    <a:pt x="38" y="40"/>
                  </a:lnTo>
                  <a:lnTo>
                    <a:pt x="38" y="45"/>
                  </a:lnTo>
                  <a:lnTo>
                    <a:pt x="38" y="49"/>
                  </a:lnTo>
                  <a:lnTo>
                    <a:pt x="38" y="53"/>
                  </a:lnTo>
                  <a:lnTo>
                    <a:pt x="38" y="57"/>
                  </a:lnTo>
                  <a:lnTo>
                    <a:pt x="38" y="61"/>
                  </a:lnTo>
                  <a:lnTo>
                    <a:pt x="38" y="64"/>
                  </a:lnTo>
                  <a:lnTo>
                    <a:pt x="38" y="68"/>
                  </a:lnTo>
                  <a:lnTo>
                    <a:pt x="38" y="70"/>
                  </a:lnTo>
                  <a:lnTo>
                    <a:pt x="38" y="74"/>
                  </a:lnTo>
                  <a:lnTo>
                    <a:pt x="38" y="78"/>
                  </a:lnTo>
                  <a:lnTo>
                    <a:pt x="38" y="82"/>
                  </a:lnTo>
                  <a:lnTo>
                    <a:pt x="38" y="85"/>
                  </a:lnTo>
                  <a:lnTo>
                    <a:pt x="38" y="91"/>
                  </a:lnTo>
                  <a:lnTo>
                    <a:pt x="38" y="97"/>
                  </a:lnTo>
                  <a:lnTo>
                    <a:pt x="38" y="103"/>
                  </a:lnTo>
                  <a:lnTo>
                    <a:pt x="38" y="103"/>
                  </a:lnTo>
                  <a:lnTo>
                    <a:pt x="40" y="108"/>
                  </a:lnTo>
                  <a:lnTo>
                    <a:pt x="40" y="114"/>
                  </a:lnTo>
                  <a:lnTo>
                    <a:pt x="42" y="120"/>
                  </a:lnTo>
                  <a:lnTo>
                    <a:pt x="42" y="127"/>
                  </a:lnTo>
                  <a:lnTo>
                    <a:pt x="43" y="133"/>
                  </a:lnTo>
                  <a:lnTo>
                    <a:pt x="45" y="139"/>
                  </a:lnTo>
                  <a:lnTo>
                    <a:pt x="47" y="143"/>
                  </a:lnTo>
                  <a:lnTo>
                    <a:pt x="49" y="150"/>
                  </a:lnTo>
                  <a:lnTo>
                    <a:pt x="51" y="154"/>
                  </a:lnTo>
                  <a:lnTo>
                    <a:pt x="53" y="160"/>
                  </a:lnTo>
                  <a:lnTo>
                    <a:pt x="55" y="166"/>
                  </a:lnTo>
                  <a:lnTo>
                    <a:pt x="57" y="171"/>
                  </a:lnTo>
                  <a:lnTo>
                    <a:pt x="57" y="177"/>
                  </a:lnTo>
                  <a:lnTo>
                    <a:pt x="59" y="185"/>
                  </a:lnTo>
                  <a:lnTo>
                    <a:pt x="59" y="190"/>
                  </a:lnTo>
                  <a:lnTo>
                    <a:pt x="59" y="196"/>
                  </a:lnTo>
                  <a:lnTo>
                    <a:pt x="59" y="196"/>
                  </a:lnTo>
                  <a:lnTo>
                    <a:pt x="59" y="202"/>
                  </a:lnTo>
                  <a:lnTo>
                    <a:pt x="59" y="209"/>
                  </a:lnTo>
                  <a:lnTo>
                    <a:pt x="57" y="215"/>
                  </a:lnTo>
                  <a:lnTo>
                    <a:pt x="55" y="221"/>
                  </a:lnTo>
                  <a:lnTo>
                    <a:pt x="53" y="225"/>
                  </a:lnTo>
                  <a:lnTo>
                    <a:pt x="51" y="230"/>
                  </a:lnTo>
                  <a:lnTo>
                    <a:pt x="47" y="236"/>
                  </a:lnTo>
                  <a:lnTo>
                    <a:pt x="45" y="240"/>
                  </a:lnTo>
                  <a:lnTo>
                    <a:pt x="42" y="246"/>
                  </a:lnTo>
                  <a:lnTo>
                    <a:pt x="40" y="249"/>
                  </a:lnTo>
                  <a:lnTo>
                    <a:pt x="36" y="253"/>
                  </a:lnTo>
                  <a:lnTo>
                    <a:pt x="34" y="259"/>
                  </a:lnTo>
                  <a:lnTo>
                    <a:pt x="32" y="263"/>
                  </a:lnTo>
                  <a:lnTo>
                    <a:pt x="30" y="269"/>
                  </a:lnTo>
                  <a:lnTo>
                    <a:pt x="28" y="274"/>
                  </a:lnTo>
                  <a:lnTo>
                    <a:pt x="26" y="278"/>
                  </a:lnTo>
                  <a:lnTo>
                    <a:pt x="26" y="278"/>
                  </a:lnTo>
                  <a:lnTo>
                    <a:pt x="26" y="284"/>
                  </a:lnTo>
                  <a:lnTo>
                    <a:pt x="26" y="290"/>
                  </a:lnTo>
                  <a:lnTo>
                    <a:pt x="26" y="297"/>
                  </a:lnTo>
                  <a:lnTo>
                    <a:pt x="28" y="303"/>
                  </a:lnTo>
                  <a:lnTo>
                    <a:pt x="28" y="311"/>
                  </a:lnTo>
                  <a:lnTo>
                    <a:pt x="28" y="318"/>
                  </a:lnTo>
                  <a:lnTo>
                    <a:pt x="26" y="324"/>
                  </a:lnTo>
                  <a:lnTo>
                    <a:pt x="24" y="330"/>
                  </a:lnTo>
                  <a:lnTo>
                    <a:pt x="24" y="330"/>
                  </a:lnTo>
                  <a:lnTo>
                    <a:pt x="21" y="335"/>
                  </a:lnTo>
                  <a:lnTo>
                    <a:pt x="17" y="339"/>
                  </a:lnTo>
                  <a:lnTo>
                    <a:pt x="13" y="343"/>
                  </a:lnTo>
                  <a:lnTo>
                    <a:pt x="9" y="345"/>
                  </a:lnTo>
                  <a:lnTo>
                    <a:pt x="5" y="349"/>
                  </a:lnTo>
                  <a:lnTo>
                    <a:pt x="3" y="354"/>
                  </a:lnTo>
                  <a:lnTo>
                    <a:pt x="1" y="360"/>
                  </a:lnTo>
                  <a:lnTo>
                    <a:pt x="0" y="372"/>
                  </a:lnTo>
                  <a:lnTo>
                    <a:pt x="0" y="372"/>
                  </a:lnTo>
                  <a:lnTo>
                    <a:pt x="1" y="377"/>
                  </a:lnTo>
                  <a:lnTo>
                    <a:pt x="1" y="385"/>
                  </a:lnTo>
                  <a:lnTo>
                    <a:pt x="3" y="391"/>
                  </a:lnTo>
                  <a:lnTo>
                    <a:pt x="3" y="396"/>
                  </a:lnTo>
                  <a:lnTo>
                    <a:pt x="5" y="402"/>
                  </a:lnTo>
                  <a:lnTo>
                    <a:pt x="7" y="406"/>
                  </a:lnTo>
                  <a:lnTo>
                    <a:pt x="11" y="410"/>
                  </a:lnTo>
                  <a:lnTo>
                    <a:pt x="13" y="414"/>
                  </a:lnTo>
                  <a:lnTo>
                    <a:pt x="17" y="417"/>
                  </a:lnTo>
                  <a:lnTo>
                    <a:pt x="19" y="421"/>
                  </a:lnTo>
                  <a:lnTo>
                    <a:pt x="22" y="425"/>
                  </a:lnTo>
                  <a:lnTo>
                    <a:pt x="24" y="429"/>
                  </a:lnTo>
                  <a:lnTo>
                    <a:pt x="28" y="433"/>
                  </a:lnTo>
                  <a:lnTo>
                    <a:pt x="30" y="436"/>
                  </a:lnTo>
                  <a:lnTo>
                    <a:pt x="34" y="440"/>
                  </a:lnTo>
                  <a:lnTo>
                    <a:pt x="36" y="444"/>
                  </a:lnTo>
                  <a:lnTo>
                    <a:pt x="36" y="444"/>
                  </a:lnTo>
                  <a:lnTo>
                    <a:pt x="36" y="446"/>
                  </a:lnTo>
                  <a:lnTo>
                    <a:pt x="36" y="450"/>
                  </a:lnTo>
                  <a:lnTo>
                    <a:pt x="36" y="456"/>
                  </a:lnTo>
                  <a:lnTo>
                    <a:pt x="36" y="461"/>
                  </a:lnTo>
                  <a:lnTo>
                    <a:pt x="36" y="467"/>
                  </a:lnTo>
                  <a:lnTo>
                    <a:pt x="36" y="473"/>
                  </a:lnTo>
                  <a:lnTo>
                    <a:pt x="38" y="478"/>
                  </a:lnTo>
                  <a:lnTo>
                    <a:pt x="38" y="482"/>
                  </a:lnTo>
                  <a:lnTo>
                    <a:pt x="38" y="482"/>
                  </a:lnTo>
                  <a:lnTo>
                    <a:pt x="42" y="484"/>
                  </a:lnTo>
                  <a:lnTo>
                    <a:pt x="47" y="488"/>
                  </a:lnTo>
                  <a:lnTo>
                    <a:pt x="55" y="492"/>
                  </a:lnTo>
                  <a:lnTo>
                    <a:pt x="64" y="497"/>
                  </a:lnTo>
                  <a:lnTo>
                    <a:pt x="74" y="501"/>
                  </a:lnTo>
                  <a:lnTo>
                    <a:pt x="83" y="505"/>
                  </a:lnTo>
                  <a:lnTo>
                    <a:pt x="91" y="507"/>
                  </a:lnTo>
                  <a:lnTo>
                    <a:pt x="95" y="509"/>
                  </a:lnTo>
                  <a:lnTo>
                    <a:pt x="95" y="509"/>
                  </a:lnTo>
                  <a:lnTo>
                    <a:pt x="101" y="509"/>
                  </a:lnTo>
                  <a:lnTo>
                    <a:pt x="106" y="507"/>
                  </a:lnTo>
                  <a:lnTo>
                    <a:pt x="112" y="507"/>
                  </a:lnTo>
                  <a:lnTo>
                    <a:pt x="116" y="505"/>
                  </a:lnTo>
                  <a:lnTo>
                    <a:pt x="122" y="503"/>
                  </a:lnTo>
                  <a:lnTo>
                    <a:pt x="125" y="501"/>
                  </a:lnTo>
                  <a:lnTo>
                    <a:pt x="129" y="497"/>
                  </a:lnTo>
                  <a:lnTo>
                    <a:pt x="133" y="496"/>
                  </a:lnTo>
                  <a:lnTo>
                    <a:pt x="137" y="492"/>
                  </a:lnTo>
                  <a:lnTo>
                    <a:pt x="141" y="488"/>
                  </a:lnTo>
                  <a:lnTo>
                    <a:pt x="145" y="486"/>
                  </a:lnTo>
                  <a:lnTo>
                    <a:pt x="148" y="482"/>
                  </a:lnTo>
                  <a:lnTo>
                    <a:pt x="154" y="480"/>
                  </a:lnTo>
                  <a:lnTo>
                    <a:pt x="158" y="478"/>
                  </a:lnTo>
                  <a:lnTo>
                    <a:pt x="164" y="477"/>
                  </a:lnTo>
                  <a:lnTo>
                    <a:pt x="167" y="473"/>
                  </a:lnTo>
                  <a:lnTo>
                    <a:pt x="167" y="473"/>
                  </a:lnTo>
                  <a:lnTo>
                    <a:pt x="177" y="471"/>
                  </a:lnTo>
                  <a:lnTo>
                    <a:pt x="183" y="471"/>
                  </a:lnTo>
                  <a:lnTo>
                    <a:pt x="190" y="471"/>
                  </a:lnTo>
                  <a:lnTo>
                    <a:pt x="196" y="471"/>
                  </a:lnTo>
                  <a:lnTo>
                    <a:pt x="202" y="473"/>
                  </a:lnTo>
                  <a:lnTo>
                    <a:pt x="207" y="471"/>
                  </a:lnTo>
                  <a:lnTo>
                    <a:pt x="213" y="471"/>
                  </a:lnTo>
                  <a:lnTo>
                    <a:pt x="219" y="467"/>
                  </a:lnTo>
                  <a:lnTo>
                    <a:pt x="219" y="467"/>
                  </a:lnTo>
                  <a:lnTo>
                    <a:pt x="225" y="463"/>
                  </a:lnTo>
                  <a:lnTo>
                    <a:pt x="230" y="459"/>
                  </a:lnTo>
                  <a:lnTo>
                    <a:pt x="234" y="456"/>
                  </a:lnTo>
                  <a:lnTo>
                    <a:pt x="240" y="450"/>
                  </a:lnTo>
                  <a:lnTo>
                    <a:pt x="246" y="444"/>
                  </a:lnTo>
                  <a:lnTo>
                    <a:pt x="251" y="440"/>
                  </a:lnTo>
                  <a:lnTo>
                    <a:pt x="259" y="436"/>
                  </a:lnTo>
                  <a:lnTo>
                    <a:pt x="267" y="433"/>
                  </a:lnTo>
                  <a:lnTo>
                    <a:pt x="267" y="433"/>
                  </a:lnTo>
                  <a:lnTo>
                    <a:pt x="272" y="431"/>
                  </a:lnTo>
                  <a:lnTo>
                    <a:pt x="278" y="429"/>
                  </a:lnTo>
                  <a:lnTo>
                    <a:pt x="284" y="429"/>
                  </a:lnTo>
                  <a:lnTo>
                    <a:pt x="289" y="429"/>
                  </a:lnTo>
                  <a:lnTo>
                    <a:pt x="295" y="429"/>
                  </a:lnTo>
                  <a:lnTo>
                    <a:pt x="299" y="429"/>
                  </a:lnTo>
                  <a:lnTo>
                    <a:pt x="305" y="429"/>
                  </a:lnTo>
                  <a:lnTo>
                    <a:pt x="309" y="429"/>
                  </a:lnTo>
                  <a:lnTo>
                    <a:pt x="314" y="429"/>
                  </a:lnTo>
                  <a:lnTo>
                    <a:pt x="318" y="429"/>
                  </a:lnTo>
                  <a:lnTo>
                    <a:pt x="322" y="427"/>
                  </a:lnTo>
                  <a:lnTo>
                    <a:pt x="326" y="427"/>
                  </a:lnTo>
                  <a:lnTo>
                    <a:pt x="330" y="423"/>
                  </a:lnTo>
                  <a:lnTo>
                    <a:pt x="333" y="419"/>
                  </a:lnTo>
                  <a:lnTo>
                    <a:pt x="335" y="415"/>
                  </a:lnTo>
                  <a:lnTo>
                    <a:pt x="339" y="408"/>
                  </a:lnTo>
                  <a:lnTo>
                    <a:pt x="339" y="408"/>
                  </a:lnTo>
                  <a:lnTo>
                    <a:pt x="331" y="406"/>
                  </a:lnTo>
                  <a:lnTo>
                    <a:pt x="324" y="402"/>
                  </a:lnTo>
                  <a:lnTo>
                    <a:pt x="316" y="394"/>
                  </a:lnTo>
                  <a:lnTo>
                    <a:pt x="309" y="385"/>
                  </a:lnTo>
                  <a:lnTo>
                    <a:pt x="303" y="373"/>
                  </a:lnTo>
                  <a:lnTo>
                    <a:pt x="297" y="364"/>
                  </a:lnTo>
                  <a:lnTo>
                    <a:pt x="293" y="353"/>
                  </a:lnTo>
                  <a:lnTo>
                    <a:pt x="293" y="343"/>
                  </a:lnTo>
                  <a:lnTo>
                    <a:pt x="293" y="343"/>
                  </a:lnTo>
                  <a:lnTo>
                    <a:pt x="293" y="337"/>
                  </a:lnTo>
                  <a:lnTo>
                    <a:pt x="293" y="333"/>
                  </a:lnTo>
                  <a:lnTo>
                    <a:pt x="295" y="330"/>
                  </a:lnTo>
                  <a:lnTo>
                    <a:pt x="297" y="326"/>
                  </a:lnTo>
                  <a:lnTo>
                    <a:pt x="299" y="322"/>
                  </a:lnTo>
                  <a:lnTo>
                    <a:pt x="301" y="318"/>
                  </a:lnTo>
                  <a:lnTo>
                    <a:pt x="301" y="314"/>
                  </a:lnTo>
                  <a:lnTo>
                    <a:pt x="301" y="312"/>
                  </a:lnTo>
                  <a:lnTo>
                    <a:pt x="301" y="312"/>
                  </a:lnTo>
                  <a:lnTo>
                    <a:pt x="301" y="309"/>
                  </a:lnTo>
                  <a:lnTo>
                    <a:pt x="301" y="305"/>
                  </a:lnTo>
                  <a:lnTo>
                    <a:pt x="301" y="303"/>
                  </a:lnTo>
                  <a:lnTo>
                    <a:pt x="301" y="303"/>
                  </a:lnTo>
                  <a:lnTo>
                    <a:pt x="301" y="301"/>
                  </a:lnTo>
                  <a:lnTo>
                    <a:pt x="301" y="299"/>
                  </a:lnTo>
                  <a:lnTo>
                    <a:pt x="301" y="297"/>
                  </a:lnTo>
                  <a:lnTo>
                    <a:pt x="301" y="293"/>
                  </a:lnTo>
                  <a:lnTo>
                    <a:pt x="301" y="293"/>
                  </a:lnTo>
                  <a:lnTo>
                    <a:pt x="301" y="291"/>
                  </a:lnTo>
                  <a:lnTo>
                    <a:pt x="303" y="288"/>
                  </a:lnTo>
                  <a:lnTo>
                    <a:pt x="303" y="286"/>
                  </a:lnTo>
                  <a:lnTo>
                    <a:pt x="303" y="280"/>
                  </a:lnTo>
                  <a:lnTo>
                    <a:pt x="305" y="276"/>
                  </a:lnTo>
                  <a:lnTo>
                    <a:pt x="305" y="272"/>
                  </a:lnTo>
                  <a:lnTo>
                    <a:pt x="305" y="269"/>
                  </a:lnTo>
                  <a:lnTo>
                    <a:pt x="307" y="263"/>
                  </a:lnTo>
                  <a:lnTo>
                    <a:pt x="307" y="259"/>
                  </a:lnTo>
                  <a:lnTo>
                    <a:pt x="309" y="253"/>
                  </a:lnTo>
                  <a:lnTo>
                    <a:pt x="309" y="248"/>
                  </a:lnTo>
                  <a:lnTo>
                    <a:pt x="309" y="244"/>
                  </a:lnTo>
                  <a:lnTo>
                    <a:pt x="309" y="238"/>
                  </a:lnTo>
                  <a:lnTo>
                    <a:pt x="310" y="234"/>
                  </a:lnTo>
                  <a:lnTo>
                    <a:pt x="310" y="230"/>
                  </a:lnTo>
                  <a:lnTo>
                    <a:pt x="310" y="225"/>
                  </a:lnTo>
                  <a:lnTo>
                    <a:pt x="310" y="225"/>
                  </a:lnTo>
                  <a:lnTo>
                    <a:pt x="309" y="219"/>
                  </a:lnTo>
                  <a:lnTo>
                    <a:pt x="307" y="213"/>
                  </a:lnTo>
                  <a:lnTo>
                    <a:pt x="303" y="209"/>
                  </a:lnTo>
                  <a:lnTo>
                    <a:pt x="301" y="206"/>
                  </a:lnTo>
                  <a:lnTo>
                    <a:pt x="297" y="204"/>
                  </a:lnTo>
                  <a:lnTo>
                    <a:pt x="293" y="200"/>
                  </a:lnTo>
                  <a:lnTo>
                    <a:pt x="291" y="196"/>
                  </a:lnTo>
                  <a:lnTo>
                    <a:pt x="289" y="190"/>
                  </a:lnTo>
                  <a:lnTo>
                    <a:pt x="289" y="190"/>
                  </a:lnTo>
                  <a:lnTo>
                    <a:pt x="289" y="185"/>
                  </a:lnTo>
                  <a:lnTo>
                    <a:pt x="291" y="179"/>
                  </a:lnTo>
                  <a:lnTo>
                    <a:pt x="293" y="175"/>
                  </a:lnTo>
                  <a:lnTo>
                    <a:pt x="295" y="169"/>
                  </a:lnTo>
                  <a:lnTo>
                    <a:pt x="299" y="166"/>
                  </a:lnTo>
                  <a:lnTo>
                    <a:pt x="299" y="162"/>
                  </a:lnTo>
                  <a:lnTo>
                    <a:pt x="301" y="158"/>
                  </a:lnTo>
                  <a:lnTo>
                    <a:pt x="301" y="152"/>
                  </a:lnTo>
                  <a:lnTo>
                    <a:pt x="301" y="152"/>
                  </a:lnTo>
                  <a:lnTo>
                    <a:pt x="301" y="148"/>
                  </a:lnTo>
                  <a:lnTo>
                    <a:pt x="299" y="143"/>
                  </a:lnTo>
                  <a:lnTo>
                    <a:pt x="295" y="141"/>
                  </a:lnTo>
                  <a:lnTo>
                    <a:pt x="293" y="135"/>
                  </a:lnTo>
                  <a:lnTo>
                    <a:pt x="289" y="131"/>
                  </a:lnTo>
                  <a:lnTo>
                    <a:pt x="288" y="125"/>
                  </a:lnTo>
                  <a:lnTo>
                    <a:pt x="286" y="120"/>
                  </a:lnTo>
                  <a:lnTo>
                    <a:pt x="284" y="114"/>
                  </a:lnTo>
                  <a:lnTo>
                    <a:pt x="284" y="114"/>
                  </a:lnTo>
                  <a:lnTo>
                    <a:pt x="284" y="106"/>
                  </a:lnTo>
                  <a:lnTo>
                    <a:pt x="284" y="101"/>
                  </a:lnTo>
                  <a:lnTo>
                    <a:pt x="284" y="97"/>
                  </a:lnTo>
                  <a:lnTo>
                    <a:pt x="284" y="93"/>
                  </a:lnTo>
                  <a:lnTo>
                    <a:pt x="284" y="91"/>
                  </a:lnTo>
                  <a:lnTo>
                    <a:pt x="284" y="89"/>
                  </a:lnTo>
                  <a:lnTo>
                    <a:pt x="284" y="85"/>
                  </a:lnTo>
                  <a:lnTo>
                    <a:pt x="284" y="82"/>
                  </a:lnTo>
                  <a:lnTo>
                    <a:pt x="284" y="82"/>
                  </a:lnTo>
                  <a:lnTo>
                    <a:pt x="284" y="76"/>
                  </a:lnTo>
                  <a:lnTo>
                    <a:pt x="280" y="70"/>
                  </a:lnTo>
                  <a:lnTo>
                    <a:pt x="276" y="64"/>
                  </a:lnTo>
                  <a:lnTo>
                    <a:pt x="272" y="59"/>
                  </a:lnTo>
                  <a:lnTo>
                    <a:pt x="269" y="53"/>
                  </a:lnTo>
                  <a:lnTo>
                    <a:pt x="265" y="45"/>
                  </a:lnTo>
                  <a:lnTo>
                    <a:pt x="261" y="38"/>
                  </a:lnTo>
                  <a:lnTo>
                    <a:pt x="261" y="28"/>
                  </a:lnTo>
                  <a:lnTo>
                    <a:pt x="261" y="28"/>
                  </a:lnTo>
                  <a:lnTo>
                    <a:pt x="261" y="26"/>
                  </a:lnTo>
                  <a:lnTo>
                    <a:pt x="261" y="24"/>
                  </a:lnTo>
                  <a:lnTo>
                    <a:pt x="261" y="21"/>
                  </a:lnTo>
                  <a:lnTo>
                    <a:pt x="261" y="19"/>
                  </a:lnTo>
                  <a:lnTo>
                    <a:pt x="261" y="17"/>
                  </a:lnTo>
                  <a:lnTo>
                    <a:pt x="263" y="15"/>
                  </a:lnTo>
                  <a:lnTo>
                    <a:pt x="263" y="13"/>
                  </a:lnTo>
                  <a:lnTo>
                    <a:pt x="263" y="11"/>
                  </a:lnTo>
                  <a:lnTo>
                    <a:pt x="267" y="13"/>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5" name="Freeform 139"/>
            <p:cNvSpPr>
              <a:spLocks/>
            </p:cNvSpPr>
            <p:nvPr/>
          </p:nvSpPr>
          <p:spPr bwMode="gray">
            <a:xfrm>
              <a:off x="1176" y="1877"/>
              <a:ext cx="276" cy="278"/>
            </a:xfrm>
            <a:custGeom>
              <a:avLst/>
              <a:gdLst/>
              <a:ahLst/>
              <a:cxnLst>
                <a:cxn ang="0">
                  <a:pos x="470" y="96"/>
                </a:cxn>
                <a:cxn ang="0">
                  <a:pos x="479" y="130"/>
                </a:cxn>
                <a:cxn ang="0">
                  <a:pos x="487" y="166"/>
                </a:cxn>
                <a:cxn ang="0">
                  <a:pos x="483" y="197"/>
                </a:cxn>
                <a:cxn ang="0">
                  <a:pos x="468" y="225"/>
                </a:cxn>
                <a:cxn ang="0">
                  <a:pos x="454" y="254"/>
                </a:cxn>
                <a:cxn ang="0">
                  <a:pos x="456" y="287"/>
                </a:cxn>
                <a:cxn ang="0">
                  <a:pos x="445" y="315"/>
                </a:cxn>
                <a:cxn ang="0">
                  <a:pos x="428" y="348"/>
                </a:cxn>
                <a:cxn ang="0">
                  <a:pos x="433" y="378"/>
                </a:cxn>
                <a:cxn ang="0">
                  <a:pos x="450" y="401"/>
                </a:cxn>
                <a:cxn ang="0">
                  <a:pos x="464" y="420"/>
                </a:cxn>
                <a:cxn ang="0">
                  <a:pos x="464" y="449"/>
                </a:cxn>
                <a:cxn ang="0">
                  <a:pos x="460" y="460"/>
                </a:cxn>
                <a:cxn ang="0">
                  <a:pos x="449" y="458"/>
                </a:cxn>
                <a:cxn ang="0">
                  <a:pos x="418" y="456"/>
                </a:cxn>
                <a:cxn ang="0">
                  <a:pos x="380" y="451"/>
                </a:cxn>
                <a:cxn ang="0">
                  <a:pos x="353" y="449"/>
                </a:cxn>
                <a:cxn ang="0">
                  <a:pos x="321" y="449"/>
                </a:cxn>
                <a:cxn ang="0">
                  <a:pos x="294" y="449"/>
                </a:cxn>
                <a:cxn ang="0">
                  <a:pos x="265" y="451"/>
                </a:cxn>
                <a:cxn ang="0">
                  <a:pos x="223" y="454"/>
                </a:cxn>
                <a:cxn ang="0">
                  <a:pos x="187" y="464"/>
                </a:cxn>
                <a:cxn ang="0">
                  <a:pos x="157" y="475"/>
                </a:cxn>
                <a:cxn ang="0">
                  <a:pos x="122" y="496"/>
                </a:cxn>
                <a:cxn ang="0">
                  <a:pos x="86" y="508"/>
                </a:cxn>
                <a:cxn ang="0">
                  <a:pos x="73" y="494"/>
                </a:cxn>
                <a:cxn ang="0">
                  <a:pos x="71" y="464"/>
                </a:cxn>
                <a:cxn ang="0">
                  <a:pos x="84" y="433"/>
                </a:cxn>
                <a:cxn ang="0">
                  <a:pos x="71" y="393"/>
                </a:cxn>
                <a:cxn ang="0">
                  <a:pos x="56" y="370"/>
                </a:cxn>
                <a:cxn ang="0">
                  <a:pos x="16" y="357"/>
                </a:cxn>
                <a:cxn ang="0">
                  <a:pos x="2" y="353"/>
                </a:cxn>
                <a:cxn ang="0">
                  <a:pos x="2" y="340"/>
                </a:cxn>
                <a:cxn ang="0">
                  <a:pos x="4" y="330"/>
                </a:cxn>
                <a:cxn ang="0">
                  <a:pos x="23" y="300"/>
                </a:cxn>
                <a:cxn ang="0">
                  <a:pos x="19" y="267"/>
                </a:cxn>
                <a:cxn ang="0">
                  <a:pos x="23" y="243"/>
                </a:cxn>
                <a:cxn ang="0">
                  <a:pos x="50" y="212"/>
                </a:cxn>
                <a:cxn ang="0">
                  <a:pos x="40" y="195"/>
                </a:cxn>
                <a:cxn ang="0">
                  <a:pos x="37" y="178"/>
                </a:cxn>
                <a:cxn ang="0">
                  <a:pos x="50" y="166"/>
                </a:cxn>
                <a:cxn ang="0">
                  <a:pos x="67" y="172"/>
                </a:cxn>
                <a:cxn ang="0">
                  <a:pos x="77" y="166"/>
                </a:cxn>
                <a:cxn ang="0">
                  <a:pos x="63" y="142"/>
                </a:cxn>
                <a:cxn ang="0">
                  <a:pos x="61" y="122"/>
                </a:cxn>
                <a:cxn ang="0">
                  <a:pos x="61" y="113"/>
                </a:cxn>
                <a:cxn ang="0">
                  <a:pos x="54" y="84"/>
                </a:cxn>
                <a:cxn ang="0">
                  <a:pos x="69" y="37"/>
                </a:cxn>
                <a:cxn ang="0">
                  <a:pos x="107" y="19"/>
                </a:cxn>
                <a:cxn ang="0">
                  <a:pos x="134" y="33"/>
                </a:cxn>
                <a:cxn ang="0">
                  <a:pos x="164" y="21"/>
                </a:cxn>
                <a:cxn ang="0">
                  <a:pos x="178" y="2"/>
                </a:cxn>
                <a:cxn ang="0">
                  <a:pos x="204" y="0"/>
                </a:cxn>
                <a:cxn ang="0">
                  <a:pos x="210" y="23"/>
                </a:cxn>
                <a:cxn ang="0">
                  <a:pos x="227" y="35"/>
                </a:cxn>
                <a:cxn ang="0">
                  <a:pos x="262" y="19"/>
                </a:cxn>
                <a:cxn ang="0">
                  <a:pos x="292" y="27"/>
                </a:cxn>
                <a:cxn ang="0">
                  <a:pos x="313" y="58"/>
                </a:cxn>
                <a:cxn ang="0">
                  <a:pos x="347" y="75"/>
                </a:cxn>
                <a:cxn ang="0">
                  <a:pos x="387" y="65"/>
                </a:cxn>
                <a:cxn ang="0">
                  <a:pos x="433" y="65"/>
                </a:cxn>
                <a:cxn ang="0">
                  <a:pos x="470" y="101"/>
                </a:cxn>
              </a:cxnLst>
              <a:rect l="0" t="0" r="r" b="b"/>
              <a:pathLst>
                <a:path w="487" h="508">
                  <a:moveTo>
                    <a:pt x="466" y="79"/>
                  </a:moveTo>
                  <a:lnTo>
                    <a:pt x="466" y="79"/>
                  </a:lnTo>
                  <a:lnTo>
                    <a:pt x="466" y="79"/>
                  </a:lnTo>
                  <a:lnTo>
                    <a:pt x="468" y="84"/>
                  </a:lnTo>
                  <a:lnTo>
                    <a:pt x="468" y="90"/>
                  </a:lnTo>
                  <a:lnTo>
                    <a:pt x="470" y="96"/>
                  </a:lnTo>
                  <a:lnTo>
                    <a:pt x="470" y="103"/>
                  </a:lnTo>
                  <a:lnTo>
                    <a:pt x="471" y="109"/>
                  </a:lnTo>
                  <a:lnTo>
                    <a:pt x="473" y="115"/>
                  </a:lnTo>
                  <a:lnTo>
                    <a:pt x="475" y="119"/>
                  </a:lnTo>
                  <a:lnTo>
                    <a:pt x="477" y="126"/>
                  </a:lnTo>
                  <a:lnTo>
                    <a:pt x="479" y="130"/>
                  </a:lnTo>
                  <a:lnTo>
                    <a:pt x="481" y="136"/>
                  </a:lnTo>
                  <a:lnTo>
                    <a:pt x="483" y="142"/>
                  </a:lnTo>
                  <a:lnTo>
                    <a:pt x="485" y="147"/>
                  </a:lnTo>
                  <a:lnTo>
                    <a:pt x="485" y="153"/>
                  </a:lnTo>
                  <a:lnTo>
                    <a:pt x="487" y="161"/>
                  </a:lnTo>
                  <a:lnTo>
                    <a:pt x="487" y="166"/>
                  </a:lnTo>
                  <a:lnTo>
                    <a:pt x="487" y="172"/>
                  </a:lnTo>
                  <a:lnTo>
                    <a:pt x="487" y="172"/>
                  </a:lnTo>
                  <a:lnTo>
                    <a:pt x="487" y="178"/>
                  </a:lnTo>
                  <a:lnTo>
                    <a:pt x="487" y="185"/>
                  </a:lnTo>
                  <a:lnTo>
                    <a:pt x="485" y="191"/>
                  </a:lnTo>
                  <a:lnTo>
                    <a:pt x="483" y="197"/>
                  </a:lnTo>
                  <a:lnTo>
                    <a:pt x="481" y="201"/>
                  </a:lnTo>
                  <a:lnTo>
                    <a:pt x="479" y="206"/>
                  </a:lnTo>
                  <a:lnTo>
                    <a:pt x="475" y="212"/>
                  </a:lnTo>
                  <a:lnTo>
                    <a:pt x="473" y="216"/>
                  </a:lnTo>
                  <a:lnTo>
                    <a:pt x="470" y="222"/>
                  </a:lnTo>
                  <a:lnTo>
                    <a:pt x="468" y="225"/>
                  </a:lnTo>
                  <a:lnTo>
                    <a:pt x="464" y="229"/>
                  </a:lnTo>
                  <a:lnTo>
                    <a:pt x="462" y="235"/>
                  </a:lnTo>
                  <a:lnTo>
                    <a:pt x="460" y="239"/>
                  </a:lnTo>
                  <a:lnTo>
                    <a:pt x="458" y="245"/>
                  </a:lnTo>
                  <a:lnTo>
                    <a:pt x="456" y="250"/>
                  </a:lnTo>
                  <a:lnTo>
                    <a:pt x="454" y="254"/>
                  </a:lnTo>
                  <a:lnTo>
                    <a:pt x="454" y="254"/>
                  </a:lnTo>
                  <a:lnTo>
                    <a:pt x="454" y="260"/>
                  </a:lnTo>
                  <a:lnTo>
                    <a:pt x="454" y="266"/>
                  </a:lnTo>
                  <a:lnTo>
                    <a:pt x="454" y="273"/>
                  </a:lnTo>
                  <a:lnTo>
                    <a:pt x="456" y="279"/>
                  </a:lnTo>
                  <a:lnTo>
                    <a:pt x="456" y="287"/>
                  </a:lnTo>
                  <a:lnTo>
                    <a:pt x="456" y="294"/>
                  </a:lnTo>
                  <a:lnTo>
                    <a:pt x="454" y="300"/>
                  </a:lnTo>
                  <a:lnTo>
                    <a:pt x="452" y="306"/>
                  </a:lnTo>
                  <a:lnTo>
                    <a:pt x="452" y="306"/>
                  </a:lnTo>
                  <a:lnTo>
                    <a:pt x="449" y="311"/>
                  </a:lnTo>
                  <a:lnTo>
                    <a:pt x="445" y="315"/>
                  </a:lnTo>
                  <a:lnTo>
                    <a:pt x="441" y="319"/>
                  </a:lnTo>
                  <a:lnTo>
                    <a:pt x="437" y="321"/>
                  </a:lnTo>
                  <a:lnTo>
                    <a:pt x="433" y="325"/>
                  </a:lnTo>
                  <a:lnTo>
                    <a:pt x="431" y="330"/>
                  </a:lnTo>
                  <a:lnTo>
                    <a:pt x="429" y="336"/>
                  </a:lnTo>
                  <a:lnTo>
                    <a:pt x="428" y="348"/>
                  </a:lnTo>
                  <a:lnTo>
                    <a:pt x="428" y="348"/>
                  </a:lnTo>
                  <a:lnTo>
                    <a:pt x="429" y="353"/>
                  </a:lnTo>
                  <a:lnTo>
                    <a:pt x="429" y="361"/>
                  </a:lnTo>
                  <a:lnTo>
                    <a:pt x="431" y="367"/>
                  </a:lnTo>
                  <a:lnTo>
                    <a:pt x="431" y="372"/>
                  </a:lnTo>
                  <a:lnTo>
                    <a:pt x="433" y="378"/>
                  </a:lnTo>
                  <a:lnTo>
                    <a:pt x="435" y="382"/>
                  </a:lnTo>
                  <a:lnTo>
                    <a:pt x="439" y="386"/>
                  </a:lnTo>
                  <a:lnTo>
                    <a:pt x="441" y="390"/>
                  </a:lnTo>
                  <a:lnTo>
                    <a:pt x="445" y="393"/>
                  </a:lnTo>
                  <a:lnTo>
                    <a:pt x="447" y="397"/>
                  </a:lnTo>
                  <a:lnTo>
                    <a:pt x="450" y="401"/>
                  </a:lnTo>
                  <a:lnTo>
                    <a:pt x="452" y="405"/>
                  </a:lnTo>
                  <a:lnTo>
                    <a:pt x="456" y="409"/>
                  </a:lnTo>
                  <a:lnTo>
                    <a:pt x="458" y="412"/>
                  </a:lnTo>
                  <a:lnTo>
                    <a:pt x="462" y="416"/>
                  </a:lnTo>
                  <a:lnTo>
                    <a:pt x="464" y="420"/>
                  </a:lnTo>
                  <a:lnTo>
                    <a:pt x="464" y="420"/>
                  </a:lnTo>
                  <a:lnTo>
                    <a:pt x="464" y="422"/>
                  </a:lnTo>
                  <a:lnTo>
                    <a:pt x="464" y="426"/>
                  </a:lnTo>
                  <a:lnTo>
                    <a:pt x="464" y="432"/>
                  </a:lnTo>
                  <a:lnTo>
                    <a:pt x="464" y="437"/>
                  </a:lnTo>
                  <a:lnTo>
                    <a:pt x="464" y="443"/>
                  </a:lnTo>
                  <a:lnTo>
                    <a:pt x="464" y="449"/>
                  </a:lnTo>
                  <a:lnTo>
                    <a:pt x="466" y="454"/>
                  </a:lnTo>
                  <a:lnTo>
                    <a:pt x="466" y="458"/>
                  </a:lnTo>
                  <a:lnTo>
                    <a:pt x="466" y="458"/>
                  </a:lnTo>
                  <a:lnTo>
                    <a:pt x="464" y="460"/>
                  </a:lnTo>
                  <a:lnTo>
                    <a:pt x="462" y="460"/>
                  </a:lnTo>
                  <a:lnTo>
                    <a:pt x="460" y="460"/>
                  </a:lnTo>
                  <a:lnTo>
                    <a:pt x="458" y="460"/>
                  </a:lnTo>
                  <a:lnTo>
                    <a:pt x="456" y="460"/>
                  </a:lnTo>
                  <a:lnTo>
                    <a:pt x="452" y="458"/>
                  </a:lnTo>
                  <a:lnTo>
                    <a:pt x="450" y="458"/>
                  </a:lnTo>
                  <a:lnTo>
                    <a:pt x="449" y="458"/>
                  </a:lnTo>
                  <a:lnTo>
                    <a:pt x="449" y="458"/>
                  </a:lnTo>
                  <a:lnTo>
                    <a:pt x="445" y="458"/>
                  </a:lnTo>
                  <a:lnTo>
                    <a:pt x="441" y="458"/>
                  </a:lnTo>
                  <a:lnTo>
                    <a:pt x="435" y="458"/>
                  </a:lnTo>
                  <a:lnTo>
                    <a:pt x="429" y="458"/>
                  </a:lnTo>
                  <a:lnTo>
                    <a:pt x="426" y="456"/>
                  </a:lnTo>
                  <a:lnTo>
                    <a:pt x="418" y="456"/>
                  </a:lnTo>
                  <a:lnTo>
                    <a:pt x="412" y="456"/>
                  </a:lnTo>
                  <a:lnTo>
                    <a:pt x="407" y="454"/>
                  </a:lnTo>
                  <a:lnTo>
                    <a:pt x="401" y="453"/>
                  </a:lnTo>
                  <a:lnTo>
                    <a:pt x="393" y="453"/>
                  </a:lnTo>
                  <a:lnTo>
                    <a:pt x="387" y="453"/>
                  </a:lnTo>
                  <a:lnTo>
                    <a:pt x="380" y="451"/>
                  </a:lnTo>
                  <a:lnTo>
                    <a:pt x="374" y="451"/>
                  </a:lnTo>
                  <a:lnTo>
                    <a:pt x="368" y="451"/>
                  </a:lnTo>
                  <a:lnTo>
                    <a:pt x="363" y="449"/>
                  </a:lnTo>
                  <a:lnTo>
                    <a:pt x="357" y="449"/>
                  </a:lnTo>
                  <a:lnTo>
                    <a:pt x="357" y="449"/>
                  </a:lnTo>
                  <a:lnTo>
                    <a:pt x="353" y="449"/>
                  </a:lnTo>
                  <a:lnTo>
                    <a:pt x="347" y="449"/>
                  </a:lnTo>
                  <a:lnTo>
                    <a:pt x="342" y="449"/>
                  </a:lnTo>
                  <a:lnTo>
                    <a:pt x="336" y="449"/>
                  </a:lnTo>
                  <a:lnTo>
                    <a:pt x="332" y="449"/>
                  </a:lnTo>
                  <a:lnTo>
                    <a:pt x="326" y="449"/>
                  </a:lnTo>
                  <a:lnTo>
                    <a:pt x="321" y="449"/>
                  </a:lnTo>
                  <a:lnTo>
                    <a:pt x="317" y="449"/>
                  </a:lnTo>
                  <a:lnTo>
                    <a:pt x="311" y="449"/>
                  </a:lnTo>
                  <a:lnTo>
                    <a:pt x="307" y="449"/>
                  </a:lnTo>
                  <a:lnTo>
                    <a:pt x="304" y="449"/>
                  </a:lnTo>
                  <a:lnTo>
                    <a:pt x="298" y="449"/>
                  </a:lnTo>
                  <a:lnTo>
                    <a:pt x="294" y="449"/>
                  </a:lnTo>
                  <a:lnTo>
                    <a:pt x="290" y="449"/>
                  </a:lnTo>
                  <a:lnTo>
                    <a:pt x="284" y="449"/>
                  </a:lnTo>
                  <a:lnTo>
                    <a:pt x="281" y="449"/>
                  </a:lnTo>
                  <a:lnTo>
                    <a:pt x="281" y="449"/>
                  </a:lnTo>
                  <a:lnTo>
                    <a:pt x="273" y="449"/>
                  </a:lnTo>
                  <a:lnTo>
                    <a:pt x="265" y="451"/>
                  </a:lnTo>
                  <a:lnTo>
                    <a:pt x="258" y="451"/>
                  </a:lnTo>
                  <a:lnTo>
                    <a:pt x="250" y="451"/>
                  </a:lnTo>
                  <a:lnTo>
                    <a:pt x="243" y="451"/>
                  </a:lnTo>
                  <a:lnTo>
                    <a:pt x="237" y="453"/>
                  </a:lnTo>
                  <a:lnTo>
                    <a:pt x="229" y="453"/>
                  </a:lnTo>
                  <a:lnTo>
                    <a:pt x="223" y="454"/>
                  </a:lnTo>
                  <a:lnTo>
                    <a:pt x="218" y="456"/>
                  </a:lnTo>
                  <a:lnTo>
                    <a:pt x="210" y="456"/>
                  </a:lnTo>
                  <a:lnTo>
                    <a:pt x="204" y="458"/>
                  </a:lnTo>
                  <a:lnTo>
                    <a:pt x="199" y="460"/>
                  </a:lnTo>
                  <a:lnTo>
                    <a:pt x="193" y="462"/>
                  </a:lnTo>
                  <a:lnTo>
                    <a:pt x="187" y="464"/>
                  </a:lnTo>
                  <a:lnTo>
                    <a:pt x="180" y="466"/>
                  </a:lnTo>
                  <a:lnTo>
                    <a:pt x="174" y="468"/>
                  </a:lnTo>
                  <a:lnTo>
                    <a:pt x="174" y="468"/>
                  </a:lnTo>
                  <a:lnTo>
                    <a:pt x="168" y="470"/>
                  </a:lnTo>
                  <a:lnTo>
                    <a:pt x="162" y="473"/>
                  </a:lnTo>
                  <a:lnTo>
                    <a:pt x="157" y="475"/>
                  </a:lnTo>
                  <a:lnTo>
                    <a:pt x="151" y="479"/>
                  </a:lnTo>
                  <a:lnTo>
                    <a:pt x="145" y="483"/>
                  </a:lnTo>
                  <a:lnTo>
                    <a:pt x="140" y="485"/>
                  </a:lnTo>
                  <a:lnTo>
                    <a:pt x="134" y="489"/>
                  </a:lnTo>
                  <a:lnTo>
                    <a:pt x="128" y="493"/>
                  </a:lnTo>
                  <a:lnTo>
                    <a:pt x="122" y="496"/>
                  </a:lnTo>
                  <a:lnTo>
                    <a:pt x="117" y="498"/>
                  </a:lnTo>
                  <a:lnTo>
                    <a:pt x="111" y="502"/>
                  </a:lnTo>
                  <a:lnTo>
                    <a:pt x="105" y="504"/>
                  </a:lnTo>
                  <a:lnTo>
                    <a:pt x="99" y="506"/>
                  </a:lnTo>
                  <a:lnTo>
                    <a:pt x="94" y="508"/>
                  </a:lnTo>
                  <a:lnTo>
                    <a:pt x="86" y="508"/>
                  </a:lnTo>
                  <a:lnTo>
                    <a:pt x="80" y="508"/>
                  </a:lnTo>
                  <a:lnTo>
                    <a:pt x="80" y="508"/>
                  </a:lnTo>
                  <a:lnTo>
                    <a:pt x="77" y="508"/>
                  </a:lnTo>
                  <a:lnTo>
                    <a:pt x="75" y="504"/>
                  </a:lnTo>
                  <a:lnTo>
                    <a:pt x="75" y="500"/>
                  </a:lnTo>
                  <a:lnTo>
                    <a:pt x="73" y="494"/>
                  </a:lnTo>
                  <a:lnTo>
                    <a:pt x="71" y="487"/>
                  </a:lnTo>
                  <a:lnTo>
                    <a:pt x="71" y="481"/>
                  </a:lnTo>
                  <a:lnTo>
                    <a:pt x="71" y="475"/>
                  </a:lnTo>
                  <a:lnTo>
                    <a:pt x="71" y="472"/>
                  </a:lnTo>
                  <a:lnTo>
                    <a:pt x="71" y="472"/>
                  </a:lnTo>
                  <a:lnTo>
                    <a:pt x="71" y="464"/>
                  </a:lnTo>
                  <a:lnTo>
                    <a:pt x="73" y="458"/>
                  </a:lnTo>
                  <a:lnTo>
                    <a:pt x="75" y="453"/>
                  </a:lnTo>
                  <a:lnTo>
                    <a:pt x="77" y="447"/>
                  </a:lnTo>
                  <a:lnTo>
                    <a:pt x="78" y="441"/>
                  </a:lnTo>
                  <a:lnTo>
                    <a:pt x="82" y="437"/>
                  </a:lnTo>
                  <a:lnTo>
                    <a:pt x="84" y="433"/>
                  </a:lnTo>
                  <a:lnTo>
                    <a:pt x="86" y="430"/>
                  </a:lnTo>
                  <a:lnTo>
                    <a:pt x="86" y="403"/>
                  </a:lnTo>
                  <a:lnTo>
                    <a:pt x="86" y="403"/>
                  </a:lnTo>
                  <a:lnTo>
                    <a:pt x="80" y="399"/>
                  </a:lnTo>
                  <a:lnTo>
                    <a:pt x="75" y="397"/>
                  </a:lnTo>
                  <a:lnTo>
                    <a:pt x="71" y="393"/>
                  </a:lnTo>
                  <a:lnTo>
                    <a:pt x="69" y="388"/>
                  </a:lnTo>
                  <a:lnTo>
                    <a:pt x="67" y="384"/>
                  </a:lnTo>
                  <a:lnTo>
                    <a:pt x="63" y="378"/>
                  </a:lnTo>
                  <a:lnTo>
                    <a:pt x="61" y="374"/>
                  </a:lnTo>
                  <a:lnTo>
                    <a:pt x="56" y="370"/>
                  </a:lnTo>
                  <a:lnTo>
                    <a:pt x="56" y="370"/>
                  </a:lnTo>
                  <a:lnTo>
                    <a:pt x="48" y="365"/>
                  </a:lnTo>
                  <a:lnTo>
                    <a:pt x="40" y="361"/>
                  </a:lnTo>
                  <a:lnTo>
                    <a:pt x="35" y="359"/>
                  </a:lnTo>
                  <a:lnTo>
                    <a:pt x="29" y="357"/>
                  </a:lnTo>
                  <a:lnTo>
                    <a:pt x="23" y="357"/>
                  </a:lnTo>
                  <a:lnTo>
                    <a:pt x="16" y="357"/>
                  </a:lnTo>
                  <a:lnTo>
                    <a:pt x="8" y="355"/>
                  </a:lnTo>
                  <a:lnTo>
                    <a:pt x="0" y="353"/>
                  </a:lnTo>
                  <a:lnTo>
                    <a:pt x="0" y="353"/>
                  </a:lnTo>
                  <a:lnTo>
                    <a:pt x="2" y="353"/>
                  </a:lnTo>
                  <a:lnTo>
                    <a:pt x="2" y="353"/>
                  </a:lnTo>
                  <a:lnTo>
                    <a:pt x="2" y="353"/>
                  </a:lnTo>
                  <a:lnTo>
                    <a:pt x="4" y="353"/>
                  </a:lnTo>
                  <a:lnTo>
                    <a:pt x="4" y="353"/>
                  </a:lnTo>
                  <a:lnTo>
                    <a:pt x="2" y="349"/>
                  </a:lnTo>
                  <a:lnTo>
                    <a:pt x="2" y="346"/>
                  </a:lnTo>
                  <a:lnTo>
                    <a:pt x="2" y="344"/>
                  </a:lnTo>
                  <a:lnTo>
                    <a:pt x="2" y="340"/>
                  </a:lnTo>
                  <a:lnTo>
                    <a:pt x="2" y="338"/>
                  </a:lnTo>
                  <a:lnTo>
                    <a:pt x="4" y="338"/>
                  </a:lnTo>
                  <a:lnTo>
                    <a:pt x="4" y="336"/>
                  </a:lnTo>
                  <a:lnTo>
                    <a:pt x="4" y="334"/>
                  </a:lnTo>
                  <a:lnTo>
                    <a:pt x="4" y="334"/>
                  </a:lnTo>
                  <a:lnTo>
                    <a:pt x="4" y="330"/>
                  </a:lnTo>
                  <a:lnTo>
                    <a:pt x="6" y="327"/>
                  </a:lnTo>
                  <a:lnTo>
                    <a:pt x="10" y="321"/>
                  </a:lnTo>
                  <a:lnTo>
                    <a:pt x="14" y="315"/>
                  </a:lnTo>
                  <a:lnTo>
                    <a:pt x="17" y="309"/>
                  </a:lnTo>
                  <a:lnTo>
                    <a:pt x="21" y="304"/>
                  </a:lnTo>
                  <a:lnTo>
                    <a:pt x="23" y="300"/>
                  </a:lnTo>
                  <a:lnTo>
                    <a:pt x="23" y="294"/>
                  </a:lnTo>
                  <a:lnTo>
                    <a:pt x="23" y="294"/>
                  </a:lnTo>
                  <a:lnTo>
                    <a:pt x="23" y="287"/>
                  </a:lnTo>
                  <a:lnTo>
                    <a:pt x="21" y="281"/>
                  </a:lnTo>
                  <a:lnTo>
                    <a:pt x="21" y="273"/>
                  </a:lnTo>
                  <a:lnTo>
                    <a:pt x="19" y="267"/>
                  </a:lnTo>
                  <a:lnTo>
                    <a:pt x="17" y="262"/>
                  </a:lnTo>
                  <a:lnTo>
                    <a:pt x="17" y="256"/>
                  </a:lnTo>
                  <a:lnTo>
                    <a:pt x="16" y="248"/>
                  </a:lnTo>
                  <a:lnTo>
                    <a:pt x="16" y="243"/>
                  </a:lnTo>
                  <a:lnTo>
                    <a:pt x="16" y="243"/>
                  </a:lnTo>
                  <a:lnTo>
                    <a:pt x="23" y="243"/>
                  </a:lnTo>
                  <a:lnTo>
                    <a:pt x="31" y="239"/>
                  </a:lnTo>
                  <a:lnTo>
                    <a:pt x="37" y="235"/>
                  </a:lnTo>
                  <a:lnTo>
                    <a:pt x="40" y="231"/>
                  </a:lnTo>
                  <a:lnTo>
                    <a:pt x="44" y="225"/>
                  </a:lnTo>
                  <a:lnTo>
                    <a:pt x="48" y="218"/>
                  </a:lnTo>
                  <a:lnTo>
                    <a:pt x="50" y="212"/>
                  </a:lnTo>
                  <a:lnTo>
                    <a:pt x="54" y="204"/>
                  </a:lnTo>
                  <a:lnTo>
                    <a:pt x="54" y="204"/>
                  </a:lnTo>
                  <a:lnTo>
                    <a:pt x="50" y="203"/>
                  </a:lnTo>
                  <a:lnTo>
                    <a:pt x="46" y="201"/>
                  </a:lnTo>
                  <a:lnTo>
                    <a:pt x="42" y="199"/>
                  </a:lnTo>
                  <a:lnTo>
                    <a:pt x="40" y="195"/>
                  </a:lnTo>
                  <a:lnTo>
                    <a:pt x="38" y="193"/>
                  </a:lnTo>
                  <a:lnTo>
                    <a:pt x="37" y="189"/>
                  </a:lnTo>
                  <a:lnTo>
                    <a:pt x="37" y="185"/>
                  </a:lnTo>
                  <a:lnTo>
                    <a:pt x="35" y="182"/>
                  </a:lnTo>
                  <a:lnTo>
                    <a:pt x="35" y="182"/>
                  </a:lnTo>
                  <a:lnTo>
                    <a:pt x="37" y="178"/>
                  </a:lnTo>
                  <a:lnTo>
                    <a:pt x="37" y="174"/>
                  </a:lnTo>
                  <a:lnTo>
                    <a:pt x="38" y="172"/>
                  </a:lnTo>
                  <a:lnTo>
                    <a:pt x="42" y="170"/>
                  </a:lnTo>
                  <a:lnTo>
                    <a:pt x="44" y="168"/>
                  </a:lnTo>
                  <a:lnTo>
                    <a:pt x="48" y="166"/>
                  </a:lnTo>
                  <a:lnTo>
                    <a:pt x="50" y="166"/>
                  </a:lnTo>
                  <a:lnTo>
                    <a:pt x="54" y="166"/>
                  </a:lnTo>
                  <a:lnTo>
                    <a:pt x="54" y="166"/>
                  </a:lnTo>
                  <a:lnTo>
                    <a:pt x="59" y="166"/>
                  </a:lnTo>
                  <a:lnTo>
                    <a:pt x="63" y="168"/>
                  </a:lnTo>
                  <a:lnTo>
                    <a:pt x="65" y="170"/>
                  </a:lnTo>
                  <a:lnTo>
                    <a:pt x="67" y="172"/>
                  </a:lnTo>
                  <a:lnTo>
                    <a:pt x="69" y="172"/>
                  </a:lnTo>
                  <a:lnTo>
                    <a:pt x="71" y="172"/>
                  </a:lnTo>
                  <a:lnTo>
                    <a:pt x="75" y="172"/>
                  </a:lnTo>
                  <a:lnTo>
                    <a:pt x="80" y="170"/>
                  </a:lnTo>
                  <a:lnTo>
                    <a:pt x="80" y="170"/>
                  </a:lnTo>
                  <a:lnTo>
                    <a:pt x="77" y="166"/>
                  </a:lnTo>
                  <a:lnTo>
                    <a:pt x="73" y="163"/>
                  </a:lnTo>
                  <a:lnTo>
                    <a:pt x="71" y="159"/>
                  </a:lnTo>
                  <a:lnTo>
                    <a:pt x="67" y="155"/>
                  </a:lnTo>
                  <a:lnTo>
                    <a:pt x="65" y="151"/>
                  </a:lnTo>
                  <a:lnTo>
                    <a:pt x="63" y="147"/>
                  </a:lnTo>
                  <a:lnTo>
                    <a:pt x="63" y="142"/>
                  </a:lnTo>
                  <a:lnTo>
                    <a:pt x="61" y="136"/>
                  </a:lnTo>
                  <a:lnTo>
                    <a:pt x="61" y="136"/>
                  </a:lnTo>
                  <a:lnTo>
                    <a:pt x="61" y="132"/>
                  </a:lnTo>
                  <a:lnTo>
                    <a:pt x="61" y="130"/>
                  </a:lnTo>
                  <a:lnTo>
                    <a:pt x="61" y="126"/>
                  </a:lnTo>
                  <a:lnTo>
                    <a:pt x="61" y="122"/>
                  </a:lnTo>
                  <a:lnTo>
                    <a:pt x="61" y="121"/>
                  </a:lnTo>
                  <a:lnTo>
                    <a:pt x="61" y="119"/>
                  </a:lnTo>
                  <a:lnTo>
                    <a:pt x="61" y="117"/>
                  </a:lnTo>
                  <a:lnTo>
                    <a:pt x="61" y="117"/>
                  </a:lnTo>
                  <a:lnTo>
                    <a:pt x="61" y="117"/>
                  </a:lnTo>
                  <a:lnTo>
                    <a:pt x="61" y="113"/>
                  </a:lnTo>
                  <a:lnTo>
                    <a:pt x="61" y="109"/>
                  </a:lnTo>
                  <a:lnTo>
                    <a:pt x="59" y="103"/>
                  </a:lnTo>
                  <a:lnTo>
                    <a:pt x="57" y="100"/>
                  </a:lnTo>
                  <a:lnTo>
                    <a:pt x="56" y="94"/>
                  </a:lnTo>
                  <a:lnTo>
                    <a:pt x="54" y="90"/>
                  </a:lnTo>
                  <a:lnTo>
                    <a:pt x="54" y="84"/>
                  </a:lnTo>
                  <a:lnTo>
                    <a:pt x="54" y="79"/>
                  </a:lnTo>
                  <a:lnTo>
                    <a:pt x="54" y="79"/>
                  </a:lnTo>
                  <a:lnTo>
                    <a:pt x="54" y="67"/>
                  </a:lnTo>
                  <a:lnTo>
                    <a:pt x="57" y="56"/>
                  </a:lnTo>
                  <a:lnTo>
                    <a:pt x="61" y="46"/>
                  </a:lnTo>
                  <a:lnTo>
                    <a:pt x="69" y="37"/>
                  </a:lnTo>
                  <a:lnTo>
                    <a:pt x="77" y="29"/>
                  </a:lnTo>
                  <a:lnTo>
                    <a:pt x="84" y="23"/>
                  </a:lnTo>
                  <a:lnTo>
                    <a:pt x="94" y="19"/>
                  </a:lnTo>
                  <a:lnTo>
                    <a:pt x="103" y="19"/>
                  </a:lnTo>
                  <a:lnTo>
                    <a:pt x="103" y="19"/>
                  </a:lnTo>
                  <a:lnTo>
                    <a:pt x="107" y="19"/>
                  </a:lnTo>
                  <a:lnTo>
                    <a:pt x="111" y="21"/>
                  </a:lnTo>
                  <a:lnTo>
                    <a:pt x="115" y="23"/>
                  </a:lnTo>
                  <a:lnTo>
                    <a:pt x="119" y="25"/>
                  </a:lnTo>
                  <a:lnTo>
                    <a:pt x="122" y="29"/>
                  </a:lnTo>
                  <a:lnTo>
                    <a:pt x="128" y="31"/>
                  </a:lnTo>
                  <a:lnTo>
                    <a:pt x="134" y="33"/>
                  </a:lnTo>
                  <a:lnTo>
                    <a:pt x="140" y="35"/>
                  </a:lnTo>
                  <a:lnTo>
                    <a:pt x="140" y="35"/>
                  </a:lnTo>
                  <a:lnTo>
                    <a:pt x="149" y="33"/>
                  </a:lnTo>
                  <a:lnTo>
                    <a:pt x="155" y="31"/>
                  </a:lnTo>
                  <a:lnTo>
                    <a:pt x="160" y="27"/>
                  </a:lnTo>
                  <a:lnTo>
                    <a:pt x="164" y="21"/>
                  </a:lnTo>
                  <a:lnTo>
                    <a:pt x="166" y="18"/>
                  </a:lnTo>
                  <a:lnTo>
                    <a:pt x="168" y="12"/>
                  </a:lnTo>
                  <a:lnTo>
                    <a:pt x="172" y="8"/>
                  </a:lnTo>
                  <a:lnTo>
                    <a:pt x="174" y="4"/>
                  </a:lnTo>
                  <a:lnTo>
                    <a:pt x="174" y="4"/>
                  </a:lnTo>
                  <a:lnTo>
                    <a:pt x="178" y="2"/>
                  </a:lnTo>
                  <a:lnTo>
                    <a:pt x="181" y="2"/>
                  </a:lnTo>
                  <a:lnTo>
                    <a:pt x="187" y="0"/>
                  </a:lnTo>
                  <a:lnTo>
                    <a:pt x="193" y="0"/>
                  </a:lnTo>
                  <a:lnTo>
                    <a:pt x="197" y="0"/>
                  </a:lnTo>
                  <a:lnTo>
                    <a:pt x="202" y="0"/>
                  </a:lnTo>
                  <a:lnTo>
                    <a:pt x="204" y="0"/>
                  </a:lnTo>
                  <a:lnTo>
                    <a:pt x="208" y="0"/>
                  </a:lnTo>
                  <a:lnTo>
                    <a:pt x="208" y="0"/>
                  </a:lnTo>
                  <a:lnTo>
                    <a:pt x="208" y="6"/>
                  </a:lnTo>
                  <a:lnTo>
                    <a:pt x="210" y="12"/>
                  </a:lnTo>
                  <a:lnTo>
                    <a:pt x="210" y="18"/>
                  </a:lnTo>
                  <a:lnTo>
                    <a:pt x="210" y="23"/>
                  </a:lnTo>
                  <a:lnTo>
                    <a:pt x="212" y="29"/>
                  </a:lnTo>
                  <a:lnTo>
                    <a:pt x="214" y="33"/>
                  </a:lnTo>
                  <a:lnTo>
                    <a:pt x="218" y="35"/>
                  </a:lnTo>
                  <a:lnTo>
                    <a:pt x="222" y="37"/>
                  </a:lnTo>
                  <a:lnTo>
                    <a:pt x="222" y="37"/>
                  </a:lnTo>
                  <a:lnTo>
                    <a:pt x="227" y="35"/>
                  </a:lnTo>
                  <a:lnTo>
                    <a:pt x="233" y="33"/>
                  </a:lnTo>
                  <a:lnTo>
                    <a:pt x="239" y="31"/>
                  </a:lnTo>
                  <a:lnTo>
                    <a:pt x="244" y="27"/>
                  </a:lnTo>
                  <a:lnTo>
                    <a:pt x="250" y="25"/>
                  </a:lnTo>
                  <a:lnTo>
                    <a:pt x="256" y="21"/>
                  </a:lnTo>
                  <a:lnTo>
                    <a:pt x="262" y="19"/>
                  </a:lnTo>
                  <a:lnTo>
                    <a:pt x="269" y="19"/>
                  </a:lnTo>
                  <a:lnTo>
                    <a:pt x="269" y="19"/>
                  </a:lnTo>
                  <a:lnTo>
                    <a:pt x="277" y="19"/>
                  </a:lnTo>
                  <a:lnTo>
                    <a:pt x="283" y="21"/>
                  </a:lnTo>
                  <a:lnTo>
                    <a:pt x="288" y="23"/>
                  </a:lnTo>
                  <a:lnTo>
                    <a:pt x="292" y="27"/>
                  </a:lnTo>
                  <a:lnTo>
                    <a:pt x="296" y="33"/>
                  </a:lnTo>
                  <a:lnTo>
                    <a:pt x="300" y="37"/>
                  </a:lnTo>
                  <a:lnTo>
                    <a:pt x="304" y="42"/>
                  </a:lnTo>
                  <a:lnTo>
                    <a:pt x="307" y="46"/>
                  </a:lnTo>
                  <a:lnTo>
                    <a:pt x="311" y="52"/>
                  </a:lnTo>
                  <a:lnTo>
                    <a:pt x="313" y="58"/>
                  </a:lnTo>
                  <a:lnTo>
                    <a:pt x="317" y="61"/>
                  </a:lnTo>
                  <a:lnTo>
                    <a:pt x="323" y="67"/>
                  </a:lnTo>
                  <a:lnTo>
                    <a:pt x="326" y="69"/>
                  </a:lnTo>
                  <a:lnTo>
                    <a:pt x="332" y="73"/>
                  </a:lnTo>
                  <a:lnTo>
                    <a:pt x="340" y="75"/>
                  </a:lnTo>
                  <a:lnTo>
                    <a:pt x="347" y="75"/>
                  </a:lnTo>
                  <a:lnTo>
                    <a:pt x="347" y="75"/>
                  </a:lnTo>
                  <a:lnTo>
                    <a:pt x="359" y="75"/>
                  </a:lnTo>
                  <a:lnTo>
                    <a:pt x="367" y="73"/>
                  </a:lnTo>
                  <a:lnTo>
                    <a:pt x="374" y="71"/>
                  </a:lnTo>
                  <a:lnTo>
                    <a:pt x="382" y="67"/>
                  </a:lnTo>
                  <a:lnTo>
                    <a:pt x="387" y="65"/>
                  </a:lnTo>
                  <a:lnTo>
                    <a:pt x="395" y="63"/>
                  </a:lnTo>
                  <a:lnTo>
                    <a:pt x="403" y="61"/>
                  </a:lnTo>
                  <a:lnTo>
                    <a:pt x="410" y="60"/>
                  </a:lnTo>
                  <a:lnTo>
                    <a:pt x="410" y="60"/>
                  </a:lnTo>
                  <a:lnTo>
                    <a:pt x="422" y="61"/>
                  </a:lnTo>
                  <a:lnTo>
                    <a:pt x="433" y="65"/>
                  </a:lnTo>
                  <a:lnTo>
                    <a:pt x="441" y="69"/>
                  </a:lnTo>
                  <a:lnTo>
                    <a:pt x="447" y="75"/>
                  </a:lnTo>
                  <a:lnTo>
                    <a:pt x="452" y="82"/>
                  </a:lnTo>
                  <a:lnTo>
                    <a:pt x="458" y="88"/>
                  </a:lnTo>
                  <a:lnTo>
                    <a:pt x="464" y="96"/>
                  </a:lnTo>
                  <a:lnTo>
                    <a:pt x="470" y="101"/>
                  </a:lnTo>
                  <a:lnTo>
                    <a:pt x="466" y="7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6" name="Freeform 140"/>
            <p:cNvSpPr>
              <a:spLocks/>
            </p:cNvSpPr>
            <p:nvPr/>
          </p:nvSpPr>
          <p:spPr bwMode="gray">
            <a:xfrm>
              <a:off x="1059" y="1967"/>
              <a:ext cx="166" cy="188"/>
            </a:xfrm>
            <a:custGeom>
              <a:avLst/>
              <a:gdLst/>
              <a:ahLst/>
              <a:cxnLst>
                <a:cxn ang="0">
                  <a:pos x="224" y="71"/>
                </a:cxn>
                <a:cxn ang="0">
                  <a:pos x="218" y="73"/>
                </a:cxn>
                <a:cxn ang="0">
                  <a:pos x="210" y="79"/>
                </a:cxn>
                <a:cxn ang="0">
                  <a:pos x="199" y="100"/>
                </a:cxn>
                <a:cxn ang="0">
                  <a:pos x="182" y="105"/>
                </a:cxn>
                <a:cxn ang="0">
                  <a:pos x="164" y="98"/>
                </a:cxn>
                <a:cxn ang="0">
                  <a:pos x="155" y="84"/>
                </a:cxn>
                <a:cxn ang="0">
                  <a:pos x="157" y="81"/>
                </a:cxn>
                <a:cxn ang="0">
                  <a:pos x="164" y="71"/>
                </a:cxn>
                <a:cxn ang="0">
                  <a:pos x="164" y="54"/>
                </a:cxn>
                <a:cxn ang="0">
                  <a:pos x="159" y="31"/>
                </a:cxn>
                <a:cxn ang="0">
                  <a:pos x="147" y="12"/>
                </a:cxn>
                <a:cxn ang="0">
                  <a:pos x="126" y="0"/>
                </a:cxn>
                <a:cxn ang="0">
                  <a:pos x="96" y="0"/>
                </a:cxn>
                <a:cxn ang="0">
                  <a:pos x="71" y="29"/>
                </a:cxn>
                <a:cxn ang="0">
                  <a:pos x="59" y="61"/>
                </a:cxn>
                <a:cxn ang="0">
                  <a:pos x="33" y="94"/>
                </a:cxn>
                <a:cxn ang="0">
                  <a:pos x="0" y="126"/>
                </a:cxn>
                <a:cxn ang="0">
                  <a:pos x="18" y="149"/>
                </a:cxn>
                <a:cxn ang="0">
                  <a:pos x="42" y="168"/>
                </a:cxn>
                <a:cxn ang="0">
                  <a:pos x="69" y="182"/>
                </a:cxn>
                <a:cxn ang="0">
                  <a:pos x="98" y="197"/>
                </a:cxn>
                <a:cxn ang="0">
                  <a:pos x="115" y="212"/>
                </a:cxn>
                <a:cxn ang="0">
                  <a:pos x="130" y="231"/>
                </a:cxn>
                <a:cxn ang="0">
                  <a:pos x="145" y="254"/>
                </a:cxn>
                <a:cxn ang="0">
                  <a:pos x="161" y="273"/>
                </a:cxn>
                <a:cxn ang="0">
                  <a:pos x="180" y="289"/>
                </a:cxn>
                <a:cxn ang="0">
                  <a:pos x="206" y="304"/>
                </a:cxn>
                <a:cxn ang="0">
                  <a:pos x="233" y="319"/>
                </a:cxn>
                <a:cxn ang="0">
                  <a:pos x="264" y="332"/>
                </a:cxn>
                <a:cxn ang="0">
                  <a:pos x="288" y="344"/>
                </a:cxn>
                <a:cxn ang="0">
                  <a:pos x="281" y="330"/>
                </a:cxn>
                <a:cxn ang="0">
                  <a:pos x="279" y="308"/>
                </a:cxn>
                <a:cxn ang="0">
                  <a:pos x="283" y="289"/>
                </a:cxn>
                <a:cxn ang="0">
                  <a:pos x="292" y="269"/>
                </a:cxn>
                <a:cxn ang="0">
                  <a:pos x="288" y="235"/>
                </a:cxn>
                <a:cxn ang="0">
                  <a:pos x="275" y="220"/>
                </a:cxn>
                <a:cxn ang="0">
                  <a:pos x="264" y="206"/>
                </a:cxn>
                <a:cxn ang="0">
                  <a:pos x="237" y="193"/>
                </a:cxn>
                <a:cxn ang="0">
                  <a:pos x="208" y="189"/>
                </a:cxn>
                <a:cxn ang="0">
                  <a:pos x="210" y="189"/>
                </a:cxn>
                <a:cxn ang="0">
                  <a:pos x="210" y="182"/>
                </a:cxn>
                <a:cxn ang="0">
                  <a:pos x="212" y="174"/>
                </a:cxn>
                <a:cxn ang="0">
                  <a:pos x="212" y="166"/>
                </a:cxn>
                <a:cxn ang="0">
                  <a:pos x="225" y="145"/>
                </a:cxn>
                <a:cxn ang="0">
                  <a:pos x="231" y="130"/>
                </a:cxn>
                <a:cxn ang="0">
                  <a:pos x="227" y="103"/>
                </a:cxn>
                <a:cxn ang="0">
                  <a:pos x="224" y="79"/>
                </a:cxn>
              </a:cxnLst>
              <a:rect l="0" t="0" r="r" b="b"/>
              <a:pathLst>
                <a:path w="294" h="344">
                  <a:moveTo>
                    <a:pt x="225" y="71"/>
                  </a:moveTo>
                  <a:lnTo>
                    <a:pt x="225" y="71"/>
                  </a:lnTo>
                  <a:lnTo>
                    <a:pt x="224" y="71"/>
                  </a:lnTo>
                  <a:lnTo>
                    <a:pt x="224" y="71"/>
                  </a:lnTo>
                  <a:lnTo>
                    <a:pt x="222" y="71"/>
                  </a:lnTo>
                  <a:lnTo>
                    <a:pt x="222" y="73"/>
                  </a:lnTo>
                  <a:lnTo>
                    <a:pt x="220" y="73"/>
                  </a:lnTo>
                  <a:lnTo>
                    <a:pt x="218" y="73"/>
                  </a:lnTo>
                  <a:lnTo>
                    <a:pt x="214" y="73"/>
                  </a:lnTo>
                  <a:lnTo>
                    <a:pt x="212" y="71"/>
                  </a:lnTo>
                  <a:lnTo>
                    <a:pt x="212" y="71"/>
                  </a:lnTo>
                  <a:lnTo>
                    <a:pt x="210" y="79"/>
                  </a:lnTo>
                  <a:lnTo>
                    <a:pt x="208" y="84"/>
                  </a:lnTo>
                  <a:lnTo>
                    <a:pt x="206" y="90"/>
                  </a:lnTo>
                  <a:lnTo>
                    <a:pt x="203" y="96"/>
                  </a:lnTo>
                  <a:lnTo>
                    <a:pt x="199" y="100"/>
                  </a:lnTo>
                  <a:lnTo>
                    <a:pt x="193" y="103"/>
                  </a:lnTo>
                  <a:lnTo>
                    <a:pt x="187" y="105"/>
                  </a:lnTo>
                  <a:lnTo>
                    <a:pt x="182" y="105"/>
                  </a:lnTo>
                  <a:lnTo>
                    <a:pt x="182" y="105"/>
                  </a:lnTo>
                  <a:lnTo>
                    <a:pt x="178" y="105"/>
                  </a:lnTo>
                  <a:lnTo>
                    <a:pt x="174" y="103"/>
                  </a:lnTo>
                  <a:lnTo>
                    <a:pt x="168" y="102"/>
                  </a:lnTo>
                  <a:lnTo>
                    <a:pt x="164" y="98"/>
                  </a:lnTo>
                  <a:lnTo>
                    <a:pt x="161" y="96"/>
                  </a:lnTo>
                  <a:lnTo>
                    <a:pt x="157" y="92"/>
                  </a:lnTo>
                  <a:lnTo>
                    <a:pt x="155" y="88"/>
                  </a:lnTo>
                  <a:lnTo>
                    <a:pt x="155" y="84"/>
                  </a:lnTo>
                  <a:lnTo>
                    <a:pt x="155" y="84"/>
                  </a:lnTo>
                  <a:lnTo>
                    <a:pt x="155" y="82"/>
                  </a:lnTo>
                  <a:lnTo>
                    <a:pt x="157" y="81"/>
                  </a:lnTo>
                  <a:lnTo>
                    <a:pt x="157" y="81"/>
                  </a:lnTo>
                  <a:lnTo>
                    <a:pt x="159" y="79"/>
                  </a:lnTo>
                  <a:lnTo>
                    <a:pt x="161" y="77"/>
                  </a:lnTo>
                  <a:lnTo>
                    <a:pt x="162" y="73"/>
                  </a:lnTo>
                  <a:lnTo>
                    <a:pt x="164" y="71"/>
                  </a:lnTo>
                  <a:lnTo>
                    <a:pt x="164" y="67"/>
                  </a:lnTo>
                  <a:lnTo>
                    <a:pt x="164" y="67"/>
                  </a:lnTo>
                  <a:lnTo>
                    <a:pt x="164" y="61"/>
                  </a:lnTo>
                  <a:lnTo>
                    <a:pt x="164" y="54"/>
                  </a:lnTo>
                  <a:lnTo>
                    <a:pt x="162" y="48"/>
                  </a:lnTo>
                  <a:lnTo>
                    <a:pt x="162" y="42"/>
                  </a:lnTo>
                  <a:lnTo>
                    <a:pt x="161" y="37"/>
                  </a:lnTo>
                  <a:lnTo>
                    <a:pt x="159" y="31"/>
                  </a:lnTo>
                  <a:lnTo>
                    <a:pt x="157" y="25"/>
                  </a:lnTo>
                  <a:lnTo>
                    <a:pt x="155" y="20"/>
                  </a:lnTo>
                  <a:lnTo>
                    <a:pt x="151" y="16"/>
                  </a:lnTo>
                  <a:lnTo>
                    <a:pt x="147" y="12"/>
                  </a:lnTo>
                  <a:lnTo>
                    <a:pt x="143" y="8"/>
                  </a:lnTo>
                  <a:lnTo>
                    <a:pt x="138" y="4"/>
                  </a:lnTo>
                  <a:lnTo>
                    <a:pt x="134" y="2"/>
                  </a:lnTo>
                  <a:lnTo>
                    <a:pt x="126" y="0"/>
                  </a:lnTo>
                  <a:lnTo>
                    <a:pt x="121" y="0"/>
                  </a:lnTo>
                  <a:lnTo>
                    <a:pt x="113" y="0"/>
                  </a:lnTo>
                  <a:lnTo>
                    <a:pt x="113" y="0"/>
                  </a:lnTo>
                  <a:lnTo>
                    <a:pt x="96" y="0"/>
                  </a:lnTo>
                  <a:lnTo>
                    <a:pt x="84" y="4"/>
                  </a:lnTo>
                  <a:lnTo>
                    <a:pt x="77" y="12"/>
                  </a:lnTo>
                  <a:lnTo>
                    <a:pt x="73" y="20"/>
                  </a:lnTo>
                  <a:lnTo>
                    <a:pt x="71" y="29"/>
                  </a:lnTo>
                  <a:lnTo>
                    <a:pt x="67" y="39"/>
                  </a:lnTo>
                  <a:lnTo>
                    <a:pt x="65" y="50"/>
                  </a:lnTo>
                  <a:lnTo>
                    <a:pt x="59" y="61"/>
                  </a:lnTo>
                  <a:lnTo>
                    <a:pt x="59" y="61"/>
                  </a:lnTo>
                  <a:lnTo>
                    <a:pt x="58" y="65"/>
                  </a:lnTo>
                  <a:lnTo>
                    <a:pt x="52" y="73"/>
                  </a:lnTo>
                  <a:lnTo>
                    <a:pt x="42" y="82"/>
                  </a:lnTo>
                  <a:lnTo>
                    <a:pt x="33" y="94"/>
                  </a:lnTo>
                  <a:lnTo>
                    <a:pt x="21" y="105"/>
                  </a:lnTo>
                  <a:lnTo>
                    <a:pt x="12" y="115"/>
                  </a:lnTo>
                  <a:lnTo>
                    <a:pt x="4" y="123"/>
                  </a:lnTo>
                  <a:lnTo>
                    <a:pt x="0" y="126"/>
                  </a:lnTo>
                  <a:lnTo>
                    <a:pt x="0" y="126"/>
                  </a:lnTo>
                  <a:lnTo>
                    <a:pt x="6" y="136"/>
                  </a:lnTo>
                  <a:lnTo>
                    <a:pt x="12" y="142"/>
                  </a:lnTo>
                  <a:lnTo>
                    <a:pt x="18" y="149"/>
                  </a:lnTo>
                  <a:lnTo>
                    <a:pt x="25" y="155"/>
                  </a:lnTo>
                  <a:lnTo>
                    <a:pt x="31" y="161"/>
                  </a:lnTo>
                  <a:lnTo>
                    <a:pt x="37" y="165"/>
                  </a:lnTo>
                  <a:lnTo>
                    <a:pt x="42" y="168"/>
                  </a:lnTo>
                  <a:lnTo>
                    <a:pt x="48" y="172"/>
                  </a:lnTo>
                  <a:lnTo>
                    <a:pt x="56" y="176"/>
                  </a:lnTo>
                  <a:lnTo>
                    <a:pt x="61" y="178"/>
                  </a:lnTo>
                  <a:lnTo>
                    <a:pt x="69" y="182"/>
                  </a:lnTo>
                  <a:lnTo>
                    <a:pt x="75" y="185"/>
                  </a:lnTo>
                  <a:lnTo>
                    <a:pt x="82" y="189"/>
                  </a:lnTo>
                  <a:lnTo>
                    <a:pt x="90" y="193"/>
                  </a:lnTo>
                  <a:lnTo>
                    <a:pt x="98" y="197"/>
                  </a:lnTo>
                  <a:lnTo>
                    <a:pt x="105" y="203"/>
                  </a:lnTo>
                  <a:lnTo>
                    <a:pt x="105" y="203"/>
                  </a:lnTo>
                  <a:lnTo>
                    <a:pt x="109" y="206"/>
                  </a:lnTo>
                  <a:lnTo>
                    <a:pt x="115" y="212"/>
                  </a:lnTo>
                  <a:lnTo>
                    <a:pt x="119" y="216"/>
                  </a:lnTo>
                  <a:lnTo>
                    <a:pt x="122" y="222"/>
                  </a:lnTo>
                  <a:lnTo>
                    <a:pt x="126" y="226"/>
                  </a:lnTo>
                  <a:lnTo>
                    <a:pt x="130" y="231"/>
                  </a:lnTo>
                  <a:lnTo>
                    <a:pt x="134" y="237"/>
                  </a:lnTo>
                  <a:lnTo>
                    <a:pt x="138" y="243"/>
                  </a:lnTo>
                  <a:lnTo>
                    <a:pt x="141" y="248"/>
                  </a:lnTo>
                  <a:lnTo>
                    <a:pt x="145" y="254"/>
                  </a:lnTo>
                  <a:lnTo>
                    <a:pt x="149" y="258"/>
                  </a:lnTo>
                  <a:lnTo>
                    <a:pt x="153" y="264"/>
                  </a:lnTo>
                  <a:lnTo>
                    <a:pt x="157" y="269"/>
                  </a:lnTo>
                  <a:lnTo>
                    <a:pt x="161" y="273"/>
                  </a:lnTo>
                  <a:lnTo>
                    <a:pt x="166" y="279"/>
                  </a:lnTo>
                  <a:lnTo>
                    <a:pt x="172" y="283"/>
                  </a:lnTo>
                  <a:lnTo>
                    <a:pt x="172" y="283"/>
                  </a:lnTo>
                  <a:lnTo>
                    <a:pt x="180" y="289"/>
                  </a:lnTo>
                  <a:lnTo>
                    <a:pt x="185" y="292"/>
                  </a:lnTo>
                  <a:lnTo>
                    <a:pt x="193" y="296"/>
                  </a:lnTo>
                  <a:lnTo>
                    <a:pt x="199" y="300"/>
                  </a:lnTo>
                  <a:lnTo>
                    <a:pt x="206" y="304"/>
                  </a:lnTo>
                  <a:lnTo>
                    <a:pt x="212" y="308"/>
                  </a:lnTo>
                  <a:lnTo>
                    <a:pt x="220" y="311"/>
                  </a:lnTo>
                  <a:lnTo>
                    <a:pt x="227" y="315"/>
                  </a:lnTo>
                  <a:lnTo>
                    <a:pt x="233" y="319"/>
                  </a:lnTo>
                  <a:lnTo>
                    <a:pt x="241" y="323"/>
                  </a:lnTo>
                  <a:lnTo>
                    <a:pt x="248" y="327"/>
                  </a:lnTo>
                  <a:lnTo>
                    <a:pt x="256" y="329"/>
                  </a:lnTo>
                  <a:lnTo>
                    <a:pt x="264" y="332"/>
                  </a:lnTo>
                  <a:lnTo>
                    <a:pt x="271" y="336"/>
                  </a:lnTo>
                  <a:lnTo>
                    <a:pt x="279" y="340"/>
                  </a:lnTo>
                  <a:lnTo>
                    <a:pt x="288" y="344"/>
                  </a:lnTo>
                  <a:lnTo>
                    <a:pt x="288" y="344"/>
                  </a:lnTo>
                  <a:lnTo>
                    <a:pt x="285" y="344"/>
                  </a:lnTo>
                  <a:lnTo>
                    <a:pt x="283" y="340"/>
                  </a:lnTo>
                  <a:lnTo>
                    <a:pt x="283" y="336"/>
                  </a:lnTo>
                  <a:lnTo>
                    <a:pt x="281" y="330"/>
                  </a:lnTo>
                  <a:lnTo>
                    <a:pt x="279" y="323"/>
                  </a:lnTo>
                  <a:lnTo>
                    <a:pt x="279" y="317"/>
                  </a:lnTo>
                  <a:lnTo>
                    <a:pt x="279" y="311"/>
                  </a:lnTo>
                  <a:lnTo>
                    <a:pt x="279" y="308"/>
                  </a:lnTo>
                  <a:lnTo>
                    <a:pt x="279" y="308"/>
                  </a:lnTo>
                  <a:lnTo>
                    <a:pt x="279" y="300"/>
                  </a:lnTo>
                  <a:lnTo>
                    <a:pt x="281" y="294"/>
                  </a:lnTo>
                  <a:lnTo>
                    <a:pt x="283" y="289"/>
                  </a:lnTo>
                  <a:lnTo>
                    <a:pt x="285" y="283"/>
                  </a:lnTo>
                  <a:lnTo>
                    <a:pt x="286" y="277"/>
                  </a:lnTo>
                  <a:lnTo>
                    <a:pt x="290" y="273"/>
                  </a:lnTo>
                  <a:lnTo>
                    <a:pt x="292" y="269"/>
                  </a:lnTo>
                  <a:lnTo>
                    <a:pt x="294" y="266"/>
                  </a:lnTo>
                  <a:lnTo>
                    <a:pt x="294" y="239"/>
                  </a:lnTo>
                  <a:lnTo>
                    <a:pt x="294" y="239"/>
                  </a:lnTo>
                  <a:lnTo>
                    <a:pt x="288" y="235"/>
                  </a:lnTo>
                  <a:lnTo>
                    <a:pt x="283" y="233"/>
                  </a:lnTo>
                  <a:lnTo>
                    <a:pt x="279" y="229"/>
                  </a:lnTo>
                  <a:lnTo>
                    <a:pt x="277" y="224"/>
                  </a:lnTo>
                  <a:lnTo>
                    <a:pt x="275" y="220"/>
                  </a:lnTo>
                  <a:lnTo>
                    <a:pt x="271" y="214"/>
                  </a:lnTo>
                  <a:lnTo>
                    <a:pt x="269" y="210"/>
                  </a:lnTo>
                  <a:lnTo>
                    <a:pt x="264" y="206"/>
                  </a:lnTo>
                  <a:lnTo>
                    <a:pt x="264" y="206"/>
                  </a:lnTo>
                  <a:lnTo>
                    <a:pt x="256" y="201"/>
                  </a:lnTo>
                  <a:lnTo>
                    <a:pt x="248" y="197"/>
                  </a:lnTo>
                  <a:lnTo>
                    <a:pt x="243" y="195"/>
                  </a:lnTo>
                  <a:lnTo>
                    <a:pt x="237" y="193"/>
                  </a:lnTo>
                  <a:lnTo>
                    <a:pt x="231" y="193"/>
                  </a:lnTo>
                  <a:lnTo>
                    <a:pt x="224" y="193"/>
                  </a:lnTo>
                  <a:lnTo>
                    <a:pt x="216" y="191"/>
                  </a:lnTo>
                  <a:lnTo>
                    <a:pt x="208" y="189"/>
                  </a:lnTo>
                  <a:lnTo>
                    <a:pt x="208" y="189"/>
                  </a:lnTo>
                  <a:lnTo>
                    <a:pt x="210" y="189"/>
                  </a:lnTo>
                  <a:lnTo>
                    <a:pt x="210" y="189"/>
                  </a:lnTo>
                  <a:lnTo>
                    <a:pt x="210" y="189"/>
                  </a:lnTo>
                  <a:lnTo>
                    <a:pt x="212" y="189"/>
                  </a:lnTo>
                  <a:lnTo>
                    <a:pt x="212" y="189"/>
                  </a:lnTo>
                  <a:lnTo>
                    <a:pt x="210" y="185"/>
                  </a:lnTo>
                  <a:lnTo>
                    <a:pt x="210" y="182"/>
                  </a:lnTo>
                  <a:lnTo>
                    <a:pt x="210" y="180"/>
                  </a:lnTo>
                  <a:lnTo>
                    <a:pt x="210" y="176"/>
                  </a:lnTo>
                  <a:lnTo>
                    <a:pt x="210" y="174"/>
                  </a:lnTo>
                  <a:lnTo>
                    <a:pt x="212" y="174"/>
                  </a:lnTo>
                  <a:lnTo>
                    <a:pt x="212" y="172"/>
                  </a:lnTo>
                  <a:lnTo>
                    <a:pt x="212" y="170"/>
                  </a:lnTo>
                  <a:lnTo>
                    <a:pt x="212" y="170"/>
                  </a:lnTo>
                  <a:lnTo>
                    <a:pt x="212" y="166"/>
                  </a:lnTo>
                  <a:lnTo>
                    <a:pt x="214" y="163"/>
                  </a:lnTo>
                  <a:lnTo>
                    <a:pt x="218" y="157"/>
                  </a:lnTo>
                  <a:lnTo>
                    <a:pt x="222" y="151"/>
                  </a:lnTo>
                  <a:lnTo>
                    <a:pt x="225" y="145"/>
                  </a:lnTo>
                  <a:lnTo>
                    <a:pt x="229" y="140"/>
                  </a:lnTo>
                  <a:lnTo>
                    <a:pt x="231" y="136"/>
                  </a:lnTo>
                  <a:lnTo>
                    <a:pt x="231" y="130"/>
                  </a:lnTo>
                  <a:lnTo>
                    <a:pt x="231" y="130"/>
                  </a:lnTo>
                  <a:lnTo>
                    <a:pt x="231" y="123"/>
                  </a:lnTo>
                  <a:lnTo>
                    <a:pt x="229" y="117"/>
                  </a:lnTo>
                  <a:lnTo>
                    <a:pt x="229" y="109"/>
                  </a:lnTo>
                  <a:lnTo>
                    <a:pt x="227" y="103"/>
                  </a:lnTo>
                  <a:lnTo>
                    <a:pt x="225" y="98"/>
                  </a:lnTo>
                  <a:lnTo>
                    <a:pt x="225" y="92"/>
                  </a:lnTo>
                  <a:lnTo>
                    <a:pt x="224" y="84"/>
                  </a:lnTo>
                  <a:lnTo>
                    <a:pt x="224" y="79"/>
                  </a:lnTo>
                  <a:lnTo>
                    <a:pt x="225" y="71"/>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7" name="Freeform 141"/>
            <p:cNvSpPr>
              <a:spLocks/>
            </p:cNvSpPr>
            <p:nvPr/>
          </p:nvSpPr>
          <p:spPr bwMode="gray">
            <a:xfrm>
              <a:off x="987" y="1897"/>
              <a:ext cx="126" cy="139"/>
            </a:xfrm>
            <a:custGeom>
              <a:avLst/>
              <a:gdLst/>
              <a:ahLst/>
              <a:cxnLst>
                <a:cxn ang="0">
                  <a:pos x="222" y="129"/>
                </a:cxn>
                <a:cxn ang="0">
                  <a:pos x="205" y="137"/>
                </a:cxn>
                <a:cxn ang="0">
                  <a:pos x="197" y="150"/>
                </a:cxn>
                <a:cxn ang="0">
                  <a:pos x="193" y="169"/>
                </a:cxn>
                <a:cxn ang="0">
                  <a:pos x="185" y="188"/>
                </a:cxn>
                <a:cxn ang="0">
                  <a:pos x="184" y="192"/>
                </a:cxn>
                <a:cxn ang="0">
                  <a:pos x="168" y="209"/>
                </a:cxn>
                <a:cxn ang="0">
                  <a:pos x="147" y="232"/>
                </a:cxn>
                <a:cxn ang="0">
                  <a:pos x="130" y="250"/>
                </a:cxn>
                <a:cxn ang="0">
                  <a:pos x="126" y="253"/>
                </a:cxn>
                <a:cxn ang="0">
                  <a:pos x="115" y="248"/>
                </a:cxn>
                <a:cxn ang="0">
                  <a:pos x="105" y="240"/>
                </a:cxn>
                <a:cxn ang="0">
                  <a:pos x="96" y="234"/>
                </a:cxn>
                <a:cxn ang="0">
                  <a:pos x="88" y="229"/>
                </a:cxn>
                <a:cxn ang="0">
                  <a:pos x="81" y="223"/>
                </a:cxn>
                <a:cxn ang="0">
                  <a:pos x="73" y="217"/>
                </a:cxn>
                <a:cxn ang="0">
                  <a:pos x="63" y="209"/>
                </a:cxn>
                <a:cxn ang="0">
                  <a:pos x="54" y="204"/>
                </a:cxn>
                <a:cxn ang="0">
                  <a:pos x="50" y="202"/>
                </a:cxn>
                <a:cxn ang="0">
                  <a:pos x="41" y="198"/>
                </a:cxn>
                <a:cxn ang="0">
                  <a:pos x="31" y="192"/>
                </a:cxn>
                <a:cxn ang="0">
                  <a:pos x="23" y="185"/>
                </a:cxn>
                <a:cxn ang="0">
                  <a:pos x="21" y="181"/>
                </a:cxn>
                <a:cxn ang="0">
                  <a:pos x="20" y="169"/>
                </a:cxn>
                <a:cxn ang="0">
                  <a:pos x="20" y="160"/>
                </a:cxn>
                <a:cxn ang="0">
                  <a:pos x="20" y="150"/>
                </a:cxn>
                <a:cxn ang="0">
                  <a:pos x="18" y="141"/>
                </a:cxn>
                <a:cxn ang="0">
                  <a:pos x="16" y="137"/>
                </a:cxn>
                <a:cxn ang="0">
                  <a:pos x="10" y="131"/>
                </a:cxn>
                <a:cxn ang="0">
                  <a:pos x="4" y="124"/>
                </a:cxn>
                <a:cxn ang="0">
                  <a:pos x="0" y="112"/>
                </a:cxn>
                <a:cxn ang="0">
                  <a:pos x="0" y="103"/>
                </a:cxn>
                <a:cxn ang="0">
                  <a:pos x="2" y="84"/>
                </a:cxn>
                <a:cxn ang="0">
                  <a:pos x="8" y="64"/>
                </a:cxn>
                <a:cxn ang="0">
                  <a:pos x="18" y="47"/>
                </a:cxn>
                <a:cxn ang="0">
                  <a:pos x="29" y="32"/>
                </a:cxn>
                <a:cxn ang="0">
                  <a:pos x="42" y="19"/>
                </a:cxn>
                <a:cxn ang="0">
                  <a:pos x="58" y="7"/>
                </a:cxn>
                <a:cxn ang="0">
                  <a:pos x="73" y="2"/>
                </a:cxn>
                <a:cxn ang="0">
                  <a:pos x="90" y="0"/>
                </a:cxn>
                <a:cxn ang="0">
                  <a:pos x="96" y="0"/>
                </a:cxn>
                <a:cxn ang="0">
                  <a:pos x="107" y="0"/>
                </a:cxn>
                <a:cxn ang="0">
                  <a:pos x="119" y="0"/>
                </a:cxn>
                <a:cxn ang="0">
                  <a:pos x="126" y="0"/>
                </a:cxn>
                <a:cxn ang="0">
                  <a:pos x="126" y="0"/>
                </a:cxn>
                <a:cxn ang="0">
                  <a:pos x="144" y="2"/>
                </a:cxn>
                <a:cxn ang="0">
                  <a:pos x="159" y="9"/>
                </a:cxn>
                <a:cxn ang="0">
                  <a:pos x="172" y="19"/>
                </a:cxn>
                <a:cxn ang="0">
                  <a:pos x="184" y="32"/>
                </a:cxn>
                <a:cxn ang="0">
                  <a:pos x="193" y="49"/>
                </a:cxn>
                <a:cxn ang="0">
                  <a:pos x="201" y="68"/>
                </a:cxn>
                <a:cxn ang="0">
                  <a:pos x="206" y="89"/>
                </a:cxn>
                <a:cxn ang="0">
                  <a:pos x="206" y="112"/>
                </a:cxn>
                <a:cxn ang="0">
                  <a:pos x="206" y="114"/>
                </a:cxn>
                <a:cxn ang="0">
                  <a:pos x="205" y="120"/>
                </a:cxn>
                <a:cxn ang="0">
                  <a:pos x="201" y="124"/>
                </a:cxn>
                <a:cxn ang="0">
                  <a:pos x="197" y="126"/>
                </a:cxn>
                <a:cxn ang="0">
                  <a:pos x="195" y="127"/>
                </a:cxn>
                <a:cxn ang="0">
                  <a:pos x="201" y="129"/>
                </a:cxn>
                <a:cxn ang="0">
                  <a:pos x="205" y="129"/>
                </a:cxn>
                <a:cxn ang="0">
                  <a:pos x="208" y="129"/>
                </a:cxn>
                <a:cxn ang="0">
                  <a:pos x="214" y="127"/>
                </a:cxn>
              </a:cxnLst>
              <a:rect l="0" t="0" r="r" b="b"/>
              <a:pathLst>
                <a:path w="222" h="253">
                  <a:moveTo>
                    <a:pt x="222" y="129"/>
                  </a:moveTo>
                  <a:lnTo>
                    <a:pt x="222" y="129"/>
                  </a:lnTo>
                  <a:lnTo>
                    <a:pt x="210" y="131"/>
                  </a:lnTo>
                  <a:lnTo>
                    <a:pt x="205" y="137"/>
                  </a:lnTo>
                  <a:lnTo>
                    <a:pt x="201" y="143"/>
                  </a:lnTo>
                  <a:lnTo>
                    <a:pt x="197" y="150"/>
                  </a:lnTo>
                  <a:lnTo>
                    <a:pt x="195" y="160"/>
                  </a:lnTo>
                  <a:lnTo>
                    <a:pt x="193" y="169"/>
                  </a:lnTo>
                  <a:lnTo>
                    <a:pt x="191" y="179"/>
                  </a:lnTo>
                  <a:lnTo>
                    <a:pt x="185" y="188"/>
                  </a:lnTo>
                  <a:lnTo>
                    <a:pt x="185" y="188"/>
                  </a:lnTo>
                  <a:lnTo>
                    <a:pt x="184" y="192"/>
                  </a:lnTo>
                  <a:lnTo>
                    <a:pt x="178" y="200"/>
                  </a:lnTo>
                  <a:lnTo>
                    <a:pt x="168" y="209"/>
                  </a:lnTo>
                  <a:lnTo>
                    <a:pt x="159" y="221"/>
                  </a:lnTo>
                  <a:lnTo>
                    <a:pt x="147" y="232"/>
                  </a:lnTo>
                  <a:lnTo>
                    <a:pt x="138" y="242"/>
                  </a:lnTo>
                  <a:lnTo>
                    <a:pt x="130" y="250"/>
                  </a:lnTo>
                  <a:lnTo>
                    <a:pt x="126" y="253"/>
                  </a:lnTo>
                  <a:lnTo>
                    <a:pt x="126" y="253"/>
                  </a:lnTo>
                  <a:lnTo>
                    <a:pt x="121" y="250"/>
                  </a:lnTo>
                  <a:lnTo>
                    <a:pt x="115" y="248"/>
                  </a:lnTo>
                  <a:lnTo>
                    <a:pt x="109" y="244"/>
                  </a:lnTo>
                  <a:lnTo>
                    <a:pt x="105" y="240"/>
                  </a:lnTo>
                  <a:lnTo>
                    <a:pt x="100" y="238"/>
                  </a:lnTo>
                  <a:lnTo>
                    <a:pt x="96" y="234"/>
                  </a:lnTo>
                  <a:lnTo>
                    <a:pt x="92" y="232"/>
                  </a:lnTo>
                  <a:lnTo>
                    <a:pt x="88" y="229"/>
                  </a:lnTo>
                  <a:lnTo>
                    <a:pt x="84" y="225"/>
                  </a:lnTo>
                  <a:lnTo>
                    <a:pt x="81" y="223"/>
                  </a:lnTo>
                  <a:lnTo>
                    <a:pt x="77" y="219"/>
                  </a:lnTo>
                  <a:lnTo>
                    <a:pt x="73" y="217"/>
                  </a:lnTo>
                  <a:lnTo>
                    <a:pt x="69" y="213"/>
                  </a:lnTo>
                  <a:lnTo>
                    <a:pt x="63" y="209"/>
                  </a:lnTo>
                  <a:lnTo>
                    <a:pt x="60" y="208"/>
                  </a:lnTo>
                  <a:lnTo>
                    <a:pt x="54" y="204"/>
                  </a:lnTo>
                  <a:lnTo>
                    <a:pt x="54" y="204"/>
                  </a:lnTo>
                  <a:lnTo>
                    <a:pt x="50" y="202"/>
                  </a:lnTo>
                  <a:lnTo>
                    <a:pt x="44" y="200"/>
                  </a:lnTo>
                  <a:lnTo>
                    <a:pt x="41" y="198"/>
                  </a:lnTo>
                  <a:lnTo>
                    <a:pt x="35" y="194"/>
                  </a:lnTo>
                  <a:lnTo>
                    <a:pt x="31" y="192"/>
                  </a:lnTo>
                  <a:lnTo>
                    <a:pt x="27" y="188"/>
                  </a:lnTo>
                  <a:lnTo>
                    <a:pt x="23" y="185"/>
                  </a:lnTo>
                  <a:lnTo>
                    <a:pt x="21" y="181"/>
                  </a:lnTo>
                  <a:lnTo>
                    <a:pt x="21" y="181"/>
                  </a:lnTo>
                  <a:lnTo>
                    <a:pt x="20" y="175"/>
                  </a:lnTo>
                  <a:lnTo>
                    <a:pt x="20" y="169"/>
                  </a:lnTo>
                  <a:lnTo>
                    <a:pt x="20" y="166"/>
                  </a:lnTo>
                  <a:lnTo>
                    <a:pt x="20" y="160"/>
                  </a:lnTo>
                  <a:lnTo>
                    <a:pt x="20" y="156"/>
                  </a:lnTo>
                  <a:lnTo>
                    <a:pt x="20" y="150"/>
                  </a:lnTo>
                  <a:lnTo>
                    <a:pt x="20" y="147"/>
                  </a:lnTo>
                  <a:lnTo>
                    <a:pt x="18" y="141"/>
                  </a:lnTo>
                  <a:lnTo>
                    <a:pt x="18" y="141"/>
                  </a:lnTo>
                  <a:lnTo>
                    <a:pt x="16" y="137"/>
                  </a:lnTo>
                  <a:lnTo>
                    <a:pt x="14" y="133"/>
                  </a:lnTo>
                  <a:lnTo>
                    <a:pt x="10" y="131"/>
                  </a:lnTo>
                  <a:lnTo>
                    <a:pt x="8" y="127"/>
                  </a:lnTo>
                  <a:lnTo>
                    <a:pt x="4" y="124"/>
                  </a:lnTo>
                  <a:lnTo>
                    <a:pt x="2" y="118"/>
                  </a:lnTo>
                  <a:lnTo>
                    <a:pt x="0" y="112"/>
                  </a:lnTo>
                  <a:lnTo>
                    <a:pt x="0" y="103"/>
                  </a:lnTo>
                  <a:lnTo>
                    <a:pt x="0" y="103"/>
                  </a:lnTo>
                  <a:lnTo>
                    <a:pt x="0" y="93"/>
                  </a:lnTo>
                  <a:lnTo>
                    <a:pt x="2" y="84"/>
                  </a:lnTo>
                  <a:lnTo>
                    <a:pt x="4" y="74"/>
                  </a:lnTo>
                  <a:lnTo>
                    <a:pt x="8" y="64"/>
                  </a:lnTo>
                  <a:lnTo>
                    <a:pt x="12" y="57"/>
                  </a:lnTo>
                  <a:lnTo>
                    <a:pt x="18" y="47"/>
                  </a:lnTo>
                  <a:lnTo>
                    <a:pt x="23" y="40"/>
                  </a:lnTo>
                  <a:lnTo>
                    <a:pt x="29" y="32"/>
                  </a:lnTo>
                  <a:lnTo>
                    <a:pt x="35" y="24"/>
                  </a:lnTo>
                  <a:lnTo>
                    <a:pt x="42" y="19"/>
                  </a:lnTo>
                  <a:lnTo>
                    <a:pt x="50" y="13"/>
                  </a:lnTo>
                  <a:lnTo>
                    <a:pt x="58" y="7"/>
                  </a:lnTo>
                  <a:lnTo>
                    <a:pt x="65" y="3"/>
                  </a:lnTo>
                  <a:lnTo>
                    <a:pt x="73" y="2"/>
                  </a:lnTo>
                  <a:lnTo>
                    <a:pt x="82" y="0"/>
                  </a:lnTo>
                  <a:lnTo>
                    <a:pt x="90" y="0"/>
                  </a:lnTo>
                  <a:lnTo>
                    <a:pt x="90" y="0"/>
                  </a:lnTo>
                  <a:lnTo>
                    <a:pt x="96" y="0"/>
                  </a:lnTo>
                  <a:lnTo>
                    <a:pt x="102" y="0"/>
                  </a:lnTo>
                  <a:lnTo>
                    <a:pt x="107" y="0"/>
                  </a:lnTo>
                  <a:lnTo>
                    <a:pt x="113" y="0"/>
                  </a:lnTo>
                  <a:lnTo>
                    <a:pt x="119" y="0"/>
                  </a:lnTo>
                  <a:lnTo>
                    <a:pt x="123" y="0"/>
                  </a:lnTo>
                  <a:lnTo>
                    <a:pt x="126" y="0"/>
                  </a:lnTo>
                  <a:lnTo>
                    <a:pt x="126" y="0"/>
                  </a:lnTo>
                  <a:lnTo>
                    <a:pt x="126" y="0"/>
                  </a:lnTo>
                  <a:lnTo>
                    <a:pt x="136" y="0"/>
                  </a:lnTo>
                  <a:lnTo>
                    <a:pt x="144" y="2"/>
                  </a:lnTo>
                  <a:lnTo>
                    <a:pt x="151" y="3"/>
                  </a:lnTo>
                  <a:lnTo>
                    <a:pt x="159" y="9"/>
                  </a:lnTo>
                  <a:lnTo>
                    <a:pt x="166" y="13"/>
                  </a:lnTo>
                  <a:lnTo>
                    <a:pt x="172" y="19"/>
                  </a:lnTo>
                  <a:lnTo>
                    <a:pt x="178" y="26"/>
                  </a:lnTo>
                  <a:lnTo>
                    <a:pt x="184" y="32"/>
                  </a:lnTo>
                  <a:lnTo>
                    <a:pt x="189" y="42"/>
                  </a:lnTo>
                  <a:lnTo>
                    <a:pt x="193" y="49"/>
                  </a:lnTo>
                  <a:lnTo>
                    <a:pt x="197" y="59"/>
                  </a:lnTo>
                  <a:lnTo>
                    <a:pt x="201" y="68"/>
                  </a:lnTo>
                  <a:lnTo>
                    <a:pt x="203" y="80"/>
                  </a:lnTo>
                  <a:lnTo>
                    <a:pt x="206" y="89"/>
                  </a:lnTo>
                  <a:lnTo>
                    <a:pt x="206" y="101"/>
                  </a:lnTo>
                  <a:lnTo>
                    <a:pt x="206" y="112"/>
                  </a:lnTo>
                  <a:lnTo>
                    <a:pt x="206" y="112"/>
                  </a:lnTo>
                  <a:lnTo>
                    <a:pt x="206" y="114"/>
                  </a:lnTo>
                  <a:lnTo>
                    <a:pt x="206" y="118"/>
                  </a:lnTo>
                  <a:lnTo>
                    <a:pt x="205" y="120"/>
                  </a:lnTo>
                  <a:lnTo>
                    <a:pt x="203" y="122"/>
                  </a:lnTo>
                  <a:lnTo>
                    <a:pt x="201" y="124"/>
                  </a:lnTo>
                  <a:lnTo>
                    <a:pt x="199" y="126"/>
                  </a:lnTo>
                  <a:lnTo>
                    <a:pt x="197" y="126"/>
                  </a:lnTo>
                  <a:lnTo>
                    <a:pt x="195" y="127"/>
                  </a:lnTo>
                  <a:lnTo>
                    <a:pt x="195" y="127"/>
                  </a:lnTo>
                  <a:lnTo>
                    <a:pt x="197" y="127"/>
                  </a:lnTo>
                  <a:lnTo>
                    <a:pt x="201" y="129"/>
                  </a:lnTo>
                  <a:lnTo>
                    <a:pt x="203" y="129"/>
                  </a:lnTo>
                  <a:lnTo>
                    <a:pt x="205" y="129"/>
                  </a:lnTo>
                  <a:lnTo>
                    <a:pt x="206" y="129"/>
                  </a:lnTo>
                  <a:lnTo>
                    <a:pt x="208" y="129"/>
                  </a:lnTo>
                  <a:lnTo>
                    <a:pt x="212" y="127"/>
                  </a:lnTo>
                  <a:lnTo>
                    <a:pt x="214" y="127"/>
                  </a:lnTo>
                  <a:lnTo>
                    <a:pt x="222" y="12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8" name="Freeform 142"/>
            <p:cNvSpPr>
              <a:spLocks/>
            </p:cNvSpPr>
            <p:nvPr/>
          </p:nvSpPr>
          <p:spPr bwMode="gray">
            <a:xfrm>
              <a:off x="922" y="1768"/>
              <a:ext cx="300" cy="256"/>
            </a:xfrm>
            <a:custGeom>
              <a:avLst/>
              <a:gdLst/>
              <a:ahLst/>
              <a:cxnLst>
                <a:cxn ang="0">
                  <a:pos x="380" y="364"/>
                </a:cxn>
                <a:cxn ang="0">
                  <a:pos x="401" y="391"/>
                </a:cxn>
                <a:cxn ang="0">
                  <a:pos x="406" y="427"/>
                </a:cxn>
                <a:cxn ang="0">
                  <a:pos x="399" y="441"/>
                </a:cxn>
                <a:cxn ang="0">
                  <a:pos x="399" y="452"/>
                </a:cxn>
                <a:cxn ang="0">
                  <a:pos x="424" y="465"/>
                </a:cxn>
                <a:cxn ang="0">
                  <a:pos x="448" y="450"/>
                </a:cxn>
                <a:cxn ang="0">
                  <a:pos x="460" y="433"/>
                </a:cxn>
                <a:cxn ang="0">
                  <a:pos x="467" y="431"/>
                </a:cxn>
                <a:cxn ang="0">
                  <a:pos x="490" y="427"/>
                </a:cxn>
                <a:cxn ang="0">
                  <a:pos x="500" y="399"/>
                </a:cxn>
                <a:cxn ang="0">
                  <a:pos x="487" y="381"/>
                </a:cxn>
                <a:cxn ang="0">
                  <a:pos x="492" y="366"/>
                </a:cxn>
                <a:cxn ang="0">
                  <a:pos x="509" y="362"/>
                </a:cxn>
                <a:cxn ang="0">
                  <a:pos x="525" y="368"/>
                </a:cxn>
                <a:cxn ang="0">
                  <a:pos x="517" y="351"/>
                </a:cxn>
                <a:cxn ang="0">
                  <a:pos x="511" y="328"/>
                </a:cxn>
                <a:cxn ang="0">
                  <a:pos x="511" y="313"/>
                </a:cxn>
                <a:cxn ang="0">
                  <a:pos x="507" y="296"/>
                </a:cxn>
                <a:cxn ang="0">
                  <a:pos x="504" y="267"/>
                </a:cxn>
                <a:cxn ang="0">
                  <a:pos x="519" y="231"/>
                </a:cxn>
                <a:cxn ang="0">
                  <a:pos x="515" y="210"/>
                </a:cxn>
                <a:cxn ang="0">
                  <a:pos x="504" y="181"/>
                </a:cxn>
                <a:cxn ang="0">
                  <a:pos x="479" y="158"/>
                </a:cxn>
                <a:cxn ang="0">
                  <a:pos x="492" y="151"/>
                </a:cxn>
                <a:cxn ang="0">
                  <a:pos x="492" y="137"/>
                </a:cxn>
                <a:cxn ang="0">
                  <a:pos x="471" y="90"/>
                </a:cxn>
                <a:cxn ang="0">
                  <a:pos x="448" y="42"/>
                </a:cxn>
                <a:cxn ang="0">
                  <a:pos x="427" y="48"/>
                </a:cxn>
                <a:cxn ang="0">
                  <a:pos x="395" y="72"/>
                </a:cxn>
                <a:cxn ang="0">
                  <a:pos x="370" y="61"/>
                </a:cxn>
                <a:cxn ang="0">
                  <a:pos x="351" y="65"/>
                </a:cxn>
                <a:cxn ang="0">
                  <a:pos x="336" y="76"/>
                </a:cxn>
                <a:cxn ang="0">
                  <a:pos x="313" y="63"/>
                </a:cxn>
                <a:cxn ang="0">
                  <a:pos x="300" y="59"/>
                </a:cxn>
                <a:cxn ang="0">
                  <a:pos x="284" y="65"/>
                </a:cxn>
                <a:cxn ang="0">
                  <a:pos x="271" y="53"/>
                </a:cxn>
                <a:cxn ang="0">
                  <a:pos x="269" y="46"/>
                </a:cxn>
                <a:cxn ang="0">
                  <a:pos x="271" y="36"/>
                </a:cxn>
                <a:cxn ang="0">
                  <a:pos x="225" y="38"/>
                </a:cxn>
                <a:cxn ang="0">
                  <a:pos x="183" y="32"/>
                </a:cxn>
                <a:cxn ang="0">
                  <a:pos x="155" y="21"/>
                </a:cxn>
                <a:cxn ang="0">
                  <a:pos x="128" y="0"/>
                </a:cxn>
                <a:cxn ang="0">
                  <a:pos x="105" y="11"/>
                </a:cxn>
                <a:cxn ang="0">
                  <a:pos x="82" y="34"/>
                </a:cxn>
                <a:cxn ang="0">
                  <a:pos x="95" y="61"/>
                </a:cxn>
                <a:cxn ang="0">
                  <a:pos x="86" y="84"/>
                </a:cxn>
                <a:cxn ang="0">
                  <a:pos x="42" y="84"/>
                </a:cxn>
                <a:cxn ang="0">
                  <a:pos x="6" y="111"/>
                </a:cxn>
                <a:cxn ang="0">
                  <a:pos x="10" y="162"/>
                </a:cxn>
                <a:cxn ang="0">
                  <a:pos x="61" y="225"/>
                </a:cxn>
                <a:cxn ang="0">
                  <a:pos x="118" y="286"/>
                </a:cxn>
                <a:cxn ang="0">
                  <a:pos x="139" y="271"/>
                </a:cxn>
                <a:cxn ang="0">
                  <a:pos x="170" y="244"/>
                </a:cxn>
                <a:cxn ang="0">
                  <a:pos x="206" y="233"/>
                </a:cxn>
                <a:cxn ang="0">
                  <a:pos x="235" y="233"/>
                </a:cxn>
                <a:cxn ang="0">
                  <a:pos x="260" y="235"/>
                </a:cxn>
                <a:cxn ang="0">
                  <a:pos x="300" y="265"/>
                </a:cxn>
                <a:cxn ang="0">
                  <a:pos x="322" y="322"/>
                </a:cxn>
                <a:cxn ang="0">
                  <a:pos x="321" y="351"/>
                </a:cxn>
                <a:cxn ang="0">
                  <a:pos x="355" y="360"/>
                </a:cxn>
              </a:cxnLst>
              <a:rect l="0" t="0" r="r" b="b"/>
              <a:pathLst>
                <a:path w="530" h="465">
                  <a:moveTo>
                    <a:pt x="355" y="360"/>
                  </a:moveTo>
                  <a:lnTo>
                    <a:pt x="355" y="360"/>
                  </a:lnTo>
                  <a:lnTo>
                    <a:pt x="363" y="360"/>
                  </a:lnTo>
                  <a:lnTo>
                    <a:pt x="368" y="360"/>
                  </a:lnTo>
                  <a:lnTo>
                    <a:pt x="376" y="362"/>
                  </a:lnTo>
                  <a:lnTo>
                    <a:pt x="380" y="364"/>
                  </a:lnTo>
                  <a:lnTo>
                    <a:pt x="385" y="368"/>
                  </a:lnTo>
                  <a:lnTo>
                    <a:pt x="389" y="372"/>
                  </a:lnTo>
                  <a:lnTo>
                    <a:pt x="393" y="376"/>
                  </a:lnTo>
                  <a:lnTo>
                    <a:pt x="397" y="380"/>
                  </a:lnTo>
                  <a:lnTo>
                    <a:pt x="399" y="385"/>
                  </a:lnTo>
                  <a:lnTo>
                    <a:pt x="401" y="391"/>
                  </a:lnTo>
                  <a:lnTo>
                    <a:pt x="403" y="397"/>
                  </a:lnTo>
                  <a:lnTo>
                    <a:pt x="404" y="402"/>
                  </a:lnTo>
                  <a:lnTo>
                    <a:pt x="404" y="408"/>
                  </a:lnTo>
                  <a:lnTo>
                    <a:pt x="406" y="414"/>
                  </a:lnTo>
                  <a:lnTo>
                    <a:pt x="406" y="421"/>
                  </a:lnTo>
                  <a:lnTo>
                    <a:pt x="406" y="427"/>
                  </a:lnTo>
                  <a:lnTo>
                    <a:pt x="406" y="427"/>
                  </a:lnTo>
                  <a:lnTo>
                    <a:pt x="406" y="431"/>
                  </a:lnTo>
                  <a:lnTo>
                    <a:pt x="404" y="433"/>
                  </a:lnTo>
                  <a:lnTo>
                    <a:pt x="403" y="437"/>
                  </a:lnTo>
                  <a:lnTo>
                    <a:pt x="401" y="439"/>
                  </a:lnTo>
                  <a:lnTo>
                    <a:pt x="399" y="441"/>
                  </a:lnTo>
                  <a:lnTo>
                    <a:pt x="399" y="441"/>
                  </a:lnTo>
                  <a:lnTo>
                    <a:pt x="397" y="442"/>
                  </a:lnTo>
                  <a:lnTo>
                    <a:pt x="397" y="444"/>
                  </a:lnTo>
                  <a:lnTo>
                    <a:pt x="397" y="444"/>
                  </a:lnTo>
                  <a:lnTo>
                    <a:pt x="397" y="448"/>
                  </a:lnTo>
                  <a:lnTo>
                    <a:pt x="399" y="452"/>
                  </a:lnTo>
                  <a:lnTo>
                    <a:pt x="403" y="456"/>
                  </a:lnTo>
                  <a:lnTo>
                    <a:pt x="406" y="458"/>
                  </a:lnTo>
                  <a:lnTo>
                    <a:pt x="410" y="462"/>
                  </a:lnTo>
                  <a:lnTo>
                    <a:pt x="416" y="463"/>
                  </a:lnTo>
                  <a:lnTo>
                    <a:pt x="420" y="465"/>
                  </a:lnTo>
                  <a:lnTo>
                    <a:pt x="424" y="465"/>
                  </a:lnTo>
                  <a:lnTo>
                    <a:pt x="424" y="465"/>
                  </a:lnTo>
                  <a:lnTo>
                    <a:pt x="429" y="465"/>
                  </a:lnTo>
                  <a:lnTo>
                    <a:pt x="435" y="463"/>
                  </a:lnTo>
                  <a:lnTo>
                    <a:pt x="441" y="460"/>
                  </a:lnTo>
                  <a:lnTo>
                    <a:pt x="445" y="456"/>
                  </a:lnTo>
                  <a:lnTo>
                    <a:pt x="448" y="450"/>
                  </a:lnTo>
                  <a:lnTo>
                    <a:pt x="450" y="444"/>
                  </a:lnTo>
                  <a:lnTo>
                    <a:pt x="452" y="439"/>
                  </a:lnTo>
                  <a:lnTo>
                    <a:pt x="454" y="431"/>
                  </a:lnTo>
                  <a:lnTo>
                    <a:pt x="454" y="431"/>
                  </a:lnTo>
                  <a:lnTo>
                    <a:pt x="456" y="433"/>
                  </a:lnTo>
                  <a:lnTo>
                    <a:pt x="460" y="433"/>
                  </a:lnTo>
                  <a:lnTo>
                    <a:pt x="462" y="433"/>
                  </a:lnTo>
                  <a:lnTo>
                    <a:pt x="464" y="433"/>
                  </a:lnTo>
                  <a:lnTo>
                    <a:pt x="464" y="431"/>
                  </a:lnTo>
                  <a:lnTo>
                    <a:pt x="466" y="431"/>
                  </a:lnTo>
                  <a:lnTo>
                    <a:pt x="466" y="431"/>
                  </a:lnTo>
                  <a:lnTo>
                    <a:pt x="467" y="431"/>
                  </a:lnTo>
                  <a:lnTo>
                    <a:pt x="466" y="439"/>
                  </a:lnTo>
                  <a:lnTo>
                    <a:pt x="466" y="439"/>
                  </a:lnTo>
                  <a:lnTo>
                    <a:pt x="473" y="439"/>
                  </a:lnTo>
                  <a:lnTo>
                    <a:pt x="481" y="435"/>
                  </a:lnTo>
                  <a:lnTo>
                    <a:pt x="487" y="431"/>
                  </a:lnTo>
                  <a:lnTo>
                    <a:pt x="490" y="427"/>
                  </a:lnTo>
                  <a:lnTo>
                    <a:pt x="494" y="421"/>
                  </a:lnTo>
                  <a:lnTo>
                    <a:pt x="498" y="414"/>
                  </a:lnTo>
                  <a:lnTo>
                    <a:pt x="500" y="408"/>
                  </a:lnTo>
                  <a:lnTo>
                    <a:pt x="504" y="400"/>
                  </a:lnTo>
                  <a:lnTo>
                    <a:pt x="504" y="400"/>
                  </a:lnTo>
                  <a:lnTo>
                    <a:pt x="500" y="399"/>
                  </a:lnTo>
                  <a:lnTo>
                    <a:pt x="496" y="397"/>
                  </a:lnTo>
                  <a:lnTo>
                    <a:pt x="492" y="395"/>
                  </a:lnTo>
                  <a:lnTo>
                    <a:pt x="490" y="391"/>
                  </a:lnTo>
                  <a:lnTo>
                    <a:pt x="488" y="389"/>
                  </a:lnTo>
                  <a:lnTo>
                    <a:pt x="487" y="385"/>
                  </a:lnTo>
                  <a:lnTo>
                    <a:pt x="487" y="381"/>
                  </a:lnTo>
                  <a:lnTo>
                    <a:pt x="485" y="378"/>
                  </a:lnTo>
                  <a:lnTo>
                    <a:pt x="485" y="378"/>
                  </a:lnTo>
                  <a:lnTo>
                    <a:pt x="487" y="374"/>
                  </a:lnTo>
                  <a:lnTo>
                    <a:pt x="487" y="370"/>
                  </a:lnTo>
                  <a:lnTo>
                    <a:pt x="488" y="368"/>
                  </a:lnTo>
                  <a:lnTo>
                    <a:pt x="492" y="366"/>
                  </a:lnTo>
                  <a:lnTo>
                    <a:pt x="494" y="364"/>
                  </a:lnTo>
                  <a:lnTo>
                    <a:pt x="498" y="362"/>
                  </a:lnTo>
                  <a:lnTo>
                    <a:pt x="500" y="362"/>
                  </a:lnTo>
                  <a:lnTo>
                    <a:pt x="504" y="362"/>
                  </a:lnTo>
                  <a:lnTo>
                    <a:pt x="504" y="362"/>
                  </a:lnTo>
                  <a:lnTo>
                    <a:pt x="509" y="362"/>
                  </a:lnTo>
                  <a:lnTo>
                    <a:pt x="513" y="364"/>
                  </a:lnTo>
                  <a:lnTo>
                    <a:pt x="515" y="366"/>
                  </a:lnTo>
                  <a:lnTo>
                    <a:pt x="517" y="368"/>
                  </a:lnTo>
                  <a:lnTo>
                    <a:pt x="519" y="368"/>
                  </a:lnTo>
                  <a:lnTo>
                    <a:pt x="521" y="368"/>
                  </a:lnTo>
                  <a:lnTo>
                    <a:pt x="525" y="368"/>
                  </a:lnTo>
                  <a:lnTo>
                    <a:pt x="530" y="366"/>
                  </a:lnTo>
                  <a:lnTo>
                    <a:pt x="530" y="366"/>
                  </a:lnTo>
                  <a:lnTo>
                    <a:pt x="527" y="362"/>
                  </a:lnTo>
                  <a:lnTo>
                    <a:pt x="523" y="359"/>
                  </a:lnTo>
                  <a:lnTo>
                    <a:pt x="521" y="355"/>
                  </a:lnTo>
                  <a:lnTo>
                    <a:pt x="517" y="351"/>
                  </a:lnTo>
                  <a:lnTo>
                    <a:pt x="515" y="347"/>
                  </a:lnTo>
                  <a:lnTo>
                    <a:pt x="513" y="343"/>
                  </a:lnTo>
                  <a:lnTo>
                    <a:pt x="513" y="338"/>
                  </a:lnTo>
                  <a:lnTo>
                    <a:pt x="511" y="332"/>
                  </a:lnTo>
                  <a:lnTo>
                    <a:pt x="511" y="332"/>
                  </a:lnTo>
                  <a:lnTo>
                    <a:pt x="511" y="328"/>
                  </a:lnTo>
                  <a:lnTo>
                    <a:pt x="511" y="326"/>
                  </a:lnTo>
                  <a:lnTo>
                    <a:pt x="511" y="322"/>
                  </a:lnTo>
                  <a:lnTo>
                    <a:pt x="511" y="318"/>
                  </a:lnTo>
                  <a:lnTo>
                    <a:pt x="511" y="317"/>
                  </a:lnTo>
                  <a:lnTo>
                    <a:pt x="511" y="315"/>
                  </a:lnTo>
                  <a:lnTo>
                    <a:pt x="511" y="313"/>
                  </a:lnTo>
                  <a:lnTo>
                    <a:pt x="511" y="313"/>
                  </a:lnTo>
                  <a:lnTo>
                    <a:pt x="511" y="313"/>
                  </a:lnTo>
                  <a:lnTo>
                    <a:pt x="511" y="309"/>
                  </a:lnTo>
                  <a:lnTo>
                    <a:pt x="511" y="305"/>
                  </a:lnTo>
                  <a:lnTo>
                    <a:pt x="509" y="299"/>
                  </a:lnTo>
                  <a:lnTo>
                    <a:pt x="507" y="296"/>
                  </a:lnTo>
                  <a:lnTo>
                    <a:pt x="506" y="290"/>
                  </a:lnTo>
                  <a:lnTo>
                    <a:pt x="504" y="286"/>
                  </a:lnTo>
                  <a:lnTo>
                    <a:pt x="504" y="280"/>
                  </a:lnTo>
                  <a:lnTo>
                    <a:pt x="504" y="275"/>
                  </a:lnTo>
                  <a:lnTo>
                    <a:pt x="504" y="275"/>
                  </a:lnTo>
                  <a:lnTo>
                    <a:pt x="504" y="267"/>
                  </a:lnTo>
                  <a:lnTo>
                    <a:pt x="506" y="261"/>
                  </a:lnTo>
                  <a:lnTo>
                    <a:pt x="506" y="254"/>
                  </a:lnTo>
                  <a:lnTo>
                    <a:pt x="509" y="248"/>
                  </a:lnTo>
                  <a:lnTo>
                    <a:pt x="511" y="242"/>
                  </a:lnTo>
                  <a:lnTo>
                    <a:pt x="515" y="236"/>
                  </a:lnTo>
                  <a:lnTo>
                    <a:pt x="519" y="231"/>
                  </a:lnTo>
                  <a:lnTo>
                    <a:pt x="525" y="227"/>
                  </a:lnTo>
                  <a:lnTo>
                    <a:pt x="525" y="227"/>
                  </a:lnTo>
                  <a:lnTo>
                    <a:pt x="521" y="223"/>
                  </a:lnTo>
                  <a:lnTo>
                    <a:pt x="519" y="219"/>
                  </a:lnTo>
                  <a:lnTo>
                    <a:pt x="517" y="214"/>
                  </a:lnTo>
                  <a:lnTo>
                    <a:pt x="515" y="210"/>
                  </a:lnTo>
                  <a:lnTo>
                    <a:pt x="513" y="204"/>
                  </a:lnTo>
                  <a:lnTo>
                    <a:pt x="511" y="200"/>
                  </a:lnTo>
                  <a:lnTo>
                    <a:pt x="509" y="194"/>
                  </a:lnTo>
                  <a:lnTo>
                    <a:pt x="507" y="191"/>
                  </a:lnTo>
                  <a:lnTo>
                    <a:pt x="506" y="185"/>
                  </a:lnTo>
                  <a:lnTo>
                    <a:pt x="504" y="181"/>
                  </a:lnTo>
                  <a:lnTo>
                    <a:pt x="500" y="175"/>
                  </a:lnTo>
                  <a:lnTo>
                    <a:pt x="498" y="172"/>
                  </a:lnTo>
                  <a:lnTo>
                    <a:pt x="494" y="168"/>
                  </a:lnTo>
                  <a:lnTo>
                    <a:pt x="490" y="164"/>
                  </a:lnTo>
                  <a:lnTo>
                    <a:pt x="485" y="160"/>
                  </a:lnTo>
                  <a:lnTo>
                    <a:pt x="479" y="158"/>
                  </a:lnTo>
                  <a:lnTo>
                    <a:pt x="479" y="158"/>
                  </a:lnTo>
                  <a:lnTo>
                    <a:pt x="481" y="156"/>
                  </a:lnTo>
                  <a:lnTo>
                    <a:pt x="485" y="154"/>
                  </a:lnTo>
                  <a:lnTo>
                    <a:pt x="487" y="152"/>
                  </a:lnTo>
                  <a:lnTo>
                    <a:pt x="490" y="152"/>
                  </a:lnTo>
                  <a:lnTo>
                    <a:pt x="492" y="151"/>
                  </a:lnTo>
                  <a:lnTo>
                    <a:pt x="492" y="149"/>
                  </a:lnTo>
                  <a:lnTo>
                    <a:pt x="494" y="145"/>
                  </a:lnTo>
                  <a:lnTo>
                    <a:pt x="494" y="141"/>
                  </a:lnTo>
                  <a:lnTo>
                    <a:pt x="494" y="141"/>
                  </a:lnTo>
                  <a:lnTo>
                    <a:pt x="494" y="141"/>
                  </a:lnTo>
                  <a:lnTo>
                    <a:pt x="492" y="137"/>
                  </a:lnTo>
                  <a:lnTo>
                    <a:pt x="490" y="132"/>
                  </a:lnTo>
                  <a:lnTo>
                    <a:pt x="488" y="126"/>
                  </a:lnTo>
                  <a:lnTo>
                    <a:pt x="485" y="118"/>
                  </a:lnTo>
                  <a:lnTo>
                    <a:pt x="481" y="109"/>
                  </a:lnTo>
                  <a:lnTo>
                    <a:pt x="477" y="99"/>
                  </a:lnTo>
                  <a:lnTo>
                    <a:pt x="471" y="90"/>
                  </a:lnTo>
                  <a:lnTo>
                    <a:pt x="467" y="80"/>
                  </a:lnTo>
                  <a:lnTo>
                    <a:pt x="464" y="70"/>
                  </a:lnTo>
                  <a:lnTo>
                    <a:pt x="460" y="61"/>
                  </a:lnTo>
                  <a:lnTo>
                    <a:pt x="454" y="53"/>
                  </a:lnTo>
                  <a:lnTo>
                    <a:pt x="452" y="48"/>
                  </a:lnTo>
                  <a:lnTo>
                    <a:pt x="448" y="42"/>
                  </a:lnTo>
                  <a:lnTo>
                    <a:pt x="446" y="38"/>
                  </a:lnTo>
                  <a:lnTo>
                    <a:pt x="445" y="38"/>
                  </a:lnTo>
                  <a:lnTo>
                    <a:pt x="445" y="38"/>
                  </a:lnTo>
                  <a:lnTo>
                    <a:pt x="439" y="38"/>
                  </a:lnTo>
                  <a:lnTo>
                    <a:pt x="433" y="42"/>
                  </a:lnTo>
                  <a:lnTo>
                    <a:pt x="427" y="48"/>
                  </a:lnTo>
                  <a:lnTo>
                    <a:pt x="424" y="55"/>
                  </a:lnTo>
                  <a:lnTo>
                    <a:pt x="418" y="61"/>
                  </a:lnTo>
                  <a:lnTo>
                    <a:pt x="410" y="67"/>
                  </a:lnTo>
                  <a:lnTo>
                    <a:pt x="403" y="70"/>
                  </a:lnTo>
                  <a:lnTo>
                    <a:pt x="395" y="72"/>
                  </a:lnTo>
                  <a:lnTo>
                    <a:pt x="395" y="72"/>
                  </a:lnTo>
                  <a:lnTo>
                    <a:pt x="389" y="72"/>
                  </a:lnTo>
                  <a:lnTo>
                    <a:pt x="385" y="70"/>
                  </a:lnTo>
                  <a:lnTo>
                    <a:pt x="382" y="69"/>
                  </a:lnTo>
                  <a:lnTo>
                    <a:pt x="378" y="67"/>
                  </a:lnTo>
                  <a:lnTo>
                    <a:pt x="374" y="63"/>
                  </a:lnTo>
                  <a:lnTo>
                    <a:pt x="370" y="61"/>
                  </a:lnTo>
                  <a:lnTo>
                    <a:pt x="366" y="59"/>
                  </a:lnTo>
                  <a:lnTo>
                    <a:pt x="361" y="59"/>
                  </a:lnTo>
                  <a:lnTo>
                    <a:pt x="361" y="59"/>
                  </a:lnTo>
                  <a:lnTo>
                    <a:pt x="357" y="59"/>
                  </a:lnTo>
                  <a:lnTo>
                    <a:pt x="355" y="61"/>
                  </a:lnTo>
                  <a:lnTo>
                    <a:pt x="351" y="65"/>
                  </a:lnTo>
                  <a:lnTo>
                    <a:pt x="349" y="67"/>
                  </a:lnTo>
                  <a:lnTo>
                    <a:pt x="347" y="70"/>
                  </a:lnTo>
                  <a:lnTo>
                    <a:pt x="343" y="72"/>
                  </a:lnTo>
                  <a:lnTo>
                    <a:pt x="340" y="76"/>
                  </a:lnTo>
                  <a:lnTo>
                    <a:pt x="336" y="76"/>
                  </a:lnTo>
                  <a:lnTo>
                    <a:pt x="336" y="76"/>
                  </a:lnTo>
                  <a:lnTo>
                    <a:pt x="332" y="76"/>
                  </a:lnTo>
                  <a:lnTo>
                    <a:pt x="328" y="74"/>
                  </a:lnTo>
                  <a:lnTo>
                    <a:pt x="322" y="72"/>
                  </a:lnTo>
                  <a:lnTo>
                    <a:pt x="321" y="69"/>
                  </a:lnTo>
                  <a:lnTo>
                    <a:pt x="317" y="67"/>
                  </a:lnTo>
                  <a:lnTo>
                    <a:pt x="313" y="63"/>
                  </a:lnTo>
                  <a:lnTo>
                    <a:pt x="311" y="59"/>
                  </a:lnTo>
                  <a:lnTo>
                    <a:pt x="307" y="55"/>
                  </a:lnTo>
                  <a:lnTo>
                    <a:pt x="307" y="55"/>
                  </a:lnTo>
                  <a:lnTo>
                    <a:pt x="305" y="57"/>
                  </a:lnTo>
                  <a:lnTo>
                    <a:pt x="301" y="59"/>
                  </a:lnTo>
                  <a:lnTo>
                    <a:pt x="300" y="59"/>
                  </a:lnTo>
                  <a:lnTo>
                    <a:pt x="298" y="61"/>
                  </a:lnTo>
                  <a:lnTo>
                    <a:pt x="294" y="63"/>
                  </a:lnTo>
                  <a:lnTo>
                    <a:pt x="292" y="63"/>
                  </a:lnTo>
                  <a:lnTo>
                    <a:pt x="288" y="65"/>
                  </a:lnTo>
                  <a:lnTo>
                    <a:pt x="284" y="65"/>
                  </a:lnTo>
                  <a:lnTo>
                    <a:pt x="284" y="65"/>
                  </a:lnTo>
                  <a:lnTo>
                    <a:pt x="280" y="65"/>
                  </a:lnTo>
                  <a:lnTo>
                    <a:pt x="277" y="63"/>
                  </a:lnTo>
                  <a:lnTo>
                    <a:pt x="275" y="61"/>
                  </a:lnTo>
                  <a:lnTo>
                    <a:pt x="273" y="57"/>
                  </a:lnTo>
                  <a:lnTo>
                    <a:pt x="271" y="55"/>
                  </a:lnTo>
                  <a:lnTo>
                    <a:pt x="271" y="53"/>
                  </a:lnTo>
                  <a:lnTo>
                    <a:pt x="271" y="51"/>
                  </a:lnTo>
                  <a:lnTo>
                    <a:pt x="271" y="49"/>
                  </a:lnTo>
                  <a:lnTo>
                    <a:pt x="271" y="49"/>
                  </a:lnTo>
                  <a:lnTo>
                    <a:pt x="269" y="48"/>
                  </a:lnTo>
                  <a:lnTo>
                    <a:pt x="269" y="48"/>
                  </a:lnTo>
                  <a:lnTo>
                    <a:pt x="269" y="46"/>
                  </a:lnTo>
                  <a:lnTo>
                    <a:pt x="267" y="44"/>
                  </a:lnTo>
                  <a:lnTo>
                    <a:pt x="267" y="44"/>
                  </a:lnTo>
                  <a:lnTo>
                    <a:pt x="267" y="42"/>
                  </a:lnTo>
                  <a:lnTo>
                    <a:pt x="269" y="40"/>
                  </a:lnTo>
                  <a:lnTo>
                    <a:pt x="271" y="36"/>
                  </a:lnTo>
                  <a:lnTo>
                    <a:pt x="271" y="36"/>
                  </a:lnTo>
                  <a:lnTo>
                    <a:pt x="263" y="36"/>
                  </a:lnTo>
                  <a:lnTo>
                    <a:pt x="256" y="38"/>
                  </a:lnTo>
                  <a:lnTo>
                    <a:pt x="248" y="38"/>
                  </a:lnTo>
                  <a:lnTo>
                    <a:pt x="240" y="38"/>
                  </a:lnTo>
                  <a:lnTo>
                    <a:pt x="233" y="38"/>
                  </a:lnTo>
                  <a:lnTo>
                    <a:pt x="225" y="38"/>
                  </a:lnTo>
                  <a:lnTo>
                    <a:pt x="219" y="38"/>
                  </a:lnTo>
                  <a:lnTo>
                    <a:pt x="212" y="38"/>
                  </a:lnTo>
                  <a:lnTo>
                    <a:pt x="204" y="36"/>
                  </a:lnTo>
                  <a:lnTo>
                    <a:pt x="197" y="36"/>
                  </a:lnTo>
                  <a:lnTo>
                    <a:pt x="189" y="34"/>
                  </a:lnTo>
                  <a:lnTo>
                    <a:pt x="183" y="32"/>
                  </a:lnTo>
                  <a:lnTo>
                    <a:pt x="176" y="30"/>
                  </a:lnTo>
                  <a:lnTo>
                    <a:pt x="170" y="28"/>
                  </a:lnTo>
                  <a:lnTo>
                    <a:pt x="164" y="27"/>
                  </a:lnTo>
                  <a:lnTo>
                    <a:pt x="158" y="23"/>
                  </a:lnTo>
                  <a:lnTo>
                    <a:pt x="158" y="23"/>
                  </a:lnTo>
                  <a:lnTo>
                    <a:pt x="155" y="21"/>
                  </a:lnTo>
                  <a:lnTo>
                    <a:pt x="151" y="17"/>
                  </a:lnTo>
                  <a:lnTo>
                    <a:pt x="147" y="13"/>
                  </a:lnTo>
                  <a:lnTo>
                    <a:pt x="143" y="9"/>
                  </a:lnTo>
                  <a:lnTo>
                    <a:pt x="139" y="6"/>
                  </a:lnTo>
                  <a:lnTo>
                    <a:pt x="136" y="2"/>
                  </a:lnTo>
                  <a:lnTo>
                    <a:pt x="128" y="0"/>
                  </a:lnTo>
                  <a:lnTo>
                    <a:pt x="118" y="0"/>
                  </a:lnTo>
                  <a:lnTo>
                    <a:pt x="118" y="0"/>
                  </a:lnTo>
                  <a:lnTo>
                    <a:pt x="115" y="0"/>
                  </a:lnTo>
                  <a:lnTo>
                    <a:pt x="111" y="4"/>
                  </a:lnTo>
                  <a:lnTo>
                    <a:pt x="107" y="8"/>
                  </a:lnTo>
                  <a:lnTo>
                    <a:pt x="105" y="11"/>
                  </a:lnTo>
                  <a:lnTo>
                    <a:pt x="103" y="17"/>
                  </a:lnTo>
                  <a:lnTo>
                    <a:pt x="101" y="23"/>
                  </a:lnTo>
                  <a:lnTo>
                    <a:pt x="99" y="28"/>
                  </a:lnTo>
                  <a:lnTo>
                    <a:pt x="99" y="34"/>
                  </a:lnTo>
                  <a:lnTo>
                    <a:pt x="82" y="34"/>
                  </a:lnTo>
                  <a:lnTo>
                    <a:pt x="82" y="34"/>
                  </a:lnTo>
                  <a:lnTo>
                    <a:pt x="82" y="40"/>
                  </a:lnTo>
                  <a:lnTo>
                    <a:pt x="84" y="44"/>
                  </a:lnTo>
                  <a:lnTo>
                    <a:pt x="88" y="49"/>
                  </a:lnTo>
                  <a:lnTo>
                    <a:pt x="90" y="53"/>
                  </a:lnTo>
                  <a:lnTo>
                    <a:pt x="94" y="57"/>
                  </a:lnTo>
                  <a:lnTo>
                    <a:pt x="95" y="61"/>
                  </a:lnTo>
                  <a:lnTo>
                    <a:pt x="99" y="65"/>
                  </a:lnTo>
                  <a:lnTo>
                    <a:pt x="99" y="70"/>
                  </a:lnTo>
                  <a:lnTo>
                    <a:pt x="99" y="70"/>
                  </a:lnTo>
                  <a:lnTo>
                    <a:pt x="97" y="78"/>
                  </a:lnTo>
                  <a:lnTo>
                    <a:pt x="94" y="82"/>
                  </a:lnTo>
                  <a:lnTo>
                    <a:pt x="86" y="84"/>
                  </a:lnTo>
                  <a:lnTo>
                    <a:pt x="78" y="84"/>
                  </a:lnTo>
                  <a:lnTo>
                    <a:pt x="71" y="84"/>
                  </a:lnTo>
                  <a:lnTo>
                    <a:pt x="61" y="82"/>
                  </a:lnTo>
                  <a:lnTo>
                    <a:pt x="52" y="82"/>
                  </a:lnTo>
                  <a:lnTo>
                    <a:pt x="42" y="84"/>
                  </a:lnTo>
                  <a:lnTo>
                    <a:pt x="42" y="84"/>
                  </a:lnTo>
                  <a:lnTo>
                    <a:pt x="36" y="86"/>
                  </a:lnTo>
                  <a:lnTo>
                    <a:pt x="31" y="90"/>
                  </a:lnTo>
                  <a:lnTo>
                    <a:pt x="23" y="93"/>
                  </a:lnTo>
                  <a:lnTo>
                    <a:pt x="17" y="99"/>
                  </a:lnTo>
                  <a:lnTo>
                    <a:pt x="12" y="105"/>
                  </a:lnTo>
                  <a:lnTo>
                    <a:pt x="6" y="111"/>
                  </a:lnTo>
                  <a:lnTo>
                    <a:pt x="2" y="116"/>
                  </a:lnTo>
                  <a:lnTo>
                    <a:pt x="0" y="124"/>
                  </a:lnTo>
                  <a:lnTo>
                    <a:pt x="0" y="124"/>
                  </a:lnTo>
                  <a:lnTo>
                    <a:pt x="2" y="137"/>
                  </a:lnTo>
                  <a:lnTo>
                    <a:pt x="6" y="151"/>
                  </a:lnTo>
                  <a:lnTo>
                    <a:pt x="10" y="162"/>
                  </a:lnTo>
                  <a:lnTo>
                    <a:pt x="15" y="173"/>
                  </a:lnTo>
                  <a:lnTo>
                    <a:pt x="23" y="185"/>
                  </a:lnTo>
                  <a:lnTo>
                    <a:pt x="33" y="196"/>
                  </a:lnTo>
                  <a:lnTo>
                    <a:pt x="40" y="206"/>
                  </a:lnTo>
                  <a:lnTo>
                    <a:pt x="52" y="215"/>
                  </a:lnTo>
                  <a:lnTo>
                    <a:pt x="61" y="225"/>
                  </a:lnTo>
                  <a:lnTo>
                    <a:pt x="71" y="235"/>
                  </a:lnTo>
                  <a:lnTo>
                    <a:pt x="82" y="244"/>
                  </a:lnTo>
                  <a:lnTo>
                    <a:pt x="92" y="254"/>
                  </a:lnTo>
                  <a:lnTo>
                    <a:pt x="101" y="265"/>
                  </a:lnTo>
                  <a:lnTo>
                    <a:pt x="111" y="275"/>
                  </a:lnTo>
                  <a:lnTo>
                    <a:pt x="118" y="286"/>
                  </a:lnTo>
                  <a:lnTo>
                    <a:pt x="124" y="297"/>
                  </a:lnTo>
                  <a:lnTo>
                    <a:pt x="124" y="297"/>
                  </a:lnTo>
                  <a:lnTo>
                    <a:pt x="128" y="290"/>
                  </a:lnTo>
                  <a:lnTo>
                    <a:pt x="132" y="284"/>
                  </a:lnTo>
                  <a:lnTo>
                    <a:pt x="136" y="278"/>
                  </a:lnTo>
                  <a:lnTo>
                    <a:pt x="139" y="271"/>
                  </a:lnTo>
                  <a:lnTo>
                    <a:pt x="143" y="267"/>
                  </a:lnTo>
                  <a:lnTo>
                    <a:pt x="149" y="261"/>
                  </a:lnTo>
                  <a:lnTo>
                    <a:pt x="155" y="256"/>
                  </a:lnTo>
                  <a:lnTo>
                    <a:pt x="158" y="252"/>
                  </a:lnTo>
                  <a:lnTo>
                    <a:pt x="164" y="246"/>
                  </a:lnTo>
                  <a:lnTo>
                    <a:pt x="170" y="244"/>
                  </a:lnTo>
                  <a:lnTo>
                    <a:pt x="176" y="240"/>
                  </a:lnTo>
                  <a:lnTo>
                    <a:pt x="181" y="236"/>
                  </a:lnTo>
                  <a:lnTo>
                    <a:pt x="187" y="235"/>
                  </a:lnTo>
                  <a:lnTo>
                    <a:pt x="193" y="235"/>
                  </a:lnTo>
                  <a:lnTo>
                    <a:pt x="200" y="233"/>
                  </a:lnTo>
                  <a:lnTo>
                    <a:pt x="206" y="233"/>
                  </a:lnTo>
                  <a:lnTo>
                    <a:pt x="206" y="233"/>
                  </a:lnTo>
                  <a:lnTo>
                    <a:pt x="212" y="233"/>
                  </a:lnTo>
                  <a:lnTo>
                    <a:pt x="218" y="233"/>
                  </a:lnTo>
                  <a:lnTo>
                    <a:pt x="223" y="233"/>
                  </a:lnTo>
                  <a:lnTo>
                    <a:pt x="229" y="233"/>
                  </a:lnTo>
                  <a:lnTo>
                    <a:pt x="235" y="233"/>
                  </a:lnTo>
                  <a:lnTo>
                    <a:pt x="239" y="233"/>
                  </a:lnTo>
                  <a:lnTo>
                    <a:pt x="242" y="233"/>
                  </a:lnTo>
                  <a:lnTo>
                    <a:pt x="242" y="233"/>
                  </a:lnTo>
                  <a:lnTo>
                    <a:pt x="242" y="233"/>
                  </a:lnTo>
                  <a:lnTo>
                    <a:pt x="252" y="233"/>
                  </a:lnTo>
                  <a:lnTo>
                    <a:pt x="260" y="235"/>
                  </a:lnTo>
                  <a:lnTo>
                    <a:pt x="267" y="236"/>
                  </a:lnTo>
                  <a:lnTo>
                    <a:pt x="275" y="242"/>
                  </a:lnTo>
                  <a:lnTo>
                    <a:pt x="282" y="246"/>
                  </a:lnTo>
                  <a:lnTo>
                    <a:pt x="288" y="252"/>
                  </a:lnTo>
                  <a:lnTo>
                    <a:pt x="294" y="259"/>
                  </a:lnTo>
                  <a:lnTo>
                    <a:pt x="300" y="265"/>
                  </a:lnTo>
                  <a:lnTo>
                    <a:pt x="305" y="275"/>
                  </a:lnTo>
                  <a:lnTo>
                    <a:pt x="309" y="282"/>
                  </a:lnTo>
                  <a:lnTo>
                    <a:pt x="313" y="292"/>
                  </a:lnTo>
                  <a:lnTo>
                    <a:pt x="317" y="301"/>
                  </a:lnTo>
                  <a:lnTo>
                    <a:pt x="319" y="313"/>
                  </a:lnTo>
                  <a:lnTo>
                    <a:pt x="322" y="322"/>
                  </a:lnTo>
                  <a:lnTo>
                    <a:pt x="322" y="334"/>
                  </a:lnTo>
                  <a:lnTo>
                    <a:pt x="322" y="345"/>
                  </a:lnTo>
                  <a:lnTo>
                    <a:pt x="322" y="345"/>
                  </a:lnTo>
                  <a:lnTo>
                    <a:pt x="322" y="347"/>
                  </a:lnTo>
                  <a:lnTo>
                    <a:pt x="322" y="349"/>
                  </a:lnTo>
                  <a:lnTo>
                    <a:pt x="321" y="351"/>
                  </a:lnTo>
                  <a:lnTo>
                    <a:pt x="319" y="355"/>
                  </a:lnTo>
                  <a:lnTo>
                    <a:pt x="317" y="357"/>
                  </a:lnTo>
                  <a:lnTo>
                    <a:pt x="315" y="359"/>
                  </a:lnTo>
                  <a:lnTo>
                    <a:pt x="313" y="360"/>
                  </a:lnTo>
                  <a:lnTo>
                    <a:pt x="311" y="362"/>
                  </a:lnTo>
                  <a:lnTo>
                    <a:pt x="355" y="36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399" name="Freeform 143"/>
            <p:cNvSpPr>
              <a:spLocks/>
            </p:cNvSpPr>
            <p:nvPr/>
          </p:nvSpPr>
          <p:spPr bwMode="gray">
            <a:xfrm>
              <a:off x="863" y="1766"/>
              <a:ext cx="125" cy="70"/>
            </a:xfrm>
            <a:custGeom>
              <a:avLst/>
              <a:gdLst/>
              <a:ahLst/>
              <a:cxnLst>
                <a:cxn ang="0">
                  <a:pos x="223" y="6"/>
                </a:cxn>
                <a:cxn ang="0">
                  <a:pos x="216" y="10"/>
                </a:cxn>
                <a:cxn ang="0">
                  <a:pos x="210" y="17"/>
                </a:cxn>
                <a:cxn ang="0">
                  <a:pos x="206" y="29"/>
                </a:cxn>
                <a:cxn ang="0">
                  <a:pos x="204" y="40"/>
                </a:cxn>
                <a:cxn ang="0">
                  <a:pos x="187" y="40"/>
                </a:cxn>
                <a:cxn ang="0">
                  <a:pos x="189" y="50"/>
                </a:cxn>
                <a:cxn ang="0">
                  <a:pos x="195" y="59"/>
                </a:cxn>
                <a:cxn ang="0">
                  <a:pos x="200" y="67"/>
                </a:cxn>
                <a:cxn ang="0">
                  <a:pos x="204" y="76"/>
                </a:cxn>
                <a:cxn ang="0">
                  <a:pos x="202" y="84"/>
                </a:cxn>
                <a:cxn ang="0">
                  <a:pos x="191" y="90"/>
                </a:cxn>
                <a:cxn ang="0">
                  <a:pos x="176" y="90"/>
                </a:cxn>
                <a:cxn ang="0">
                  <a:pos x="157" y="88"/>
                </a:cxn>
                <a:cxn ang="0">
                  <a:pos x="147" y="90"/>
                </a:cxn>
                <a:cxn ang="0">
                  <a:pos x="136" y="96"/>
                </a:cxn>
                <a:cxn ang="0">
                  <a:pos x="122" y="105"/>
                </a:cxn>
                <a:cxn ang="0">
                  <a:pos x="111" y="117"/>
                </a:cxn>
                <a:cxn ang="0">
                  <a:pos x="105" y="130"/>
                </a:cxn>
                <a:cxn ang="0">
                  <a:pos x="99" y="128"/>
                </a:cxn>
                <a:cxn ang="0">
                  <a:pos x="88" y="124"/>
                </a:cxn>
                <a:cxn ang="0">
                  <a:pos x="76" y="118"/>
                </a:cxn>
                <a:cxn ang="0">
                  <a:pos x="71" y="109"/>
                </a:cxn>
                <a:cxn ang="0">
                  <a:pos x="71" y="103"/>
                </a:cxn>
                <a:cxn ang="0">
                  <a:pos x="71" y="94"/>
                </a:cxn>
                <a:cxn ang="0">
                  <a:pos x="69" y="84"/>
                </a:cxn>
                <a:cxn ang="0">
                  <a:pos x="69" y="75"/>
                </a:cxn>
                <a:cxn ang="0">
                  <a:pos x="71" y="61"/>
                </a:cxn>
                <a:cxn ang="0">
                  <a:pos x="67" y="61"/>
                </a:cxn>
                <a:cxn ang="0">
                  <a:pos x="57" y="61"/>
                </a:cxn>
                <a:cxn ang="0">
                  <a:pos x="52" y="61"/>
                </a:cxn>
                <a:cxn ang="0">
                  <a:pos x="42" y="61"/>
                </a:cxn>
                <a:cxn ang="0">
                  <a:pos x="38" y="61"/>
                </a:cxn>
                <a:cxn ang="0">
                  <a:pos x="23" y="57"/>
                </a:cxn>
                <a:cxn ang="0">
                  <a:pos x="12" y="46"/>
                </a:cxn>
                <a:cxn ang="0">
                  <a:pos x="4" y="33"/>
                </a:cxn>
                <a:cxn ang="0">
                  <a:pos x="0" y="23"/>
                </a:cxn>
                <a:cxn ang="0">
                  <a:pos x="8" y="19"/>
                </a:cxn>
                <a:cxn ang="0">
                  <a:pos x="21" y="15"/>
                </a:cxn>
                <a:cxn ang="0">
                  <a:pos x="36" y="12"/>
                </a:cxn>
                <a:cxn ang="0">
                  <a:pos x="50" y="8"/>
                </a:cxn>
                <a:cxn ang="0">
                  <a:pos x="63" y="6"/>
                </a:cxn>
                <a:cxn ang="0">
                  <a:pos x="78" y="2"/>
                </a:cxn>
                <a:cxn ang="0">
                  <a:pos x="92" y="0"/>
                </a:cxn>
                <a:cxn ang="0">
                  <a:pos x="107" y="0"/>
                </a:cxn>
                <a:cxn ang="0">
                  <a:pos x="218" y="8"/>
                </a:cxn>
              </a:cxnLst>
              <a:rect l="0" t="0" r="r" b="b"/>
              <a:pathLst>
                <a:path w="223" h="130">
                  <a:moveTo>
                    <a:pt x="223" y="6"/>
                  </a:moveTo>
                  <a:lnTo>
                    <a:pt x="223" y="6"/>
                  </a:lnTo>
                  <a:lnTo>
                    <a:pt x="220" y="6"/>
                  </a:lnTo>
                  <a:lnTo>
                    <a:pt x="216" y="10"/>
                  </a:lnTo>
                  <a:lnTo>
                    <a:pt x="212" y="14"/>
                  </a:lnTo>
                  <a:lnTo>
                    <a:pt x="210" y="17"/>
                  </a:lnTo>
                  <a:lnTo>
                    <a:pt x="208" y="23"/>
                  </a:lnTo>
                  <a:lnTo>
                    <a:pt x="206" y="29"/>
                  </a:lnTo>
                  <a:lnTo>
                    <a:pt x="204" y="34"/>
                  </a:lnTo>
                  <a:lnTo>
                    <a:pt x="204" y="40"/>
                  </a:lnTo>
                  <a:lnTo>
                    <a:pt x="187" y="40"/>
                  </a:lnTo>
                  <a:lnTo>
                    <a:pt x="187" y="40"/>
                  </a:lnTo>
                  <a:lnTo>
                    <a:pt x="187" y="46"/>
                  </a:lnTo>
                  <a:lnTo>
                    <a:pt x="189" y="50"/>
                  </a:lnTo>
                  <a:lnTo>
                    <a:pt x="193" y="55"/>
                  </a:lnTo>
                  <a:lnTo>
                    <a:pt x="195" y="59"/>
                  </a:lnTo>
                  <a:lnTo>
                    <a:pt x="199" y="63"/>
                  </a:lnTo>
                  <a:lnTo>
                    <a:pt x="200" y="67"/>
                  </a:lnTo>
                  <a:lnTo>
                    <a:pt x="204" y="71"/>
                  </a:lnTo>
                  <a:lnTo>
                    <a:pt x="204" y="76"/>
                  </a:lnTo>
                  <a:lnTo>
                    <a:pt x="204" y="76"/>
                  </a:lnTo>
                  <a:lnTo>
                    <a:pt x="202" y="84"/>
                  </a:lnTo>
                  <a:lnTo>
                    <a:pt x="199" y="88"/>
                  </a:lnTo>
                  <a:lnTo>
                    <a:pt x="191" y="90"/>
                  </a:lnTo>
                  <a:lnTo>
                    <a:pt x="183" y="90"/>
                  </a:lnTo>
                  <a:lnTo>
                    <a:pt x="176" y="90"/>
                  </a:lnTo>
                  <a:lnTo>
                    <a:pt x="166" y="88"/>
                  </a:lnTo>
                  <a:lnTo>
                    <a:pt x="157" y="88"/>
                  </a:lnTo>
                  <a:lnTo>
                    <a:pt x="147" y="90"/>
                  </a:lnTo>
                  <a:lnTo>
                    <a:pt x="147" y="90"/>
                  </a:lnTo>
                  <a:lnTo>
                    <a:pt x="141" y="92"/>
                  </a:lnTo>
                  <a:lnTo>
                    <a:pt x="136" y="96"/>
                  </a:lnTo>
                  <a:lnTo>
                    <a:pt x="128" y="99"/>
                  </a:lnTo>
                  <a:lnTo>
                    <a:pt x="122" y="105"/>
                  </a:lnTo>
                  <a:lnTo>
                    <a:pt x="117" y="111"/>
                  </a:lnTo>
                  <a:lnTo>
                    <a:pt x="111" y="117"/>
                  </a:lnTo>
                  <a:lnTo>
                    <a:pt x="107" y="122"/>
                  </a:lnTo>
                  <a:lnTo>
                    <a:pt x="105" y="130"/>
                  </a:lnTo>
                  <a:lnTo>
                    <a:pt x="105" y="130"/>
                  </a:lnTo>
                  <a:lnTo>
                    <a:pt x="99" y="128"/>
                  </a:lnTo>
                  <a:lnTo>
                    <a:pt x="94" y="128"/>
                  </a:lnTo>
                  <a:lnTo>
                    <a:pt x="88" y="124"/>
                  </a:lnTo>
                  <a:lnTo>
                    <a:pt x="82" y="122"/>
                  </a:lnTo>
                  <a:lnTo>
                    <a:pt x="76" y="118"/>
                  </a:lnTo>
                  <a:lnTo>
                    <a:pt x="75" y="113"/>
                  </a:lnTo>
                  <a:lnTo>
                    <a:pt x="71" y="109"/>
                  </a:lnTo>
                  <a:lnTo>
                    <a:pt x="71" y="103"/>
                  </a:lnTo>
                  <a:lnTo>
                    <a:pt x="71" y="103"/>
                  </a:lnTo>
                  <a:lnTo>
                    <a:pt x="71" y="97"/>
                  </a:lnTo>
                  <a:lnTo>
                    <a:pt x="71" y="94"/>
                  </a:lnTo>
                  <a:lnTo>
                    <a:pt x="69" y="90"/>
                  </a:lnTo>
                  <a:lnTo>
                    <a:pt x="69" y="84"/>
                  </a:lnTo>
                  <a:lnTo>
                    <a:pt x="69" y="78"/>
                  </a:lnTo>
                  <a:lnTo>
                    <a:pt x="69" y="75"/>
                  </a:lnTo>
                  <a:lnTo>
                    <a:pt x="69" y="67"/>
                  </a:lnTo>
                  <a:lnTo>
                    <a:pt x="71" y="61"/>
                  </a:lnTo>
                  <a:lnTo>
                    <a:pt x="71" y="61"/>
                  </a:lnTo>
                  <a:lnTo>
                    <a:pt x="67" y="61"/>
                  </a:lnTo>
                  <a:lnTo>
                    <a:pt x="63" y="61"/>
                  </a:lnTo>
                  <a:lnTo>
                    <a:pt x="57" y="61"/>
                  </a:lnTo>
                  <a:lnTo>
                    <a:pt x="54" y="61"/>
                  </a:lnTo>
                  <a:lnTo>
                    <a:pt x="52" y="61"/>
                  </a:lnTo>
                  <a:lnTo>
                    <a:pt x="48" y="61"/>
                  </a:lnTo>
                  <a:lnTo>
                    <a:pt x="42" y="61"/>
                  </a:lnTo>
                  <a:lnTo>
                    <a:pt x="38" y="61"/>
                  </a:lnTo>
                  <a:lnTo>
                    <a:pt x="38" y="61"/>
                  </a:lnTo>
                  <a:lnTo>
                    <a:pt x="31" y="59"/>
                  </a:lnTo>
                  <a:lnTo>
                    <a:pt x="23" y="57"/>
                  </a:lnTo>
                  <a:lnTo>
                    <a:pt x="17" y="52"/>
                  </a:lnTo>
                  <a:lnTo>
                    <a:pt x="12" y="46"/>
                  </a:lnTo>
                  <a:lnTo>
                    <a:pt x="8" y="40"/>
                  </a:lnTo>
                  <a:lnTo>
                    <a:pt x="4" y="33"/>
                  </a:lnTo>
                  <a:lnTo>
                    <a:pt x="2" y="27"/>
                  </a:lnTo>
                  <a:lnTo>
                    <a:pt x="0" y="23"/>
                  </a:lnTo>
                  <a:lnTo>
                    <a:pt x="0" y="23"/>
                  </a:lnTo>
                  <a:lnTo>
                    <a:pt x="8" y="19"/>
                  </a:lnTo>
                  <a:lnTo>
                    <a:pt x="14" y="17"/>
                  </a:lnTo>
                  <a:lnTo>
                    <a:pt x="21" y="15"/>
                  </a:lnTo>
                  <a:lnTo>
                    <a:pt x="29" y="14"/>
                  </a:lnTo>
                  <a:lnTo>
                    <a:pt x="36" y="12"/>
                  </a:lnTo>
                  <a:lnTo>
                    <a:pt x="42" y="10"/>
                  </a:lnTo>
                  <a:lnTo>
                    <a:pt x="50" y="8"/>
                  </a:lnTo>
                  <a:lnTo>
                    <a:pt x="57" y="6"/>
                  </a:lnTo>
                  <a:lnTo>
                    <a:pt x="63" y="6"/>
                  </a:lnTo>
                  <a:lnTo>
                    <a:pt x="71" y="4"/>
                  </a:lnTo>
                  <a:lnTo>
                    <a:pt x="78" y="2"/>
                  </a:lnTo>
                  <a:lnTo>
                    <a:pt x="84" y="2"/>
                  </a:lnTo>
                  <a:lnTo>
                    <a:pt x="92" y="0"/>
                  </a:lnTo>
                  <a:lnTo>
                    <a:pt x="99" y="0"/>
                  </a:lnTo>
                  <a:lnTo>
                    <a:pt x="107" y="0"/>
                  </a:lnTo>
                  <a:lnTo>
                    <a:pt x="115" y="0"/>
                  </a:lnTo>
                  <a:lnTo>
                    <a:pt x="218" y="8"/>
                  </a:lnTo>
                  <a:lnTo>
                    <a:pt x="223" y="6"/>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0" name="Freeform 144"/>
            <p:cNvSpPr>
              <a:spLocks/>
            </p:cNvSpPr>
            <p:nvPr/>
          </p:nvSpPr>
          <p:spPr bwMode="gray">
            <a:xfrm>
              <a:off x="839" y="1584"/>
              <a:ext cx="240" cy="206"/>
            </a:xfrm>
            <a:custGeom>
              <a:avLst/>
              <a:gdLst/>
              <a:ahLst/>
              <a:cxnLst>
                <a:cxn ang="0">
                  <a:pos x="386" y="374"/>
                </a:cxn>
                <a:cxn ang="0">
                  <a:pos x="342" y="370"/>
                </a:cxn>
                <a:cxn ang="0">
                  <a:pos x="305" y="359"/>
                </a:cxn>
                <a:cxn ang="0">
                  <a:pos x="286" y="342"/>
                </a:cxn>
                <a:cxn ang="0">
                  <a:pos x="149" y="330"/>
                </a:cxn>
                <a:cxn ang="0">
                  <a:pos x="105" y="336"/>
                </a:cxn>
                <a:cxn ang="0">
                  <a:pos x="63" y="345"/>
                </a:cxn>
                <a:cxn ang="0">
                  <a:pos x="36" y="347"/>
                </a:cxn>
                <a:cxn ang="0">
                  <a:pos x="27" y="330"/>
                </a:cxn>
                <a:cxn ang="0">
                  <a:pos x="29" y="300"/>
                </a:cxn>
                <a:cxn ang="0">
                  <a:pos x="56" y="284"/>
                </a:cxn>
                <a:cxn ang="0">
                  <a:pos x="75" y="290"/>
                </a:cxn>
                <a:cxn ang="0">
                  <a:pos x="96" y="286"/>
                </a:cxn>
                <a:cxn ang="0">
                  <a:pos x="122" y="273"/>
                </a:cxn>
                <a:cxn ang="0">
                  <a:pos x="151" y="265"/>
                </a:cxn>
                <a:cxn ang="0">
                  <a:pos x="187" y="282"/>
                </a:cxn>
                <a:cxn ang="0">
                  <a:pos x="225" y="290"/>
                </a:cxn>
                <a:cxn ang="0">
                  <a:pos x="248" y="290"/>
                </a:cxn>
                <a:cxn ang="0">
                  <a:pos x="239" y="265"/>
                </a:cxn>
                <a:cxn ang="0">
                  <a:pos x="227" y="261"/>
                </a:cxn>
                <a:cxn ang="0">
                  <a:pos x="210" y="261"/>
                </a:cxn>
                <a:cxn ang="0">
                  <a:pos x="185" y="248"/>
                </a:cxn>
                <a:cxn ang="0">
                  <a:pos x="145" y="235"/>
                </a:cxn>
                <a:cxn ang="0">
                  <a:pos x="113" y="242"/>
                </a:cxn>
                <a:cxn ang="0">
                  <a:pos x="80" y="254"/>
                </a:cxn>
                <a:cxn ang="0">
                  <a:pos x="56" y="256"/>
                </a:cxn>
                <a:cxn ang="0">
                  <a:pos x="36" y="256"/>
                </a:cxn>
                <a:cxn ang="0">
                  <a:pos x="40" y="242"/>
                </a:cxn>
                <a:cxn ang="0">
                  <a:pos x="27" y="200"/>
                </a:cxn>
                <a:cxn ang="0">
                  <a:pos x="6" y="160"/>
                </a:cxn>
                <a:cxn ang="0">
                  <a:pos x="2" y="141"/>
                </a:cxn>
                <a:cxn ang="0">
                  <a:pos x="31" y="116"/>
                </a:cxn>
                <a:cxn ang="0">
                  <a:pos x="52" y="92"/>
                </a:cxn>
                <a:cxn ang="0">
                  <a:pos x="69" y="61"/>
                </a:cxn>
                <a:cxn ang="0">
                  <a:pos x="96" y="12"/>
                </a:cxn>
                <a:cxn ang="0">
                  <a:pos x="118" y="10"/>
                </a:cxn>
                <a:cxn ang="0">
                  <a:pos x="136" y="10"/>
                </a:cxn>
                <a:cxn ang="0">
                  <a:pos x="181" y="2"/>
                </a:cxn>
                <a:cxn ang="0">
                  <a:pos x="216" y="6"/>
                </a:cxn>
                <a:cxn ang="0">
                  <a:pos x="239" y="23"/>
                </a:cxn>
                <a:cxn ang="0">
                  <a:pos x="258" y="46"/>
                </a:cxn>
                <a:cxn ang="0">
                  <a:pos x="283" y="57"/>
                </a:cxn>
                <a:cxn ang="0">
                  <a:pos x="305" y="71"/>
                </a:cxn>
                <a:cxn ang="0">
                  <a:pos x="307" y="95"/>
                </a:cxn>
                <a:cxn ang="0">
                  <a:pos x="330" y="128"/>
                </a:cxn>
                <a:cxn ang="0">
                  <a:pos x="355" y="166"/>
                </a:cxn>
                <a:cxn ang="0">
                  <a:pos x="372" y="208"/>
                </a:cxn>
                <a:cxn ang="0">
                  <a:pos x="386" y="227"/>
                </a:cxn>
                <a:cxn ang="0">
                  <a:pos x="386" y="248"/>
                </a:cxn>
                <a:cxn ang="0">
                  <a:pos x="378" y="267"/>
                </a:cxn>
                <a:cxn ang="0">
                  <a:pos x="393" y="292"/>
                </a:cxn>
                <a:cxn ang="0">
                  <a:pos x="418" y="315"/>
                </a:cxn>
                <a:cxn ang="0">
                  <a:pos x="426" y="344"/>
                </a:cxn>
                <a:cxn ang="0">
                  <a:pos x="416" y="368"/>
                </a:cxn>
              </a:cxnLst>
              <a:rect l="0" t="0" r="r" b="b"/>
              <a:pathLst>
                <a:path w="426" h="374">
                  <a:moveTo>
                    <a:pt x="414" y="372"/>
                  </a:moveTo>
                  <a:lnTo>
                    <a:pt x="414" y="372"/>
                  </a:lnTo>
                  <a:lnTo>
                    <a:pt x="407" y="372"/>
                  </a:lnTo>
                  <a:lnTo>
                    <a:pt x="401" y="374"/>
                  </a:lnTo>
                  <a:lnTo>
                    <a:pt x="393" y="374"/>
                  </a:lnTo>
                  <a:lnTo>
                    <a:pt x="386" y="374"/>
                  </a:lnTo>
                  <a:lnTo>
                    <a:pt x="378" y="374"/>
                  </a:lnTo>
                  <a:lnTo>
                    <a:pt x="370" y="374"/>
                  </a:lnTo>
                  <a:lnTo>
                    <a:pt x="363" y="374"/>
                  </a:lnTo>
                  <a:lnTo>
                    <a:pt x="357" y="372"/>
                  </a:lnTo>
                  <a:lnTo>
                    <a:pt x="349" y="372"/>
                  </a:lnTo>
                  <a:lnTo>
                    <a:pt x="342" y="370"/>
                  </a:lnTo>
                  <a:lnTo>
                    <a:pt x="336" y="370"/>
                  </a:lnTo>
                  <a:lnTo>
                    <a:pt x="328" y="368"/>
                  </a:lnTo>
                  <a:lnTo>
                    <a:pt x="323" y="366"/>
                  </a:lnTo>
                  <a:lnTo>
                    <a:pt x="317" y="364"/>
                  </a:lnTo>
                  <a:lnTo>
                    <a:pt x="311" y="363"/>
                  </a:lnTo>
                  <a:lnTo>
                    <a:pt x="305" y="359"/>
                  </a:lnTo>
                  <a:lnTo>
                    <a:pt x="305" y="359"/>
                  </a:lnTo>
                  <a:lnTo>
                    <a:pt x="302" y="357"/>
                  </a:lnTo>
                  <a:lnTo>
                    <a:pt x="298" y="353"/>
                  </a:lnTo>
                  <a:lnTo>
                    <a:pt x="294" y="349"/>
                  </a:lnTo>
                  <a:lnTo>
                    <a:pt x="290" y="345"/>
                  </a:lnTo>
                  <a:lnTo>
                    <a:pt x="286" y="342"/>
                  </a:lnTo>
                  <a:lnTo>
                    <a:pt x="283" y="338"/>
                  </a:lnTo>
                  <a:lnTo>
                    <a:pt x="275" y="336"/>
                  </a:lnTo>
                  <a:lnTo>
                    <a:pt x="265" y="336"/>
                  </a:lnTo>
                  <a:lnTo>
                    <a:pt x="157" y="330"/>
                  </a:lnTo>
                  <a:lnTo>
                    <a:pt x="157" y="330"/>
                  </a:lnTo>
                  <a:lnTo>
                    <a:pt x="149" y="330"/>
                  </a:lnTo>
                  <a:lnTo>
                    <a:pt x="141" y="330"/>
                  </a:lnTo>
                  <a:lnTo>
                    <a:pt x="134" y="330"/>
                  </a:lnTo>
                  <a:lnTo>
                    <a:pt x="126" y="332"/>
                  </a:lnTo>
                  <a:lnTo>
                    <a:pt x="120" y="332"/>
                  </a:lnTo>
                  <a:lnTo>
                    <a:pt x="113" y="334"/>
                  </a:lnTo>
                  <a:lnTo>
                    <a:pt x="105" y="336"/>
                  </a:lnTo>
                  <a:lnTo>
                    <a:pt x="99" y="336"/>
                  </a:lnTo>
                  <a:lnTo>
                    <a:pt x="92" y="338"/>
                  </a:lnTo>
                  <a:lnTo>
                    <a:pt x="84" y="340"/>
                  </a:lnTo>
                  <a:lnTo>
                    <a:pt x="78" y="342"/>
                  </a:lnTo>
                  <a:lnTo>
                    <a:pt x="71" y="344"/>
                  </a:lnTo>
                  <a:lnTo>
                    <a:pt x="63" y="345"/>
                  </a:lnTo>
                  <a:lnTo>
                    <a:pt x="56" y="347"/>
                  </a:lnTo>
                  <a:lnTo>
                    <a:pt x="50" y="349"/>
                  </a:lnTo>
                  <a:lnTo>
                    <a:pt x="42" y="353"/>
                  </a:lnTo>
                  <a:lnTo>
                    <a:pt x="42" y="353"/>
                  </a:lnTo>
                  <a:lnTo>
                    <a:pt x="38" y="349"/>
                  </a:lnTo>
                  <a:lnTo>
                    <a:pt x="36" y="347"/>
                  </a:lnTo>
                  <a:lnTo>
                    <a:pt x="35" y="345"/>
                  </a:lnTo>
                  <a:lnTo>
                    <a:pt x="33" y="344"/>
                  </a:lnTo>
                  <a:lnTo>
                    <a:pt x="31" y="340"/>
                  </a:lnTo>
                  <a:lnTo>
                    <a:pt x="29" y="336"/>
                  </a:lnTo>
                  <a:lnTo>
                    <a:pt x="29" y="332"/>
                  </a:lnTo>
                  <a:lnTo>
                    <a:pt x="27" y="330"/>
                  </a:lnTo>
                  <a:lnTo>
                    <a:pt x="27" y="330"/>
                  </a:lnTo>
                  <a:lnTo>
                    <a:pt x="27" y="323"/>
                  </a:lnTo>
                  <a:lnTo>
                    <a:pt x="29" y="317"/>
                  </a:lnTo>
                  <a:lnTo>
                    <a:pt x="29" y="311"/>
                  </a:lnTo>
                  <a:lnTo>
                    <a:pt x="29" y="305"/>
                  </a:lnTo>
                  <a:lnTo>
                    <a:pt x="29" y="300"/>
                  </a:lnTo>
                  <a:lnTo>
                    <a:pt x="29" y="294"/>
                  </a:lnTo>
                  <a:lnTo>
                    <a:pt x="29" y="288"/>
                  </a:lnTo>
                  <a:lnTo>
                    <a:pt x="27" y="282"/>
                  </a:lnTo>
                  <a:lnTo>
                    <a:pt x="54" y="282"/>
                  </a:lnTo>
                  <a:lnTo>
                    <a:pt x="54" y="282"/>
                  </a:lnTo>
                  <a:lnTo>
                    <a:pt x="56" y="284"/>
                  </a:lnTo>
                  <a:lnTo>
                    <a:pt x="59" y="286"/>
                  </a:lnTo>
                  <a:lnTo>
                    <a:pt x="61" y="288"/>
                  </a:lnTo>
                  <a:lnTo>
                    <a:pt x="65" y="288"/>
                  </a:lnTo>
                  <a:lnTo>
                    <a:pt x="67" y="290"/>
                  </a:lnTo>
                  <a:lnTo>
                    <a:pt x="71" y="290"/>
                  </a:lnTo>
                  <a:lnTo>
                    <a:pt x="75" y="290"/>
                  </a:lnTo>
                  <a:lnTo>
                    <a:pt x="77" y="290"/>
                  </a:lnTo>
                  <a:lnTo>
                    <a:pt x="77" y="290"/>
                  </a:lnTo>
                  <a:lnTo>
                    <a:pt x="82" y="290"/>
                  </a:lnTo>
                  <a:lnTo>
                    <a:pt x="86" y="290"/>
                  </a:lnTo>
                  <a:lnTo>
                    <a:pt x="92" y="288"/>
                  </a:lnTo>
                  <a:lnTo>
                    <a:pt x="96" y="286"/>
                  </a:lnTo>
                  <a:lnTo>
                    <a:pt x="101" y="284"/>
                  </a:lnTo>
                  <a:lnTo>
                    <a:pt x="105" y="282"/>
                  </a:lnTo>
                  <a:lnTo>
                    <a:pt x="109" y="281"/>
                  </a:lnTo>
                  <a:lnTo>
                    <a:pt x="115" y="277"/>
                  </a:lnTo>
                  <a:lnTo>
                    <a:pt x="118" y="275"/>
                  </a:lnTo>
                  <a:lnTo>
                    <a:pt x="122" y="273"/>
                  </a:lnTo>
                  <a:lnTo>
                    <a:pt x="128" y="271"/>
                  </a:lnTo>
                  <a:lnTo>
                    <a:pt x="132" y="269"/>
                  </a:lnTo>
                  <a:lnTo>
                    <a:pt x="136" y="267"/>
                  </a:lnTo>
                  <a:lnTo>
                    <a:pt x="141" y="265"/>
                  </a:lnTo>
                  <a:lnTo>
                    <a:pt x="145" y="265"/>
                  </a:lnTo>
                  <a:lnTo>
                    <a:pt x="151" y="265"/>
                  </a:lnTo>
                  <a:lnTo>
                    <a:pt x="151" y="265"/>
                  </a:lnTo>
                  <a:lnTo>
                    <a:pt x="159" y="265"/>
                  </a:lnTo>
                  <a:lnTo>
                    <a:pt x="166" y="269"/>
                  </a:lnTo>
                  <a:lnTo>
                    <a:pt x="174" y="273"/>
                  </a:lnTo>
                  <a:lnTo>
                    <a:pt x="180" y="277"/>
                  </a:lnTo>
                  <a:lnTo>
                    <a:pt x="187" y="282"/>
                  </a:lnTo>
                  <a:lnTo>
                    <a:pt x="197" y="286"/>
                  </a:lnTo>
                  <a:lnTo>
                    <a:pt x="204" y="290"/>
                  </a:lnTo>
                  <a:lnTo>
                    <a:pt x="214" y="290"/>
                  </a:lnTo>
                  <a:lnTo>
                    <a:pt x="214" y="290"/>
                  </a:lnTo>
                  <a:lnTo>
                    <a:pt x="220" y="290"/>
                  </a:lnTo>
                  <a:lnTo>
                    <a:pt x="225" y="290"/>
                  </a:lnTo>
                  <a:lnTo>
                    <a:pt x="229" y="290"/>
                  </a:lnTo>
                  <a:lnTo>
                    <a:pt x="235" y="290"/>
                  </a:lnTo>
                  <a:lnTo>
                    <a:pt x="239" y="288"/>
                  </a:lnTo>
                  <a:lnTo>
                    <a:pt x="241" y="290"/>
                  </a:lnTo>
                  <a:lnTo>
                    <a:pt x="244" y="290"/>
                  </a:lnTo>
                  <a:lnTo>
                    <a:pt x="248" y="290"/>
                  </a:lnTo>
                  <a:lnTo>
                    <a:pt x="248" y="271"/>
                  </a:lnTo>
                  <a:lnTo>
                    <a:pt x="248" y="271"/>
                  </a:lnTo>
                  <a:lnTo>
                    <a:pt x="246" y="269"/>
                  </a:lnTo>
                  <a:lnTo>
                    <a:pt x="244" y="267"/>
                  </a:lnTo>
                  <a:lnTo>
                    <a:pt x="242" y="265"/>
                  </a:lnTo>
                  <a:lnTo>
                    <a:pt x="239" y="265"/>
                  </a:lnTo>
                  <a:lnTo>
                    <a:pt x="237" y="263"/>
                  </a:lnTo>
                  <a:lnTo>
                    <a:pt x="235" y="261"/>
                  </a:lnTo>
                  <a:lnTo>
                    <a:pt x="233" y="261"/>
                  </a:lnTo>
                  <a:lnTo>
                    <a:pt x="231" y="261"/>
                  </a:lnTo>
                  <a:lnTo>
                    <a:pt x="231" y="261"/>
                  </a:lnTo>
                  <a:lnTo>
                    <a:pt x="227" y="261"/>
                  </a:lnTo>
                  <a:lnTo>
                    <a:pt x="223" y="261"/>
                  </a:lnTo>
                  <a:lnTo>
                    <a:pt x="221" y="261"/>
                  </a:lnTo>
                  <a:lnTo>
                    <a:pt x="220" y="261"/>
                  </a:lnTo>
                  <a:lnTo>
                    <a:pt x="216" y="261"/>
                  </a:lnTo>
                  <a:lnTo>
                    <a:pt x="214" y="261"/>
                  </a:lnTo>
                  <a:lnTo>
                    <a:pt x="210" y="261"/>
                  </a:lnTo>
                  <a:lnTo>
                    <a:pt x="206" y="261"/>
                  </a:lnTo>
                  <a:lnTo>
                    <a:pt x="206" y="261"/>
                  </a:lnTo>
                  <a:lnTo>
                    <a:pt x="202" y="260"/>
                  </a:lnTo>
                  <a:lnTo>
                    <a:pt x="197" y="258"/>
                  </a:lnTo>
                  <a:lnTo>
                    <a:pt x="191" y="252"/>
                  </a:lnTo>
                  <a:lnTo>
                    <a:pt x="185" y="248"/>
                  </a:lnTo>
                  <a:lnTo>
                    <a:pt x="178" y="242"/>
                  </a:lnTo>
                  <a:lnTo>
                    <a:pt x="170" y="239"/>
                  </a:lnTo>
                  <a:lnTo>
                    <a:pt x="160" y="237"/>
                  </a:lnTo>
                  <a:lnTo>
                    <a:pt x="151" y="235"/>
                  </a:lnTo>
                  <a:lnTo>
                    <a:pt x="151" y="235"/>
                  </a:lnTo>
                  <a:lnTo>
                    <a:pt x="145" y="235"/>
                  </a:lnTo>
                  <a:lnTo>
                    <a:pt x="139" y="237"/>
                  </a:lnTo>
                  <a:lnTo>
                    <a:pt x="134" y="237"/>
                  </a:lnTo>
                  <a:lnTo>
                    <a:pt x="130" y="239"/>
                  </a:lnTo>
                  <a:lnTo>
                    <a:pt x="124" y="240"/>
                  </a:lnTo>
                  <a:lnTo>
                    <a:pt x="118" y="240"/>
                  </a:lnTo>
                  <a:lnTo>
                    <a:pt x="113" y="242"/>
                  </a:lnTo>
                  <a:lnTo>
                    <a:pt x="107" y="244"/>
                  </a:lnTo>
                  <a:lnTo>
                    <a:pt x="103" y="246"/>
                  </a:lnTo>
                  <a:lnTo>
                    <a:pt x="97" y="248"/>
                  </a:lnTo>
                  <a:lnTo>
                    <a:pt x="92" y="250"/>
                  </a:lnTo>
                  <a:lnTo>
                    <a:pt x="86" y="252"/>
                  </a:lnTo>
                  <a:lnTo>
                    <a:pt x="80" y="254"/>
                  </a:lnTo>
                  <a:lnTo>
                    <a:pt x="75" y="254"/>
                  </a:lnTo>
                  <a:lnTo>
                    <a:pt x="69" y="254"/>
                  </a:lnTo>
                  <a:lnTo>
                    <a:pt x="63" y="256"/>
                  </a:lnTo>
                  <a:lnTo>
                    <a:pt x="63" y="256"/>
                  </a:lnTo>
                  <a:lnTo>
                    <a:pt x="59" y="256"/>
                  </a:lnTo>
                  <a:lnTo>
                    <a:pt x="56" y="256"/>
                  </a:lnTo>
                  <a:lnTo>
                    <a:pt x="52" y="254"/>
                  </a:lnTo>
                  <a:lnTo>
                    <a:pt x="48" y="254"/>
                  </a:lnTo>
                  <a:lnTo>
                    <a:pt x="44" y="254"/>
                  </a:lnTo>
                  <a:lnTo>
                    <a:pt x="42" y="254"/>
                  </a:lnTo>
                  <a:lnTo>
                    <a:pt x="38" y="254"/>
                  </a:lnTo>
                  <a:lnTo>
                    <a:pt x="36" y="256"/>
                  </a:lnTo>
                  <a:lnTo>
                    <a:pt x="36" y="256"/>
                  </a:lnTo>
                  <a:lnTo>
                    <a:pt x="36" y="252"/>
                  </a:lnTo>
                  <a:lnTo>
                    <a:pt x="38" y="250"/>
                  </a:lnTo>
                  <a:lnTo>
                    <a:pt x="38" y="246"/>
                  </a:lnTo>
                  <a:lnTo>
                    <a:pt x="40" y="242"/>
                  </a:lnTo>
                  <a:lnTo>
                    <a:pt x="40" y="242"/>
                  </a:lnTo>
                  <a:lnTo>
                    <a:pt x="38" y="237"/>
                  </a:lnTo>
                  <a:lnTo>
                    <a:pt x="38" y="229"/>
                  </a:lnTo>
                  <a:lnTo>
                    <a:pt x="36" y="223"/>
                  </a:lnTo>
                  <a:lnTo>
                    <a:pt x="33" y="216"/>
                  </a:lnTo>
                  <a:lnTo>
                    <a:pt x="31" y="208"/>
                  </a:lnTo>
                  <a:lnTo>
                    <a:pt x="27" y="200"/>
                  </a:lnTo>
                  <a:lnTo>
                    <a:pt x="23" y="195"/>
                  </a:lnTo>
                  <a:lnTo>
                    <a:pt x="19" y="187"/>
                  </a:lnTo>
                  <a:lnTo>
                    <a:pt x="15" y="179"/>
                  </a:lnTo>
                  <a:lnTo>
                    <a:pt x="12" y="174"/>
                  </a:lnTo>
                  <a:lnTo>
                    <a:pt x="10" y="168"/>
                  </a:lnTo>
                  <a:lnTo>
                    <a:pt x="6" y="160"/>
                  </a:lnTo>
                  <a:lnTo>
                    <a:pt x="4" y="157"/>
                  </a:lnTo>
                  <a:lnTo>
                    <a:pt x="2" y="151"/>
                  </a:lnTo>
                  <a:lnTo>
                    <a:pt x="0" y="147"/>
                  </a:lnTo>
                  <a:lnTo>
                    <a:pt x="0" y="143"/>
                  </a:lnTo>
                  <a:lnTo>
                    <a:pt x="0" y="143"/>
                  </a:lnTo>
                  <a:lnTo>
                    <a:pt x="2" y="141"/>
                  </a:lnTo>
                  <a:lnTo>
                    <a:pt x="4" y="137"/>
                  </a:lnTo>
                  <a:lnTo>
                    <a:pt x="10" y="134"/>
                  </a:lnTo>
                  <a:lnTo>
                    <a:pt x="15" y="128"/>
                  </a:lnTo>
                  <a:lnTo>
                    <a:pt x="21" y="124"/>
                  </a:lnTo>
                  <a:lnTo>
                    <a:pt x="27" y="120"/>
                  </a:lnTo>
                  <a:lnTo>
                    <a:pt x="31" y="116"/>
                  </a:lnTo>
                  <a:lnTo>
                    <a:pt x="33" y="113"/>
                  </a:lnTo>
                  <a:lnTo>
                    <a:pt x="33" y="113"/>
                  </a:lnTo>
                  <a:lnTo>
                    <a:pt x="36" y="109"/>
                  </a:lnTo>
                  <a:lnTo>
                    <a:pt x="42" y="103"/>
                  </a:lnTo>
                  <a:lnTo>
                    <a:pt x="46" y="97"/>
                  </a:lnTo>
                  <a:lnTo>
                    <a:pt x="52" y="92"/>
                  </a:lnTo>
                  <a:lnTo>
                    <a:pt x="56" y="88"/>
                  </a:lnTo>
                  <a:lnTo>
                    <a:pt x="59" y="82"/>
                  </a:lnTo>
                  <a:lnTo>
                    <a:pt x="63" y="76"/>
                  </a:lnTo>
                  <a:lnTo>
                    <a:pt x="65" y="73"/>
                  </a:lnTo>
                  <a:lnTo>
                    <a:pt x="65" y="73"/>
                  </a:lnTo>
                  <a:lnTo>
                    <a:pt x="69" y="61"/>
                  </a:lnTo>
                  <a:lnTo>
                    <a:pt x="71" y="50"/>
                  </a:lnTo>
                  <a:lnTo>
                    <a:pt x="75" y="38"/>
                  </a:lnTo>
                  <a:lnTo>
                    <a:pt x="78" y="29"/>
                  </a:lnTo>
                  <a:lnTo>
                    <a:pt x="82" y="21"/>
                  </a:lnTo>
                  <a:lnTo>
                    <a:pt x="90" y="15"/>
                  </a:lnTo>
                  <a:lnTo>
                    <a:pt x="96" y="12"/>
                  </a:lnTo>
                  <a:lnTo>
                    <a:pt x="107" y="10"/>
                  </a:lnTo>
                  <a:lnTo>
                    <a:pt x="107" y="10"/>
                  </a:lnTo>
                  <a:lnTo>
                    <a:pt x="111" y="10"/>
                  </a:lnTo>
                  <a:lnTo>
                    <a:pt x="115" y="10"/>
                  </a:lnTo>
                  <a:lnTo>
                    <a:pt x="117" y="10"/>
                  </a:lnTo>
                  <a:lnTo>
                    <a:pt x="118" y="10"/>
                  </a:lnTo>
                  <a:lnTo>
                    <a:pt x="122" y="10"/>
                  </a:lnTo>
                  <a:lnTo>
                    <a:pt x="124" y="10"/>
                  </a:lnTo>
                  <a:lnTo>
                    <a:pt x="128" y="10"/>
                  </a:lnTo>
                  <a:lnTo>
                    <a:pt x="130" y="10"/>
                  </a:lnTo>
                  <a:lnTo>
                    <a:pt x="130" y="10"/>
                  </a:lnTo>
                  <a:lnTo>
                    <a:pt x="136" y="10"/>
                  </a:lnTo>
                  <a:lnTo>
                    <a:pt x="143" y="10"/>
                  </a:lnTo>
                  <a:lnTo>
                    <a:pt x="149" y="8"/>
                  </a:lnTo>
                  <a:lnTo>
                    <a:pt x="159" y="6"/>
                  </a:lnTo>
                  <a:lnTo>
                    <a:pt x="166" y="4"/>
                  </a:lnTo>
                  <a:lnTo>
                    <a:pt x="174" y="2"/>
                  </a:lnTo>
                  <a:lnTo>
                    <a:pt x="181" y="2"/>
                  </a:lnTo>
                  <a:lnTo>
                    <a:pt x="189" y="0"/>
                  </a:lnTo>
                  <a:lnTo>
                    <a:pt x="189" y="0"/>
                  </a:lnTo>
                  <a:lnTo>
                    <a:pt x="197" y="2"/>
                  </a:lnTo>
                  <a:lnTo>
                    <a:pt x="204" y="2"/>
                  </a:lnTo>
                  <a:lnTo>
                    <a:pt x="210" y="4"/>
                  </a:lnTo>
                  <a:lnTo>
                    <a:pt x="216" y="6"/>
                  </a:lnTo>
                  <a:lnTo>
                    <a:pt x="221" y="8"/>
                  </a:lnTo>
                  <a:lnTo>
                    <a:pt x="225" y="10"/>
                  </a:lnTo>
                  <a:lnTo>
                    <a:pt x="229" y="13"/>
                  </a:lnTo>
                  <a:lnTo>
                    <a:pt x="233" y="15"/>
                  </a:lnTo>
                  <a:lnTo>
                    <a:pt x="237" y="19"/>
                  </a:lnTo>
                  <a:lnTo>
                    <a:pt x="239" y="23"/>
                  </a:lnTo>
                  <a:lnTo>
                    <a:pt x="242" y="27"/>
                  </a:lnTo>
                  <a:lnTo>
                    <a:pt x="244" y="31"/>
                  </a:lnTo>
                  <a:lnTo>
                    <a:pt x="248" y="34"/>
                  </a:lnTo>
                  <a:lnTo>
                    <a:pt x="252" y="38"/>
                  </a:lnTo>
                  <a:lnTo>
                    <a:pt x="254" y="42"/>
                  </a:lnTo>
                  <a:lnTo>
                    <a:pt x="258" y="46"/>
                  </a:lnTo>
                  <a:lnTo>
                    <a:pt x="258" y="46"/>
                  </a:lnTo>
                  <a:lnTo>
                    <a:pt x="263" y="50"/>
                  </a:lnTo>
                  <a:lnTo>
                    <a:pt x="267" y="54"/>
                  </a:lnTo>
                  <a:lnTo>
                    <a:pt x="273" y="55"/>
                  </a:lnTo>
                  <a:lnTo>
                    <a:pt x="277" y="55"/>
                  </a:lnTo>
                  <a:lnTo>
                    <a:pt x="283" y="57"/>
                  </a:lnTo>
                  <a:lnTo>
                    <a:pt x="288" y="59"/>
                  </a:lnTo>
                  <a:lnTo>
                    <a:pt x="294" y="61"/>
                  </a:lnTo>
                  <a:lnTo>
                    <a:pt x="300" y="63"/>
                  </a:lnTo>
                  <a:lnTo>
                    <a:pt x="300" y="63"/>
                  </a:lnTo>
                  <a:lnTo>
                    <a:pt x="302" y="67"/>
                  </a:lnTo>
                  <a:lnTo>
                    <a:pt x="305" y="71"/>
                  </a:lnTo>
                  <a:lnTo>
                    <a:pt x="305" y="75"/>
                  </a:lnTo>
                  <a:lnTo>
                    <a:pt x="305" y="78"/>
                  </a:lnTo>
                  <a:lnTo>
                    <a:pt x="305" y="82"/>
                  </a:lnTo>
                  <a:lnTo>
                    <a:pt x="305" y="86"/>
                  </a:lnTo>
                  <a:lnTo>
                    <a:pt x="305" y="92"/>
                  </a:lnTo>
                  <a:lnTo>
                    <a:pt x="307" y="95"/>
                  </a:lnTo>
                  <a:lnTo>
                    <a:pt x="307" y="95"/>
                  </a:lnTo>
                  <a:lnTo>
                    <a:pt x="311" y="103"/>
                  </a:lnTo>
                  <a:lnTo>
                    <a:pt x="317" y="109"/>
                  </a:lnTo>
                  <a:lnTo>
                    <a:pt x="321" y="116"/>
                  </a:lnTo>
                  <a:lnTo>
                    <a:pt x="324" y="122"/>
                  </a:lnTo>
                  <a:lnTo>
                    <a:pt x="330" y="128"/>
                  </a:lnTo>
                  <a:lnTo>
                    <a:pt x="334" y="134"/>
                  </a:lnTo>
                  <a:lnTo>
                    <a:pt x="338" y="141"/>
                  </a:lnTo>
                  <a:lnTo>
                    <a:pt x="344" y="147"/>
                  </a:lnTo>
                  <a:lnTo>
                    <a:pt x="347" y="153"/>
                  </a:lnTo>
                  <a:lnTo>
                    <a:pt x="351" y="158"/>
                  </a:lnTo>
                  <a:lnTo>
                    <a:pt x="355" y="166"/>
                  </a:lnTo>
                  <a:lnTo>
                    <a:pt x="359" y="174"/>
                  </a:lnTo>
                  <a:lnTo>
                    <a:pt x="363" y="181"/>
                  </a:lnTo>
                  <a:lnTo>
                    <a:pt x="366" y="189"/>
                  </a:lnTo>
                  <a:lnTo>
                    <a:pt x="370" y="199"/>
                  </a:lnTo>
                  <a:lnTo>
                    <a:pt x="372" y="208"/>
                  </a:lnTo>
                  <a:lnTo>
                    <a:pt x="372" y="208"/>
                  </a:lnTo>
                  <a:lnTo>
                    <a:pt x="374" y="212"/>
                  </a:lnTo>
                  <a:lnTo>
                    <a:pt x="376" y="216"/>
                  </a:lnTo>
                  <a:lnTo>
                    <a:pt x="378" y="218"/>
                  </a:lnTo>
                  <a:lnTo>
                    <a:pt x="382" y="221"/>
                  </a:lnTo>
                  <a:lnTo>
                    <a:pt x="384" y="225"/>
                  </a:lnTo>
                  <a:lnTo>
                    <a:pt x="386" y="227"/>
                  </a:lnTo>
                  <a:lnTo>
                    <a:pt x="387" y="231"/>
                  </a:lnTo>
                  <a:lnTo>
                    <a:pt x="387" y="235"/>
                  </a:lnTo>
                  <a:lnTo>
                    <a:pt x="387" y="235"/>
                  </a:lnTo>
                  <a:lnTo>
                    <a:pt x="387" y="239"/>
                  </a:lnTo>
                  <a:lnTo>
                    <a:pt x="386" y="242"/>
                  </a:lnTo>
                  <a:lnTo>
                    <a:pt x="386" y="248"/>
                  </a:lnTo>
                  <a:lnTo>
                    <a:pt x="384" y="252"/>
                  </a:lnTo>
                  <a:lnTo>
                    <a:pt x="382" y="258"/>
                  </a:lnTo>
                  <a:lnTo>
                    <a:pt x="380" y="261"/>
                  </a:lnTo>
                  <a:lnTo>
                    <a:pt x="380" y="265"/>
                  </a:lnTo>
                  <a:lnTo>
                    <a:pt x="378" y="267"/>
                  </a:lnTo>
                  <a:lnTo>
                    <a:pt x="378" y="267"/>
                  </a:lnTo>
                  <a:lnTo>
                    <a:pt x="380" y="271"/>
                  </a:lnTo>
                  <a:lnTo>
                    <a:pt x="380" y="275"/>
                  </a:lnTo>
                  <a:lnTo>
                    <a:pt x="384" y="281"/>
                  </a:lnTo>
                  <a:lnTo>
                    <a:pt x="386" y="284"/>
                  </a:lnTo>
                  <a:lnTo>
                    <a:pt x="389" y="288"/>
                  </a:lnTo>
                  <a:lnTo>
                    <a:pt x="393" y="292"/>
                  </a:lnTo>
                  <a:lnTo>
                    <a:pt x="397" y="296"/>
                  </a:lnTo>
                  <a:lnTo>
                    <a:pt x="403" y="300"/>
                  </a:lnTo>
                  <a:lnTo>
                    <a:pt x="407" y="303"/>
                  </a:lnTo>
                  <a:lnTo>
                    <a:pt x="410" y="307"/>
                  </a:lnTo>
                  <a:lnTo>
                    <a:pt x="414" y="311"/>
                  </a:lnTo>
                  <a:lnTo>
                    <a:pt x="418" y="315"/>
                  </a:lnTo>
                  <a:lnTo>
                    <a:pt x="422" y="321"/>
                  </a:lnTo>
                  <a:lnTo>
                    <a:pt x="424" y="326"/>
                  </a:lnTo>
                  <a:lnTo>
                    <a:pt x="426" y="332"/>
                  </a:lnTo>
                  <a:lnTo>
                    <a:pt x="426" y="338"/>
                  </a:lnTo>
                  <a:lnTo>
                    <a:pt x="426" y="338"/>
                  </a:lnTo>
                  <a:lnTo>
                    <a:pt x="426" y="344"/>
                  </a:lnTo>
                  <a:lnTo>
                    <a:pt x="424" y="347"/>
                  </a:lnTo>
                  <a:lnTo>
                    <a:pt x="422" y="353"/>
                  </a:lnTo>
                  <a:lnTo>
                    <a:pt x="420" y="357"/>
                  </a:lnTo>
                  <a:lnTo>
                    <a:pt x="416" y="361"/>
                  </a:lnTo>
                  <a:lnTo>
                    <a:pt x="416" y="364"/>
                  </a:lnTo>
                  <a:lnTo>
                    <a:pt x="416" y="368"/>
                  </a:lnTo>
                  <a:lnTo>
                    <a:pt x="418" y="374"/>
                  </a:lnTo>
                  <a:lnTo>
                    <a:pt x="420" y="374"/>
                  </a:lnTo>
                  <a:lnTo>
                    <a:pt x="414" y="372"/>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1" name="Freeform 145"/>
            <p:cNvSpPr>
              <a:spLocks/>
            </p:cNvSpPr>
            <p:nvPr/>
          </p:nvSpPr>
          <p:spPr bwMode="gray">
            <a:xfrm>
              <a:off x="884" y="1131"/>
              <a:ext cx="535" cy="550"/>
            </a:xfrm>
            <a:custGeom>
              <a:avLst/>
              <a:gdLst/>
              <a:ahLst/>
              <a:cxnLst>
                <a:cxn ang="0">
                  <a:pos x="300" y="998"/>
                </a:cxn>
                <a:cxn ang="0">
                  <a:pos x="328" y="980"/>
                </a:cxn>
                <a:cxn ang="0">
                  <a:pos x="336" y="946"/>
                </a:cxn>
                <a:cxn ang="0">
                  <a:pos x="361" y="929"/>
                </a:cxn>
                <a:cxn ang="0">
                  <a:pos x="388" y="952"/>
                </a:cxn>
                <a:cxn ang="0">
                  <a:pos x="405" y="965"/>
                </a:cxn>
                <a:cxn ang="0">
                  <a:pos x="420" y="952"/>
                </a:cxn>
                <a:cxn ang="0">
                  <a:pos x="441" y="952"/>
                </a:cxn>
                <a:cxn ang="0">
                  <a:pos x="468" y="959"/>
                </a:cxn>
                <a:cxn ang="0">
                  <a:pos x="496" y="959"/>
                </a:cxn>
                <a:cxn ang="0">
                  <a:pos x="517" y="938"/>
                </a:cxn>
                <a:cxn ang="0">
                  <a:pos x="523" y="944"/>
                </a:cxn>
                <a:cxn ang="0">
                  <a:pos x="809" y="965"/>
                </a:cxn>
                <a:cxn ang="0">
                  <a:pos x="702" y="0"/>
                </a:cxn>
                <a:cxn ang="0">
                  <a:pos x="405" y="294"/>
                </a:cxn>
                <a:cxn ang="0">
                  <a:pos x="376" y="305"/>
                </a:cxn>
                <a:cxn ang="0">
                  <a:pos x="351" y="318"/>
                </a:cxn>
                <a:cxn ang="0">
                  <a:pos x="328" y="334"/>
                </a:cxn>
                <a:cxn ang="0">
                  <a:pos x="21" y="442"/>
                </a:cxn>
                <a:cxn ang="0">
                  <a:pos x="10" y="458"/>
                </a:cxn>
                <a:cxn ang="0">
                  <a:pos x="16" y="456"/>
                </a:cxn>
                <a:cxn ang="0">
                  <a:pos x="31" y="448"/>
                </a:cxn>
                <a:cxn ang="0">
                  <a:pos x="52" y="479"/>
                </a:cxn>
                <a:cxn ang="0">
                  <a:pos x="67" y="509"/>
                </a:cxn>
                <a:cxn ang="0">
                  <a:pos x="59" y="536"/>
                </a:cxn>
                <a:cxn ang="0">
                  <a:pos x="46" y="559"/>
                </a:cxn>
                <a:cxn ang="0">
                  <a:pos x="37" y="584"/>
                </a:cxn>
                <a:cxn ang="0">
                  <a:pos x="40" y="607"/>
                </a:cxn>
                <a:cxn ang="0">
                  <a:pos x="50" y="631"/>
                </a:cxn>
                <a:cxn ang="0">
                  <a:pos x="50" y="650"/>
                </a:cxn>
                <a:cxn ang="0">
                  <a:pos x="50" y="673"/>
                </a:cxn>
                <a:cxn ang="0">
                  <a:pos x="50" y="706"/>
                </a:cxn>
                <a:cxn ang="0">
                  <a:pos x="44" y="734"/>
                </a:cxn>
                <a:cxn ang="0">
                  <a:pos x="23" y="769"/>
                </a:cxn>
                <a:cxn ang="0">
                  <a:pos x="8" y="807"/>
                </a:cxn>
                <a:cxn ang="0">
                  <a:pos x="2" y="830"/>
                </a:cxn>
                <a:cxn ang="0">
                  <a:pos x="2" y="841"/>
                </a:cxn>
                <a:cxn ang="0">
                  <a:pos x="2" y="845"/>
                </a:cxn>
                <a:cxn ang="0">
                  <a:pos x="17" y="834"/>
                </a:cxn>
                <a:cxn ang="0">
                  <a:pos x="35" y="832"/>
                </a:cxn>
                <a:cxn ang="0">
                  <a:pos x="48" y="832"/>
                </a:cxn>
                <a:cxn ang="0">
                  <a:pos x="69" y="830"/>
                </a:cxn>
                <a:cxn ang="0">
                  <a:pos x="109" y="822"/>
                </a:cxn>
                <a:cxn ang="0">
                  <a:pos x="136" y="828"/>
                </a:cxn>
                <a:cxn ang="0">
                  <a:pos x="157" y="841"/>
                </a:cxn>
                <a:cxn ang="0">
                  <a:pos x="172" y="860"/>
                </a:cxn>
                <a:cxn ang="0">
                  <a:pos x="187" y="876"/>
                </a:cxn>
                <a:cxn ang="0">
                  <a:pos x="214" y="883"/>
                </a:cxn>
                <a:cxn ang="0">
                  <a:pos x="225" y="897"/>
                </a:cxn>
                <a:cxn ang="0">
                  <a:pos x="227" y="917"/>
                </a:cxn>
                <a:cxn ang="0">
                  <a:pos x="241" y="938"/>
                </a:cxn>
                <a:cxn ang="0">
                  <a:pos x="260" y="963"/>
                </a:cxn>
                <a:cxn ang="0">
                  <a:pos x="275" y="988"/>
                </a:cxn>
              </a:cxnLst>
              <a:rect l="0" t="0" r="r" b="b"/>
              <a:pathLst>
                <a:path w="945" h="1000">
                  <a:moveTo>
                    <a:pt x="281" y="1000"/>
                  </a:moveTo>
                  <a:lnTo>
                    <a:pt x="281" y="1000"/>
                  </a:lnTo>
                  <a:lnTo>
                    <a:pt x="286" y="1000"/>
                  </a:lnTo>
                  <a:lnTo>
                    <a:pt x="292" y="1000"/>
                  </a:lnTo>
                  <a:lnTo>
                    <a:pt x="300" y="998"/>
                  </a:lnTo>
                  <a:lnTo>
                    <a:pt x="307" y="996"/>
                  </a:lnTo>
                  <a:lnTo>
                    <a:pt x="315" y="994"/>
                  </a:lnTo>
                  <a:lnTo>
                    <a:pt x="321" y="990"/>
                  </a:lnTo>
                  <a:lnTo>
                    <a:pt x="325" y="986"/>
                  </a:lnTo>
                  <a:lnTo>
                    <a:pt x="328" y="980"/>
                  </a:lnTo>
                  <a:lnTo>
                    <a:pt x="328" y="980"/>
                  </a:lnTo>
                  <a:lnTo>
                    <a:pt x="330" y="973"/>
                  </a:lnTo>
                  <a:lnTo>
                    <a:pt x="330" y="963"/>
                  </a:lnTo>
                  <a:lnTo>
                    <a:pt x="332" y="956"/>
                  </a:lnTo>
                  <a:lnTo>
                    <a:pt x="336" y="946"/>
                  </a:lnTo>
                  <a:lnTo>
                    <a:pt x="338" y="940"/>
                  </a:lnTo>
                  <a:lnTo>
                    <a:pt x="344" y="935"/>
                  </a:lnTo>
                  <a:lnTo>
                    <a:pt x="351" y="931"/>
                  </a:lnTo>
                  <a:lnTo>
                    <a:pt x="361" y="929"/>
                  </a:lnTo>
                  <a:lnTo>
                    <a:pt x="361" y="929"/>
                  </a:lnTo>
                  <a:lnTo>
                    <a:pt x="368" y="931"/>
                  </a:lnTo>
                  <a:lnTo>
                    <a:pt x="374" y="935"/>
                  </a:lnTo>
                  <a:lnTo>
                    <a:pt x="378" y="938"/>
                  </a:lnTo>
                  <a:lnTo>
                    <a:pt x="384" y="946"/>
                  </a:lnTo>
                  <a:lnTo>
                    <a:pt x="388" y="952"/>
                  </a:lnTo>
                  <a:lnTo>
                    <a:pt x="391" y="958"/>
                  </a:lnTo>
                  <a:lnTo>
                    <a:pt x="397" y="963"/>
                  </a:lnTo>
                  <a:lnTo>
                    <a:pt x="403" y="969"/>
                  </a:lnTo>
                  <a:lnTo>
                    <a:pt x="403" y="969"/>
                  </a:lnTo>
                  <a:lnTo>
                    <a:pt x="405" y="965"/>
                  </a:lnTo>
                  <a:lnTo>
                    <a:pt x="407" y="963"/>
                  </a:lnTo>
                  <a:lnTo>
                    <a:pt x="410" y="959"/>
                  </a:lnTo>
                  <a:lnTo>
                    <a:pt x="412" y="958"/>
                  </a:lnTo>
                  <a:lnTo>
                    <a:pt x="416" y="954"/>
                  </a:lnTo>
                  <a:lnTo>
                    <a:pt x="420" y="952"/>
                  </a:lnTo>
                  <a:lnTo>
                    <a:pt x="424" y="952"/>
                  </a:lnTo>
                  <a:lnTo>
                    <a:pt x="428" y="950"/>
                  </a:lnTo>
                  <a:lnTo>
                    <a:pt x="428" y="950"/>
                  </a:lnTo>
                  <a:lnTo>
                    <a:pt x="435" y="952"/>
                  </a:lnTo>
                  <a:lnTo>
                    <a:pt x="441" y="952"/>
                  </a:lnTo>
                  <a:lnTo>
                    <a:pt x="445" y="954"/>
                  </a:lnTo>
                  <a:lnTo>
                    <a:pt x="450" y="956"/>
                  </a:lnTo>
                  <a:lnTo>
                    <a:pt x="456" y="956"/>
                  </a:lnTo>
                  <a:lnTo>
                    <a:pt x="462" y="958"/>
                  </a:lnTo>
                  <a:lnTo>
                    <a:pt x="468" y="959"/>
                  </a:lnTo>
                  <a:lnTo>
                    <a:pt x="475" y="959"/>
                  </a:lnTo>
                  <a:lnTo>
                    <a:pt x="475" y="959"/>
                  </a:lnTo>
                  <a:lnTo>
                    <a:pt x="483" y="959"/>
                  </a:lnTo>
                  <a:lnTo>
                    <a:pt x="491" y="959"/>
                  </a:lnTo>
                  <a:lnTo>
                    <a:pt x="496" y="959"/>
                  </a:lnTo>
                  <a:lnTo>
                    <a:pt x="502" y="958"/>
                  </a:lnTo>
                  <a:lnTo>
                    <a:pt x="508" y="956"/>
                  </a:lnTo>
                  <a:lnTo>
                    <a:pt x="512" y="952"/>
                  </a:lnTo>
                  <a:lnTo>
                    <a:pt x="515" y="946"/>
                  </a:lnTo>
                  <a:lnTo>
                    <a:pt x="517" y="938"/>
                  </a:lnTo>
                  <a:lnTo>
                    <a:pt x="517" y="938"/>
                  </a:lnTo>
                  <a:lnTo>
                    <a:pt x="519" y="938"/>
                  </a:lnTo>
                  <a:lnTo>
                    <a:pt x="519" y="940"/>
                  </a:lnTo>
                  <a:lnTo>
                    <a:pt x="521" y="942"/>
                  </a:lnTo>
                  <a:lnTo>
                    <a:pt x="523" y="944"/>
                  </a:lnTo>
                  <a:lnTo>
                    <a:pt x="525" y="946"/>
                  </a:lnTo>
                  <a:lnTo>
                    <a:pt x="527" y="946"/>
                  </a:lnTo>
                  <a:lnTo>
                    <a:pt x="527" y="950"/>
                  </a:lnTo>
                  <a:lnTo>
                    <a:pt x="529" y="950"/>
                  </a:lnTo>
                  <a:lnTo>
                    <a:pt x="809" y="965"/>
                  </a:lnTo>
                  <a:lnTo>
                    <a:pt x="828" y="900"/>
                  </a:lnTo>
                  <a:lnTo>
                    <a:pt x="805" y="879"/>
                  </a:lnTo>
                  <a:lnTo>
                    <a:pt x="815" y="200"/>
                  </a:lnTo>
                  <a:lnTo>
                    <a:pt x="945" y="200"/>
                  </a:lnTo>
                  <a:lnTo>
                    <a:pt x="702" y="0"/>
                  </a:lnTo>
                  <a:lnTo>
                    <a:pt x="681" y="109"/>
                  </a:lnTo>
                  <a:lnTo>
                    <a:pt x="449" y="93"/>
                  </a:lnTo>
                  <a:lnTo>
                    <a:pt x="410" y="292"/>
                  </a:lnTo>
                  <a:lnTo>
                    <a:pt x="410" y="292"/>
                  </a:lnTo>
                  <a:lnTo>
                    <a:pt x="405" y="294"/>
                  </a:lnTo>
                  <a:lnTo>
                    <a:pt x="399" y="296"/>
                  </a:lnTo>
                  <a:lnTo>
                    <a:pt x="391" y="297"/>
                  </a:lnTo>
                  <a:lnTo>
                    <a:pt x="388" y="301"/>
                  </a:lnTo>
                  <a:lnTo>
                    <a:pt x="382" y="303"/>
                  </a:lnTo>
                  <a:lnTo>
                    <a:pt x="376" y="305"/>
                  </a:lnTo>
                  <a:lnTo>
                    <a:pt x="370" y="309"/>
                  </a:lnTo>
                  <a:lnTo>
                    <a:pt x="367" y="311"/>
                  </a:lnTo>
                  <a:lnTo>
                    <a:pt x="361" y="313"/>
                  </a:lnTo>
                  <a:lnTo>
                    <a:pt x="357" y="317"/>
                  </a:lnTo>
                  <a:lnTo>
                    <a:pt x="351" y="318"/>
                  </a:lnTo>
                  <a:lnTo>
                    <a:pt x="347" y="320"/>
                  </a:lnTo>
                  <a:lnTo>
                    <a:pt x="342" y="324"/>
                  </a:lnTo>
                  <a:lnTo>
                    <a:pt x="338" y="328"/>
                  </a:lnTo>
                  <a:lnTo>
                    <a:pt x="332" y="330"/>
                  </a:lnTo>
                  <a:lnTo>
                    <a:pt x="328" y="334"/>
                  </a:lnTo>
                  <a:lnTo>
                    <a:pt x="313" y="460"/>
                  </a:lnTo>
                  <a:lnTo>
                    <a:pt x="27" y="437"/>
                  </a:lnTo>
                  <a:lnTo>
                    <a:pt x="27" y="437"/>
                  </a:lnTo>
                  <a:lnTo>
                    <a:pt x="23" y="439"/>
                  </a:lnTo>
                  <a:lnTo>
                    <a:pt x="21" y="442"/>
                  </a:lnTo>
                  <a:lnTo>
                    <a:pt x="19" y="444"/>
                  </a:lnTo>
                  <a:lnTo>
                    <a:pt x="16" y="446"/>
                  </a:lnTo>
                  <a:lnTo>
                    <a:pt x="14" y="450"/>
                  </a:lnTo>
                  <a:lnTo>
                    <a:pt x="12" y="454"/>
                  </a:lnTo>
                  <a:lnTo>
                    <a:pt x="10" y="458"/>
                  </a:lnTo>
                  <a:lnTo>
                    <a:pt x="10" y="462"/>
                  </a:lnTo>
                  <a:lnTo>
                    <a:pt x="10" y="462"/>
                  </a:lnTo>
                  <a:lnTo>
                    <a:pt x="10" y="460"/>
                  </a:lnTo>
                  <a:lnTo>
                    <a:pt x="14" y="458"/>
                  </a:lnTo>
                  <a:lnTo>
                    <a:pt x="16" y="456"/>
                  </a:lnTo>
                  <a:lnTo>
                    <a:pt x="17" y="454"/>
                  </a:lnTo>
                  <a:lnTo>
                    <a:pt x="19" y="452"/>
                  </a:lnTo>
                  <a:lnTo>
                    <a:pt x="23" y="450"/>
                  </a:lnTo>
                  <a:lnTo>
                    <a:pt x="27" y="448"/>
                  </a:lnTo>
                  <a:lnTo>
                    <a:pt x="31" y="448"/>
                  </a:lnTo>
                  <a:lnTo>
                    <a:pt x="31" y="448"/>
                  </a:lnTo>
                  <a:lnTo>
                    <a:pt x="35" y="452"/>
                  </a:lnTo>
                  <a:lnTo>
                    <a:pt x="38" y="460"/>
                  </a:lnTo>
                  <a:lnTo>
                    <a:pt x="44" y="469"/>
                  </a:lnTo>
                  <a:lnTo>
                    <a:pt x="52" y="479"/>
                  </a:lnTo>
                  <a:lnTo>
                    <a:pt x="58" y="490"/>
                  </a:lnTo>
                  <a:lnTo>
                    <a:pt x="63" y="498"/>
                  </a:lnTo>
                  <a:lnTo>
                    <a:pt x="67" y="505"/>
                  </a:lnTo>
                  <a:lnTo>
                    <a:pt x="67" y="509"/>
                  </a:lnTo>
                  <a:lnTo>
                    <a:pt x="67" y="509"/>
                  </a:lnTo>
                  <a:lnTo>
                    <a:pt x="67" y="517"/>
                  </a:lnTo>
                  <a:lnTo>
                    <a:pt x="67" y="523"/>
                  </a:lnTo>
                  <a:lnTo>
                    <a:pt x="65" y="526"/>
                  </a:lnTo>
                  <a:lnTo>
                    <a:pt x="63" y="532"/>
                  </a:lnTo>
                  <a:lnTo>
                    <a:pt x="59" y="536"/>
                  </a:lnTo>
                  <a:lnTo>
                    <a:pt x="58" y="542"/>
                  </a:lnTo>
                  <a:lnTo>
                    <a:pt x="56" y="545"/>
                  </a:lnTo>
                  <a:lnTo>
                    <a:pt x="52" y="549"/>
                  </a:lnTo>
                  <a:lnTo>
                    <a:pt x="48" y="555"/>
                  </a:lnTo>
                  <a:lnTo>
                    <a:pt x="46" y="559"/>
                  </a:lnTo>
                  <a:lnTo>
                    <a:pt x="44" y="563"/>
                  </a:lnTo>
                  <a:lnTo>
                    <a:pt x="40" y="566"/>
                  </a:lnTo>
                  <a:lnTo>
                    <a:pt x="38" y="572"/>
                  </a:lnTo>
                  <a:lnTo>
                    <a:pt x="37" y="578"/>
                  </a:lnTo>
                  <a:lnTo>
                    <a:pt x="37" y="584"/>
                  </a:lnTo>
                  <a:lnTo>
                    <a:pt x="37" y="589"/>
                  </a:lnTo>
                  <a:lnTo>
                    <a:pt x="37" y="589"/>
                  </a:lnTo>
                  <a:lnTo>
                    <a:pt x="37" y="595"/>
                  </a:lnTo>
                  <a:lnTo>
                    <a:pt x="38" y="601"/>
                  </a:lnTo>
                  <a:lnTo>
                    <a:pt x="40" y="607"/>
                  </a:lnTo>
                  <a:lnTo>
                    <a:pt x="44" y="610"/>
                  </a:lnTo>
                  <a:lnTo>
                    <a:pt x="46" y="616"/>
                  </a:lnTo>
                  <a:lnTo>
                    <a:pt x="48" y="620"/>
                  </a:lnTo>
                  <a:lnTo>
                    <a:pt x="50" y="626"/>
                  </a:lnTo>
                  <a:lnTo>
                    <a:pt x="50" y="631"/>
                  </a:lnTo>
                  <a:lnTo>
                    <a:pt x="50" y="631"/>
                  </a:lnTo>
                  <a:lnTo>
                    <a:pt x="50" y="637"/>
                  </a:lnTo>
                  <a:lnTo>
                    <a:pt x="50" y="641"/>
                  </a:lnTo>
                  <a:lnTo>
                    <a:pt x="50" y="647"/>
                  </a:lnTo>
                  <a:lnTo>
                    <a:pt x="50" y="650"/>
                  </a:lnTo>
                  <a:lnTo>
                    <a:pt x="50" y="654"/>
                  </a:lnTo>
                  <a:lnTo>
                    <a:pt x="50" y="658"/>
                  </a:lnTo>
                  <a:lnTo>
                    <a:pt x="50" y="664"/>
                  </a:lnTo>
                  <a:lnTo>
                    <a:pt x="50" y="668"/>
                  </a:lnTo>
                  <a:lnTo>
                    <a:pt x="50" y="673"/>
                  </a:lnTo>
                  <a:lnTo>
                    <a:pt x="50" y="677"/>
                  </a:lnTo>
                  <a:lnTo>
                    <a:pt x="50" y="683"/>
                  </a:lnTo>
                  <a:lnTo>
                    <a:pt x="50" y="690"/>
                  </a:lnTo>
                  <a:lnTo>
                    <a:pt x="50" y="698"/>
                  </a:lnTo>
                  <a:lnTo>
                    <a:pt x="50" y="706"/>
                  </a:lnTo>
                  <a:lnTo>
                    <a:pt x="50" y="715"/>
                  </a:lnTo>
                  <a:lnTo>
                    <a:pt x="50" y="727"/>
                  </a:lnTo>
                  <a:lnTo>
                    <a:pt x="50" y="727"/>
                  </a:lnTo>
                  <a:lnTo>
                    <a:pt x="48" y="731"/>
                  </a:lnTo>
                  <a:lnTo>
                    <a:pt x="44" y="734"/>
                  </a:lnTo>
                  <a:lnTo>
                    <a:pt x="38" y="740"/>
                  </a:lnTo>
                  <a:lnTo>
                    <a:pt x="35" y="748"/>
                  </a:lnTo>
                  <a:lnTo>
                    <a:pt x="31" y="753"/>
                  </a:lnTo>
                  <a:lnTo>
                    <a:pt x="27" y="761"/>
                  </a:lnTo>
                  <a:lnTo>
                    <a:pt x="23" y="769"/>
                  </a:lnTo>
                  <a:lnTo>
                    <a:pt x="19" y="776"/>
                  </a:lnTo>
                  <a:lnTo>
                    <a:pt x="16" y="784"/>
                  </a:lnTo>
                  <a:lnTo>
                    <a:pt x="14" y="792"/>
                  </a:lnTo>
                  <a:lnTo>
                    <a:pt x="10" y="799"/>
                  </a:lnTo>
                  <a:lnTo>
                    <a:pt x="8" y="807"/>
                  </a:lnTo>
                  <a:lnTo>
                    <a:pt x="6" y="813"/>
                  </a:lnTo>
                  <a:lnTo>
                    <a:pt x="4" y="820"/>
                  </a:lnTo>
                  <a:lnTo>
                    <a:pt x="4" y="824"/>
                  </a:lnTo>
                  <a:lnTo>
                    <a:pt x="2" y="830"/>
                  </a:lnTo>
                  <a:lnTo>
                    <a:pt x="2" y="830"/>
                  </a:lnTo>
                  <a:lnTo>
                    <a:pt x="2" y="832"/>
                  </a:lnTo>
                  <a:lnTo>
                    <a:pt x="2" y="834"/>
                  </a:lnTo>
                  <a:lnTo>
                    <a:pt x="2" y="835"/>
                  </a:lnTo>
                  <a:lnTo>
                    <a:pt x="2" y="837"/>
                  </a:lnTo>
                  <a:lnTo>
                    <a:pt x="2" y="841"/>
                  </a:lnTo>
                  <a:lnTo>
                    <a:pt x="0" y="843"/>
                  </a:lnTo>
                  <a:lnTo>
                    <a:pt x="0" y="845"/>
                  </a:lnTo>
                  <a:lnTo>
                    <a:pt x="0" y="847"/>
                  </a:lnTo>
                  <a:lnTo>
                    <a:pt x="0" y="847"/>
                  </a:lnTo>
                  <a:lnTo>
                    <a:pt x="2" y="845"/>
                  </a:lnTo>
                  <a:lnTo>
                    <a:pt x="6" y="841"/>
                  </a:lnTo>
                  <a:lnTo>
                    <a:pt x="8" y="839"/>
                  </a:lnTo>
                  <a:lnTo>
                    <a:pt x="12" y="837"/>
                  </a:lnTo>
                  <a:lnTo>
                    <a:pt x="14" y="835"/>
                  </a:lnTo>
                  <a:lnTo>
                    <a:pt x="17" y="834"/>
                  </a:lnTo>
                  <a:lnTo>
                    <a:pt x="21" y="834"/>
                  </a:lnTo>
                  <a:lnTo>
                    <a:pt x="27" y="832"/>
                  </a:lnTo>
                  <a:lnTo>
                    <a:pt x="27" y="832"/>
                  </a:lnTo>
                  <a:lnTo>
                    <a:pt x="31" y="832"/>
                  </a:lnTo>
                  <a:lnTo>
                    <a:pt x="35" y="832"/>
                  </a:lnTo>
                  <a:lnTo>
                    <a:pt x="37" y="832"/>
                  </a:lnTo>
                  <a:lnTo>
                    <a:pt x="38" y="832"/>
                  </a:lnTo>
                  <a:lnTo>
                    <a:pt x="42" y="832"/>
                  </a:lnTo>
                  <a:lnTo>
                    <a:pt x="44" y="832"/>
                  </a:lnTo>
                  <a:lnTo>
                    <a:pt x="48" y="832"/>
                  </a:lnTo>
                  <a:lnTo>
                    <a:pt x="50" y="832"/>
                  </a:lnTo>
                  <a:lnTo>
                    <a:pt x="50" y="832"/>
                  </a:lnTo>
                  <a:lnTo>
                    <a:pt x="56" y="832"/>
                  </a:lnTo>
                  <a:lnTo>
                    <a:pt x="63" y="832"/>
                  </a:lnTo>
                  <a:lnTo>
                    <a:pt x="69" y="830"/>
                  </a:lnTo>
                  <a:lnTo>
                    <a:pt x="79" y="828"/>
                  </a:lnTo>
                  <a:lnTo>
                    <a:pt x="86" y="826"/>
                  </a:lnTo>
                  <a:lnTo>
                    <a:pt x="94" y="824"/>
                  </a:lnTo>
                  <a:lnTo>
                    <a:pt x="101" y="824"/>
                  </a:lnTo>
                  <a:lnTo>
                    <a:pt x="109" y="822"/>
                  </a:lnTo>
                  <a:lnTo>
                    <a:pt x="109" y="822"/>
                  </a:lnTo>
                  <a:lnTo>
                    <a:pt x="117" y="824"/>
                  </a:lnTo>
                  <a:lnTo>
                    <a:pt x="124" y="824"/>
                  </a:lnTo>
                  <a:lnTo>
                    <a:pt x="130" y="826"/>
                  </a:lnTo>
                  <a:lnTo>
                    <a:pt x="136" y="828"/>
                  </a:lnTo>
                  <a:lnTo>
                    <a:pt x="141" y="830"/>
                  </a:lnTo>
                  <a:lnTo>
                    <a:pt x="145" y="832"/>
                  </a:lnTo>
                  <a:lnTo>
                    <a:pt x="149" y="835"/>
                  </a:lnTo>
                  <a:lnTo>
                    <a:pt x="153" y="837"/>
                  </a:lnTo>
                  <a:lnTo>
                    <a:pt x="157" y="841"/>
                  </a:lnTo>
                  <a:lnTo>
                    <a:pt x="159" y="845"/>
                  </a:lnTo>
                  <a:lnTo>
                    <a:pt x="162" y="849"/>
                  </a:lnTo>
                  <a:lnTo>
                    <a:pt x="164" y="853"/>
                  </a:lnTo>
                  <a:lnTo>
                    <a:pt x="168" y="856"/>
                  </a:lnTo>
                  <a:lnTo>
                    <a:pt x="172" y="860"/>
                  </a:lnTo>
                  <a:lnTo>
                    <a:pt x="174" y="864"/>
                  </a:lnTo>
                  <a:lnTo>
                    <a:pt x="178" y="868"/>
                  </a:lnTo>
                  <a:lnTo>
                    <a:pt x="178" y="868"/>
                  </a:lnTo>
                  <a:lnTo>
                    <a:pt x="183" y="872"/>
                  </a:lnTo>
                  <a:lnTo>
                    <a:pt x="187" y="876"/>
                  </a:lnTo>
                  <a:lnTo>
                    <a:pt x="193" y="877"/>
                  </a:lnTo>
                  <a:lnTo>
                    <a:pt x="197" y="877"/>
                  </a:lnTo>
                  <a:lnTo>
                    <a:pt x="203" y="879"/>
                  </a:lnTo>
                  <a:lnTo>
                    <a:pt x="208" y="881"/>
                  </a:lnTo>
                  <a:lnTo>
                    <a:pt x="214" y="883"/>
                  </a:lnTo>
                  <a:lnTo>
                    <a:pt x="220" y="885"/>
                  </a:lnTo>
                  <a:lnTo>
                    <a:pt x="220" y="885"/>
                  </a:lnTo>
                  <a:lnTo>
                    <a:pt x="222" y="889"/>
                  </a:lnTo>
                  <a:lnTo>
                    <a:pt x="225" y="893"/>
                  </a:lnTo>
                  <a:lnTo>
                    <a:pt x="225" y="897"/>
                  </a:lnTo>
                  <a:lnTo>
                    <a:pt x="225" y="900"/>
                  </a:lnTo>
                  <a:lnTo>
                    <a:pt x="225" y="904"/>
                  </a:lnTo>
                  <a:lnTo>
                    <a:pt x="225" y="908"/>
                  </a:lnTo>
                  <a:lnTo>
                    <a:pt x="225" y="914"/>
                  </a:lnTo>
                  <a:lnTo>
                    <a:pt x="227" y="917"/>
                  </a:lnTo>
                  <a:lnTo>
                    <a:pt x="227" y="917"/>
                  </a:lnTo>
                  <a:lnTo>
                    <a:pt x="231" y="923"/>
                  </a:lnTo>
                  <a:lnTo>
                    <a:pt x="235" y="929"/>
                  </a:lnTo>
                  <a:lnTo>
                    <a:pt x="239" y="935"/>
                  </a:lnTo>
                  <a:lnTo>
                    <a:pt x="241" y="938"/>
                  </a:lnTo>
                  <a:lnTo>
                    <a:pt x="244" y="944"/>
                  </a:lnTo>
                  <a:lnTo>
                    <a:pt x="248" y="950"/>
                  </a:lnTo>
                  <a:lnTo>
                    <a:pt x="252" y="954"/>
                  </a:lnTo>
                  <a:lnTo>
                    <a:pt x="256" y="959"/>
                  </a:lnTo>
                  <a:lnTo>
                    <a:pt x="260" y="963"/>
                  </a:lnTo>
                  <a:lnTo>
                    <a:pt x="262" y="969"/>
                  </a:lnTo>
                  <a:lnTo>
                    <a:pt x="265" y="973"/>
                  </a:lnTo>
                  <a:lnTo>
                    <a:pt x="269" y="979"/>
                  </a:lnTo>
                  <a:lnTo>
                    <a:pt x="273" y="982"/>
                  </a:lnTo>
                  <a:lnTo>
                    <a:pt x="275" y="988"/>
                  </a:lnTo>
                  <a:lnTo>
                    <a:pt x="279" y="994"/>
                  </a:lnTo>
                  <a:lnTo>
                    <a:pt x="281" y="1000"/>
                  </a:lnTo>
                  <a:lnTo>
                    <a:pt x="281" y="100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2" name="Freeform 146"/>
            <p:cNvSpPr>
              <a:spLocks/>
            </p:cNvSpPr>
            <p:nvPr/>
          </p:nvSpPr>
          <p:spPr bwMode="gray">
            <a:xfrm>
              <a:off x="899" y="1099"/>
              <a:ext cx="385" cy="285"/>
            </a:xfrm>
            <a:custGeom>
              <a:avLst/>
              <a:gdLst/>
              <a:ahLst/>
              <a:cxnLst>
                <a:cxn ang="0">
                  <a:pos x="0" y="492"/>
                </a:cxn>
                <a:cxn ang="0">
                  <a:pos x="15" y="458"/>
                </a:cxn>
                <a:cxn ang="0">
                  <a:pos x="32" y="421"/>
                </a:cxn>
                <a:cxn ang="0">
                  <a:pos x="55" y="385"/>
                </a:cxn>
                <a:cxn ang="0">
                  <a:pos x="78" y="351"/>
                </a:cxn>
                <a:cxn ang="0">
                  <a:pos x="103" y="316"/>
                </a:cxn>
                <a:cxn ang="0">
                  <a:pos x="130" y="288"/>
                </a:cxn>
                <a:cxn ang="0">
                  <a:pos x="158" y="261"/>
                </a:cxn>
                <a:cxn ang="0">
                  <a:pos x="187" y="242"/>
                </a:cxn>
                <a:cxn ang="0">
                  <a:pos x="191" y="238"/>
                </a:cxn>
                <a:cxn ang="0">
                  <a:pos x="198" y="227"/>
                </a:cxn>
                <a:cxn ang="0">
                  <a:pos x="202" y="215"/>
                </a:cxn>
                <a:cxn ang="0">
                  <a:pos x="206" y="202"/>
                </a:cxn>
                <a:cxn ang="0">
                  <a:pos x="206" y="196"/>
                </a:cxn>
                <a:cxn ang="0">
                  <a:pos x="208" y="189"/>
                </a:cxn>
                <a:cxn ang="0">
                  <a:pos x="214" y="177"/>
                </a:cxn>
                <a:cxn ang="0">
                  <a:pos x="219" y="166"/>
                </a:cxn>
                <a:cxn ang="0">
                  <a:pos x="227" y="152"/>
                </a:cxn>
                <a:cxn ang="0">
                  <a:pos x="235" y="139"/>
                </a:cxn>
                <a:cxn ang="0">
                  <a:pos x="242" y="126"/>
                </a:cxn>
                <a:cxn ang="0">
                  <a:pos x="250" y="116"/>
                </a:cxn>
                <a:cxn ang="0">
                  <a:pos x="258" y="108"/>
                </a:cxn>
                <a:cxn ang="0">
                  <a:pos x="261" y="105"/>
                </a:cxn>
                <a:cxn ang="0">
                  <a:pos x="275" y="99"/>
                </a:cxn>
                <a:cxn ang="0">
                  <a:pos x="288" y="95"/>
                </a:cxn>
                <a:cxn ang="0">
                  <a:pos x="301" y="91"/>
                </a:cxn>
                <a:cxn ang="0">
                  <a:pos x="307" y="87"/>
                </a:cxn>
                <a:cxn ang="0">
                  <a:pos x="317" y="78"/>
                </a:cxn>
                <a:cxn ang="0">
                  <a:pos x="326" y="68"/>
                </a:cxn>
                <a:cxn ang="0">
                  <a:pos x="334" y="57"/>
                </a:cxn>
                <a:cxn ang="0">
                  <a:pos x="341" y="44"/>
                </a:cxn>
                <a:cxn ang="0">
                  <a:pos x="349" y="32"/>
                </a:cxn>
                <a:cxn ang="0">
                  <a:pos x="355" y="21"/>
                </a:cxn>
                <a:cxn ang="0">
                  <a:pos x="362" y="9"/>
                </a:cxn>
                <a:cxn ang="0">
                  <a:pos x="370" y="0"/>
                </a:cxn>
                <a:cxn ang="0">
                  <a:pos x="675" y="59"/>
                </a:cxn>
                <a:cxn ang="0">
                  <a:pos x="422" y="152"/>
                </a:cxn>
                <a:cxn ang="0">
                  <a:pos x="383" y="351"/>
                </a:cxn>
                <a:cxn ang="0">
                  <a:pos x="372" y="355"/>
                </a:cxn>
                <a:cxn ang="0">
                  <a:pos x="361" y="360"/>
                </a:cxn>
                <a:cxn ang="0">
                  <a:pos x="349" y="364"/>
                </a:cxn>
                <a:cxn ang="0">
                  <a:pos x="340" y="370"/>
                </a:cxn>
                <a:cxn ang="0">
                  <a:pos x="330" y="376"/>
                </a:cxn>
                <a:cxn ang="0">
                  <a:pos x="320" y="379"/>
                </a:cxn>
                <a:cxn ang="0">
                  <a:pos x="311" y="387"/>
                </a:cxn>
                <a:cxn ang="0">
                  <a:pos x="301" y="393"/>
                </a:cxn>
                <a:cxn ang="0">
                  <a:pos x="0" y="496"/>
                </a:cxn>
              </a:cxnLst>
              <a:rect l="0" t="0" r="r" b="b"/>
              <a:pathLst>
                <a:path w="679" h="519">
                  <a:moveTo>
                    <a:pt x="0" y="492"/>
                  </a:moveTo>
                  <a:lnTo>
                    <a:pt x="0" y="492"/>
                  </a:lnTo>
                  <a:lnTo>
                    <a:pt x="6" y="475"/>
                  </a:lnTo>
                  <a:lnTo>
                    <a:pt x="15" y="458"/>
                  </a:lnTo>
                  <a:lnTo>
                    <a:pt x="23" y="440"/>
                  </a:lnTo>
                  <a:lnTo>
                    <a:pt x="32" y="421"/>
                  </a:lnTo>
                  <a:lnTo>
                    <a:pt x="44" y="404"/>
                  </a:lnTo>
                  <a:lnTo>
                    <a:pt x="55" y="385"/>
                  </a:lnTo>
                  <a:lnTo>
                    <a:pt x="65" y="368"/>
                  </a:lnTo>
                  <a:lnTo>
                    <a:pt x="78" y="351"/>
                  </a:lnTo>
                  <a:lnTo>
                    <a:pt x="90" y="334"/>
                  </a:lnTo>
                  <a:lnTo>
                    <a:pt x="103" y="316"/>
                  </a:lnTo>
                  <a:lnTo>
                    <a:pt x="116" y="301"/>
                  </a:lnTo>
                  <a:lnTo>
                    <a:pt x="130" y="288"/>
                  </a:lnTo>
                  <a:lnTo>
                    <a:pt x="145" y="274"/>
                  </a:lnTo>
                  <a:lnTo>
                    <a:pt x="158" y="261"/>
                  </a:lnTo>
                  <a:lnTo>
                    <a:pt x="172" y="252"/>
                  </a:lnTo>
                  <a:lnTo>
                    <a:pt x="187" y="242"/>
                  </a:lnTo>
                  <a:lnTo>
                    <a:pt x="187" y="242"/>
                  </a:lnTo>
                  <a:lnTo>
                    <a:pt x="191" y="238"/>
                  </a:lnTo>
                  <a:lnTo>
                    <a:pt x="195" y="232"/>
                  </a:lnTo>
                  <a:lnTo>
                    <a:pt x="198" y="227"/>
                  </a:lnTo>
                  <a:lnTo>
                    <a:pt x="200" y="221"/>
                  </a:lnTo>
                  <a:lnTo>
                    <a:pt x="202" y="215"/>
                  </a:lnTo>
                  <a:lnTo>
                    <a:pt x="204" y="210"/>
                  </a:lnTo>
                  <a:lnTo>
                    <a:pt x="206" y="202"/>
                  </a:lnTo>
                  <a:lnTo>
                    <a:pt x="206" y="196"/>
                  </a:lnTo>
                  <a:lnTo>
                    <a:pt x="206" y="196"/>
                  </a:lnTo>
                  <a:lnTo>
                    <a:pt x="206" y="192"/>
                  </a:lnTo>
                  <a:lnTo>
                    <a:pt x="208" y="189"/>
                  </a:lnTo>
                  <a:lnTo>
                    <a:pt x="212" y="183"/>
                  </a:lnTo>
                  <a:lnTo>
                    <a:pt x="214" y="177"/>
                  </a:lnTo>
                  <a:lnTo>
                    <a:pt x="216" y="171"/>
                  </a:lnTo>
                  <a:lnTo>
                    <a:pt x="219" y="166"/>
                  </a:lnTo>
                  <a:lnTo>
                    <a:pt x="223" y="158"/>
                  </a:lnTo>
                  <a:lnTo>
                    <a:pt x="227" y="152"/>
                  </a:lnTo>
                  <a:lnTo>
                    <a:pt x="231" y="145"/>
                  </a:lnTo>
                  <a:lnTo>
                    <a:pt x="235" y="139"/>
                  </a:lnTo>
                  <a:lnTo>
                    <a:pt x="238" y="131"/>
                  </a:lnTo>
                  <a:lnTo>
                    <a:pt x="242" y="126"/>
                  </a:lnTo>
                  <a:lnTo>
                    <a:pt x="248" y="120"/>
                  </a:lnTo>
                  <a:lnTo>
                    <a:pt x="250" y="116"/>
                  </a:lnTo>
                  <a:lnTo>
                    <a:pt x="254" y="112"/>
                  </a:lnTo>
                  <a:lnTo>
                    <a:pt x="258" y="108"/>
                  </a:lnTo>
                  <a:lnTo>
                    <a:pt x="258" y="108"/>
                  </a:lnTo>
                  <a:lnTo>
                    <a:pt x="261" y="105"/>
                  </a:lnTo>
                  <a:lnTo>
                    <a:pt x="269" y="101"/>
                  </a:lnTo>
                  <a:lnTo>
                    <a:pt x="275" y="99"/>
                  </a:lnTo>
                  <a:lnTo>
                    <a:pt x="280" y="97"/>
                  </a:lnTo>
                  <a:lnTo>
                    <a:pt x="288" y="95"/>
                  </a:lnTo>
                  <a:lnTo>
                    <a:pt x="296" y="93"/>
                  </a:lnTo>
                  <a:lnTo>
                    <a:pt x="301" y="91"/>
                  </a:lnTo>
                  <a:lnTo>
                    <a:pt x="307" y="87"/>
                  </a:lnTo>
                  <a:lnTo>
                    <a:pt x="307" y="87"/>
                  </a:lnTo>
                  <a:lnTo>
                    <a:pt x="313" y="84"/>
                  </a:lnTo>
                  <a:lnTo>
                    <a:pt x="317" y="78"/>
                  </a:lnTo>
                  <a:lnTo>
                    <a:pt x="320" y="74"/>
                  </a:lnTo>
                  <a:lnTo>
                    <a:pt x="326" y="68"/>
                  </a:lnTo>
                  <a:lnTo>
                    <a:pt x="330" y="63"/>
                  </a:lnTo>
                  <a:lnTo>
                    <a:pt x="334" y="57"/>
                  </a:lnTo>
                  <a:lnTo>
                    <a:pt x="338" y="51"/>
                  </a:lnTo>
                  <a:lnTo>
                    <a:pt x="341" y="44"/>
                  </a:lnTo>
                  <a:lnTo>
                    <a:pt x="345" y="38"/>
                  </a:lnTo>
                  <a:lnTo>
                    <a:pt x="349" y="32"/>
                  </a:lnTo>
                  <a:lnTo>
                    <a:pt x="351" y="26"/>
                  </a:lnTo>
                  <a:lnTo>
                    <a:pt x="355" y="21"/>
                  </a:lnTo>
                  <a:lnTo>
                    <a:pt x="359" y="15"/>
                  </a:lnTo>
                  <a:lnTo>
                    <a:pt x="362" y="9"/>
                  </a:lnTo>
                  <a:lnTo>
                    <a:pt x="366" y="4"/>
                  </a:lnTo>
                  <a:lnTo>
                    <a:pt x="370" y="0"/>
                  </a:lnTo>
                  <a:lnTo>
                    <a:pt x="679" y="25"/>
                  </a:lnTo>
                  <a:lnTo>
                    <a:pt x="675" y="59"/>
                  </a:lnTo>
                  <a:lnTo>
                    <a:pt x="654" y="168"/>
                  </a:lnTo>
                  <a:lnTo>
                    <a:pt x="422" y="152"/>
                  </a:lnTo>
                  <a:lnTo>
                    <a:pt x="383" y="351"/>
                  </a:lnTo>
                  <a:lnTo>
                    <a:pt x="383" y="351"/>
                  </a:lnTo>
                  <a:lnTo>
                    <a:pt x="378" y="353"/>
                  </a:lnTo>
                  <a:lnTo>
                    <a:pt x="372" y="355"/>
                  </a:lnTo>
                  <a:lnTo>
                    <a:pt x="364" y="356"/>
                  </a:lnTo>
                  <a:lnTo>
                    <a:pt x="361" y="360"/>
                  </a:lnTo>
                  <a:lnTo>
                    <a:pt x="355" y="362"/>
                  </a:lnTo>
                  <a:lnTo>
                    <a:pt x="349" y="364"/>
                  </a:lnTo>
                  <a:lnTo>
                    <a:pt x="343" y="368"/>
                  </a:lnTo>
                  <a:lnTo>
                    <a:pt x="340" y="370"/>
                  </a:lnTo>
                  <a:lnTo>
                    <a:pt x="334" y="372"/>
                  </a:lnTo>
                  <a:lnTo>
                    <a:pt x="330" y="376"/>
                  </a:lnTo>
                  <a:lnTo>
                    <a:pt x="324" y="377"/>
                  </a:lnTo>
                  <a:lnTo>
                    <a:pt x="320" y="379"/>
                  </a:lnTo>
                  <a:lnTo>
                    <a:pt x="315" y="383"/>
                  </a:lnTo>
                  <a:lnTo>
                    <a:pt x="311" y="387"/>
                  </a:lnTo>
                  <a:lnTo>
                    <a:pt x="305" y="389"/>
                  </a:lnTo>
                  <a:lnTo>
                    <a:pt x="301" y="393"/>
                  </a:lnTo>
                  <a:lnTo>
                    <a:pt x="286" y="519"/>
                  </a:lnTo>
                  <a:lnTo>
                    <a:pt x="0" y="496"/>
                  </a:lnTo>
                  <a:lnTo>
                    <a:pt x="0" y="492"/>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3" name="Freeform 147"/>
            <p:cNvSpPr>
              <a:spLocks/>
            </p:cNvSpPr>
            <p:nvPr/>
          </p:nvSpPr>
          <p:spPr bwMode="gray">
            <a:xfrm>
              <a:off x="1109" y="769"/>
              <a:ext cx="501" cy="344"/>
            </a:xfrm>
            <a:custGeom>
              <a:avLst/>
              <a:gdLst/>
              <a:ahLst/>
              <a:cxnLst>
                <a:cxn ang="0">
                  <a:pos x="305" y="587"/>
                </a:cxn>
                <a:cxn ang="0">
                  <a:pos x="309" y="557"/>
                </a:cxn>
                <a:cxn ang="0">
                  <a:pos x="336" y="538"/>
                </a:cxn>
                <a:cxn ang="0">
                  <a:pos x="374" y="511"/>
                </a:cxn>
                <a:cxn ang="0">
                  <a:pos x="418" y="492"/>
                </a:cxn>
                <a:cxn ang="0">
                  <a:pos x="443" y="488"/>
                </a:cxn>
                <a:cxn ang="0">
                  <a:pos x="452" y="488"/>
                </a:cxn>
                <a:cxn ang="0">
                  <a:pos x="464" y="488"/>
                </a:cxn>
                <a:cxn ang="0">
                  <a:pos x="506" y="481"/>
                </a:cxn>
                <a:cxn ang="0">
                  <a:pos x="555" y="467"/>
                </a:cxn>
                <a:cxn ang="0">
                  <a:pos x="578" y="461"/>
                </a:cxn>
                <a:cxn ang="0">
                  <a:pos x="595" y="437"/>
                </a:cxn>
                <a:cxn ang="0">
                  <a:pos x="614" y="423"/>
                </a:cxn>
                <a:cxn ang="0">
                  <a:pos x="639" y="418"/>
                </a:cxn>
                <a:cxn ang="0">
                  <a:pos x="662" y="412"/>
                </a:cxn>
                <a:cxn ang="0">
                  <a:pos x="681" y="397"/>
                </a:cxn>
                <a:cxn ang="0">
                  <a:pos x="683" y="374"/>
                </a:cxn>
                <a:cxn ang="0">
                  <a:pos x="744" y="334"/>
                </a:cxn>
                <a:cxn ang="0">
                  <a:pos x="776" y="311"/>
                </a:cxn>
                <a:cxn ang="0">
                  <a:pos x="797" y="313"/>
                </a:cxn>
                <a:cxn ang="0">
                  <a:pos x="815" y="315"/>
                </a:cxn>
                <a:cxn ang="0">
                  <a:pos x="834" y="318"/>
                </a:cxn>
                <a:cxn ang="0">
                  <a:pos x="855" y="318"/>
                </a:cxn>
                <a:cxn ang="0">
                  <a:pos x="870" y="313"/>
                </a:cxn>
                <a:cxn ang="0">
                  <a:pos x="881" y="294"/>
                </a:cxn>
                <a:cxn ang="0">
                  <a:pos x="872" y="269"/>
                </a:cxn>
                <a:cxn ang="0">
                  <a:pos x="858" y="225"/>
                </a:cxn>
                <a:cxn ang="0">
                  <a:pos x="858" y="206"/>
                </a:cxn>
                <a:cxn ang="0">
                  <a:pos x="864" y="185"/>
                </a:cxn>
                <a:cxn ang="0">
                  <a:pos x="866" y="162"/>
                </a:cxn>
                <a:cxn ang="0">
                  <a:pos x="866" y="131"/>
                </a:cxn>
                <a:cxn ang="0">
                  <a:pos x="845" y="97"/>
                </a:cxn>
                <a:cxn ang="0">
                  <a:pos x="818" y="74"/>
                </a:cxn>
                <a:cxn ang="0">
                  <a:pos x="799" y="57"/>
                </a:cxn>
                <a:cxn ang="0">
                  <a:pos x="788" y="63"/>
                </a:cxn>
                <a:cxn ang="0">
                  <a:pos x="773" y="65"/>
                </a:cxn>
                <a:cxn ang="0">
                  <a:pos x="748" y="53"/>
                </a:cxn>
                <a:cxn ang="0">
                  <a:pos x="717" y="42"/>
                </a:cxn>
                <a:cxn ang="0">
                  <a:pos x="679" y="38"/>
                </a:cxn>
                <a:cxn ang="0">
                  <a:pos x="654" y="28"/>
                </a:cxn>
                <a:cxn ang="0">
                  <a:pos x="641" y="0"/>
                </a:cxn>
                <a:cxn ang="0">
                  <a:pos x="599" y="32"/>
                </a:cxn>
                <a:cxn ang="0">
                  <a:pos x="572" y="78"/>
                </a:cxn>
                <a:cxn ang="0">
                  <a:pos x="532" y="130"/>
                </a:cxn>
                <a:cxn ang="0">
                  <a:pos x="477" y="158"/>
                </a:cxn>
                <a:cxn ang="0">
                  <a:pos x="403" y="183"/>
                </a:cxn>
                <a:cxn ang="0">
                  <a:pos x="376" y="202"/>
                </a:cxn>
                <a:cxn ang="0">
                  <a:pos x="351" y="236"/>
                </a:cxn>
                <a:cxn ang="0">
                  <a:pos x="330" y="275"/>
                </a:cxn>
                <a:cxn ang="0">
                  <a:pos x="313" y="295"/>
                </a:cxn>
                <a:cxn ang="0">
                  <a:pos x="294" y="324"/>
                </a:cxn>
                <a:cxn ang="0">
                  <a:pos x="277" y="355"/>
                </a:cxn>
                <a:cxn ang="0">
                  <a:pos x="271" y="383"/>
                </a:cxn>
                <a:cxn ang="0">
                  <a:pos x="277" y="395"/>
                </a:cxn>
                <a:cxn ang="0">
                  <a:pos x="279" y="418"/>
                </a:cxn>
                <a:cxn ang="0">
                  <a:pos x="248" y="456"/>
                </a:cxn>
                <a:cxn ang="0">
                  <a:pos x="214" y="481"/>
                </a:cxn>
                <a:cxn ang="0">
                  <a:pos x="164" y="511"/>
                </a:cxn>
                <a:cxn ang="0">
                  <a:pos x="113" y="536"/>
                </a:cxn>
                <a:cxn ang="0">
                  <a:pos x="71" y="547"/>
                </a:cxn>
                <a:cxn ang="0">
                  <a:pos x="40" y="555"/>
                </a:cxn>
                <a:cxn ang="0">
                  <a:pos x="17" y="570"/>
                </a:cxn>
                <a:cxn ang="0">
                  <a:pos x="2" y="595"/>
                </a:cxn>
              </a:cxnLst>
              <a:rect l="0" t="0" r="r" b="b"/>
              <a:pathLst>
                <a:path w="885" h="626">
                  <a:moveTo>
                    <a:pt x="303" y="626"/>
                  </a:moveTo>
                  <a:lnTo>
                    <a:pt x="303" y="601"/>
                  </a:lnTo>
                  <a:lnTo>
                    <a:pt x="303" y="601"/>
                  </a:lnTo>
                  <a:lnTo>
                    <a:pt x="305" y="595"/>
                  </a:lnTo>
                  <a:lnTo>
                    <a:pt x="305" y="587"/>
                  </a:lnTo>
                  <a:lnTo>
                    <a:pt x="305" y="582"/>
                  </a:lnTo>
                  <a:lnTo>
                    <a:pt x="305" y="576"/>
                  </a:lnTo>
                  <a:lnTo>
                    <a:pt x="305" y="568"/>
                  </a:lnTo>
                  <a:lnTo>
                    <a:pt x="307" y="563"/>
                  </a:lnTo>
                  <a:lnTo>
                    <a:pt x="309" y="557"/>
                  </a:lnTo>
                  <a:lnTo>
                    <a:pt x="315" y="553"/>
                  </a:lnTo>
                  <a:lnTo>
                    <a:pt x="315" y="553"/>
                  </a:lnTo>
                  <a:lnTo>
                    <a:pt x="321" y="547"/>
                  </a:lnTo>
                  <a:lnTo>
                    <a:pt x="328" y="544"/>
                  </a:lnTo>
                  <a:lnTo>
                    <a:pt x="336" y="538"/>
                  </a:lnTo>
                  <a:lnTo>
                    <a:pt x="343" y="532"/>
                  </a:lnTo>
                  <a:lnTo>
                    <a:pt x="351" y="526"/>
                  </a:lnTo>
                  <a:lnTo>
                    <a:pt x="359" y="523"/>
                  </a:lnTo>
                  <a:lnTo>
                    <a:pt x="366" y="517"/>
                  </a:lnTo>
                  <a:lnTo>
                    <a:pt x="374" y="511"/>
                  </a:lnTo>
                  <a:lnTo>
                    <a:pt x="384" y="507"/>
                  </a:lnTo>
                  <a:lnTo>
                    <a:pt x="393" y="502"/>
                  </a:lnTo>
                  <a:lnTo>
                    <a:pt x="401" y="498"/>
                  </a:lnTo>
                  <a:lnTo>
                    <a:pt x="408" y="496"/>
                  </a:lnTo>
                  <a:lnTo>
                    <a:pt x="418" y="492"/>
                  </a:lnTo>
                  <a:lnTo>
                    <a:pt x="425" y="490"/>
                  </a:lnTo>
                  <a:lnTo>
                    <a:pt x="435" y="488"/>
                  </a:lnTo>
                  <a:lnTo>
                    <a:pt x="443" y="488"/>
                  </a:lnTo>
                  <a:lnTo>
                    <a:pt x="443" y="488"/>
                  </a:lnTo>
                  <a:lnTo>
                    <a:pt x="443" y="488"/>
                  </a:lnTo>
                  <a:lnTo>
                    <a:pt x="445" y="488"/>
                  </a:lnTo>
                  <a:lnTo>
                    <a:pt x="446" y="488"/>
                  </a:lnTo>
                  <a:lnTo>
                    <a:pt x="448" y="488"/>
                  </a:lnTo>
                  <a:lnTo>
                    <a:pt x="450" y="488"/>
                  </a:lnTo>
                  <a:lnTo>
                    <a:pt x="452" y="488"/>
                  </a:lnTo>
                  <a:lnTo>
                    <a:pt x="456" y="488"/>
                  </a:lnTo>
                  <a:lnTo>
                    <a:pt x="460" y="488"/>
                  </a:lnTo>
                  <a:lnTo>
                    <a:pt x="460" y="488"/>
                  </a:lnTo>
                  <a:lnTo>
                    <a:pt x="462" y="488"/>
                  </a:lnTo>
                  <a:lnTo>
                    <a:pt x="464" y="488"/>
                  </a:lnTo>
                  <a:lnTo>
                    <a:pt x="469" y="486"/>
                  </a:lnTo>
                  <a:lnTo>
                    <a:pt x="477" y="484"/>
                  </a:lnTo>
                  <a:lnTo>
                    <a:pt x="485" y="482"/>
                  </a:lnTo>
                  <a:lnTo>
                    <a:pt x="494" y="482"/>
                  </a:lnTo>
                  <a:lnTo>
                    <a:pt x="506" y="481"/>
                  </a:lnTo>
                  <a:lnTo>
                    <a:pt x="515" y="477"/>
                  </a:lnTo>
                  <a:lnTo>
                    <a:pt x="527" y="475"/>
                  </a:lnTo>
                  <a:lnTo>
                    <a:pt x="536" y="473"/>
                  </a:lnTo>
                  <a:lnTo>
                    <a:pt x="546" y="471"/>
                  </a:lnTo>
                  <a:lnTo>
                    <a:pt x="555" y="467"/>
                  </a:lnTo>
                  <a:lnTo>
                    <a:pt x="563" y="465"/>
                  </a:lnTo>
                  <a:lnTo>
                    <a:pt x="570" y="463"/>
                  </a:lnTo>
                  <a:lnTo>
                    <a:pt x="576" y="463"/>
                  </a:lnTo>
                  <a:lnTo>
                    <a:pt x="578" y="461"/>
                  </a:lnTo>
                  <a:lnTo>
                    <a:pt x="578" y="461"/>
                  </a:lnTo>
                  <a:lnTo>
                    <a:pt x="582" y="458"/>
                  </a:lnTo>
                  <a:lnTo>
                    <a:pt x="586" y="452"/>
                  </a:lnTo>
                  <a:lnTo>
                    <a:pt x="590" y="446"/>
                  </a:lnTo>
                  <a:lnTo>
                    <a:pt x="593" y="442"/>
                  </a:lnTo>
                  <a:lnTo>
                    <a:pt x="595" y="437"/>
                  </a:lnTo>
                  <a:lnTo>
                    <a:pt x="599" y="433"/>
                  </a:lnTo>
                  <a:lnTo>
                    <a:pt x="605" y="429"/>
                  </a:lnTo>
                  <a:lnTo>
                    <a:pt x="610" y="425"/>
                  </a:lnTo>
                  <a:lnTo>
                    <a:pt x="610" y="425"/>
                  </a:lnTo>
                  <a:lnTo>
                    <a:pt x="614" y="423"/>
                  </a:lnTo>
                  <a:lnTo>
                    <a:pt x="620" y="423"/>
                  </a:lnTo>
                  <a:lnTo>
                    <a:pt x="624" y="421"/>
                  </a:lnTo>
                  <a:lnTo>
                    <a:pt x="630" y="419"/>
                  </a:lnTo>
                  <a:lnTo>
                    <a:pt x="633" y="419"/>
                  </a:lnTo>
                  <a:lnTo>
                    <a:pt x="639" y="418"/>
                  </a:lnTo>
                  <a:lnTo>
                    <a:pt x="643" y="418"/>
                  </a:lnTo>
                  <a:lnTo>
                    <a:pt x="649" y="416"/>
                  </a:lnTo>
                  <a:lnTo>
                    <a:pt x="652" y="414"/>
                  </a:lnTo>
                  <a:lnTo>
                    <a:pt x="656" y="414"/>
                  </a:lnTo>
                  <a:lnTo>
                    <a:pt x="662" y="412"/>
                  </a:lnTo>
                  <a:lnTo>
                    <a:pt x="666" y="410"/>
                  </a:lnTo>
                  <a:lnTo>
                    <a:pt x="670" y="406"/>
                  </a:lnTo>
                  <a:lnTo>
                    <a:pt x="673" y="404"/>
                  </a:lnTo>
                  <a:lnTo>
                    <a:pt x="677" y="400"/>
                  </a:lnTo>
                  <a:lnTo>
                    <a:pt x="681" y="397"/>
                  </a:lnTo>
                  <a:lnTo>
                    <a:pt x="681" y="397"/>
                  </a:lnTo>
                  <a:lnTo>
                    <a:pt x="683" y="391"/>
                  </a:lnTo>
                  <a:lnTo>
                    <a:pt x="685" y="385"/>
                  </a:lnTo>
                  <a:lnTo>
                    <a:pt x="685" y="379"/>
                  </a:lnTo>
                  <a:lnTo>
                    <a:pt x="683" y="374"/>
                  </a:lnTo>
                  <a:lnTo>
                    <a:pt x="683" y="368"/>
                  </a:lnTo>
                  <a:lnTo>
                    <a:pt x="683" y="362"/>
                  </a:lnTo>
                  <a:lnTo>
                    <a:pt x="683" y="355"/>
                  </a:lnTo>
                  <a:lnTo>
                    <a:pt x="687" y="349"/>
                  </a:lnTo>
                  <a:lnTo>
                    <a:pt x="744" y="334"/>
                  </a:lnTo>
                  <a:lnTo>
                    <a:pt x="763" y="313"/>
                  </a:lnTo>
                  <a:lnTo>
                    <a:pt x="763" y="313"/>
                  </a:lnTo>
                  <a:lnTo>
                    <a:pt x="769" y="313"/>
                  </a:lnTo>
                  <a:lnTo>
                    <a:pt x="773" y="311"/>
                  </a:lnTo>
                  <a:lnTo>
                    <a:pt x="776" y="311"/>
                  </a:lnTo>
                  <a:lnTo>
                    <a:pt x="780" y="313"/>
                  </a:lnTo>
                  <a:lnTo>
                    <a:pt x="784" y="313"/>
                  </a:lnTo>
                  <a:lnTo>
                    <a:pt x="788" y="313"/>
                  </a:lnTo>
                  <a:lnTo>
                    <a:pt x="792" y="313"/>
                  </a:lnTo>
                  <a:lnTo>
                    <a:pt x="797" y="313"/>
                  </a:lnTo>
                  <a:lnTo>
                    <a:pt x="797" y="313"/>
                  </a:lnTo>
                  <a:lnTo>
                    <a:pt x="801" y="313"/>
                  </a:lnTo>
                  <a:lnTo>
                    <a:pt x="807" y="315"/>
                  </a:lnTo>
                  <a:lnTo>
                    <a:pt x="811" y="315"/>
                  </a:lnTo>
                  <a:lnTo>
                    <a:pt x="815" y="315"/>
                  </a:lnTo>
                  <a:lnTo>
                    <a:pt x="818" y="316"/>
                  </a:lnTo>
                  <a:lnTo>
                    <a:pt x="822" y="316"/>
                  </a:lnTo>
                  <a:lnTo>
                    <a:pt x="826" y="318"/>
                  </a:lnTo>
                  <a:lnTo>
                    <a:pt x="830" y="318"/>
                  </a:lnTo>
                  <a:lnTo>
                    <a:pt x="834" y="318"/>
                  </a:lnTo>
                  <a:lnTo>
                    <a:pt x="837" y="318"/>
                  </a:lnTo>
                  <a:lnTo>
                    <a:pt x="841" y="320"/>
                  </a:lnTo>
                  <a:lnTo>
                    <a:pt x="847" y="320"/>
                  </a:lnTo>
                  <a:lnTo>
                    <a:pt x="851" y="320"/>
                  </a:lnTo>
                  <a:lnTo>
                    <a:pt x="855" y="318"/>
                  </a:lnTo>
                  <a:lnTo>
                    <a:pt x="858" y="318"/>
                  </a:lnTo>
                  <a:lnTo>
                    <a:pt x="864" y="316"/>
                  </a:lnTo>
                  <a:lnTo>
                    <a:pt x="864" y="316"/>
                  </a:lnTo>
                  <a:lnTo>
                    <a:pt x="866" y="315"/>
                  </a:lnTo>
                  <a:lnTo>
                    <a:pt x="870" y="313"/>
                  </a:lnTo>
                  <a:lnTo>
                    <a:pt x="872" y="309"/>
                  </a:lnTo>
                  <a:lnTo>
                    <a:pt x="874" y="305"/>
                  </a:lnTo>
                  <a:lnTo>
                    <a:pt x="876" y="301"/>
                  </a:lnTo>
                  <a:lnTo>
                    <a:pt x="878" y="297"/>
                  </a:lnTo>
                  <a:lnTo>
                    <a:pt x="881" y="294"/>
                  </a:lnTo>
                  <a:lnTo>
                    <a:pt x="885" y="290"/>
                  </a:lnTo>
                  <a:lnTo>
                    <a:pt x="885" y="290"/>
                  </a:lnTo>
                  <a:lnTo>
                    <a:pt x="881" y="284"/>
                  </a:lnTo>
                  <a:lnTo>
                    <a:pt x="878" y="276"/>
                  </a:lnTo>
                  <a:lnTo>
                    <a:pt x="872" y="269"/>
                  </a:lnTo>
                  <a:lnTo>
                    <a:pt x="868" y="261"/>
                  </a:lnTo>
                  <a:lnTo>
                    <a:pt x="864" y="254"/>
                  </a:lnTo>
                  <a:lnTo>
                    <a:pt x="860" y="246"/>
                  </a:lnTo>
                  <a:lnTo>
                    <a:pt x="858" y="234"/>
                  </a:lnTo>
                  <a:lnTo>
                    <a:pt x="858" y="225"/>
                  </a:lnTo>
                  <a:lnTo>
                    <a:pt x="858" y="225"/>
                  </a:lnTo>
                  <a:lnTo>
                    <a:pt x="858" y="219"/>
                  </a:lnTo>
                  <a:lnTo>
                    <a:pt x="858" y="215"/>
                  </a:lnTo>
                  <a:lnTo>
                    <a:pt x="858" y="212"/>
                  </a:lnTo>
                  <a:lnTo>
                    <a:pt x="858" y="206"/>
                  </a:lnTo>
                  <a:lnTo>
                    <a:pt x="860" y="202"/>
                  </a:lnTo>
                  <a:lnTo>
                    <a:pt x="860" y="198"/>
                  </a:lnTo>
                  <a:lnTo>
                    <a:pt x="862" y="192"/>
                  </a:lnTo>
                  <a:lnTo>
                    <a:pt x="862" y="189"/>
                  </a:lnTo>
                  <a:lnTo>
                    <a:pt x="864" y="185"/>
                  </a:lnTo>
                  <a:lnTo>
                    <a:pt x="864" y="181"/>
                  </a:lnTo>
                  <a:lnTo>
                    <a:pt x="866" y="175"/>
                  </a:lnTo>
                  <a:lnTo>
                    <a:pt x="866" y="171"/>
                  </a:lnTo>
                  <a:lnTo>
                    <a:pt x="866" y="166"/>
                  </a:lnTo>
                  <a:lnTo>
                    <a:pt x="866" y="162"/>
                  </a:lnTo>
                  <a:lnTo>
                    <a:pt x="868" y="156"/>
                  </a:lnTo>
                  <a:lnTo>
                    <a:pt x="868" y="152"/>
                  </a:lnTo>
                  <a:lnTo>
                    <a:pt x="868" y="152"/>
                  </a:lnTo>
                  <a:lnTo>
                    <a:pt x="866" y="141"/>
                  </a:lnTo>
                  <a:lnTo>
                    <a:pt x="866" y="131"/>
                  </a:lnTo>
                  <a:lnTo>
                    <a:pt x="862" y="122"/>
                  </a:lnTo>
                  <a:lnTo>
                    <a:pt x="858" y="116"/>
                  </a:lnTo>
                  <a:lnTo>
                    <a:pt x="855" y="109"/>
                  </a:lnTo>
                  <a:lnTo>
                    <a:pt x="851" y="103"/>
                  </a:lnTo>
                  <a:lnTo>
                    <a:pt x="845" y="97"/>
                  </a:lnTo>
                  <a:lnTo>
                    <a:pt x="841" y="91"/>
                  </a:lnTo>
                  <a:lnTo>
                    <a:pt x="836" y="88"/>
                  </a:lnTo>
                  <a:lnTo>
                    <a:pt x="830" y="84"/>
                  </a:lnTo>
                  <a:lnTo>
                    <a:pt x="824" y="78"/>
                  </a:lnTo>
                  <a:lnTo>
                    <a:pt x="818" y="74"/>
                  </a:lnTo>
                  <a:lnTo>
                    <a:pt x="813" y="70"/>
                  </a:lnTo>
                  <a:lnTo>
                    <a:pt x="807" y="67"/>
                  </a:lnTo>
                  <a:lnTo>
                    <a:pt x="803" y="63"/>
                  </a:lnTo>
                  <a:lnTo>
                    <a:pt x="799" y="57"/>
                  </a:lnTo>
                  <a:lnTo>
                    <a:pt x="799" y="57"/>
                  </a:lnTo>
                  <a:lnTo>
                    <a:pt x="797" y="59"/>
                  </a:lnTo>
                  <a:lnTo>
                    <a:pt x="794" y="59"/>
                  </a:lnTo>
                  <a:lnTo>
                    <a:pt x="792" y="61"/>
                  </a:lnTo>
                  <a:lnTo>
                    <a:pt x="790" y="63"/>
                  </a:lnTo>
                  <a:lnTo>
                    <a:pt x="788" y="63"/>
                  </a:lnTo>
                  <a:lnTo>
                    <a:pt x="784" y="65"/>
                  </a:lnTo>
                  <a:lnTo>
                    <a:pt x="782" y="65"/>
                  </a:lnTo>
                  <a:lnTo>
                    <a:pt x="778" y="65"/>
                  </a:lnTo>
                  <a:lnTo>
                    <a:pt x="778" y="65"/>
                  </a:lnTo>
                  <a:lnTo>
                    <a:pt x="773" y="65"/>
                  </a:lnTo>
                  <a:lnTo>
                    <a:pt x="767" y="63"/>
                  </a:lnTo>
                  <a:lnTo>
                    <a:pt x="763" y="61"/>
                  </a:lnTo>
                  <a:lnTo>
                    <a:pt x="757" y="59"/>
                  </a:lnTo>
                  <a:lnTo>
                    <a:pt x="754" y="55"/>
                  </a:lnTo>
                  <a:lnTo>
                    <a:pt x="748" y="53"/>
                  </a:lnTo>
                  <a:lnTo>
                    <a:pt x="744" y="49"/>
                  </a:lnTo>
                  <a:lnTo>
                    <a:pt x="738" y="47"/>
                  </a:lnTo>
                  <a:lnTo>
                    <a:pt x="738" y="47"/>
                  </a:lnTo>
                  <a:lnTo>
                    <a:pt x="727" y="44"/>
                  </a:lnTo>
                  <a:lnTo>
                    <a:pt x="717" y="42"/>
                  </a:lnTo>
                  <a:lnTo>
                    <a:pt x="710" y="40"/>
                  </a:lnTo>
                  <a:lnTo>
                    <a:pt x="700" y="40"/>
                  </a:lnTo>
                  <a:lnTo>
                    <a:pt x="693" y="38"/>
                  </a:lnTo>
                  <a:lnTo>
                    <a:pt x="687" y="38"/>
                  </a:lnTo>
                  <a:lnTo>
                    <a:pt x="679" y="38"/>
                  </a:lnTo>
                  <a:lnTo>
                    <a:pt x="673" y="38"/>
                  </a:lnTo>
                  <a:lnTo>
                    <a:pt x="668" y="36"/>
                  </a:lnTo>
                  <a:lnTo>
                    <a:pt x="664" y="34"/>
                  </a:lnTo>
                  <a:lnTo>
                    <a:pt x="658" y="32"/>
                  </a:lnTo>
                  <a:lnTo>
                    <a:pt x="654" y="28"/>
                  </a:lnTo>
                  <a:lnTo>
                    <a:pt x="651" y="25"/>
                  </a:lnTo>
                  <a:lnTo>
                    <a:pt x="647" y="19"/>
                  </a:lnTo>
                  <a:lnTo>
                    <a:pt x="643" y="9"/>
                  </a:lnTo>
                  <a:lnTo>
                    <a:pt x="641" y="0"/>
                  </a:lnTo>
                  <a:lnTo>
                    <a:pt x="641" y="0"/>
                  </a:lnTo>
                  <a:lnTo>
                    <a:pt x="630" y="4"/>
                  </a:lnTo>
                  <a:lnTo>
                    <a:pt x="620" y="9"/>
                  </a:lnTo>
                  <a:lnTo>
                    <a:pt x="610" y="17"/>
                  </a:lnTo>
                  <a:lnTo>
                    <a:pt x="605" y="25"/>
                  </a:lnTo>
                  <a:lnTo>
                    <a:pt x="599" y="32"/>
                  </a:lnTo>
                  <a:lnTo>
                    <a:pt x="591" y="42"/>
                  </a:lnTo>
                  <a:lnTo>
                    <a:pt x="586" y="53"/>
                  </a:lnTo>
                  <a:lnTo>
                    <a:pt x="578" y="63"/>
                  </a:lnTo>
                  <a:lnTo>
                    <a:pt x="578" y="63"/>
                  </a:lnTo>
                  <a:lnTo>
                    <a:pt x="572" y="78"/>
                  </a:lnTo>
                  <a:lnTo>
                    <a:pt x="567" y="91"/>
                  </a:lnTo>
                  <a:lnTo>
                    <a:pt x="559" y="103"/>
                  </a:lnTo>
                  <a:lnTo>
                    <a:pt x="551" y="112"/>
                  </a:lnTo>
                  <a:lnTo>
                    <a:pt x="542" y="122"/>
                  </a:lnTo>
                  <a:lnTo>
                    <a:pt x="532" y="130"/>
                  </a:lnTo>
                  <a:lnTo>
                    <a:pt x="523" y="135"/>
                  </a:lnTo>
                  <a:lnTo>
                    <a:pt x="513" y="143"/>
                  </a:lnTo>
                  <a:lnTo>
                    <a:pt x="502" y="149"/>
                  </a:lnTo>
                  <a:lnTo>
                    <a:pt x="488" y="152"/>
                  </a:lnTo>
                  <a:lnTo>
                    <a:pt x="477" y="158"/>
                  </a:lnTo>
                  <a:lnTo>
                    <a:pt x="462" y="162"/>
                  </a:lnTo>
                  <a:lnTo>
                    <a:pt x="448" y="168"/>
                  </a:lnTo>
                  <a:lnTo>
                    <a:pt x="433" y="171"/>
                  </a:lnTo>
                  <a:lnTo>
                    <a:pt x="420" y="177"/>
                  </a:lnTo>
                  <a:lnTo>
                    <a:pt x="403" y="183"/>
                  </a:lnTo>
                  <a:lnTo>
                    <a:pt x="403" y="183"/>
                  </a:lnTo>
                  <a:lnTo>
                    <a:pt x="395" y="187"/>
                  </a:lnTo>
                  <a:lnTo>
                    <a:pt x="389" y="191"/>
                  </a:lnTo>
                  <a:lnTo>
                    <a:pt x="382" y="196"/>
                  </a:lnTo>
                  <a:lnTo>
                    <a:pt x="376" y="202"/>
                  </a:lnTo>
                  <a:lnTo>
                    <a:pt x="370" y="208"/>
                  </a:lnTo>
                  <a:lnTo>
                    <a:pt x="364" y="215"/>
                  </a:lnTo>
                  <a:lnTo>
                    <a:pt x="361" y="221"/>
                  </a:lnTo>
                  <a:lnTo>
                    <a:pt x="355" y="229"/>
                  </a:lnTo>
                  <a:lnTo>
                    <a:pt x="351" y="236"/>
                  </a:lnTo>
                  <a:lnTo>
                    <a:pt x="347" y="244"/>
                  </a:lnTo>
                  <a:lnTo>
                    <a:pt x="343" y="252"/>
                  </a:lnTo>
                  <a:lnTo>
                    <a:pt x="340" y="259"/>
                  </a:lnTo>
                  <a:lnTo>
                    <a:pt x="334" y="267"/>
                  </a:lnTo>
                  <a:lnTo>
                    <a:pt x="330" y="275"/>
                  </a:lnTo>
                  <a:lnTo>
                    <a:pt x="326" y="280"/>
                  </a:lnTo>
                  <a:lnTo>
                    <a:pt x="321" y="288"/>
                  </a:lnTo>
                  <a:lnTo>
                    <a:pt x="321" y="288"/>
                  </a:lnTo>
                  <a:lnTo>
                    <a:pt x="317" y="292"/>
                  </a:lnTo>
                  <a:lnTo>
                    <a:pt x="313" y="295"/>
                  </a:lnTo>
                  <a:lnTo>
                    <a:pt x="309" y="301"/>
                  </a:lnTo>
                  <a:lnTo>
                    <a:pt x="305" y="307"/>
                  </a:lnTo>
                  <a:lnTo>
                    <a:pt x="301" y="311"/>
                  </a:lnTo>
                  <a:lnTo>
                    <a:pt x="298" y="318"/>
                  </a:lnTo>
                  <a:lnTo>
                    <a:pt x="294" y="324"/>
                  </a:lnTo>
                  <a:lnTo>
                    <a:pt x="290" y="330"/>
                  </a:lnTo>
                  <a:lnTo>
                    <a:pt x="286" y="336"/>
                  </a:lnTo>
                  <a:lnTo>
                    <a:pt x="282" y="343"/>
                  </a:lnTo>
                  <a:lnTo>
                    <a:pt x="279" y="349"/>
                  </a:lnTo>
                  <a:lnTo>
                    <a:pt x="277" y="355"/>
                  </a:lnTo>
                  <a:lnTo>
                    <a:pt x="275" y="362"/>
                  </a:lnTo>
                  <a:lnTo>
                    <a:pt x="273" y="370"/>
                  </a:lnTo>
                  <a:lnTo>
                    <a:pt x="271" y="378"/>
                  </a:lnTo>
                  <a:lnTo>
                    <a:pt x="271" y="383"/>
                  </a:lnTo>
                  <a:lnTo>
                    <a:pt x="271" y="383"/>
                  </a:lnTo>
                  <a:lnTo>
                    <a:pt x="271" y="387"/>
                  </a:lnTo>
                  <a:lnTo>
                    <a:pt x="273" y="389"/>
                  </a:lnTo>
                  <a:lnTo>
                    <a:pt x="273" y="391"/>
                  </a:lnTo>
                  <a:lnTo>
                    <a:pt x="275" y="393"/>
                  </a:lnTo>
                  <a:lnTo>
                    <a:pt x="277" y="395"/>
                  </a:lnTo>
                  <a:lnTo>
                    <a:pt x="279" y="399"/>
                  </a:lnTo>
                  <a:lnTo>
                    <a:pt x="279" y="402"/>
                  </a:lnTo>
                  <a:lnTo>
                    <a:pt x="279" y="406"/>
                  </a:lnTo>
                  <a:lnTo>
                    <a:pt x="279" y="406"/>
                  </a:lnTo>
                  <a:lnTo>
                    <a:pt x="279" y="418"/>
                  </a:lnTo>
                  <a:lnTo>
                    <a:pt x="275" y="427"/>
                  </a:lnTo>
                  <a:lnTo>
                    <a:pt x="269" y="437"/>
                  </a:lnTo>
                  <a:lnTo>
                    <a:pt x="263" y="442"/>
                  </a:lnTo>
                  <a:lnTo>
                    <a:pt x="256" y="450"/>
                  </a:lnTo>
                  <a:lnTo>
                    <a:pt x="248" y="456"/>
                  </a:lnTo>
                  <a:lnTo>
                    <a:pt x="240" y="461"/>
                  </a:lnTo>
                  <a:lnTo>
                    <a:pt x="231" y="467"/>
                  </a:lnTo>
                  <a:lnTo>
                    <a:pt x="231" y="467"/>
                  </a:lnTo>
                  <a:lnTo>
                    <a:pt x="223" y="473"/>
                  </a:lnTo>
                  <a:lnTo>
                    <a:pt x="214" y="481"/>
                  </a:lnTo>
                  <a:lnTo>
                    <a:pt x="204" y="486"/>
                  </a:lnTo>
                  <a:lnTo>
                    <a:pt x="195" y="492"/>
                  </a:lnTo>
                  <a:lnTo>
                    <a:pt x="185" y="500"/>
                  </a:lnTo>
                  <a:lnTo>
                    <a:pt x="176" y="505"/>
                  </a:lnTo>
                  <a:lnTo>
                    <a:pt x="164" y="511"/>
                  </a:lnTo>
                  <a:lnTo>
                    <a:pt x="155" y="517"/>
                  </a:lnTo>
                  <a:lnTo>
                    <a:pt x="143" y="523"/>
                  </a:lnTo>
                  <a:lnTo>
                    <a:pt x="134" y="526"/>
                  </a:lnTo>
                  <a:lnTo>
                    <a:pt x="122" y="532"/>
                  </a:lnTo>
                  <a:lnTo>
                    <a:pt x="113" y="536"/>
                  </a:lnTo>
                  <a:lnTo>
                    <a:pt x="101" y="540"/>
                  </a:lnTo>
                  <a:lnTo>
                    <a:pt x="92" y="542"/>
                  </a:lnTo>
                  <a:lnTo>
                    <a:pt x="80" y="545"/>
                  </a:lnTo>
                  <a:lnTo>
                    <a:pt x="71" y="547"/>
                  </a:lnTo>
                  <a:lnTo>
                    <a:pt x="71" y="547"/>
                  </a:lnTo>
                  <a:lnTo>
                    <a:pt x="63" y="549"/>
                  </a:lnTo>
                  <a:lnTo>
                    <a:pt x="57" y="549"/>
                  </a:lnTo>
                  <a:lnTo>
                    <a:pt x="52" y="551"/>
                  </a:lnTo>
                  <a:lnTo>
                    <a:pt x="46" y="553"/>
                  </a:lnTo>
                  <a:lnTo>
                    <a:pt x="40" y="555"/>
                  </a:lnTo>
                  <a:lnTo>
                    <a:pt x="34" y="557"/>
                  </a:lnTo>
                  <a:lnTo>
                    <a:pt x="29" y="561"/>
                  </a:lnTo>
                  <a:lnTo>
                    <a:pt x="25" y="563"/>
                  </a:lnTo>
                  <a:lnTo>
                    <a:pt x="21" y="566"/>
                  </a:lnTo>
                  <a:lnTo>
                    <a:pt x="17" y="570"/>
                  </a:lnTo>
                  <a:lnTo>
                    <a:pt x="13" y="574"/>
                  </a:lnTo>
                  <a:lnTo>
                    <a:pt x="10" y="578"/>
                  </a:lnTo>
                  <a:lnTo>
                    <a:pt x="6" y="584"/>
                  </a:lnTo>
                  <a:lnTo>
                    <a:pt x="4" y="589"/>
                  </a:lnTo>
                  <a:lnTo>
                    <a:pt x="2" y="595"/>
                  </a:lnTo>
                  <a:lnTo>
                    <a:pt x="0" y="601"/>
                  </a:lnTo>
                  <a:lnTo>
                    <a:pt x="309" y="626"/>
                  </a:lnTo>
                  <a:lnTo>
                    <a:pt x="303" y="626"/>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4" name="Freeform 148"/>
            <p:cNvSpPr>
              <a:spLocks/>
            </p:cNvSpPr>
            <p:nvPr/>
          </p:nvSpPr>
          <p:spPr bwMode="gray">
            <a:xfrm>
              <a:off x="1281" y="748"/>
              <a:ext cx="835" cy="778"/>
            </a:xfrm>
            <a:custGeom>
              <a:avLst/>
              <a:gdLst/>
              <a:ahLst/>
              <a:cxnLst>
                <a:cxn ang="0">
                  <a:pos x="639" y="1230"/>
                </a:cxn>
                <a:cxn ang="0">
                  <a:pos x="649" y="1266"/>
                </a:cxn>
                <a:cxn ang="0">
                  <a:pos x="670" y="1278"/>
                </a:cxn>
                <a:cxn ang="0">
                  <a:pos x="718" y="1318"/>
                </a:cxn>
                <a:cxn ang="0">
                  <a:pos x="794" y="1366"/>
                </a:cxn>
                <a:cxn ang="0">
                  <a:pos x="786" y="1394"/>
                </a:cxn>
                <a:cxn ang="0">
                  <a:pos x="796" y="1411"/>
                </a:cxn>
                <a:cxn ang="0">
                  <a:pos x="1469" y="1051"/>
                </a:cxn>
                <a:cxn ang="0">
                  <a:pos x="1442" y="1015"/>
                </a:cxn>
                <a:cxn ang="0">
                  <a:pos x="1401" y="982"/>
                </a:cxn>
                <a:cxn ang="0">
                  <a:pos x="1364" y="978"/>
                </a:cxn>
                <a:cxn ang="0">
                  <a:pos x="1347" y="959"/>
                </a:cxn>
                <a:cxn ang="0">
                  <a:pos x="1326" y="919"/>
                </a:cxn>
                <a:cxn ang="0">
                  <a:pos x="1292" y="854"/>
                </a:cxn>
                <a:cxn ang="0">
                  <a:pos x="1324" y="818"/>
                </a:cxn>
                <a:cxn ang="0">
                  <a:pos x="1324" y="776"/>
                </a:cxn>
                <a:cxn ang="0">
                  <a:pos x="1334" y="736"/>
                </a:cxn>
                <a:cxn ang="0">
                  <a:pos x="1334" y="698"/>
                </a:cxn>
                <a:cxn ang="0">
                  <a:pos x="1334" y="652"/>
                </a:cxn>
                <a:cxn ang="0">
                  <a:pos x="1322" y="585"/>
                </a:cxn>
                <a:cxn ang="0">
                  <a:pos x="1294" y="520"/>
                </a:cxn>
                <a:cxn ang="0">
                  <a:pos x="1277" y="442"/>
                </a:cxn>
                <a:cxn ang="0">
                  <a:pos x="1250" y="381"/>
                </a:cxn>
                <a:cxn ang="0">
                  <a:pos x="1198" y="314"/>
                </a:cxn>
                <a:cxn ang="0">
                  <a:pos x="1175" y="248"/>
                </a:cxn>
                <a:cxn ang="0">
                  <a:pos x="1221" y="190"/>
                </a:cxn>
                <a:cxn ang="0">
                  <a:pos x="1248" y="131"/>
                </a:cxn>
                <a:cxn ang="0">
                  <a:pos x="1257" y="47"/>
                </a:cxn>
                <a:cxn ang="0">
                  <a:pos x="1267" y="11"/>
                </a:cxn>
                <a:cxn ang="0">
                  <a:pos x="1223" y="2"/>
                </a:cxn>
                <a:cxn ang="0">
                  <a:pos x="1193" y="5"/>
                </a:cxn>
                <a:cxn ang="0">
                  <a:pos x="1156" y="13"/>
                </a:cxn>
                <a:cxn ang="0">
                  <a:pos x="1124" y="5"/>
                </a:cxn>
                <a:cxn ang="0">
                  <a:pos x="1088" y="30"/>
                </a:cxn>
                <a:cxn ang="0">
                  <a:pos x="1034" y="28"/>
                </a:cxn>
                <a:cxn ang="0">
                  <a:pos x="876" y="17"/>
                </a:cxn>
                <a:cxn ang="0">
                  <a:pos x="758" y="38"/>
                </a:cxn>
                <a:cxn ang="0">
                  <a:pos x="702" y="61"/>
                </a:cxn>
                <a:cxn ang="0">
                  <a:pos x="678" y="68"/>
                </a:cxn>
                <a:cxn ang="0">
                  <a:pos x="634" y="76"/>
                </a:cxn>
                <a:cxn ang="0">
                  <a:pos x="573" y="114"/>
                </a:cxn>
                <a:cxn ang="0">
                  <a:pos x="534" y="118"/>
                </a:cxn>
                <a:cxn ang="0">
                  <a:pos x="540" y="131"/>
                </a:cxn>
                <a:cxn ang="0">
                  <a:pos x="563" y="175"/>
                </a:cxn>
                <a:cxn ang="0">
                  <a:pos x="561" y="219"/>
                </a:cxn>
                <a:cxn ang="0">
                  <a:pos x="555" y="257"/>
                </a:cxn>
                <a:cxn ang="0">
                  <a:pos x="578" y="322"/>
                </a:cxn>
                <a:cxn ang="0">
                  <a:pos x="563" y="353"/>
                </a:cxn>
                <a:cxn ang="0">
                  <a:pos x="531" y="356"/>
                </a:cxn>
                <a:cxn ang="0">
                  <a:pos x="494" y="351"/>
                </a:cxn>
                <a:cxn ang="0">
                  <a:pos x="460" y="351"/>
                </a:cxn>
                <a:cxn ang="0">
                  <a:pos x="382" y="423"/>
                </a:cxn>
                <a:cxn ang="0">
                  <a:pos x="353" y="452"/>
                </a:cxn>
                <a:cxn ang="0">
                  <a:pos x="311" y="461"/>
                </a:cxn>
                <a:cxn ang="0">
                  <a:pos x="279" y="496"/>
                </a:cxn>
                <a:cxn ang="0">
                  <a:pos x="224" y="513"/>
                </a:cxn>
                <a:cxn ang="0">
                  <a:pos x="157" y="526"/>
                </a:cxn>
                <a:cxn ang="0">
                  <a:pos x="140" y="526"/>
                </a:cxn>
                <a:cxn ang="0">
                  <a:pos x="71" y="549"/>
                </a:cxn>
                <a:cxn ang="0">
                  <a:pos x="12" y="591"/>
                </a:cxn>
                <a:cxn ang="0">
                  <a:pos x="6" y="664"/>
                </a:cxn>
              </a:cxnLst>
              <a:rect l="0" t="0" r="r" b="b"/>
              <a:pathLst>
                <a:path w="1477" h="1415">
                  <a:moveTo>
                    <a:pt x="239" y="898"/>
                  </a:moveTo>
                  <a:lnTo>
                    <a:pt x="615" y="1213"/>
                  </a:lnTo>
                  <a:lnTo>
                    <a:pt x="615" y="1213"/>
                  </a:lnTo>
                  <a:lnTo>
                    <a:pt x="617" y="1219"/>
                  </a:lnTo>
                  <a:lnTo>
                    <a:pt x="620" y="1223"/>
                  </a:lnTo>
                  <a:lnTo>
                    <a:pt x="624" y="1224"/>
                  </a:lnTo>
                  <a:lnTo>
                    <a:pt x="630" y="1226"/>
                  </a:lnTo>
                  <a:lnTo>
                    <a:pt x="634" y="1228"/>
                  </a:lnTo>
                  <a:lnTo>
                    <a:pt x="639" y="1230"/>
                  </a:lnTo>
                  <a:lnTo>
                    <a:pt x="643" y="1232"/>
                  </a:lnTo>
                  <a:lnTo>
                    <a:pt x="647" y="1238"/>
                  </a:lnTo>
                  <a:lnTo>
                    <a:pt x="647" y="1238"/>
                  </a:lnTo>
                  <a:lnTo>
                    <a:pt x="649" y="1243"/>
                  </a:lnTo>
                  <a:lnTo>
                    <a:pt x="649" y="1247"/>
                  </a:lnTo>
                  <a:lnTo>
                    <a:pt x="649" y="1253"/>
                  </a:lnTo>
                  <a:lnTo>
                    <a:pt x="649" y="1257"/>
                  </a:lnTo>
                  <a:lnTo>
                    <a:pt x="647" y="1261"/>
                  </a:lnTo>
                  <a:lnTo>
                    <a:pt x="649" y="1266"/>
                  </a:lnTo>
                  <a:lnTo>
                    <a:pt x="649" y="1270"/>
                  </a:lnTo>
                  <a:lnTo>
                    <a:pt x="653" y="1272"/>
                  </a:lnTo>
                  <a:lnTo>
                    <a:pt x="653" y="1272"/>
                  </a:lnTo>
                  <a:lnTo>
                    <a:pt x="655" y="1274"/>
                  </a:lnTo>
                  <a:lnTo>
                    <a:pt x="657" y="1276"/>
                  </a:lnTo>
                  <a:lnTo>
                    <a:pt x="660" y="1276"/>
                  </a:lnTo>
                  <a:lnTo>
                    <a:pt x="662" y="1278"/>
                  </a:lnTo>
                  <a:lnTo>
                    <a:pt x="666" y="1278"/>
                  </a:lnTo>
                  <a:lnTo>
                    <a:pt x="670" y="1278"/>
                  </a:lnTo>
                  <a:lnTo>
                    <a:pt x="674" y="1280"/>
                  </a:lnTo>
                  <a:lnTo>
                    <a:pt x="678" y="1280"/>
                  </a:lnTo>
                  <a:lnTo>
                    <a:pt x="678" y="1280"/>
                  </a:lnTo>
                  <a:lnTo>
                    <a:pt x="679" y="1289"/>
                  </a:lnTo>
                  <a:lnTo>
                    <a:pt x="683" y="1297"/>
                  </a:lnTo>
                  <a:lnTo>
                    <a:pt x="691" y="1305"/>
                  </a:lnTo>
                  <a:lnTo>
                    <a:pt x="699" y="1310"/>
                  </a:lnTo>
                  <a:lnTo>
                    <a:pt x="708" y="1314"/>
                  </a:lnTo>
                  <a:lnTo>
                    <a:pt x="718" y="1318"/>
                  </a:lnTo>
                  <a:lnTo>
                    <a:pt x="729" y="1322"/>
                  </a:lnTo>
                  <a:lnTo>
                    <a:pt x="739" y="1324"/>
                  </a:lnTo>
                  <a:lnTo>
                    <a:pt x="750" y="1327"/>
                  </a:lnTo>
                  <a:lnTo>
                    <a:pt x="760" y="1331"/>
                  </a:lnTo>
                  <a:lnTo>
                    <a:pt x="769" y="1335"/>
                  </a:lnTo>
                  <a:lnTo>
                    <a:pt x="777" y="1341"/>
                  </a:lnTo>
                  <a:lnTo>
                    <a:pt x="784" y="1347"/>
                  </a:lnTo>
                  <a:lnTo>
                    <a:pt x="790" y="1356"/>
                  </a:lnTo>
                  <a:lnTo>
                    <a:pt x="794" y="1366"/>
                  </a:lnTo>
                  <a:lnTo>
                    <a:pt x="796" y="1379"/>
                  </a:lnTo>
                  <a:lnTo>
                    <a:pt x="796" y="1379"/>
                  </a:lnTo>
                  <a:lnTo>
                    <a:pt x="794" y="1383"/>
                  </a:lnTo>
                  <a:lnTo>
                    <a:pt x="794" y="1385"/>
                  </a:lnTo>
                  <a:lnTo>
                    <a:pt x="792" y="1387"/>
                  </a:lnTo>
                  <a:lnTo>
                    <a:pt x="790" y="1387"/>
                  </a:lnTo>
                  <a:lnTo>
                    <a:pt x="788" y="1388"/>
                  </a:lnTo>
                  <a:lnTo>
                    <a:pt x="786" y="1390"/>
                  </a:lnTo>
                  <a:lnTo>
                    <a:pt x="786" y="1394"/>
                  </a:lnTo>
                  <a:lnTo>
                    <a:pt x="786" y="1396"/>
                  </a:lnTo>
                  <a:lnTo>
                    <a:pt x="786" y="1396"/>
                  </a:lnTo>
                  <a:lnTo>
                    <a:pt x="786" y="1400"/>
                  </a:lnTo>
                  <a:lnTo>
                    <a:pt x="786" y="1402"/>
                  </a:lnTo>
                  <a:lnTo>
                    <a:pt x="788" y="1404"/>
                  </a:lnTo>
                  <a:lnTo>
                    <a:pt x="790" y="1406"/>
                  </a:lnTo>
                  <a:lnTo>
                    <a:pt x="792" y="1408"/>
                  </a:lnTo>
                  <a:lnTo>
                    <a:pt x="794" y="1409"/>
                  </a:lnTo>
                  <a:lnTo>
                    <a:pt x="796" y="1411"/>
                  </a:lnTo>
                  <a:lnTo>
                    <a:pt x="798" y="1415"/>
                  </a:lnTo>
                  <a:lnTo>
                    <a:pt x="996" y="1379"/>
                  </a:lnTo>
                  <a:lnTo>
                    <a:pt x="1133" y="1264"/>
                  </a:lnTo>
                  <a:lnTo>
                    <a:pt x="1477" y="1070"/>
                  </a:lnTo>
                  <a:lnTo>
                    <a:pt x="1477" y="1070"/>
                  </a:lnTo>
                  <a:lnTo>
                    <a:pt x="1475" y="1064"/>
                  </a:lnTo>
                  <a:lnTo>
                    <a:pt x="1473" y="1058"/>
                  </a:lnTo>
                  <a:lnTo>
                    <a:pt x="1471" y="1055"/>
                  </a:lnTo>
                  <a:lnTo>
                    <a:pt x="1469" y="1051"/>
                  </a:lnTo>
                  <a:lnTo>
                    <a:pt x="1465" y="1045"/>
                  </a:lnTo>
                  <a:lnTo>
                    <a:pt x="1462" y="1041"/>
                  </a:lnTo>
                  <a:lnTo>
                    <a:pt x="1460" y="1037"/>
                  </a:lnTo>
                  <a:lnTo>
                    <a:pt x="1456" y="1034"/>
                  </a:lnTo>
                  <a:lnTo>
                    <a:pt x="1452" y="1032"/>
                  </a:lnTo>
                  <a:lnTo>
                    <a:pt x="1450" y="1028"/>
                  </a:lnTo>
                  <a:lnTo>
                    <a:pt x="1446" y="1024"/>
                  </a:lnTo>
                  <a:lnTo>
                    <a:pt x="1444" y="1018"/>
                  </a:lnTo>
                  <a:lnTo>
                    <a:pt x="1442" y="1015"/>
                  </a:lnTo>
                  <a:lnTo>
                    <a:pt x="1441" y="1009"/>
                  </a:lnTo>
                  <a:lnTo>
                    <a:pt x="1439" y="1005"/>
                  </a:lnTo>
                  <a:lnTo>
                    <a:pt x="1439" y="999"/>
                  </a:lnTo>
                  <a:lnTo>
                    <a:pt x="1439" y="999"/>
                  </a:lnTo>
                  <a:lnTo>
                    <a:pt x="1429" y="997"/>
                  </a:lnTo>
                  <a:lnTo>
                    <a:pt x="1421" y="994"/>
                  </a:lnTo>
                  <a:lnTo>
                    <a:pt x="1414" y="990"/>
                  </a:lnTo>
                  <a:lnTo>
                    <a:pt x="1408" y="986"/>
                  </a:lnTo>
                  <a:lnTo>
                    <a:pt x="1401" y="982"/>
                  </a:lnTo>
                  <a:lnTo>
                    <a:pt x="1393" y="978"/>
                  </a:lnTo>
                  <a:lnTo>
                    <a:pt x="1385" y="976"/>
                  </a:lnTo>
                  <a:lnTo>
                    <a:pt x="1376" y="974"/>
                  </a:lnTo>
                  <a:lnTo>
                    <a:pt x="1376" y="974"/>
                  </a:lnTo>
                  <a:lnTo>
                    <a:pt x="1374" y="974"/>
                  </a:lnTo>
                  <a:lnTo>
                    <a:pt x="1372" y="976"/>
                  </a:lnTo>
                  <a:lnTo>
                    <a:pt x="1368" y="976"/>
                  </a:lnTo>
                  <a:lnTo>
                    <a:pt x="1366" y="978"/>
                  </a:lnTo>
                  <a:lnTo>
                    <a:pt x="1364" y="978"/>
                  </a:lnTo>
                  <a:lnTo>
                    <a:pt x="1360" y="978"/>
                  </a:lnTo>
                  <a:lnTo>
                    <a:pt x="1359" y="978"/>
                  </a:lnTo>
                  <a:lnTo>
                    <a:pt x="1357" y="978"/>
                  </a:lnTo>
                  <a:lnTo>
                    <a:pt x="1357" y="978"/>
                  </a:lnTo>
                  <a:lnTo>
                    <a:pt x="1353" y="974"/>
                  </a:lnTo>
                  <a:lnTo>
                    <a:pt x="1351" y="971"/>
                  </a:lnTo>
                  <a:lnTo>
                    <a:pt x="1349" y="967"/>
                  </a:lnTo>
                  <a:lnTo>
                    <a:pt x="1349" y="963"/>
                  </a:lnTo>
                  <a:lnTo>
                    <a:pt x="1347" y="959"/>
                  </a:lnTo>
                  <a:lnTo>
                    <a:pt x="1347" y="955"/>
                  </a:lnTo>
                  <a:lnTo>
                    <a:pt x="1345" y="952"/>
                  </a:lnTo>
                  <a:lnTo>
                    <a:pt x="1343" y="948"/>
                  </a:lnTo>
                  <a:lnTo>
                    <a:pt x="1343" y="948"/>
                  </a:lnTo>
                  <a:lnTo>
                    <a:pt x="1341" y="944"/>
                  </a:lnTo>
                  <a:lnTo>
                    <a:pt x="1338" y="938"/>
                  </a:lnTo>
                  <a:lnTo>
                    <a:pt x="1334" y="933"/>
                  </a:lnTo>
                  <a:lnTo>
                    <a:pt x="1330" y="925"/>
                  </a:lnTo>
                  <a:lnTo>
                    <a:pt x="1326" y="919"/>
                  </a:lnTo>
                  <a:lnTo>
                    <a:pt x="1322" y="912"/>
                  </a:lnTo>
                  <a:lnTo>
                    <a:pt x="1317" y="904"/>
                  </a:lnTo>
                  <a:lnTo>
                    <a:pt x="1313" y="896"/>
                  </a:lnTo>
                  <a:lnTo>
                    <a:pt x="1309" y="889"/>
                  </a:lnTo>
                  <a:lnTo>
                    <a:pt x="1305" y="881"/>
                  </a:lnTo>
                  <a:lnTo>
                    <a:pt x="1301" y="873"/>
                  </a:lnTo>
                  <a:lnTo>
                    <a:pt x="1298" y="868"/>
                  </a:lnTo>
                  <a:lnTo>
                    <a:pt x="1294" y="860"/>
                  </a:lnTo>
                  <a:lnTo>
                    <a:pt x="1292" y="854"/>
                  </a:lnTo>
                  <a:lnTo>
                    <a:pt x="1292" y="850"/>
                  </a:lnTo>
                  <a:lnTo>
                    <a:pt x="1290" y="845"/>
                  </a:lnTo>
                  <a:lnTo>
                    <a:pt x="1290" y="845"/>
                  </a:lnTo>
                  <a:lnTo>
                    <a:pt x="1292" y="839"/>
                  </a:lnTo>
                  <a:lnTo>
                    <a:pt x="1296" y="833"/>
                  </a:lnTo>
                  <a:lnTo>
                    <a:pt x="1301" y="830"/>
                  </a:lnTo>
                  <a:lnTo>
                    <a:pt x="1309" y="826"/>
                  </a:lnTo>
                  <a:lnTo>
                    <a:pt x="1317" y="822"/>
                  </a:lnTo>
                  <a:lnTo>
                    <a:pt x="1324" y="818"/>
                  </a:lnTo>
                  <a:lnTo>
                    <a:pt x="1330" y="812"/>
                  </a:lnTo>
                  <a:lnTo>
                    <a:pt x="1334" y="807"/>
                  </a:lnTo>
                  <a:lnTo>
                    <a:pt x="1334" y="807"/>
                  </a:lnTo>
                  <a:lnTo>
                    <a:pt x="1334" y="801"/>
                  </a:lnTo>
                  <a:lnTo>
                    <a:pt x="1332" y="795"/>
                  </a:lnTo>
                  <a:lnTo>
                    <a:pt x="1330" y="789"/>
                  </a:lnTo>
                  <a:lnTo>
                    <a:pt x="1328" y="786"/>
                  </a:lnTo>
                  <a:lnTo>
                    <a:pt x="1326" y="782"/>
                  </a:lnTo>
                  <a:lnTo>
                    <a:pt x="1324" y="776"/>
                  </a:lnTo>
                  <a:lnTo>
                    <a:pt x="1324" y="770"/>
                  </a:lnTo>
                  <a:lnTo>
                    <a:pt x="1322" y="765"/>
                  </a:lnTo>
                  <a:lnTo>
                    <a:pt x="1322" y="765"/>
                  </a:lnTo>
                  <a:lnTo>
                    <a:pt x="1324" y="761"/>
                  </a:lnTo>
                  <a:lnTo>
                    <a:pt x="1324" y="755"/>
                  </a:lnTo>
                  <a:lnTo>
                    <a:pt x="1326" y="751"/>
                  </a:lnTo>
                  <a:lnTo>
                    <a:pt x="1328" y="746"/>
                  </a:lnTo>
                  <a:lnTo>
                    <a:pt x="1330" y="742"/>
                  </a:lnTo>
                  <a:lnTo>
                    <a:pt x="1334" y="736"/>
                  </a:lnTo>
                  <a:lnTo>
                    <a:pt x="1334" y="732"/>
                  </a:lnTo>
                  <a:lnTo>
                    <a:pt x="1334" y="730"/>
                  </a:lnTo>
                  <a:lnTo>
                    <a:pt x="1334" y="730"/>
                  </a:lnTo>
                  <a:lnTo>
                    <a:pt x="1334" y="723"/>
                  </a:lnTo>
                  <a:lnTo>
                    <a:pt x="1334" y="717"/>
                  </a:lnTo>
                  <a:lnTo>
                    <a:pt x="1334" y="711"/>
                  </a:lnTo>
                  <a:lnTo>
                    <a:pt x="1334" y="707"/>
                  </a:lnTo>
                  <a:lnTo>
                    <a:pt x="1334" y="702"/>
                  </a:lnTo>
                  <a:lnTo>
                    <a:pt x="1334" y="698"/>
                  </a:lnTo>
                  <a:lnTo>
                    <a:pt x="1334" y="694"/>
                  </a:lnTo>
                  <a:lnTo>
                    <a:pt x="1334" y="690"/>
                  </a:lnTo>
                  <a:lnTo>
                    <a:pt x="1334" y="686"/>
                  </a:lnTo>
                  <a:lnTo>
                    <a:pt x="1334" y="681"/>
                  </a:lnTo>
                  <a:lnTo>
                    <a:pt x="1334" y="677"/>
                  </a:lnTo>
                  <a:lnTo>
                    <a:pt x="1334" y="671"/>
                  </a:lnTo>
                  <a:lnTo>
                    <a:pt x="1334" y="665"/>
                  </a:lnTo>
                  <a:lnTo>
                    <a:pt x="1334" y="660"/>
                  </a:lnTo>
                  <a:lnTo>
                    <a:pt x="1334" y="652"/>
                  </a:lnTo>
                  <a:lnTo>
                    <a:pt x="1334" y="644"/>
                  </a:lnTo>
                  <a:lnTo>
                    <a:pt x="1334" y="644"/>
                  </a:lnTo>
                  <a:lnTo>
                    <a:pt x="1334" y="635"/>
                  </a:lnTo>
                  <a:lnTo>
                    <a:pt x="1334" y="627"/>
                  </a:lnTo>
                  <a:lnTo>
                    <a:pt x="1332" y="618"/>
                  </a:lnTo>
                  <a:lnTo>
                    <a:pt x="1330" y="610"/>
                  </a:lnTo>
                  <a:lnTo>
                    <a:pt x="1328" y="602"/>
                  </a:lnTo>
                  <a:lnTo>
                    <a:pt x="1324" y="593"/>
                  </a:lnTo>
                  <a:lnTo>
                    <a:pt x="1322" y="585"/>
                  </a:lnTo>
                  <a:lnTo>
                    <a:pt x="1318" y="580"/>
                  </a:lnTo>
                  <a:lnTo>
                    <a:pt x="1315" y="572"/>
                  </a:lnTo>
                  <a:lnTo>
                    <a:pt x="1313" y="564"/>
                  </a:lnTo>
                  <a:lnTo>
                    <a:pt x="1309" y="557"/>
                  </a:lnTo>
                  <a:lnTo>
                    <a:pt x="1305" y="549"/>
                  </a:lnTo>
                  <a:lnTo>
                    <a:pt x="1301" y="543"/>
                  </a:lnTo>
                  <a:lnTo>
                    <a:pt x="1299" y="536"/>
                  </a:lnTo>
                  <a:lnTo>
                    <a:pt x="1296" y="528"/>
                  </a:lnTo>
                  <a:lnTo>
                    <a:pt x="1294" y="520"/>
                  </a:lnTo>
                  <a:lnTo>
                    <a:pt x="1294" y="520"/>
                  </a:lnTo>
                  <a:lnTo>
                    <a:pt x="1290" y="509"/>
                  </a:lnTo>
                  <a:lnTo>
                    <a:pt x="1286" y="499"/>
                  </a:lnTo>
                  <a:lnTo>
                    <a:pt x="1284" y="488"/>
                  </a:lnTo>
                  <a:lnTo>
                    <a:pt x="1282" y="478"/>
                  </a:lnTo>
                  <a:lnTo>
                    <a:pt x="1282" y="469"/>
                  </a:lnTo>
                  <a:lnTo>
                    <a:pt x="1280" y="459"/>
                  </a:lnTo>
                  <a:lnTo>
                    <a:pt x="1278" y="450"/>
                  </a:lnTo>
                  <a:lnTo>
                    <a:pt x="1277" y="442"/>
                  </a:lnTo>
                  <a:lnTo>
                    <a:pt x="1277" y="433"/>
                  </a:lnTo>
                  <a:lnTo>
                    <a:pt x="1275" y="425"/>
                  </a:lnTo>
                  <a:lnTo>
                    <a:pt x="1271" y="417"/>
                  </a:lnTo>
                  <a:lnTo>
                    <a:pt x="1269" y="410"/>
                  </a:lnTo>
                  <a:lnTo>
                    <a:pt x="1265" y="402"/>
                  </a:lnTo>
                  <a:lnTo>
                    <a:pt x="1261" y="395"/>
                  </a:lnTo>
                  <a:lnTo>
                    <a:pt x="1256" y="387"/>
                  </a:lnTo>
                  <a:lnTo>
                    <a:pt x="1250" y="381"/>
                  </a:lnTo>
                  <a:lnTo>
                    <a:pt x="1250" y="381"/>
                  </a:lnTo>
                  <a:lnTo>
                    <a:pt x="1246" y="377"/>
                  </a:lnTo>
                  <a:lnTo>
                    <a:pt x="1240" y="372"/>
                  </a:lnTo>
                  <a:lnTo>
                    <a:pt x="1236" y="366"/>
                  </a:lnTo>
                  <a:lnTo>
                    <a:pt x="1231" y="358"/>
                  </a:lnTo>
                  <a:lnTo>
                    <a:pt x="1223" y="351"/>
                  </a:lnTo>
                  <a:lnTo>
                    <a:pt x="1217" y="341"/>
                  </a:lnTo>
                  <a:lnTo>
                    <a:pt x="1212" y="333"/>
                  </a:lnTo>
                  <a:lnTo>
                    <a:pt x="1206" y="324"/>
                  </a:lnTo>
                  <a:lnTo>
                    <a:pt x="1198" y="314"/>
                  </a:lnTo>
                  <a:lnTo>
                    <a:pt x="1193" y="305"/>
                  </a:lnTo>
                  <a:lnTo>
                    <a:pt x="1189" y="295"/>
                  </a:lnTo>
                  <a:lnTo>
                    <a:pt x="1183" y="286"/>
                  </a:lnTo>
                  <a:lnTo>
                    <a:pt x="1181" y="278"/>
                  </a:lnTo>
                  <a:lnTo>
                    <a:pt x="1177" y="271"/>
                  </a:lnTo>
                  <a:lnTo>
                    <a:pt x="1175" y="263"/>
                  </a:lnTo>
                  <a:lnTo>
                    <a:pt x="1175" y="257"/>
                  </a:lnTo>
                  <a:lnTo>
                    <a:pt x="1175" y="257"/>
                  </a:lnTo>
                  <a:lnTo>
                    <a:pt x="1175" y="248"/>
                  </a:lnTo>
                  <a:lnTo>
                    <a:pt x="1177" y="238"/>
                  </a:lnTo>
                  <a:lnTo>
                    <a:pt x="1181" y="230"/>
                  </a:lnTo>
                  <a:lnTo>
                    <a:pt x="1185" y="223"/>
                  </a:lnTo>
                  <a:lnTo>
                    <a:pt x="1191" y="217"/>
                  </a:lnTo>
                  <a:lnTo>
                    <a:pt x="1196" y="211"/>
                  </a:lnTo>
                  <a:lnTo>
                    <a:pt x="1202" y="206"/>
                  </a:lnTo>
                  <a:lnTo>
                    <a:pt x="1208" y="200"/>
                  </a:lnTo>
                  <a:lnTo>
                    <a:pt x="1214" y="196"/>
                  </a:lnTo>
                  <a:lnTo>
                    <a:pt x="1221" y="190"/>
                  </a:lnTo>
                  <a:lnTo>
                    <a:pt x="1227" y="187"/>
                  </a:lnTo>
                  <a:lnTo>
                    <a:pt x="1233" y="181"/>
                  </a:lnTo>
                  <a:lnTo>
                    <a:pt x="1236" y="175"/>
                  </a:lnTo>
                  <a:lnTo>
                    <a:pt x="1240" y="169"/>
                  </a:lnTo>
                  <a:lnTo>
                    <a:pt x="1244" y="162"/>
                  </a:lnTo>
                  <a:lnTo>
                    <a:pt x="1246" y="154"/>
                  </a:lnTo>
                  <a:lnTo>
                    <a:pt x="1246" y="154"/>
                  </a:lnTo>
                  <a:lnTo>
                    <a:pt x="1248" y="143"/>
                  </a:lnTo>
                  <a:lnTo>
                    <a:pt x="1248" y="131"/>
                  </a:lnTo>
                  <a:lnTo>
                    <a:pt x="1250" y="122"/>
                  </a:lnTo>
                  <a:lnTo>
                    <a:pt x="1250" y="110"/>
                  </a:lnTo>
                  <a:lnTo>
                    <a:pt x="1250" y="101"/>
                  </a:lnTo>
                  <a:lnTo>
                    <a:pt x="1252" y="91"/>
                  </a:lnTo>
                  <a:lnTo>
                    <a:pt x="1252" y="82"/>
                  </a:lnTo>
                  <a:lnTo>
                    <a:pt x="1252" y="72"/>
                  </a:lnTo>
                  <a:lnTo>
                    <a:pt x="1254" y="63"/>
                  </a:lnTo>
                  <a:lnTo>
                    <a:pt x="1256" y="55"/>
                  </a:lnTo>
                  <a:lnTo>
                    <a:pt x="1257" y="47"/>
                  </a:lnTo>
                  <a:lnTo>
                    <a:pt x="1261" y="40"/>
                  </a:lnTo>
                  <a:lnTo>
                    <a:pt x="1265" y="32"/>
                  </a:lnTo>
                  <a:lnTo>
                    <a:pt x="1269" y="26"/>
                  </a:lnTo>
                  <a:lnTo>
                    <a:pt x="1275" y="21"/>
                  </a:lnTo>
                  <a:lnTo>
                    <a:pt x="1282" y="15"/>
                  </a:lnTo>
                  <a:lnTo>
                    <a:pt x="1282" y="15"/>
                  </a:lnTo>
                  <a:lnTo>
                    <a:pt x="1277" y="13"/>
                  </a:lnTo>
                  <a:lnTo>
                    <a:pt x="1273" y="13"/>
                  </a:lnTo>
                  <a:lnTo>
                    <a:pt x="1267" y="11"/>
                  </a:lnTo>
                  <a:lnTo>
                    <a:pt x="1263" y="9"/>
                  </a:lnTo>
                  <a:lnTo>
                    <a:pt x="1257" y="9"/>
                  </a:lnTo>
                  <a:lnTo>
                    <a:pt x="1254" y="7"/>
                  </a:lnTo>
                  <a:lnTo>
                    <a:pt x="1248" y="7"/>
                  </a:lnTo>
                  <a:lnTo>
                    <a:pt x="1242" y="5"/>
                  </a:lnTo>
                  <a:lnTo>
                    <a:pt x="1238" y="3"/>
                  </a:lnTo>
                  <a:lnTo>
                    <a:pt x="1233" y="3"/>
                  </a:lnTo>
                  <a:lnTo>
                    <a:pt x="1227" y="3"/>
                  </a:lnTo>
                  <a:lnTo>
                    <a:pt x="1223" y="2"/>
                  </a:lnTo>
                  <a:lnTo>
                    <a:pt x="1217" y="2"/>
                  </a:lnTo>
                  <a:lnTo>
                    <a:pt x="1212" y="2"/>
                  </a:lnTo>
                  <a:lnTo>
                    <a:pt x="1208" y="0"/>
                  </a:lnTo>
                  <a:lnTo>
                    <a:pt x="1202" y="0"/>
                  </a:lnTo>
                  <a:lnTo>
                    <a:pt x="1202" y="0"/>
                  </a:lnTo>
                  <a:lnTo>
                    <a:pt x="1198" y="2"/>
                  </a:lnTo>
                  <a:lnTo>
                    <a:pt x="1196" y="2"/>
                  </a:lnTo>
                  <a:lnTo>
                    <a:pt x="1194" y="3"/>
                  </a:lnTo>
                  <a:lnTo>
                    <a:pt x="1193" y="5"/>
                  </a:lnTo>
                  <a:lnTo>
                    <a:pt x="1193" y="9"/>
                  </a:lnTo>
                  <a:lnTo>
                    <a:pt x="1191" y="11"/>
                  </a:lnTo>
                  <a:lnTo>
                    <a:pt x="1191" y="15"/>
                  </a:lnTo>
                  <a:lnTo>
                    <a:pt x="1191" y="19"/>
                  </a:lnTo>
                  <a:lnTo>
                    <a:pt x="1160" y="19"/>
                  </a:lnTo>
                  <a:lnTo>
                    <a:pt x="1160" y="19"/>
                  </a:lnTo>
                  <a:lnTo>
                    <a:pt x="1160" y="17"/>
                  </a:lnTo>
                  <a:lnTo>
                    <a:pt x="1158" y="15"/>
                  </a:lnTo>
                  <a:lnTo>
                    <a:pt x="1156" y="13"/>
                  </a:lnTo>
                  <a:lnTo>
                    <a:pt x="1153" y="9"/>
                  </a:lnTo>
                  <a:lnTo>
                    <a:pt x="1149" y="7"/>
                  </a:lnTo>
                  <a:lnTo>
                    <a:pt x="1145" y="5"/>
                  </a:lnTo>
                  <a:lnTo>
                    <a:pt x="1141" y="3"/>
                  </a:lnTo>
                  <a:lnTo>
                    <a:pt x="1139" y="3"/>
                  </a:lnTo>
                  <a:lnTo>
                    <a:pt x="1139" y="3"/>
                  </a:lnTo>
                  <a:lnTo>
                    <a:pt x="1133" y="3"/>
                  </a:lnTo>
                  <a:lnTo>
                    <a:pt x="1130" y="3"/>
                  </a:lnTo>
                  <a:lnTo>
                    <a:pt x="1124" y="5"/>
                  </a:lnTo>
                  <a:lnTo>
                    <a:pt x="1120" y="7"/>
                  </a:lnTo>
                  <a:lnTo>
                    <a:pt x="1116" y="11"/>
                  </a:lnTo>
                  <a:lnTo>
                    <a:pt x="1112" y="13"/>
                  </a:lnTo>
                  <a:lnTo>
                    <a:pt x="1109" y="17"/>
                  </a:lnTo>
                  <a:lnTo>
                    <a:pt x="1105" y="19"/>
                  </a:lnTo>
                  <a:lnTo>
                    <a:pt x="1101" y="23"/>
                  </a:lnTo>
                  <a:lnTo>
                    <a:pt x="1097" y="26"/>
                  </a:lnTo>
                  <a:lnTo>
                    <a:pt x="1093" y="28"/>
                  </a:lnTo>
                  <a:lnTo>
                    <a:pt x="1088" y="30"/>
                  </a:lnTo>
                  <a:lnTo>
                    <a:pt x="1084" y="32"/>
                  </a:lnTo>
                  <a:lnTo>
                    <a:pt x="1078" y="34"/>
                  </a:lnTo>
                  <a:lnTo>
                    <a:pt x="1072" y="36"/>
                  </a:lnTo>
                  <a:lnTo>
                    <a:pt x="1067" y="36"/>
                  </a:lnTo>
                  <a:lnTo>
                    <a:pt x="1067" y="36"/>
                  </a:lnTo>
                  <a:lnTo>
                    <a:pt x="1059" y="36"/>
                  </a:lnTo>
                  <a:lnTo>
                    <a:pt x="1051" y="34"/>
                  </a:lnTo>
                  <a:lnTo>
                    <a:pt x="1044" y="32"/>
                  </a:lnTo>
                  <a:lnTo>
                    <a:pt x="1034" y="28"/>
                  </a:lnTo>
                  <a:lnTo>
                    <a:pt x="1027" y="24"/>
                  </a:lnTo>
                  <a:lnTo>
                    <a:pt x="1019" y="21"/>
                  </a:lnTo>
                  <a:lnTo>
                    <a:pt x="1013" y="19"/>
                  </a:lnTo>
                  <a:lnTo>
                    <a:pt x="1008" y="15"/>
                  </a:lnTo>
                  <a:lnTo>
                    <a:pt x="910" y="15"/>
                  </a:lnTo>
                  <a:lnTo>
                    <a:pt x="910" y="15"/>
                  </a:lnTo>
                  <a:lnTo>
                    <a:pt x="899" y="15"/>
                  </a:lnTo>
                  <a:lnTo>
                    <a:pt x="887" y="15"/>
                  </a:lnTo>
                  <a:lnTo>
                    <a:pt x="876" y="17"/>
                  </a:lnTo>
                  <a:lnTo>
                    <a:pt x="863" y="17"/>
                  </a:lnTo>
                  <a:lnTo>
                    <a:pt x="849" y="19"/>
                  </a:lnTo>
                  <a:lnTo>
                    <a:pt x="836" y="21"/>
                  </a:lnTo>
                  <a:lnTo>
                    <a:pt x="823" y="23"/>
                  </a:lnTo>
                  <a:lnTo>
                    <a:pt x="809" y="26"/>
                  </a:lnTo>
                  <a:lnTo>
                    <a:pt x="796" y="28"/>
                  </a:lnTo>
                  <a:lnTo>
                    <a:pt x="782" y="32"/>
                  </a:lnTo>
                  <a:lnTo>
                    <a:pt x="769" y="34"/>
                  </a:lnTo>
                  <a:lnTo>
                    <a:pt x="758" y="38"/>
                  </a:lnTo>
                  <a:lnTo>
                    <a:pt x="744" y="40"/>
                  </a:lnTo>
                  <a:lnTo>
                    <a:pt x="733" y="44"/>
                  </a:lnTo>
                  <a:lnTo>
                    <a:pt x="723" y="47"/>
                  </a:lnTo>
                  <a:lnTo>
                    <a:pt x="714" y="49"/>
                  </a:lnTo>
                  <a:lnTo>
                    <a:pt x="714" y="49"/>
                  </a:lnTo>
                  <a:lnTo>
                    <a:pt x="710" y="51"/>
                  </a:lnTo>
                  <a:lnTo>
                    <a:pt x="706" y="55"/>
                  </a:lnTo>
                  <a:lnTo>
                    <a:pt x="704" y="57"/>
                  </a:lnTo>
                  <a:lnTo>
                    <a:pt x="702" y="61"/>
                  </a:lnTo>
                  <a:lnTo>
                    <a:pt x="699" y="63"/>
                  </a:lnTo>
                  <a:lnTo>
                    <a:pt x="697" y="66"/>
                  </a:lnTo>
                  <a:lnTo>
                    <a:pt x="693" y="66"/>
                  </a:lnTo>
                  <a:lnTo>
                    <a:pt x="689" y="68"/>
                  </a:lnTo>
                  <a:lnTo>
                    <a:pt x="689" y="68"/>
                  </a:lnTo>
                  <a:lnTo>
                    <a:pt x="685" y="68"/>
                  </a:lnTo>
                  <a:lnTo>
                    <a:pt x="681" y="68"/>
                  </a:lnTo>
                  <a:lnTo>
                    <a:pt x="679" y="68"/>
                  </a:lnTo>
                  <a:lnTo>
                    <a:pt x="678" y="68"/>
                  </a:lnTo>
                  <a:lnTo>
                    <a:pt x="674" y="68"/>
                  </a:lnTo>
                  <a:lnTo>
                    <a:pt x="672" y="68"/>
                  </a:lnTo>
                  <a:lnTo>
                    <a:pt x="668" y="68"/>
                  </a:lnTo>
                  <a:lnTo>
                    <a:pt x="664" y="68"/>
                  </a:lnTo>
                  <a:lnTo>
                    <a:pt x="664" y="68"/>
                  </a:lnTo>
                  <a:lnTo>
                    <a:pt x="657" y="68"/>
                  </a:lnTo>
                  <a:lnTo>
                    <a:pt x="647" y="70"/>
                  </a:lnTo>
                  <a:lnTo>
                    <a:pt x="639" y="72"/>
                  </a:lnTo>
                  <a:lnTo>
                    <a:pt x="634" y="76"/>
                  </a:lnTo>
                  <a:lnTo>
                    <a:pt x="626" y="80"/>
                  </a:lnTo>
                  <a:lnTo>
                    <a:pt x="620" y="84"/>
                  </a:lnTo>
                  <a:lnTo>
                    <a:pt x="613" y="87"/>
                  </a:lnTo>
                  <a:lnTo>
                    <a:pt x="607" y="93"/>
                  </a:lnTo>
                  <a:lnTo>
                    <a:pt x="601" y="97"/>
                  </a:lnTo>
                  <a:lnTo>
                    <a:pt x="594" y="103"/>
                  </a:lnTo>
                  <a:lnTo>
                    <a:pt x="588" y="106"/>
                  </a:lnTo>
                  <a:lnTo>
                    <a:pt x="580" y="110"/>
                  </a:lnTo>
                  <a:lnTo>
                    <a:pt x="573" y="114"/>
                  </a:lnTo>
                  <a:lnTo>
                    <a:pt x="565" y="116"/>
                  </a:lnTo>
                  <a:lnTo>
                    <a:pt x="557" y="118"/>
                  </a:lnTo>
                  <a:lnTo>
                    <a:pt x="550" y="118"/>
                  </a:lnTo>
                  <a:lnTo>
                    <a:pt x="550" y="118"/>
                  </a:lnTo>
                  <a:lnTo>
                    <a:pt x="546" y="118"/>
                  </a:lnTo>
                  <a:lnTo>
                    <a:pt x="544" y="118"/>
                  </a:lnTo>
                  <a:lnTo>
                    <a:pt x="540" y="118"/>
                  </a:lnTo>
                  <a:lnTo>
                    <a:pt x="538" y="118"/>
                  </a:lnTo>
                  <a:lnTo>
                    <a:pt x="534" y="118"/>
                  </a:lnTo>
                  <a:lnTo>
                    <a:pt x="531" y="118"/>
                  </a:lnTo>
                  <a:lnTo>
                    <a:pt x="527" y="118"/>
                  </a:lnTo>
                  <a:lnTo>
                    <a:pt x="521" y="116"/>
                  </a:lnTo>
                  <a:lnTo>
                    <a:pt x="521" y="116"/>
                  </a:lnTo>
                  <a:lnTo>
                    <a:pt x="525" y="120"/>
                  </a:lnTo>
                  <a:lnTo>
                    <a:pt x="529" y="122"/>
                  </a:lnTo>
                  <a:lnTo>
                    <a:pt x="533" y="126"/>
                  </a:lnTo>
                  <a:lnTo>
                    <a:pt x="536" y="127"/>
                  </a:lnTo>
                  <a:lnTo>
                    <a:pt x="540" y="131"/>
                  </a:lnTo>
                  <a:lnTo>
                    <a:pt x="544" y="135"/>
                  </a:lnTo>
                  <a:lnTo>
                    <a:pt x="546" y="139"/>
                  </a:lnTo>
                  <a:lnTo>
                    <a:pt x="550" y="143"/>
                  </a:lnTo>
                  <a:lnTo>
                    <a:pt x="554" y="147"/>
                  </a:lnTo>
                  <a:lnTo>
                    <a:pt x="555" y="152"/>
                  </a:lnTo>
                  <a:lnTo>
                    <a:pt x="559" y="158"/>
                  </a:lnTo>
                  <a:lnTo>
                    <a:pt x="561" y="162"/>
                  </a:lnTo>
                  <a:lnTo>
                    <a:pt x="563" y="169"/>
                  </a:lnTo>
                  <a:lnTo>
                    <a:pt x="563" y="175"/>
                  </a:lnTo>
                  <a:lnTo>
                    <a:pt x="563" y="183"/>
                  </a:lnTo>
                  <a:lnTo>
                    <a:pt x="565" y="190"/>
                  </a:lnTo>
                  <a:lnTo>
                    <a:pt x="565" y="190"/>
                  </a:lnTo>
                  <a:lnTo>
                    <a:pt x="565" y="194"/>
                  </a:lnTo>
                  <a:lnTo>
                    <a:pt x="563" y="200"/>
                  </a:lnTo>
                  <a:lnTo>
                    <a:pt x="563" y="204"/>
                  </a:lnTo>
                  <a:lnTo>
                    <a:pt x="563" y="209"/>
                  </a:lnTo>
                  <a:lnTo>
                    <a:pt x="563" y="213"/>
                  </a:lnTo>
                  <a:lnTo>
                    <a:pt x="561" y="219"/>
                  </a:lnTo>
                  <a:lnTo>
                    <a:pt x="561" y="223"/>
                  </a:lnTo>
                  <a:lnTo>
                    <a:pt x="559" y="227"/>
                  </a:lnTo>
                  <a:lnTo>
                    <a:pt x="559" y="230"/>
                  </a:lnTo>
                  <a:lnTo>
                    <a:pt x="557" y="236"/>
                  </a:lnTo>
                  <a:lnTo>
                    <a:pt x="557" y="240"/>
                  </a:lnTo>
                  <a:lnTo>
                    <a:pt x="555" y="244"/>
                  </a:lnTo>
                  <a:lnTo>
                    <a:pt x="555" y="250"/>
                  </a:lnTo>
                  <a:lnTo>
                    <a:pt x="555" y="253"/>
                  </a:lnTo>
                  <a:lnTo>
                    <a:pt x="555" y="257"/>
                  </a:lnTo>
                  <a:lnTo>
                    <a:pt x="555" y="263"/>
                  </a:lnTo>
                  <a:lnTo>
                    <a:pt x="555" y="263"/>
                  </a:lnTo>
                  <a:lnTo>
                    <a:pt x="555" y="272"/>
                  </a:lnTo>
                  <a:lnTo>
                    <a:pt x="557" y="284"/>
                  </a:lnTo>
                  <a:lnTo>
                    <a:pt x="561" y="292"/>
                  </a:lnTo>
                  <a:lnTo>
                    <a:pt x="565" y="299"/>
                  </a:lnTo>
                  <a:lnTo>
                    <a:pt x="569" y="307"/>
                  </a:lnTo>
                  <a:lnTo>
                    <a:pt x="575" y="314"/>
                  </a:lnTo>
                  <a:lnTo>
                    <a:pt x="578" y="322"/>
                  </a:lnTo>
                  <a:lnTo>
                    <a:pt x="582" y="328"/>
                  </a:lnTo>
                  <a:lnTo>
                    <a:pt x="582" y="328"/>
                  </a:lnTo>
                  <a:lnTo>
                    <a:pt x="578" y="332"/>
                  </a:lnTo>
                  <a:lnTo>
                    <a:pt x="575" y="335"/>
                  </a:lnTo>
                  <a:lnTo>
                    <a:pt x="573" y="339"/>
                  </a:lnTo>
                  <a:lnTo>
                    <a:pt x="571" y="343"/>
                  </a:lnTo>
                  <a:lnTo>
                    <a:pt x="569" y="347"/>
                  </a:lnTo>
                  <a:lnTo>
                    <a:pt x="567" y="351"/>
                  </a:lnTo>
                  <a:lnTo>
                    <a:pt x="563" y="353"/>
                  </a:lnTo>
                  <a:lnTo>
                    <a:pt x="561" y="354"/>
                  </a:lnTo>
                  <a:lnTo>
                    <a:pt x="561" y="354"/>
                  </a:lnTo>
                  <a:lnTo>
                    <a:pt x="555" y="356"/>
                  </a:lnTo>
                  <a:lnTo>
                    <a:pt x="552" y="356"/>
                  </a:lnTo>
                  <a:lnTo>
                    <a:pt x="548" y="358"/>
                  </a:lnTo>
                  <a:lnTo>
                    <a:pt x="544" y="358"/>
                  </a:lnTo>
                  <a:lnTo>
                    <a:pt x="538" y="358"/>
                  </a:lnTo>
                  <a:lnTo>
                    <a:pt x="534" y="356"/>
                  </a:lnTo>
                  <a:lnTo>
                    <a:pt x="531" y="356"/>
                  </a:lnTo>
                  <a:lnTo>
                    <a:pt x="527" y="356"/>
                  </a:lnTo>
                  <a:lnTo>
                    <a:pt x="523" y="356"/>
                  </a:lnTo>
                  <a:lnTo>
                    <a:pt x="519" y="354"/>
                  </a:lnTo>
                  <a:lnTo>
                    <a:pt x="515" y="354"/>
                  </a:lnTo>
                  <a:lnTo>
                    <a:pt x="512" y="353"/>
                  </a:lnTo>
                  <a:lnTo>
                    <a:pt x="508" y="353"/>
                  </a:lnTo>
                  <a:lnTo>
                    <a:pt x="504" y="353"/>
                  </a:lnTo>
                  <a:lnTo>
                    <a:pt x="498" y="351"/>
                  </a:lnTo>
                  <a:lnTo>
                    <a:pt x="494" y="351"/>
                  </a:lnTo>
                  <a:lnTo>
                    <a:pt x="494" y="351"/>
                  </a:lnTo>
                  <a:lnTo>
                    <a:pt x="489" y="351"/>
                  </a:lnTo>
                  <a:lnTo>
                    <a:pt x="485" y="351"/>
                  </a:lnTo>
                  <a:lnTo>
                    <a:pt x="481" y="351"/>
                  </a:lnTo>
                  <a:lnTo>
                    <a:pt x="477" y="351"/>
                  </a:lnTo>
                  <a:lnTo>
                    <a:pt x="473" y="349"/>
                  </a:lnTo>
                  <a:lnTo>
                    <a:pt x="470" y="349"/>
                  </a:lnTo>
                  <a:lnTo>
                    <a:pt x="466" y="351"/>
                  </a:lnTo>
                  <a:lnTo>
                    <a:pt x="460" y="351"/>
                  </a:lnTo>
                  <a:lnTo>
                    <a:pt x="441" y="372"/>
                  </a:lnTo>
                  <a:lnTo>
                    <a:pt x="384" y="387"/>
                  </a:lnTo>
                  <a:lnTo>
                    <a:pt x="384" y="387"/>
                  </a:lnTo>
                  <a:lnTo>
                    <a:pt x="380" y="393"/>
                  </a:lnTo>
                  <a:lnTo>
                    <a:pt x="380" y="400"/>
                  </a:lnTo>
                  <a:lnTo>
                    <a:pt x="380" y="406"/>
                  </a:lnTo>
                  <a:lnTo>
                    <a:pt x="380" y="412"/>
                  </a:lnTo>
                  <a:lnTo>
                    <a:pt x="382" y="417"/>
                  </a:lnTo>
                  <a:lnTo>
                    <a:pt x="382" y="423"/>
                  </a:lnTo>
                  <a:lnTo>
                    <a:pt x="380" y="429"/>
                  </a:lnTo>
                  <a:lnTo>
                    <a:pt x="378" y="435"/>
                  </a:lnTo>
                  <a:lnTo>
                    <a:pt x="378" y="435"/>
                  </a:lnTo>
                  <a:lnTo>
                    <a:pt x="374" y="438"/>
                  </a:lnTo>
                  <a:lnTo>
                    <a:pt x="370" y="442"/>
                  </a:lnTo>
                  <a:lnTo>
                    <a:pt x="367" y="444"/>
                  </a:lnTo>
                  <a:lnTo>
                    <a:pt x="363" y="448"/>
                  </a:lnTo>
                  <a:lnTo>
                    <a:pt x="359" y="450"/>
                  </a:lnTo>
                  <a:lnTo>
                    <a:pt x="353" y="452"/>
                  </a:lnTo>
                  <a:lnTo>
                    <a:pt x="349" y="452"/>
                  </a:lnTo>
                  <a:lnTo>
                    <a:pt x="346" y="454"/>
                  </a:lnTo>
                  <a:lnTo>
                    <a:pt x="340" y="456"/>
                  </a:lnTo>
                  <a:lnTo>
                    <a:pt x="336" y="456"/>
                  </a:lnTo>
                  <a:lnTo>
                    <a:pt x="330" y="457"/>
                  </a:lnTo>
                  <a:lnTo>
                    <a:pt x="327" y="457"/>
                  </a:lnTo>
                  <a:lnTo>
                    <a:pt x="321" y="459"/>
                  </a:lnTo>
                  <a:lnTo>
                    <a:pt x="317" y="461"/>
                  </a:lnTo>
                  <a:lnTo>
                    <a:pt x="311" y="461"/>
                  </a:lnTo>
                  <a:lnTo>
                    <a:pt x="307" y="463"/>
                  </a:lnTo>
                  <a:lnTo>
                    <a:pt x="307" y="463"/>
                  </a:lnTo>
                  <a:lnTo>
                    <a:pt x="302" y="467"/>
                  </a:lnTo>
                  <a:lnTo>
                    <a:pt x="296" y="471"/>
                  </a:lnTo>
                  <a:lnTo>
                    <a:pt x="292" y="475"/>
                  </a:lnTo>
                  <a:lnTo>
                    <a:pt x="290" y="480"/>
                  </a:lnTo>
                  <a:lnTo>
                    <a:pt x="287" y="484"/>
                  </a:lnTo>
                  <a:lnTo>
                    <a:pt x="283" y="490"/>
                  </a:lnTo>
                  <a:lnTo>
                    <a:pt x="279" y="496"/>
                  </a:lnTo>
                  <a:lnTo>
                    <a:pt x="275" y="499"/>
                  </a:lnTo>
                  <a:lnTo>
                    <a:pt x="275" y="499"/>
                  </a:lnTo>
                  <a:lnTo>
                    <a:pt x="273" y="501"/>
                  </a:lnTo>
                  <a:lnTo>
                    <a:pt x="267" y="501"/>
                  </a:lnTo>
                  <a:lnTo>
                    <a:pt x="260" y="503"/>
                  </a:lnTo>
                  <a:lnTo>
                    <a:pt x="252" y="505"/>
                  </a:lnTo>
                  <a:lnTo>
                    <a:pt x="243" y="509"/>
                  </a:lnTo>
                  <a:lnTo>
                    <a:pt x="233" y="511"/>
                  </a:lnTo>
                  <a:lnTo>
                    <a:pt x="224" y="513"/>
                  </a:lnTo>
                  <a:lnTo>
                    <a:pt x="212" y="515"/>
                  </a:lnTo>
                  <a:lnTo>
                    <a:pt x="203" y="519"/>
                  </a:lnTo>
                  <a:lnTo>
                    <a:pt x="191" y="520"/>
                  </a:lnTo>
                  <a:lnTo>
                    <a:pt x="182" y="520"/>
                  </a:lnTo>
                  <a:lnTo>
                    <a:pt x="174" y="522"/>
                  </a:lnTo>
                  <a:lnTo>
                    <a:pt x="166" y="524"/>
                  </a:lnTo>
                  <a:lnTo>
                    <a:pt x="161" y="526"/>
                  </a:lnTo>
                  <a:lnTo>
                    <a:pt x="159" y="526"/>
                  </a:lnTo>
                  <a:lnTo>
                    <a:pt x="157" y="526"/>
                  </a:lnTo>
                  <a:lnTo>
                    <a:pt x="157" y="526"/>
                  </a:lnTo>
                  <a:lnTo>
                    <a:pt x="153" y="526"/>
                  </a:lnTo>
                  <a:lnTo>
                    <a:pt x="149" y="526"/>
                  </a:lnTo>
                  <a:lnTo>
                    <a:pt x="147" y="526"/>
                  </a:lnTo>
                  <a:lnTo>
                    <a:pt x="145" y="526"/>
                  </a:lnTo>
                  <a:lnTo>
                    <a:pt x="143" y="526"/>
                  </a:lnTo>
                  <a:lnTo>
                    <a:pt x="142" y="526"/>
                  </a:lnTo>
                  <a:lnTo>
                    <a:pt x="140" y="526"/>
                  </a:lnTo>
                  <a:lnTo>
                    <a:pt x="140" y="526"/>
                  </a:lnTo>
                  <a:lnTo>
                    <a:pt x="140" y="526"/>
                  </a:lnTo>
                  <a:lnTo>
                    <a:pt x="132" y="526"/>
                  </a:lnTo>
                  <a:lnTo>
                    <a:pt x="122" y="528"/>
                  </a:lnTo>
                  <a:lnTo>
                    <a:pt x="115" y="530"/>
                  </a:lnTo>
                  <a:lnTo>
                    <a:pt x="105" y="534"/>
                  </a:lnTo>
                  <a:lnTo>
                    <a:pt x="98" y="536"/>
                  </a:lnTo>
                  <a:lnTo>
                    <a:pt x="90" y="540"/>
                  </a:lnTo>
                  <a:lnTo>
                    <a:pt x="81" y="545"/>
                  </a:lnTo>
                  <a:lnTo>
                    <a:pt x="71" y="549"/>
                  </a:lnTo>
                  <a:lnTo>
                    <a:pt x="63" y="555"/>
                  </a:lnTo>
                  <a:lnTo>
                    <a:pt x="56" y="561"/>
                  </a:lnTo>
                  <a:lnTo>
                    <a:pt x="48" y="564"/>
                  </a:lnTo>
                  <a:lnTo>
                    <a:pt x="40" y="570"/>
                  </a:lnTo>
                  <a:lnTo>
                    <a:pt x="33" y="576"/>
                  </a:lnTo>
                  <a:lnTo>
                    <a:pt x="25" y="582"/>
                  </a:lnTo>
                  <a:lnTo>
                    <a:pt x="18" y="585"/>
                  </a:lnTo>
                  <a:lnTo>
                    <a:pt x="12" y="591"/>
                  </a:lnTo>
                  <a:lnTo>
                    <a:pt x="12" y="591"/>
                  </a:lnTo>
                  <a:lnTo>
                    <a:pt x="6" y="595"/>
                  </a:lnTo>
                  <a:lnTo>
                    <a:pt x="4" y="601"/>
                  </a:lnTo>
                  <a:lnTo>
                    <a:pt x="2" y="606"/>
                  </a:lnTo>
                  <a:lnTo>
                    <a:pt x="2" y="614"/>
                  </a:lnTo>
                  <a:lnTo>
                    <a:pt x="2" y="620"/>
                  </a:lnTo>
                  <a:lnTo>
                    <a:pt x="2" y="625"/>
                  </a:lnTo>
                  <a:lnTo>
                    <a:pt x="2" y="633"/>
                  </a:lnTo>
                  <a:lnTo>
                    <a:pt x="0" y="639"/>
                  </a:lnTo>
                  <a:lnTo>
                    <a:pt x="6" y="664"/>
                  </a:lnTo>
                  <a:lnTo>
                    <a:pt x="2" y="698"/>
                  </a:lnTo>
                  <a:lnTo>
                    <a:pt x="245" y="898"/>
                  </a:lnTo>
                  <a:lnTo>
                    <a:pt x="239" y="89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5" name="Freeform 149"/>
            <p:cNvSpPr>
              <a:spLocks/>
            </p:cNvSpPr>
            <p:nvPr/>
          </p:nvSpPr>
          <p:spPr bwMode="gray">
            <a:xfrm>
              <a:off x="1945" y="740"/>
              <a:ext cx="166" cy="308"/>
            </a:xfrm>
            <a:custGeom>
              <a:avLst/>
              <a:gdLst/>
              <a:ahLst/>
              <a:cxnLst>
                <a:cxn ang="0">
                  <a:pos x="124" y="554"/>
                </a:cxn>
                <a:cxn ang="0">
                  <a:pos x="121" y="542"/>
                </a:cxn>
                <a:cxn ang="0">
                  <a:pos x="115" y="525"/>
                </a:cxn>
                <a:cxn ang="0">
                  <a:pos x="107" y="485"/>
                </a:cxn>
                <a:cxn ang="0">
                  <a:pos x="102" y="449"/>
                </a:cxn>
                <a:cxn ang="0">
                  <a:pos x="90" y="418"/>
                </a:cxn>
                <a:cxn ang="0">
                  <a:pos x="75" y="397"/>
                </a:cxn>
                <a:cxn ang="0">
                  <a:pos x="56" y="374"/>
                </a:cxn>
                <a:cxn ang="0">
                  <a:pos x="31" y="340"/>
                </a:cxn>
                <a:cxn ang="0">
                  <a:pos x="8" y="302"/>
                </a:cxn>
                <a:cxn ang="0">
                  <a:pos x="0" y="273"/>
                </a:cxn>
                <a:cxn ang="0">
                  <a:pos x="6" y="246"/>
                </a:cxn>
                <a:cxn ang="0">
                  <a:pos x="27" y="222"/>
                </a:cxn>
                <a:cxn ang="0">
                  <a:pos x="52" y="203"/>
                </a:cxn>
                <a:cxn ang="0">
                  <a:pos x="69" y="178"/>
                </a:cxn>
                <a:cxn ang="0">
                  <a:pos x="73" y="147"/>
                </a:cxn>
                <a:cxn ang="0">
                  <a:pos x="77" y="107"/>
                </a:cxn>
                <a:cxn ang="0">
                  <a:pos x="81" y="71"/>
                </a:cxn>
                <a:cxn ang="0">
                  <a:pos x="94" y="42"/>
                </a:cxn>
                <a:cxn ang="0">
                  <a:pos x="113" y="29"/>
                </a:cxn>
                <a:cxn ang="0">
                  <a:pos x="130" y="19"/>
                </a:cxn>
                <a:cxn ang="0">
                  <a:pos x="145" y="10"/>
                </a:cxn>
                <a:cxn ang="0">
                  <a:pos x="161" y="2"/>
                </a:cxn>
                <a:cxn ang="0">
                  <a:pos x="178" y="0"/>
                </a:cxn>
                <a:cxn ang="0">
                  <a:pos x="210" y="21"/>
                </a:cxn>
                <a:cxn ang="0">
                  <a:pos x="233" y="42"/>
                </a:cxn>
                <a:cxn ang="0">
                  <a:pos x="246" y="39"/>
                </a:cxn>
                <a:cxn ang="0">
                  <a:pos x="262" y="29"/>
                </a:cxn>
                <a:cxn ang="0">
                  <a:pos x="269" y="33"/>
                </a:cxn>
                <a:cxn ang="0">
                  <a:pos x="271" y="46"/>
                </a:cxn>
                <a:cxn ang="0">
                  <a:pos x="243" y="71"/>
                </a:cxn>
                <a:cxn ang="0">
                  <a:pos x="231" y="90"/>
                </a:cxn>
                <a:cxn ang="0">
                  <a:pos x="235" y="107"/>
                </a:cxn>
                <a:cxn ang="0">
                  <a:pos x="245" y="124"/>
                </a:cxn>
                <a:cxn ang="0">
                  <a:pos x="256" y="143"/>
                </a:cxn>
                <a:cxn ang="0">
                  <a:pos x="260" y="166"/>
                </a:cxn>
                <a:cxn ang="0">
                  <a:pos x="254" y="189"/>
                </a:cxn>
                <a:cxn ang="0">
                  <a:pos x="235" y="210"/>
                </a:cxn>
                <a:cxn ang="0">
                  <a:pos x="212" y="225"/>
                </a:cxn>
                <a:cxn ang="0">
                  <a:pos x="199" y="246"/>
                </a:cxn>
                <a:cxn ang="0">
                  <a:pos x="203" y="269"/>
                </a:cxn>
                <a:cxn ang="0">
                  <a:pos x="229" y="287"/>
                </a:cxn>
                <a:cxn ang="0">
                  <a:pos x="264" y="290"/>
                </a:cxn>
                <a:cxn ang="0">
                  <a:pos x="279" y="317"/>
                </a:cxn>
                <a:cxn ang="0">
                  <a:pos x="292" y="338"/>
                </a:cxn>
                <a:cxn ang="0">
                  <a:pos x="290" y="355"/>
                </a:cxn>
                <a:cxn ang="0">
                  <a:pos x="288" y="372"/>
                </a:cxn>
                <a:cxn ang="0">
                  <a:pos x="281" y="386"/>
                </a:cxn>
                <a:cxn ang="0">
                  <a:pos x="250" y="405"/>
                </a:cxn>
                <a:cxn ang="0">
                  <a:pos x="218" y="428"/>
                </a:cxn>
                <a:cxn ang="0">
                  <a:pos x="195" y="451"/>
                </a:cxn>
                <a:cxn ang="0">
                  <a:pos x="193" y="468"/>
                </a:cxn>
                <a:cxn ang="0">
                  <a:pos x="191" y="483"/>
                </a:cxn>
                <a:cxn ang="0">
                  <a:pos x="193" y="491"/>
                </a:cxn>
                <a:cxn ang="0">
                  <a:pos x="193" y="515"/>
                </a:cxn>
                <a:cxn ang="0">
                  <a:pos x="178" y="536"/>
                </a:cxn>
                <a:cxn ang="0">
                  <a:pos x="155" y="552"/>
                </a:cxn>
                <a:cxn ang="0">
                  <a:pos x="134" y="559"/>
                </a:cxn>
              </a:cxnLst>
              <a:rect l="0" t="0" r="r" b="b"/>
              <a:pathLst>
                <a:path w="292" h="561">
                  <a:moveTo>
                    <a:pt x="126" y="559"/>
                  </a:moveTo>
                  <a:lnTo>
                    <a:pt x="126" y="559"/>
                  </a:lnTo>
                  <a:lnTo>
                    <a:pt x="126" y="556"/>
                  </a:lnTo>
                  <a:lnTo>
                    <a:pt x="124" y="554"/>
                  </a:lnTo>
                  <a:lnTo>
                    <a:pt x="124" y="550"/>
                  </a:lnTo>
                  <a:lnTo>
                    <a:pt x="123" y="548"/>
                  </a:lnTo>
                  <a:lnTo>
                    <a:pt x="121" y="544"/>
                  </a:lnTo>
                  <a:lnTo>
                    <a:pt x="121" y="542"/>
                  </a:lnTo>
                  <a:lnTo>
                    <a:pt x="119" y="538"/>
                  </a:lnTo>
                  <a:lnTo>
                    <a:pt x="119" y="536"/>
                  </a:lnTo>
                  <a:lnTo>
                    <a:pt x="119" y="536"/>
                  </a:lnTo>
                  <a:lnTo>
                    <a:pt x="115" y="525"/>
                  </a:lnTo>
                  <a:lnTo>
                    <a:pt x="111" y="515"/>
                  </a:lnTo>
                  <a:lnTo>
                    <a:pt x="109" y="504"/>
                  </a:lnTo>
                  <a:lnTo>
                    <a:pt x="107" y="494"/>
                  </a:lnTo>
                  <a:lnTo>
                    <a:pt x="107" y="485"/>
                  </a:lnTo>
                  <a:lnTo>
                    <a:pt x="105" y="475"/>
                  </a:lnTo>
                  <a:lnTo>
                    <a:pt x="103" y="466"/>
                  </a:lnTo>
                  <a:lnTo>
                    <a:pt x="102" y="458"/>
                  </a:lnTo>
                  <a:lnTo>
                    <a:pt x="102" y="449"/>
                  </a:lnTo>
                  <a:lnTo>
                    <a:pt x="100" y="441"/>
                  </a:lnTo>
                  <a:lnTo>
                    <a:pt x="96" y="433"/>
                  </a:lnTo>
                  <a:lnTo>
                    <a:pt x="94" y="426"/>
                  </a:lnTo>
                  <a:lnTo>
                    <a:pt x="90" y="418"/>
                  </a:lnTo>
                  <a:lnTo>
                    <a:pt x="86" y="411"/>
                  </a:lnTo>
                  <a:lnTo>
                    <a:pt x="81" y="403"/>
                  </a:lnTo>
                  <a:lnTo>
                    <a:pt x="75" y="397"/>
                  </a:lnTo>
                  <a:lnTo>
                    <a:pt x="75" y="397"/>
                  </a:lnTo>
                  <a:lnTo>
                    <a:pt x="71" y="393"/>
                  </a:lnTo>
                  <a:lnTo>
                    <a:pt x="65" y="388"/>
                  </a:lnTo>
                  <a:lnTo>
                    <a:pt x="61" y="382"/>
                  </a:lnTo>
                  <a:lnTo>
                    <a:pt x="56" y="374"/>
                  </a:lnTo>
                  <a:lnTo>
                    <a:pt x="48" y="367"/>
                  </a:lnTo>
                  <a:lnTo>
                    <a:pt x="42" y="357"/>
                  </a:lnTo>
                  <a:lnTo>
                    <a:pt x="37" y="349"/>
                  </a:lnTo>
                  <a:lnTo>
                    <a:pt x="31" y="340"/>
                  </a:lnTo>
                  <a:lnTo>
                    <a:pt x="23" y="330"/>
                  </a:lnTo>
                  <a:lnTo>
                    <a:pt x="18" y="321"/>
                  </a:lnTo>
                  <a:lnTo>
                    <a:pt x="14" y="311"/>
                  </a:lnTo>
                  <a:lnTo>
                    <a:pt x="8" y="302"/>
                  </a:lnTo>
                  <a:lnTo>
                    <a:pt x="6" y="294"/>
                  </a:lnTo>
                  <a:lnTo>
                    <a:pt x="2" y="287"/>
                  </a:lnTo>
                  <a:lnTo>
                    <a:pt x="0" y="279"/>
                  </a:lnTo>
                  <a:lnTo>
                    <a:pt x="0" y="273"/>
                  </a:lnTo>
                  <a:lnTo>
                    <a:pt x="0" y="273"/>
                  </a:lnTo>
                  <a:lnTo>
                    <a:pt x="0" y="264"/>
                  </a:lnTo>
                  <a:lnTo>
                    <a:pt x="2" y="254"/>
                  </a:lnTo>
                  <a:lnTo>
                    <a:pt x="6" y="246"/>
                  </a:lnTo>
                  <a:lnTo>
                    <a:pt x="10" y="239"/>
                  </a:lnTo>
                  <a:lnTo>
                    <a:pt x="16" y="233"/>
                  </a:lnTo>
                  <a:lnTo>
                    <a:pt x="21" y="227"/>
                  </a:lnTo>
                  <a:lnTo>
                    <a:pt x="27" y="222"/>
                  </a:lnTo>
                  <a:lnTo>
                    <a:pt x="33" y="216"/>
                  </a:lnTo>
                  <a:lnTo>
                    <a:pt x="39" y="212"/>
                  </a:lnTo>
                  <a:lnTo>
                    <a:pt x="46" y="206"/>
                  </a:lnTo>
                  <a:lnTo>
                    <a:pt x="52" y="203"/>
                  </a:lnTo>
                  <a:lnTo>
                    <a:pt x="58" y="197"/>
                  </a:lnTo>
                  <a:lnTo>
                    <a:pt x="61" y="191"/>
                  </a:lnTo>
                  <a:lnTo>
                    <a:pt x="65" y="185"/>
                  </a:lnTo>
                  <a:lnTo>
                    <a:pt x="69" y="178"/>
                  </a:lnTo>
                  <a:lnTo>
                    <a:pt x="71" y="170"/>
                  </a:lnTo>
                  <a:lnTo>
                    <a:pt x="71" y="170"/>
                  </a:lnTo>
                  <a:lnTo>
                    <a:pt x="73" y="159"/>
                  </a:lnTo>
                  <a:lnTo>
                    <a:pt x="73" y="147"/>
                  </a:lnTo>
                  <a:lnTo>
                    <a:pt x="75" y="138"/>
                  </a:lnTo>
                  <a:lnTo>
                    <a:pt x="75" y="126"/>
                  </a:lnTo>
                  <a:lnTo>
                    <a:pt x="75" y="117"/>
                  </a:lnTo>
                  <a:lnTo>
                    <a:pt x="77" y="107"/>
                  </a:lnTo>
                  <a:lnTo>
                    <a:pt x="77" y="98"/>
                  </a:lnTo>
                  <a:lnTo>
                    <a:pt x="77" y="88"/>
                  </a:lnTo>
                  <a:lnTo>
                    <a:pt x="79" y="79"/>
                  </a:lnTo>
                  <a:lnTo>
                    <a:pt x="81" y="71"/>
                  </a:lnTo>
                  <a:lnTo>
                    <a:pt x="82" y="63"/>
                  </a:lnTo>
                  <a:lnTo>
                    <a:pt x="86" y="56"/>
                  </a:lnTo>
                  <a:lnTo>
                    <a:pt x="90" y="48"/>
                  </a:lnTo>
                  <a:lnTo>
                    <a:pt x="94" y="42"/>
                  </a:lnTo>
                  <a:lnTo>
                    <a:pt x="100" y="37"/>
                  </a:lnTo>
                  <a:lnTo>
                    <a:pt x="107" y="31"/>
                  </a:lnTo>
                  <a:lnTo>
                    <a:pt x="107" y="31"/>
                  </a:lnTo>
                  <a:lnTo>
                    <a:pt x="113" y="29"/>
                  </a:lnTo>
                  <a:lnTo>
                    <a:pt x="117" y="27"/>
                  </a:lnTo>
                  <a:lnTo>
                    <a:pt x="123" y="25"/>
                  </a:lnTo>
                  <a:lnTo>
                    <a:pt x="126" y="23"/>
                  </a:lnTo>
                  <a:lnTo>
                    <a:pt x="130" y="19"/>
                  </a:lnTo>
                  <a:lnTo>
                    <a:pt x="134" y="18"/>
                  </a:lnTo>
                  <a:lnTo>
                    <a:pt x="138" y="16"/>
                  </a:lnTo>
                  <a:lnTo>
                    <a:pt x="142" y="12"/>
                  </a:lnTo>
                  <a:lnTo>
                    <a:pt x="145" y="10"/>
                  </a:lnTo>
                  <a:lnTo>
                    <a:pt x="149" y="8"/>
                  </a:lnTo>
                  <a:lnTo>
                    <a:pt x="153" y="6"/>
                  </a:lnTo>
                  <a:lnTo>
                    <a:pt x="157" y="4"/>
                  </a:lnTo>
                  <a:lnTo>
                    <a:pt x="161" y="2"/>
                  </a:lnTo>
                  <a:lnTo>
                    <a:pt x="166" y="2"/>
                  </a:lnTo>
                  <a:lnTo>
                    <a:pt x="172" y="0"/>
                  </a:lnTo>
                  <a:lnTo>
                    <a:pt x="178" y="0"/>
                  </a:lnTo>
                  <a:lnTo>
                    <a:pt x="178" y="0"/>
                  </a:lnTo>
                  <a:lnTo>
                    <a:pt x="185" y="2"/>
                  </a:lnTo>
                  <a:lnTo>
                    <a:pt x="195" y="8"/>
                  </a:lnTo>
                  <a:lnTo>
                    <a:pt x="203" y="14"/>
                  </a:lnTo>
                  <a:lnTo>
                    <a:pt x="210" y="21"/>
                  </a:lnTo>
                  <a:lnTo>
                    <a:pt x="216" y="29"/>
                  </a:lnTo>
                  <a:lnTo>
                    <a:pt x="224" y="35"/>
                  </a:lnTo>
                  <a:lnTo>
                    <a:pt x="229" y="40"/>
                  </a:lnTo>
                  <a:lnTo>
                    <a:pt x="233" y="42"/>
                  </a:lnTo>
                  <a:lnTo>
                    <a:pt x="233" y="42"/>
                  </a:lnTo>
                  <a:lnTo>
                    <a:pt x="239" y="42"/>
                  </a:lnTo>
                  <a:lnTo>
                    <a:pt x="243" y="40"/>
                  </a:lnTo>
                  <a:lnTo>
                    <a:pt x="246" y="39"/>
                  </a:lnTo>
                  <a:lnTo>
                    <a:pt x="252" y="37"/>
                  </a:lnTo>
                  <a:lnTo>
                    <a:pt x="256" y="35"/>
                  </a:lnTo>
                  <a:lnTo>
                    <a:pt x="260" y="33"/>
                  </a:lnTo>
                  <a:lnTo>
                    <a:pt x="262" y="29"/>
                  </a:lnTo>
                  <a:lnTo>
                    <a:pt x="264" y="29"/>
                  </a:lnTo>
                  <a:lnTo>
                    <a:pt x="264" y="29"/>
                  </a:lnTo>
                  <a:lnTo>
                    <a:pt x="267" y="31"/>
                  </a:lnTo>
                  <a:lnTo>
                    <a:pt x="269" y="33"/>
                  </a:lnTo>
                  <a:lnTo>
                    <a:pt x="273" y="35"/>
                  </a:lnTo>
                  <a:lnTo>
                    <a:pt x="275" y="37"/>
                  </a:lnTo>
                  <a:lnTo>
                    <a:pt x="275" y="37"/>
                  </a:lnTo>
                  <a:lnTo>
                    <a:pt x="271" y="46"/>
                  </a:lnTo>
                  <a:lnTo>
                    <a:pt x="266" y="54"/>
                  </a:lnTo>
                  <a:lnTo>
                    <a:pt x="258" y="61"/>
                  </a:lnTo>
                  <a:lnTo>
                    <a:pt x="250" y="67"/>
                  </a:lnTo>
                  <a:lnTo>
                    <a:pt x="243" y="71"/>
                  </a:lnTo>
                  <a:lnTo>
                    <a:pt x="237" y="77"/>
                  </a:lnTo>
                  <a:lnTo>
                    <a:pt x="233" y="82"/>
                  </a:lnTo>
                  <a:lnTo>
                    <a:pt x="231" y="90"/>
                  </a:lnTo>
                  <a:lnTo>
                    <a:pt x="231" y="90"/>
                  </a:lnTo>
                  <a:lnTo>
                    <a:pt x="231" y="94"/>
                  </a:lnTo>
                  <a:lnTo>
                    <a:pt x="231" y="98"/>
                  </a:lnTo>
                  <a:lnTo>
                    <a:pt x="233" y="103"/>
                  </a:lnTo>
                  <a:lnTo>
                    <a:pt x="235" y="107"/>
                  </a:lnTo>
                  <a:lnTo>
                    <a:pt x="237" y="111"/>
                  </a:lnTo>
                  <a:lnTo>
                    <a:pt x="239" y="115"/>
                  </a:lnTo>
                  <a:lnTo>
                    <a:pt x="243" y="121"/>
                  </a:lnTo>
                  <a:lnTo>
                    <a:pt x="245" y="124"/>
                  </a:lnTo>
                  <a:lnTo>
                    <a:pt x="248" y="128"/>
                  </a:lnTo>
                  <a:lnTo>
                    <a:pt x="250" y="134"/>
                  </a:lnTo>
                  <a:lnTo>
                    <a:pt x="254" y="138"/>
                  </a:lnTo>
                  <a:lnTo>
                    <a:pt x="256" y="143"/>
                  </a:lnTo>
                  <a:lnTo>
                    <a:pt x="258" y="149"/>
                  </a:lnTo>
                  <a:lnTo>
                    <a:pt x="258" y="155"/>
                  </a:lnTo>
                  <a:lnTo>
                    <a:pt x="260" y="161"/>
                  </a:lnTo>
                  <a:lnTo>
                    <a:pt x="260" y="166"/>
                  </a:lnTo>
                  <a:lnTo>
                    <a:pt x="260" y="166"/>
                  </a:lnTo>
                  <a:lnTo>
                    <a:pt x="260" y="176"/>
                  </a:lnTo>
                  <a:lnTo>
                    <a:pt x="258" y="182"/>
                  </a:lnTo>
                  <a:lnTo>
                    <a:pt x="254" y="189"/>
                  </a:lnTo>
                  <a:lnTo>
                    <a:pt x="250" y="195"/>
                  </a:lnTo>
                  <a:lnTo>
                    <a:pt x="245" y="201"/>
                  </a:lnTo>
                  <a:lnTo>
                    <a:pt x="241" y="205"/>
                  </a:lnTo>
                  <a:lnTo>
                    <a:pt x="235" y="210"/>
                  </a:lnTo>
                  <a:lnTo>
                    <a:pt x="229" y="212"/>
                  </a:lnTo>
                  <a:lnTo>
                    <a:pt x="224" y="216"/>
                  </a:lnTo>
                  <a:lnTo>
                    <a:pt x="218" y="222"/>
                  </a:lnTo>
                  <a:lnTo>
                    <a:pt x="212" y="225"/>
                  </a:lnTo>
                  <a:lnTo>
                    <a:pt x="208" y="229"/>
                  </a:lnTo>
                  <a:lnTo>
                    <a:pt x="205" y="235"/>
                  </a:lnTo>
                  <a:lnTo>
                    <a:pt x="201" y="239"/>
                  </a:lnTo>
                  <a:lnTo>
                    <a:pt x="199" y="246"/>
                  </a:lnTo>
                  <a:lnTo>
                    <a:pt x="199" y="252"/>
                  </a:lnTo>
                  <a:lnTo>
                    <a:pt x="199" y="252"/>
                  </a:lnTo>
                  <a:lnTo>
                    <a:pt x="199" y="262"/>
                  </a:lnTo>
                  <a:lnTo>
                    <a:pt x="203" y="269"/>
                  </a:lnTo>
                  <a:lnTo>
                    <a:pt x="208" y="275"/>
                  </a:lnTo>
                  <a:lnTo>
                    <a:pt x="214" y="281"/>
                  </a:lnTo>
                  <a:lnTo>
                    <a:pt x="222" y="285"/>
                  </a:lnTo>
                  <a:lnTo>
                    <a:pt x="229" y="287"/>
                  </a:lnTo>
                  <a:lnTo>
                    <a:pt x="239" y="288"/>
                  </a:lnTo>
                  <a:lnTo>
                    <a:pt x="246" y="290"/>
                  </a:lnTo>
                  <a:lnTo>
                    <a:pt x="264" y="290"/>
                  </a:lnTo>
                  <a:lnTo>
                    <a:pt x="264" y="290"/>
                  </a:lnTo>
                  <a:lnTo>
                    <a:pt x="266" y="300"/>
                  </a:lnTo>
                  <a:lnTo>
                    <a:pt x="267" y="308"/>
                  </a:lnTo>
                  <a:lnTo>
                    <a:pt x="273" y="313"/>
                  </a:lnTo>
                  <a:lnTo>
                    <a:pt x="279" y="317"/>
                  </a:lnTo>
                  <a:lnTo>
                    <a:pt x="285" y="319"/>
                  </a:lnTo>
                  <a:lnTo>
                    <a:pt x="288" y="323"/>
                  </a:lnTo>
                  <a:lnTo>
                    <a:pt x="292" y="329"/>
                  </a:lnTo>
                  <a:lnTo>
                    <a:pt x="292" y="338"/>
                  </a:lnTo>
                  <a:lnTo>
                    <a:pt x="292" y="338"/>
                  </a:lnTo>
                  <a:lnTo>
                    <a:pt x="292" y="346"/>
                  </a:lnTo>
                  <a:lnTo>
                    <a:pt x="292" y="351"/>
                  </a:lnTo>
                  <a:lnTo>
                    <a:pt x="290" y="355"/>
                  </a:lnTo>
                  <a:lnTo>
                    <a:pt x="288" y="359"/>
                  </a:lnTo>
                  <a:lnTo>
                    <a:pt x="287" y="363"/>
                  </a:lnTo>
                  <a:lnTo>
                    <a:pt x="288" y="367"/>
                  </a:lnTo>
                  <a:lnTo>
                    <a:pt x="288" y="372"/>
                  </a:lnTo>
                  <a:lnTo>
                    <a:pt x="292" y="378"/>
                  </a:lnTo>
                  <a:lnTo>
                    <a:pt x="292" y="378"/>
                  </a:lnTo>
                  <a:lnTo>
                    <a:pt x="288" y="382"/>
                  </a:lnTo>
                  <a:lnTo>
                    <a:pt x="281" y="386"/>
                  </a:lnTo>
                  <a:lnTo>
                    <a:pt x="275" y="390"/>
                  </a:lnTo>
                  <a:lnTo>
                    <a:pt x="267" y="393"/>
                  </a:lnTo>
                  <a:lnTo>
                    <a:pt x="258" y="399"/>
                  </a:lnTo>
                  <a:lnTo>
                    <a:pt x="250" y="405"/>
                  </a:lnTo>
                  <a:lnTo>
                    <a:pt x="243" y="411"/>
                  </a:lnTo>
                  <a:lnTo>
                    <a:pt x="233" y="416"/>
                  </a:lnTo>
                  <a:lnTo>
                    <a:pt x="226" y="422"/>
                  </a:lnTo>
                  <a:lnTo>
                    <a:pt x="218" y="428"/>
                  </a:lnTo>
                  <a:lnTo>
                    <a:pt x="210" y="433"/>
                  </a:lnTo>
                  <a:lnTo>
                    <a:pt x="205" y="441"/>
                  </a:lnTo>
                  <a:lnTo>
                    <a:pt x="199" y="447"/>
                  </a:lnTo>
                  <a:lnTo>
                    <a:pt x="195" y="451"/>
                  </a:lnTo>
                  <a:lnTo>
                    <a:pt x="193" y="456"/>
                  </a:lnTo>
                  <a:lnTo>
                    <a:pt x="193" y="462"/>
                  </a:lnTo>
                  <a:lnTo>
                    <a:pt x="193" y="462"/>
                  </a:lnTo>
                  <a:lnTo>
                    <a:pt x="193" y="468"/>
                  </a:lnTo>
                  <a:lnTo>
                    <a:pt x="191" y="473"/>
                  </a:lnTo>
                  <a:lnTo>
                    <a:pt x="191" y="477"/>
                  </a:lnTo>
                  <a:lnTo>
                    <a:pt x="191" y="481"/>
                  </a:lnTo>
                  <a:lnTo>
                    <a:pt x="191" y="483"/>
                  </a:lnTo>
                  <a:lnTo>
                    <a:pt x="191" y="487"/>
                  </a:lnTo>
                  <a:lnTo>
                    <a:pt x="191" y="489"/>
                  </a:lnTo>
                  <a:lnTo>
                    <a:pt x="193" y="491"/>
                  </a:lnTo>
                  <a:lnTo>
                    <a:pt x="193" y="491"/>
                  </a:lnTo>
                  <a:lnTo>
                    <a:pt x="195" y="498"/>
                  </a:lnTo>
                  <a:lnTo>
                    <a:pt x="195" y="504"/>
                  </a:lnTo>
                  <a:lnTo>
                    <a:pt x="195" y="510"/>
                  </a:lnTo>
                  <a:lnTo>
                    <a:pt x="193" y="515"/>
                  </a:lnTo>
                  <a:lnTo>
                    <a:pt x="191" y="521"/>
                  </a:lnTo>
                  <a:lnTo>
                    <a:pt x="187" y="527"/>
                  </a:lnTo>
                  <a:lnTo>
                    <a:pt x="184" y="531"/>
                  </a:lnTo>
                  <a:lnTo>
                    <a:pt x="178" y="536"/>
                  </a:lnTo>
                  <a:lnTo>
                    <a:pt x="174" y="540"/>
                  </a:lnTo>
                  <a:lnTo>
                    <a:pt x="166" y="544"/>
                  </a:lnTo>
                  <a:lnTo>
                    <a:pt x="161" y="548"/>
                  </a:lnTo>
                  <a:lnTo>
                    <a:pt x="155" y="552"/>
                  </a:lnTo>
                  <a:lnTo>
                    <a:pt x="149" y="556"/>
                  </a:lnTo>
                  <a:lnTo>
                    <a:pt x="143" y="557"/>
                  </a:lnTo>
                  <a:lnTo>
                    <a:pt x="138" y="559"/>
                  </a:lnTo>
                  <a:lnTo>
                    <a:pt x="134" y="559"/>
                  </a:lnTo>
                  <a:lnTo>
                    <a:pt x="134" y="561"/>
                  </a:lnTo>
                  <a:lnTo>
                    <a:pt x="126" y="55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6" name="Freeform 150"/>
            <p:cNvSpPr>
              <a:spLocks/>
            </p:cNvSpPr>
            <p:nvPr/>
          </p:nvSpPr>
          <p:spPr bwMode="gray">
            <a:xfrm>
              <a:off x="1043" y="1242"/>
              <a:ext cx="729" cy="655"/>
            </a:xfrm>
            <a:custGeom>
              <a:avLst/>
              <a:gdLst/>
              <a:ahLst/>
              <a:cxnLst>
                <a:cxn ang="0">
                  <a:pos x="910" y="813"/>
                </a:cxn>
                <a:cxn ang="0">
                  <a:pos x="852" y="826"/>
                </a:cxn>
                <a:cxn ang="0">
                  <a:pos x="797" y="859"/>
                </a:cxn>
                <a:cxn ang="0">
                  <a:pos x="776" y="882"/>
                </a:cxn>
                <a:cxn ang="0">
                  <a:pos x="755" y="872"/>
                </a:cxn>
                <a:cxn ang="0">
                  <a:pos x="707" y="918"/>
                </a:cxn>
                <a:cxn ang="0">
                  <a:pos x="683" y="927"/>
                </a:cxn>
                <a:cxn ang="0">
                  <a:pos x="664" y="954"/>
                </a:cxn>
                <a:cxn ang="0">
                  <a:pos x="631" y="937"/>
                </a:cxn>
                <a:cxn ang="0">
                  <a:pos x="603" y="960"/>
                </a:cxn>
                <a:cxn ang="0">
                  <a:pos x="612" y="975"/>
                </a:cxn>
                <a:cxn ang="0">
                  <a:pos x="526" y="1059"/>
                </a:cxn>
                <a:cxn ang="0">
                  <a:pos x="524" y="1084"/>
                </a:cxn>
                <a:cxn ang="0">
                  <a:pos x="503" y="1126"/>
                </a:cxn>
                <a:cxn ang="0">
                  <a:pos x="505" y="1166"/>
                </a:cxn>
                <a:cxn ang="0">
                  <a:pos x="463" y="1189"/>
                </a:cxn>
                <a:cxn ang="0">
                  <a:pos x="444" y="1160"/>
                </a:cxn>
                <a:cxn ang="0">
                  <a:pos x="414" y="1156"/>
                </a:cxn>
                <a:cxn ang="0">
                  <a:pos x="385" y="1187"/>
                </a:cxn>
                <a:cxn ang="0">
                  <a:pos x="343" y="1173"/>
                </a:cxn>
                <a:cxn ang="0">
                  <a:pos x="313" y="1183"/>
                </a:cxn>
                <a:cxn ang="0">
                  <a:pos x="295" y="1152"/>
                </a:cxn>
                <a:cxn ang="0">
                  <a:pos x="265" y="1116"/>
                </a:cxn>
                <a:cxn ang="0">
                  <a:pos x="280" y="1099"/>
                </a:cxn>
                <a:cxn ang="0">
                  <a:pos x="257" y="1048"/>
                </a:cxn>
                <a:cxn ang="0">
                  <a:pos x="231" y="996"/>
                </a:cxn>
                <a:cxn ang="0">
                  <a:pos x="181" y="1030"/>
                </a:cxn>
                <a:cxn ang="0">
                  <a:pos x="147" y="1017"/>
                </a:cxn>
                <a:cxn ang="0">
                  <a:pos x="122" y="1034"/>
                </a:cxn>
                <a:cxn ang="0">
                  <a:pos x="93" y="1013"/>
                </a:cxn>
                <a:cxn ang="0">
                  <a:pos x="70" y="1023"/>
                </a:cxn>
                <a:cxn ang="0">
                  <a:pos x="57" y="1007"/>
                </a:cxn>
                <a:cxn ang="0">
                  <a:pos x="57" y="994"/>
                </a:cxn>
                <a:cxn ang="0">
                  <a:pos x="65" y="960"/>
                </a:cxn>
                <a:cxn ang="0">
                  <a:pos x="36" y="918"/>
                </a:cxn>
                <a:cxn ang="0">
                  <a:pos x="19" y="887"/>
                </a:cxn>
                <a:cxn ang="0">
                  <a:pos x="26" y="853"/>
                </a:cxn>
                <a:cxn ang="0">
                  <a:pos x="9" y="826"/>
                </a:cxn>
                <a:cxn ang="0">
                  <a:pos x="0" y="800"/>
                </a:cxn>
                <a:cxn ang="0">
                  <a:pos x="47" y="780"/>
                </a:cxn>
                <a:cxn ang="0">
                  <a:pos x="80" y="729"/>
                </a:cxn>
                <a:cxn ang="0">
                  <a:pos x="122" y="769"/>
                </a:cxn>
                <a:cxn ang="0">
                  <a:pos x="147" y="750"/>
                </a:cxn>
                <a:cxn ang="0">
                  <a:pos x="194" y="759"/>
                </a:cxn>
                <a:cxn ang="0">
                  <a:pos x="236" y="738"/>
                </a:cxn>
                <a:cxn ang="0">
                  <a:pos x="528" y="765"/>
                </a:cxn>
                <a:cxn ang="0">
                  <a:pos x="1039" y="325"/>
                </a:cxn>
                <a:cxn ang="0">
                  <a:pos x="1068" y="349"/>
                </a:cxn>
                <a:cxn ang="0">
                  <a:pos x="1076" y="378"/>
                </a:cxn>
                <a:cxn ang="0">
                  <a:pos x="1102" y="399"/>
                </a:cxn>
                <a:cxn ang="0">
                  <a:pos x="1188" y="437"/>
                </a:cxn>
                <a:cxn ang="0">
                  <a:pos x="1211" y="489"/>
                </a:cxn>
                <a:cxn ang="0">
                  <a:pos x="1207" y="506"/>
                </a:cxn>
                <a:cxn ang="0">
                  <a:pos x="1283" y="519"/>
                </a:cxn>
                <a:cxn ang="0">
                  <a:pos x="1283" y="586"/>
                </a:cxn>
                <a:cxn ang="0">
                  <a:pos x="1285" y="677"/>
                </a:cxn>
                <a:cxn ang="0">
                  <a:pos x="1242" y="775"/>
                </a:cxn>
                <a:cxn ang="0">
                  <a:pos x="1047" y="807"/>
                </a:cxn>
                <a:cxn ang="0">
                  <a:pos x="1005" y="834"/>
                </a:cxn>
              </a:cxnLst>
              <a:rect l="0" t="0" r="r" b="b"/>
              <a:pathLst>
                <a:path w="1287" h="1191">
                  <a:moveTo>
                    <a:pt x="963" y="828"/>
                  </a:moveTo>
                  <a:lnTo>
                    <a:pt x="963" y="828"/>
                  </a:lnTo>
                  <a:lnTo>
                    <a:pt x="955" y="826"/>
                  </a:lnTo>
                  <a:lnTo>
                    <a:pt x="948" y="824"/>
                  </a:lnTo>
                  <a:lnTo>
                    <a:pt x="940" y="822"/>
                  </a:lnTo>
                  <a:lnTo>
                    <a:pt x="934" y="819"/>
                  </a:lnTo>
                  <a:lnTo>
                    <a:pt x="927" y="817"/>
                  </a:lnTo>
                  <a:lnTo>
                    <a:pt x="919" y="815"/>
                  </a:lnTo>
                  <a:lnTo>
                    <a:pt x="910" y="813"/>
                  </a:lnTo>
                  <a:lnTo>
                    <a:pt x="900" y="813"/>
                  </a:lnTo>
                  <a:lnTo>
                    <a:pt x="900" y="813"/>
                  </a:lnTo>
                  <a:lnTo>
                    <a:pt x="894" y="813"/>
                  </a:lnTo>
                  <a:lnTo>
                    <a:pt x="887" y="813"/>
                  </a:lnTo>
                  <a:lnTo>
                    <a:pt x="879" y="815"/>
                  </a:lnTo>
                  <a:lnTo>
                    <a:pt x="873" y="817"/>
                  </a:lnTo>
                  <a:lnTo>
                    <a:pt x="866" y="821"/>
                  </a:lnTo>
                  <a:lnTo>
                    <a:pt x="860" y="822"/>
                  </a:lnTo>
                  <a:lnTo>
                    <a:pt x="852" y="826"/>
                  </a:lnTo>
                  <a:lnTo>
                    <a:pt x="847" y="830"/>
                  </a:lnTo>
                  <a:lnTo>
                    <a:pt x="841" y="834"/>
                  </a:lnTo>
                  <a:lnTo>
                    <a:pt x="833" y="838"/>
                  </a:lnTo>
                  <a:lnTo>
                    <a:pt x="828" y="842"/>
                  </a:lnTo>
                  <a:lnTo>
                    <a:pt x="822" y="845"/>
                  </a:lnTo>
                  <a:lnTo>
                    <a:pt x="814" y="849"/>
                  </a:lnTo>
                  <a:lnTo>
                    <a:pt x="809" y="853"/>
                  </a:lnTo>
                  <a:lnTo>
                    <a:pt x="803" y="857"/>
                  </a:lnTo>
                  <a:lnTo>
                    <a:pt x="797" y="859"/>
                  </a:lnTo>
                  <a:lnTo>
                    <a:pt x="797" y="859"/>
                  </a:lnTo>
                  <a:lnTo>
                    <a:pt x="795" y="861"/>
                  </a:lnTo>
                  <a:lnTo>
                    <a:pt x="793" y="864"/>
                  </a:lnTo>
                  <a:lnTo>
                    <a:pt x="791" y="866"/>
                  </a:lnTo>
                  <a:lnTo>
                    <a:pt x="789" y="870"/>
                  </a:lnTo>
                  <a:lnTo>
                    <a:pt x="786" y="874"/>
                  </a:lnTo>
                  <a:lnTo>
                    <a:pt x="784" y="878"/>
                  </a:lnTo>
                  <a:lnTo>
                    <a:pt x="780" y="880"/>
                  </a:lnTo>
                  <a:lnTo>
                    <a:pt x="776" y="882"/>
                  </a:lnTo>
                  <a:lnTo>
                    <a:pt x="776" y="882"/>
                  </a:lnTo>
                  <a:lnTo>
                    <a:pt x="774" y="880"/>
                  </a:lnTo>
                  <a:lnTo>
                    <a:pt x="770" y="880"/>
                  </a:lnTo>
                  <a:lnTo>
                    <a:pt x="768" y="878"/>
                  </a:lnTo>
                  <a:lnTo>
                    <a:pt x="767" y="876"/>
                  </a:lnTo>
                  <a:lnTo>
                    <a:pt x="765" y="874"/>
                  </a:lnTo>
                  <a:lnTo>
                    <a:pt x="761" y="872"/>
                  </a:lnTo>
                  <a:lnTo>
                    <a:pt x="759" y="872"/>
                  </a:lnTo>
                  <a:lnTo>
                    <a:pt x="755" y="872"/>
                  </a:lnTo>
                  <a:lnTo>
                    <a:pt x="755" y="872"/>
                  </a:lnTo>
                  <a:lnTo>
                    <a:pt x="747" y="872"/>
                  </a:lnTo>
                  <a:lnTo>
                    <a:pt x="740" y="878"/>
                  </a:lnTo>
                  <a:lnTo>
                    <a:pt x="734" y="883"/>
                  </a:lnTo>
                  <a:lnTo>
                    <a:pt x="728" y="893"/>
                  </a:lnTo>
                  <a:lnTo>
                    <a:pt x="725" y="901"/>
                  </a:lnTo>
                  <a:lnTo>
                    <a:pt x="721" y="908"/>
                  </a:lnTo>
                  <a:lnTo>
                    <a:pt x="715" y="914"/>
                  </a:lnTo>
                  <a:lnTo>
                    <a:pt x="707" y="918"/>
                  </a:lnTo>
                  <a:lnTo>
                    <a:pt x="707" y="918"/>
                  </a:lnTo>
                  <a:lnTo>
                    <a:pt x="706" y="918"/>
                  </a:lnTo>
                  <a:lnTo>
                    <a:pt x="702" y="918"/>
                  </a:lnTo>
                  <a:lnTo>
                    <a:pt x="698" y="918"/>
                  </a:lnTo>
                  <a:lnTo>
                    <a:pt x="692" y="918"/>
                  </a:lnTo>
                  <a:lnTo>
                    <a:pt x="688" y="920"/>
                  </a:lnTo>
                  <a:lnTo>
                    <a:pt x="685" y="922"/>
                  </a:lnTo>
                  <a:lnTo>
                    <a:pt x="683" y="924"/>
                  </a:lnTo>
                  <a:lnTo>
                    <a:pt x="683" y="927"/>
                  </a:lnTo>
                  <a:lnTo>
                    <a:pt x="683" y="927"/>
                  </a:lnTo>
                  <a:lnTo>
                    <a:pt x="683" y="931"/>
                  </a:lnTo>
                  <a:lnTo>
                    <a:pt x="683" y="937"/>
                  </a:lnTo>
                  <a:lnTo>
                    <a:pt x="681" y="941"/>
                  </a:lnTo>
                  <a:lnTo>
                    <a:pt x="681" y="945"/>
                  </a:lnTo>
                  <a:lnTo>
                    <a:pt x="677" y="948"/>
                  </a:lnTo>
                  <a:lnTo>
                    <a:pt x="675" y="950"/>
                  </a:lnTo>
                  <a:lnTo>
                    <a:pt x="669" y="952"/>
                  </a:lnTo>
                  <a:lnTo>
                    <a:pt x="664" y="954"/>
                  </a:lnTo>
                  <a:lnTo>
                    <a:pt x="664" y="954"/>
                  </a:lnTo>
                  <a:lnTo>
                    <a:pt x="660" y="952"/>
                  </a:lnTo>
                  <a:lnTo>
                    <a:pt x="656" y="950"/>
                  </a:lnTo>
                  <a:lnTo>
                    <a:pt x="652" y="948"/>
                  </a:lnTo>
                  <a:lnTo>
                    <a:pt x="648" y="945"/>
                  </a:lnTo>
                  <a:lnTo>
                    <a:pt x="644" y="943"/>
                  </a:lnTo>
                  <a:lnTo>
                    <a:pt x="641" y="939"/>
                  </a:lnTo>
                  <a:lnTo>
                    <a:pt x="637" y="937"/>
                  </a:lnTo>
                  <a:lnTo>
                    <a:pt x="631" y="937"/>
                  </a:lnTo>
                  <a:lnTo>
                    <a:pt x="631" y="937"/>
                  </a:lnTo>
                  <a:lnTo>
                    <a:pt x="627" y="937"/>
                  </a:lnTo>
                  <a:lnTo>
                    <a:pt x="622" y="939"/>
                  </a:lnTo>
                  <a:lnTo>
                    <a:pt x="618" y="943"/>
                  </a:lnTo>
                  <a:lnTo>
                    <a:pt x="612" y="945"/>
                  </a:lnTo>
                  <a:lnTo>
                    <a:pt x="608" y="948"/>
                  </a:lnTo>
                  <a:lnTo>
                    <a:pt x="604" y="952"/>
                  </a:lnTo>
                  <a:lnTo>
                    <a:pt x="603" y="956"/>
                  </a:lnTo>
                  <a:lnTo>
                    <a:pt x="603" y="960"/>
                  </a:lnTo>
                  <a:lnTo>
                    <a:pt x="603" y="960"/>
                  </a:lnTo>
                  <a:lnTo>
                    <a:pt x="603" y="962"/>
                  </a:lnTo>
                  <a:lnTo>
                    <a:pt x="603" y="964"/>
                  </a:lnTo>
                  <a:lnTo>
                    <a:pt x="604" y="966"/>
                  </a:lnTo>
                  <a:lnTo>
                    <a:pt x="604" y="967"/>
                  </a:lnTo>
                  <a:lnTo>
                    <a:pt x="606" y="969"/>
                  </a:lnTo>
                  <a:lnTo>
                    <a:pt x="608" y="971"/>
                  </a:lnTo>
                  <a:lnTo>
                    <a:pt x="610" y="973"/>
                  </a:lnTo>
                  <a:lnTo>
                    <a:pt x="612" y="975"/>
                  </a:lnTo>
                  <a:lnTo>
                    <a:pt x="576" y="1042"/>
                  </a:lnTo>
                  <a:lnTo>
                    <a:pt x="576" y="1042"/>
                  </a:lnTo>
                  <a:lnTo>
                    <a:pt x="568" y="1046"/>
                  </a:lnTo>
                  <a:lnTo>
                    <a:pt x="559" y="1046"/>
                  </a:lnTo>
                  <a:lnTo>
                    <a:pt x="551" y="1048"/>
                  </a:lnTo>
                  <a:lnTo>
                    <a:pt x="543" y="1049"/>
                  </a:lnTo>
                  <a:lnTo>
                    <a:pt x="536" y="1051"/>
                  </a:lnTo>
                  <a:lnTo>
                    <a:pt x="530" y="1055"/>
                  </a:lnTo>
                  <a:lnTo>
                    <a:pt x="526" y="1059"/>
                  </a:lnTo>
                  <a:lnTo>
                    <a:pt x="524" y="1067"/>
                  </a:lnTo>
                  <a:lnTo>
                    <a:pt x="524" y="1067"/>
                  </a:lnTo>
                  <a:lnTo>
                    <a:pt x="524" y="1067"/>
                  </a:lnTo>
                  <a:lnTo>
                    <a:pt x="524" y="1069"/>
                  </a:lnTo>
                  <a:lnTo>
                    <a:pt x="524" y="1070"/>
                  </a:lnTo>
                  <a:lnTo>
                    <a:pt x="524" y="1072"/>
                  </a:lnTo>
                  <a:lnTo>
                    <a:pt x="524" y="1076"/>
                  </a:lnTo>
                  <a:lnTo>
                    <a:pt x="524" y="1080"/>
                  </a:lnTo>
                  <a:lnTo>
                    <a:pt x="524" y="1084"/>
                  </a:lnTo>
                  <a:lnTo>
                    <a:pt x="524" y="1088"/>
                  </a:lnTo>
                  <a:lnTo>
                    <a:pt x="524" y="1088"/>
                  </a:lnTo>
                  <a:lnTo>
                    <a:pt x="524" y="1095"/>
                  </a:lnTo>
                  <a:lnTo>
                    <a:pt x="522" y="1101"/>
                  </a:lnTo>
                  <a:lnTo>
                    <a:pt x="519" y="1107"/>
                  </a:lnTo>
                  <a:lnTo>
                    <a:pt x="515" y="1110"/>
                  </a:lnTo>
                  <a:lnTo>
                    <a:pt x="511" y="1114"/>
                  </a:lnTo>
                  <a:lnTo>
                    <a:pt x="507" y="1120"/>
                  </a:lnTo>
                  <a:lnTo>
                    <a:pt x="503" y="1126"/>
                  </a:lnTo>
                  <a:lnTo>
                    <a:pt x="501" y="1131"/>
                  </a:lnTo>
                  <a:lnTo>
                    <a:pt x="501" y="1131"/>
                  </a:lnTo>
                  <a:lnTo>
                    <a:pt x="501" y="1137"/>
                  </a:lnTo>
                  <a:lnTo>
                    <a:pt x="501" y="1141"/>
                  </a:lnTo>
                  <a:lnTo>
                    <a:pt x="503" y="1147"/>
                  </a:lnTo>
                  <a:lnTo>
                    <a:pt x="503" y="1151"/>
                  </a:lnTo>
                  <a:lnTo>
                    <a:pt x="505" y="1154"/>
                  </a:lnTo>
                  <a:lnTo>
                    <a:pt x="505" y="1160"/>
                  </a:lnTo>
                  <a:lnTo>
                    <a:pt x="505" y="1166"/>
                  </a:lnTo>
                  <a:lnTo>
                    <a:pt x="505" y="1173"/>
                  </a:lnTo>
                  <a:lnTo>
                    <a:pt x="505" y="1173"/>
                  </a:lnTo>
                  <a:lnTo>
                    <a:pt x="498" y="1173"/>
                  </a:lnTo>
                  <a:lnTo>
                    <a:pt x="492" y="1175"/>
                  </a:lnTo>
                  <a:lnTo>
                    <a:pt x="486" y="1179"/>
                  </a:lnTo>
                  <a:lnTo>
                    <a:pt x="480" y="1181"/>
                  </a:lnTo>
                  <a:lnTo>
                    <a:pt x="475" y="1185"/>
                  </a:lnTo>
                  <a:lnTo>
                    <a:pt x="469" y="1187"/>
                  </a:lnTo>
                  <a:lnTo>
                    <a:pt x="463" y="1189"/>
                  </a:lnTo>
                  <a:lnTo>
                    <a:pt x="458" y="1191"/>
                  </a:lnTo>
                  <a:lnTo>
                    <a:pt x="458" y="1191"/>
                  </a:lnTo>
                  <a:lnTo>
                    <a:pt x="454" y="1189"/>
                  </a:lnTo>
                  <a:lnTo>
                    <a:pt x="450" y="1187"/>
                  </a:lnTo>
                  <a:lnTo>
                    <a:pt x="448" y="1183"/>
                  </a:lnTo>
                  <a:lnTo>
                    <a:pt x="446" y="1177"/>
                  </a:lnTo>
                  <a:lnTo>
                    <a:pt x="446" y="1172"/>
                  </a:lnTo>
                  <a:lnTo>
                    <a:pt x="446" y="1166"/>
                  </a:lnTo>
                  <a:lnTo>
                    <a:pt x="444" y="1160"/>
                  </a:lnTo>
                  <a:lnTo>
                    <a:pt x="444" y="1154"/>
                  </a:lnTo>
                  <a:lnTo>
                    <a:pt x="444" y="1154"/>
                  </a:lnTo>
                  <a:lnTo>
                    <a:pt x="440" y="1154"/>
                  </a:lnTo>
                  <a:lnTo>
                    <a:pt x="438" y="1154"/>
                  </a:lnTo>
                  <a:lnTo>
                    <a:pt x="433" y="1154"/>
                  </a:lnTo>
                  <a:lnTo>
                    <a:pt x="429" y="1154"/>
                  </a:lnTo>
                  <a:lnTo>
                    <a:pt x="423" y="1154"/>
                  </a:lnTo>
                  <a:lnTo>
                    <a:pt x="417" y="1156"/>
                  </a:lnTo>
                  <a:lnTo>
                    <a:pt x="414" y="1156"/>
                  </a:lnTo>
                  <a:lnTo>
                    <a:pt x="410" y="1158"/>
                  </a:lnTo>
                  <a:lnTo>
                    <a:pt x="410" y="1158"/>
                  </a:lnTo>
                  <a:lnTo>
                    <a:pt x="408" y="1162"/>
                  </a:lnTo>
                  <a:lnTo>
                    <a:pt x="404" y="1166"/>
                  </a:lnTo>
                  <a:lnTo>
                    <a:pt x="402" y="1172"/>
                  </a:lnTo>
                  <a:lnTo>
                    <a:pt x="400" y="1175"/>
                  </a:lnTo>
                  <a:lnTo>
                    <a:pt x="396" y="1181"/>
                  </a:lnTo>
                  <a:lnTo>
                    <a:pt x="391" y="1185"/>
                  </a:lnTo>
                  <a:lnTo>
                    <a:pt x="385" y="1187"/>
                  </a:lnTo>
                  <a:lnTo>
                    <a:pt x="376" y="1189"/>
                  </a:lnTo>
                  <a:lnTo>
                    <a:pt x="376" y="1189"/>
                  </a:lnTo>
                  <a:lnTo>
                    <a:pt x="370" y="1187"/>
                  </a:lnTo>
                  <a:lnTo>
                    <a:pt x="364" y="1185"/>
                  </a:lnTo>
                  <a:lnTo>
                    <a:pt x="358" y="1183"/>
                  </a:lnTo>
                  <a:lnTo>
                    <a:pt x="355" y="1179"/>
                  </a:lnTo>
                  <a:lnTo>
                    <a:pt x="351" y="1177"/>
                  </a:lnTo>
                  <a:lnTo>
                    <a:pt x="347" y="1175"/>
                  </a:lnTo>
                  <a:lnTo>
                    <a:pt x="343" y="1173"/>
                  </a:lnTo>
                  <a:lnTo>
                    <a:pt x="339" y="1173"/>
                  </a:lnTo>
                  <a:lnTo>
                    <a:pt x="339" y="1173"/>
                  </a:lnTo>
                  <a:lnTo>
                    <a:pt x="335" y="1173"/>
                  </a:lnTo>
                  <a:lnTo>
                    <a:pt x="332" y="1173"/>
                  </a:lnTo>
                  <a:lnTo>
                    <a:pt x="328" y="1175"/>
                  </a:lnTo>
                  <a:lnTo>
                    <a:pt x="324" y="1175"/>
                  </a:lnTo>
                  <a:lnTo>
                    <a:pt x="320" y="1177"/>
                  </a:lnTo>
                  <a:lnTo>
                    <a:pt x="316" y="1179"/>
                  </a:lnTo>
                  <a:lnTo>
                    <a:pt x="313" y="1183"/>
                  </a:lnTo>
                  <a:lnTo>
                    <a:pt x="311" y="1185"/>
                  </a:lnTo>
                  <a:lnTo>
                    <a:pt x="311" y="1185"/>
                  </a:lnTo>
                  <a:lnTo>
                    <a:pt x="307" y="1181"/>
                  </a:lnTo>
                  <a:lnTo>
                    <a:pt x="305" y="1177"/>
                  </a:lnTo>
                  <a:lnTo>
                    <a:pt x="303" y="1172"/>
                  </a:lnTo>
                  <a:lnTo>
                    <a:pt x="301" y="1168"/>
                  </a:lnTo>
                  <a:lnTo>
                    <a:pt x="299" y="1162"/>
                  </a:lnTo>
                  <a:lnTo>
                    <a:pt x="297" y="1158"/>
                  </a:lnTo>
                  <a:lnTo>
                    <a:pt x="295" y="1152"/>
                  </a:lnTo>
                  <a:lnTo>
                    <a:pt x="293" y="1149"/>
                  </a:lnTo>
                  <a:lnTo>
                    <a:pt x="292" y="1143"/>
                  </a:lnTo>
                  <a:lnTo>
                    <a:pt x="290" y="1139"/>
                  </a:lnTo>
                  <a:lnTo>
                    <a:pt x="286" y="1133"/>
                  </a:lnTo>
                  <a:lnTo>
                    <a:pt x="284" y="1130"/>
                  </a:lnTo>
                  <a:lnTo>
                    <a:pt x="280" y="1126"/>
                  </a:lnTo>
                  <a:lnTo>
                    <a:pt x="276" y="1122"/>
                  </a:lnTo>
                  <a:lnTo>
                    <a:pt x="271" y="1118"/>
                  </a:lnTo>
                  <a:lnTo>
                    <a:pt x="265" y="1116"/>
                  </a:lnTo>
                  <a:lnTo>
                    <a:pt x="265" y="1116"/>
                  </a:lnTo>
                  <a:lnTo>
                    <a:pt x="267" y="1114"/>
                  </a:lnTo>
                  <a:lnTo>
                    <a:pt x="271" y="1112"/>
                  </a:lnTo>
                  <a:lnTo>
                    <a:pt x="273" y="1110"/>
                  </a:lnTo>
                  <a:lnTo>
                    <a:pt x="276" y="1110"/>
                  </a:lnTo>
                  <a:lnTo>
                    <a:pt x="278" y="1109"/>
                  </a:lnTo>
                  <a:lnTo>
                    <a:pt x="278" y="1107"/>
                  </a:lnTo>
                  <a:lnTo>
                    <a:pt x="280" y="1103"/>
                  </a:lnTo>
                  <a:lnTo>
                    <a:pt x="280" y="1099"/>
                  </a:lnTo>
                  <a:lnTo>
                    <a:pt x="280" y="1099"/>
                  </a:lnTo>
                  <a:lnTo>
                    <a:pt x="280" y="1099"/>
                  </a:lnTo>
                  <a:lnTo>
                    <a:pt x="278" y="1095"/>
                  </a:lnTo>
                  <a:lnTo>
                    <a:pt x="276" y="1090"/>
                  </a:lnTo>
                  <a:lnTo>
                    <a:pt x="274" y="1084"/>
                  </a:lnTo>
                  <a:lnTo>
                    <a:pt x="271" y="1076"/>
                  </a:lnTo>
                  <a:lnTo>
                    <a:pt x="267" y="1067"/>
                  </a:lnTo>
                  <a:lnTo>
                    <a:pt x="263" y="1057"/>
                  </a:lnTo>
                  <a:lnTo>
                    <a:pt x="257" y="1048"/>
                  </a:lnTo>
                  <a:lnTo>
                    <a:pt x="253" y="1038"/>
                  </a:lnTo>
                  <a:lnTo>
                    <a:pt x="250" y="1028"/>
                  </a:lnTo>
                  <a:lnTo>
                    <a:pt x="246" y="1019"/>
                  </a:lnTo>
                  <a:lnTo>
                    <a:pt x="240" y="1011"/>
                  </a:lnTo>
                  <a:lnTo>
                    <a:pt x="238" y="1006"/>
                  </a:lnTo>
                  <a:lnTo>
                    <a:pt x="234" y="1000"/>
                  </a:lnTo>
                  <a:lnTo>
                    <a:pt x="232" y="996"/>
                  </a:lnTo>
                  <a:lnTo>
                    <a:pt x="231" y="996"/>
                  </a:lnTo>
                  <a:lnTo>
                    <a:pt x="231" y="996"/>
                  </a:lnTo>
                  <a:lnTo>
                    <a:pt x="225" y="996"/>
                  </a:lnTo>
                  <a:lnTo>
                    <a:pt x="219" y="1000"/>
                  </a:lnTo>
                  <a:lnTo>
                    <a:pt x="213" y="1006"/>
                  </a:lnTo>
                  <a:lnTo>
                    <a:pt x="210" y="1013"/>
                  </a:lnTo>
                  <a:lnTo>
                    <a:pt x="204" y="1019"/>
                  </a:lnTo>
                  <a:lnTo>
                    <a:pt x="196" y="1025"/>
                  </a:lnTo>
                  <a:lnTo>
                    <a:pt x="189" y="1028"/>
                  </a:lnTo>
                  <a:lnTo>
                    <a:pt x="181" y="1030"/>
                  </a:lnTo>
                  <a:lnTo>
                    <a:pt x="181" y="1030"/>
                  </a:lnTo>
                  <a:lnTo>
                    <a:pt x="175" y="1030"/>
                  </a:lnTo>
                  <a:lnTo>
                    <a:pt x="171" y="1028"/>
                  </a:lnTo>
                  <a:lnTo>
                    <a:pt x="168" y="1027"/>
                  </a:lnTo>
                  <a:lnTo>
                    <a:pt x="164" y="1025"/>
                  </a:lnTo>
                  <a:lnTo>
                    <a:pt x="160" y="1021"/>
                  </a:lnTo>
                  <a:lnTo>
                    <a:pt x="156" y="1019"/>
                  </a:lnTo>
                  <a:lnTo>
                    <a:pt x="152" y="1017"/>
                  </a:lnTo>
                  <a:lnTo>
                    <a:pt x="147" y="1017"/>
                  </a:lnTo>
                  <a:lnTo>
                    <a:pt x="147" y="1017"/>
                  </a:lnTo>
                  <a:lnTo>
                    <a:pt x="143" y="1017"/>
                  </a:lnTo>
                  <a:lnTo>
                    <a:pt x="141" y="1019"/>
                  </a:lnTo>
                  <a:lnTo>
                    <a:pt x="137" y="1023"/>
                  </a:lnTo>
                  <a:lnTo>
                    <a:pt x="135" y="1025"/>
                  </a:lnTo>
                  <a:lnTo>
                    <a:pt x="133" y="1028"/>
                  </a:lnTo>
                  <a:lnTo>
                    <a:pt x="129" y="1030"/>
                  </a:lnTo>
                  <a:lnTo>
                    <a:pt x="126" y="1034"/>
                  </a:lnTo>
                  <a:lnTo>
                    <a:pt x="122" y="1034"/>
                  </a:lnTo>
                  <a:lnTo>
                    <a:pt x="122" y="1034"/>
                  </a:lnTo>
                  <a:lnTo>
                    <a:pt x="118" y="1034"/>
                  </a:lnTo>
                  <a:lnTo>
                    <a:pt x="114" y="1032"/>
                  </a:lnTo>
                  <a:lnTo>
                    <a:pt x="108" y="1030"/>
                  </a:lnTo>
                  <a:lnTo>
                    <a:pt x="107" y="1027"/>
                  </a:lnTo>
                  <a:lnTo>
                    <a:pt x="103" y="1025"/>
                  </a:lnTo>
                  <a:lnTo>
                    <a:pt x="99" y="1021"/>
                  </a:lnTo>
                  <a:lnTo>
                    <a:pt x="97" y="1017"/>
                  </a:lnTo>
                  <a:lnTo>
                    <a:pt x="93" y="1013"/>
                  </a:lnTo>
                  <a:lnTo>
                    <a:pt x="93" y="1013"/>
                  </a:lnTo>
                  <a:lnTo>
                    <a:pt x="91" y="1015"/>
                  </a:lnTo>
                  <a:lnTo>
                    <a:pt x="87" y="1017"/>
                  </a:lnTo>
                  <a:lnTo>
                    <a:pt x="86" y="1017"/>
                  </a:lnTo>
                  <a:lnTo>
                    <a:pt x="84" y="1019"/>
                  </a:lnTo>
                  <a:lnTo>
                    <a:pt x="80" y="1021"/>
                  </a:lnTo>
                  <a:lnTo>
                    <a:pt x="78" y="1021"/>
                  </a:lnTo>
                  <a:lnTo>
                    <a:pt x="74" y="1023"/>
                  </a:lnTo>
                  <a:lnTo>
                    <a:pt x="70" y="1023"/>
                  </a:lnTo>
                  <a:lnTo>
                    <a:pt x="70" y="1023"/>
                  </a:lnTo>
                  <a:lnTo>
                    <a:pt x="66" y="1023"/>
                  </a:lnTo>
                  <a:lnTo>
                    <a:pt x="63" y="1021"/>
                  </a:lnTo>
                  <a:lnTo>
                    <a:pt x="61" y="1019"/>
                  </a:lnTo>
                  <a:lnTo>
                    <a:pt x="59" y="1015"/>
                  </a:lnTo>
                  <a:lnTo>
                    <a:pt x="57" y="1013"/>
                  </a:lnTo>
                  <a:lnTo>
                    <a:pt x="57" y="1011"/>
                  </a:lnTo>
                  <a:lnTo>
                    <a:pt x="57" y="1009"/>
                  </a:lnTo>
                  <a:lnTo>
                    <a:pt x="57" y="1007"/>
                  </a:lnTo>
                  <a:lnTo>
                    <a:pt x="57" y="1007"/>
                  </a:lnTo>
                  <a:lnTo>
                    <a:pt x="55" y="1006"/>
                  </a:lnTo>
                  <a:lnTo>
                    <a:pt x="55" y="1006"/>
                  </a:lnTo>
                  <a:lnTo>
                    <a:pt x="55" y="1004"/>
                  </a:lnTo>
                  <a:lnTo>
                    <a:pt x="53" y="1002"/>
                  </a:lnTo>
                  <a:lnTo>
                    <a:pt x="53" y="1002"/>
                  </a:lnTo>
                  <a:lnTo>
                    <a:pt x="53" y="1000"/>
                  </a:lnTo>
                  <a:lnTo>
                    <a:pt x="55" y="998"/>
                  </a:lnTo>
                  <a:lnTo>
                    <a:pt x="57" y="994"/>
                  </a:lnTo>
                  <a:lnTo>
                    <a:pt x="57" y="994"/>
                  </a:lnTo>
                  <a:lnTo>
                    <a:pt x="55" y="992"/>
                  </a:lnTo>
                  <a:lnTo>
                    <a:pt x="55" y="988"/>
                  </a:lnTo>
                  <a:lnTo>
                    <a:pt x="55" y="985"/>
                  </a:lnTo>
                  <a:lnTo>
                    <a:pt x="59" y="979"/>
                  </a:lnTo>
                  <a:lnTo>
                    <a:pt x="61" y="975"/>
                  </a:lnTo>
                  <a:lnTo>
                    <a:pt x="63" y="969"/>
                  </a:lnTo>
                  <a:lnTo>
                    <a:pt x="65" y="964"/>
                  </a:lnTo>
                  <a:lnTo>
                    <a:pt x="65" y="960"/>
                  </a:lnTo>
                  <a:lnTo>
                    <a:pt x="65" y="960"/>
                  </a:lnTo>
                  <a:lnTo>
                    <a:pt x="65" y="954"/>
                  </a:lnTo>
                  <a:lnTo>
                    <a:pt x="63" y="948"/>
                  </a:lnTo>
                  <a:lnTo>
                    <a:pt x="61" y="943"/>
                  </a:lnTo>
                  <a:lnTo>
                    <a:pt x="57" y="937"/>
                  </a:lnTo>
                  <a:lnTo>
                    <a:pt x="53" y="933"/>
                  </a:lnTo>
                  <a:lnTo>
                    <a:pt x="49" y="929"/>
                  </a:lnTo>
                  <a:lnTo>
                    <a:pt x="46" y="925"/>
                  </a:lnTo>
                  <a:lnTo>
                    <a:pt x="42" y="922"/>
                  </a:lnTo>
                  <a:lnTo>
                    <a:pt x="36" y="918"/>
                  </a:lnTo>
                  <a:lnTo>
                    <a:pt x="32" y="914"/>
                  </a:lnTo>
                  <a:lnTo>
                    <a:pt x="28" y="910"/>
                  </a:lnTo>
                  <a:lnTo>
                    <a:pt x="25" y="906"/>
                  </a:lnTo>
                  <a:lnTo>
                    <a:pt x="23" y="903"/>
                  </a:lnTo>
                  <a:lnTo>
                    <a:pt x="19" y="897"/>
                  </a:lnTo>
                  <a:lnTo>
                    <a:pt x="19" y="893"/>
                  </a:lnTo>
                  <a:lnTo>
                    <a:pt x="17" y="889"/>
                  </a:lnTo>
                  <a:lnTo>
                    <a:pt x="17" y="889"/>
                  </a:lnTo>
                  <a:lnTo>
                    <a:pt x="19" y="887"/>
                  </a:lnTo>
                  <a:lnTo>
                    <a:pt x="19" y="883"/>
                  </a:lnTo>
                  <a:lnTo>
                    <a:pt x="21" y="880"/>
                  </a:lnTo>
                  <a:lnTo>
                    <a:pt x="23" y="874"/>
                  </a:lnTo>
                  <a:lnTo>
                    <a:pt x="25" y="870"/>
                  </a:lnTo>
                  <a:lnTo>
                    <a:pt x="25" y="864"/>
                  </a:lnTo>
                  <a:lnTo>
                    <a:pt x="26" y="861"/>
                  </a:lnTo>
                  <a:lnTo>
                    <a:pt x="26" y="857"/>
                  </a:lnTo>
                  <a:lnTo>
                    <a:pt x="26" y="857"/>
                  </a:lnTo>
                  <a:lnTo>
                    <a:pt x="26" y="853"/>
                  </a:lnTo>
                  <a:lnTo>
                    <a:pt x="25" y="849"/>
                  </a:lnTo>
                  <a:lnTo>
                    <a:pt x="23" y="847"/>
                  </a:lnTo>
                  <a:lnTo>
                    <a:pt x="21" y="843"/>
                  </a:lnTo>
                  <a:lnTo>
                    <a:pt x="17" y="840"/>
                  </a:lnTo>
                  <a:lnTo>
                    <a:pt x="15" y="838"/>
                  </a:lnTo>
                  <a:lnTo>
                    <a:pt x="13" y="834"/>
                  </a:lnTo>
                  <a:lnTo>
                    <a:pt x="11" y="830"/>
                  </a:lnTo>
                  <a:lnTo>
                    <a:pt x="11" y="830"/>
                  </a:lnTo>
                  <a:lnTo>
                    <a:pt x="9" y="826"/>
                  </a:lnTo>
                  <a:lnTo>
                    <a:pt x="9" y="822"/>
                  </a:lnTo>
                  <a:lnTo>
                    <a:pt x="7" y="819"/>
                  </a:lnTo>
                  <a:lnTo>
                    <a:pt x="5" y="815"/>
                  </a:lnTo>
                  <a:lnTo>
                    <a:pt x="5" y="811"/>
                  </a:lnTo>
                  <a:lnTo>
                    <a:pt x="4" y="807"/>
                  </a:lnTo>
                  <a:lnTo>
                    <a:pt x="2" y="803"/>
                  </a:lnTo>
                  <a:lnTo>
                    <a:pt x="0" y="800"/>
                  </a:lnTo>
                  <a:lnTo>
                    <a:pt x="0" y="800"/>
                  </a:lnTo>
                  <a:lnTo>
                    <a:pt x="0" y="800"/>
                  </a:lnTo>
                  <a:lnTo>
                    <a:pt x="5" y="800"/>
                  </a:lnTo>
                  <a:lnTo>
                    <a:pt x="11" y="800"/>
                  </a:lnTo>
                  <a:lnTo>
                    <a:pt x="19" y="798"/>
                  </a:lnTo>
                  <a:lnTo>
                    <a:pt x="26" y="796"/>
                  </a:lnTo>
                  <a:lnTo>
                    <a:pt x="34" y="794"/>
                  </a:lnTo>
                  <a:lnTo>
                    <a:pt x="40" y="790"/>
                  </a:lnTo>
                  <a:lnTo>
                    <a:pt x="44" y="786"/>
                  </a:lnTo>
                  <a:lnTo>
                    <a:pt x="47" y="780"/>
                  </a:lnTo>
                  <a:lnTo>
                    <a:pt x="47" y="780"/>
                  </a:lnTo>
                  <a:lnTo>
                    <a:pt x="49" y="773"/>
                  </a:lnTo>
                  <a:lnTo>
                    <a:pt x="49" y="763"/>
                  </a:lnTo>
                  <a:lnTo>
                    <a:pt x="51" y="756"/>
                  </a:lnTo>
                  <a:lnTo>
                    <a:pt x="55" y="746"/>
                  </a:lnTo>
                  <a:lnTo>
                    <a:pt x="57" y="740"/>
                  </a:lnTo>
                  <a:lnTo>
                    <a:pt x="63" y="735"/>
                  </a:lnTo>
                  <a:lnTo>
                    <a:pt x="70" y="731"/>
                  </a:lnTo>
                  <a:lnTo>
                    <a:pt x="80" y="729"/>
                  </a:lnTo>
                  <a:lnTo>
                    <a:pt x="80" y="729"/>
                  </a:lnTo>
                  <a:lnTo>
                    <a:pt x="87" y="731"/>
                  </a:lnTo>
                  <a:lnTo>
                    <a:pt x="93" y="735"/>
                  </a:lnTo>
                  <a:lnTo>
                    <a:pt x="97" y="738"/>
                  </a:lnTo>
                  <a:lnTo>
                    <a:pt x="103" y="746"/>
                  </a:lnTo>
                  <a:lnTo>
                    <a:pt x="107" y="752"/>
                  </a:lnTo>
                  <a:lnTo>
                    <a:pt x="110" y="758"/>
                  </a:lnTo>
                  <a:lnTo>
                    <a:pt x="116" y="763"/>
                  </a:lnTo>
                  <a:lnTo>
                    <a:pt x="122" y="769"/>
                  </a:lnTo>
                  <a:lnTo>
                    <a:pt x="122" y="769"/>
                  </a:lnTo>
                  <a:lnTo>
                    <a:pt x="124" y="765"/>
                  </a:lnTo>
                  <a:lnTo>
                    <a:pt x="126" y="763"/>
                  </a:lnTo>
                  <a:lnTo>
                    <a:pt x="129" y="759"/>
                  </a:lnTo>
                  <a:lnTo>
                    <a:pt x="131" y="758"/>
                  </a:lnTo>
                  <a:lnTo>
                    <a:pt x="135" y="754"/>
                  </a:lnTo>
                  <a:lnTo>
                    <a:pt x="139" y="752"/>
                  </a:lnTo>
                  <a:lnTo>
                    <a:pt x="143" y="752"/>
                  </a:lnTo>
                  <a:lnTo>
                    <a:pt x="147" y="750"/>
                  </a:lnTo>
                  <a:lnTo>
                    <a:pt x="147" y="750"/>
                  </a:lnTo>
                  <a:lnTo>
                    <a:pt x="154" y="752"/>
                  </a:lnTo>
                  <a:lnTo>
                    <a:pt x="160" y="752"/>
                  </a:lnTo>
                  <a:lnTo>
                    <a:pt x="164" y="754"/>
                  </a:lnTo>
                  <a:lnTo>
                    <a:pt x="169" y="756"/>
                  </a:lnTo>
                  <a:lnTo>
                    <a:pt x="175" y="756"/>
                  </a:lnTo>
                  <a:lnTo>
                    <a:pt x="181" y="758"/>
                  </a:lnTo>
                  <a:lnTo>
                    <a:pt x="187" y="759"/>
                  </a:lnTo>
                  <a:lnTo>
                    <a:pt x="194" y="759"/>
                  </a:lnTo>
                  <a:lnTo>
                    <a:pt x="194" y="759"/>
                  </a:lnTo>
                  <a:lnTo>
                    <a:pt x="202" y="759"/>
                  </a:lnTo>
                  <a:lnTo>
                    <a:pt x="210" y="759"/>
                  </a:lnTo>
                  <a:lnTo>
                    <a:pt x="215" y="759"/>
                  </a:lnTo>
                  <a:lnTo>
                    <a:pt x="221" y="758"/>
                  </a:lnTo>
                  <a:lnTo>
                    <a:pt x="227" y="756"/>
                  </a:lnTo>
                  <a:lnTo>
                    <a:pt x="231" y="752"/>
                  </a:lnTo>
                  <a:lnTo>
                    <a:pt x="234" y="746"/>
                  </a:lnTo>
                  <a:lnTo>
                    <a:pt x="236" y="738"/>
                  </a:lnTo>
                  <a:lnTo>
                    <a:pt x="236" y="738"/>
                  </a:lnTo>
                  <a:lnTo>
                    <a:pt x="238" y="738"/>
                  </a:lnTo>
                  <a:lnTo>
                    <a:pt x="238" y="740"/>
                  </a:lnTo>
                  <a:lnTo>
                    <a:pt x="240" y="742"/>
                  </a:lnTo>
                  <a:lnTo>
                    <a:pt x="242" y="744"/>
                  </a:lnTo>
                  <a:lnTo>
                    <a:pt x="244" y="746"/>
                  </a:lnTo>
                  <a:lnTo>
                    <a:pt x="246" y="746"/>
                  </a:lnTo>
                  <a:lnTo>
                    <a:pt x="246" y="750"/>
                  </a:lnTo>
                  <a:lnTo>
                    <a:pt x="248" y="750"/>
                  </a:lnTo>
                  <a:lnTo>
                    <a:pt x="528" y="765"/>
                  </a:lnTo>
                  <a:lnTo>
                    <a:pt x="547" y="700"/>
                  </a:lnTo>
                  <a:lnTo>
                    <a:pt x="524" y="679"/>
                  </a:lnTo>
                  <a:lnTo>
                    <a:pt x="534" y="0"/>
                  </a:lnTo>
                  <a:lnTo>
                    <a:pt x="664" y="0"/>
                  </a:lnTo>
                  <a:lnTo>
                    <a:pt x="658" y="0"/>
                  </a:lnTo>
                  <a:lnTo>
                    <a:pt x="1034" y="315"/>
                  </a:lnTo>
                  <a:lnTo>
                    <a:pt x="1034" y="315"/>
                  </a:lnTo>
                  <a:lnTo>
                    <a:pt x="1036" y="321"/>
                  </a:lnTo>
                  <a:lnTo>
                    <a:pt x="1039" y="325"/>
                  </a:lnTo>
                  <a:lnTo>
                    <a:pt x="1043" y="326"/>
                  </a:lnTo>
                  <a:lnTo>
                    <a:pt x="1049" y="328"/>
                  </a:lnTo>
                  <a:lnTo>
                    <a:pt x="1053" y="330"/>
                  </a:lnTo>
                  <a:lnTo>
                    <a:pt x="1058" y="332"/>
                  </a:lnTo>
                  <a:lnTo>
                    <a:pt x="1062" y="334"/>
                  </a:lnTo>
                  <a:lnTo>
                    <a:pt x="1066" y="340"/>
                  </a:lnTo>
                  <a:lnTo>
                    <a:pt x="1066" y="340"/>
                  </a:lnTo>
                  <a:lnTo>
                    <a:pt x="1068" y="345"/>
                  </a:lnTo>
                  <a:lnTo>
                    <a:pt x="1068" y="349"/>
                  </a:lnTo>
                  <a:lnTo>
                    <a:pt x="1068" y="355"/>
                  </a:lnTo>
                  <a:lnTo>
                    <a:pt x="1068" y="359"/>
                  </a:lnTo>
                  <a:lnTo>
                    <a:pt x="1066" y="363"/>
                  </a:lnTo>
                  <a:lnTo>
                    <a:pt x="1068" y="368"/>
                  </a:lnTo>
                  <a:lnTo>
                    <a:pt x="1068" y="372"/>
                  </a:lnTo>
                  <a:lnTo>
                    <a:pt x="1072" y="374"/>
                  </a:lnTo>
                  <a:lnTo>
                    <a:pt x="1072" y="374"/>
                  </a:lnTo>
                  <a:lnTo>
                    <a:pt x="1074" y="376"/>
                  </a:lnTo>
                  <a:lnTo>
                    <a:pt x="1076" y="378"/>
                  </a:lnTo>
                  <a:lnTo>
                    <a:pt x="1079" y="378"/>
                  </a:lnTo>
                  <a:lnTo>
                    <a:pt x="1081" y="380"/>
                  </a:lnTo>
                  <a:lnTo>
                    <a:pt x="1085" y="380"/>
                  </a:lnTo>
                  <a:lnTo>
                    <a:pt x="1089" y="380"/>
                  </a:lnTo>
                  <a:lnTo>
                    <a:pt x="1093" y="382"/>
                  </a:lnTo>
                  <a:lnTo>
                    <a:pt x="1097" y="382"/>
                  </a:lnTo>
                  <a:lnTo>
                    <a:pt x="1097" y="382"/>
                  </a:lnTo>
                  <a:lnTo>
                    <a:pt x="1098" y="391"/>
                  </a:lnTo>
                  <a:lnTo>
                    <a:pt x="1102" y="399"/>
                  </a:lnTo>
                  <a:lnTo>
                    <a:pt x="1110" y="407"/>
                  </a:lnTo>
                  <a:lnTo>
                    <a:pt x="1118" y="412"/>
                  </a:lnTo>
                  <a:lnTo>
                    <a:pt x="1127" y="416"/>
                  </a:lnTo>
                  <a:lnTo>
                    <a:pt x="1137" y="420"/>
                  </a:lnTo>
                  <a:lnTo>
                    <a:pt x="1148" y="424"/>
                  </a:lnTo>
                  <a:lnTo>
                    <a:pt x="1158" y="426"/>
                  </a:lnTo>
                  <a:lnTo>
                    <a:pt x="1169" y="429"/>
                  </a:lnTo>
                  <a:lnTo>
                    <a:pt x="1179" y="433"/>
                  </a:lnTo>
                  <a:lnTo>
                    <a:pt x="1188" y="437"/>
                  </a:lnTo>
                  <a:lnTo>
                    <a:pt x="1196" y="443"/>
                  </a:lnTo>
                  <a:lnTo>
                    <a:pt x="1203" y="449"/>
                  </a:lnTo>
                  <a:lnTo>
                    <a:pt x="1209" y="458"/>
                  </a:lnTo>
                  <a:lnTo>
                    <a:pt x="1213" y="468"/>
                  </a:lnTo>
                  <a:lnTo>
                    <a:pt x="1215" y="481"/>
                  </a:lnTo>
                  <a:lnTo>
                    <a:pt x="1215" y="481"/>
                  </a:lnTo>
                  <a:lnTo>
                    <a:pt x="1213" y="485"/>
                  </a:lnTo>
                  <a:lnTo>
                    <a:pt x="1213" y="487"/>
                  </a:lnTo>
                  <a:lnTo>
                    <a:pt x="1211" y="489"/>
                  </a:lnTo>
                  <a:lnTo>
                    <a:pt x="1209" y="489"/>
                  </a:lnTo>
                  <a:lnTo>
                    <a:pt x="1207" y="490"/>
                  </a:lnTo>
                  <a:lnTo>
                    <a:pt x="1205" y="492"/>
                  </a:lnTo>
                  <a:lnTo>
                    <a:pt x="1205" y="496"/>
                  </a:lnTo>
                  <a:lnTo>
                    <a:pt x="1205" y="498"/>
                  </a:lnTo>
                  <a:lnTo>
                    <a:pt x="1205" y="498"/>
                  </a:lnTo>
                  <a:lnTo>
                    <a:pt x="1205" y="502"/>
                  </a:lnTo>
                  <a:lnTo>
                    <a:pt x="1205" y="504"/>
                  </a:lnTo>
                  <a:lnTo>
                    <a:pt x="1207" y="506"/>
                  </a:lnTo>
                  <a:lnTo>
                    <a:pt x="1209" y="508"/>
                  </a:lnTo>
                  <a:lnTo>
                    <a:pt x="1211" y="510"/>
                  </a:lnTo>
                  <a:lnTo>
                    <a:pt x="1213" y="511"/>
                  </a:lnTo>
                  <a:lnTo>
                    <a:pt x="1215" y="513"/>
                  </a:lnTo>
                  <a:lnTo>
                    <a:pt x="1217" y="517"/>
                  </a:lnTo>
                  <a:lnTo>
                    <a:pt x="1287" y="504"/>
                  </a:lnTo>
                  <a:lnTo>
                    <a:pt x="1287" y="504"/>
                  </a:lnTo>
                  <a:lnTo>
                    <a:pt x="1285" y="511"/>
                  </a:lnTo>
                  <a:lnTo>
                    <a:pt x="1283" y="519"/>
                  </a:lnTo>
                  <a:lnTo>
                    <a:pt x="1282" y="529"/>
                  </a:lnTo>
                  <a:lnTo>
                    <a:pt x="1282" y="534"/>
                  </a:lnTo>
                  <a:lnTo>
                    <a:pt x="1282" y="542"/>
                  </a:lnTo>
                  <a:lnTo>
                    <a:pt x="1282" y="550"/>
                  </a:lnTo>
                  <a:lnTo>
                    <a:pt x="1282" y="557"/>
                  </a:lnTo>
                  <a:lnTo>
                    <a:pt x="1282" y="563"/>
                  </a:lnTo>
                  <a:lnTo>
                    <a:pt x="1283" y="571"/>
                  </a:lnTo>
                  <a:lnTo>
                    <a:pt x="1283" y="578"/>
                  </a:lnTo>
                  <a:lnTo>
                    <a:pt x="1283" y="586"/>
                  </a:lnTo>
                  <a:lnTo>
                    <a:pt x="1285" y="593"/>
                  </a:lnTo>
                  <a:lnTo>
                    <a:pt x="1285" y="603"/>
                  </a:lnTo>
                  <a:lnTo>
                    <a:pt x="1287" y="611"/>
                  </a:lnTo>
                  <a:lnTo>
                    <a:pt x="1287" y="620"/>
                  </a:lnTo>
                  <a:lnTo>
                    <a:pt x="1287" y="630"/>
                  </a:lnTo>
                  <a:lnTo>
                    <a:pt x="1287" y="630"/>
                  </a:lnTo>
                  <a:lnTo>
                    <a:pt x="1287" y="645"/>
                  </a:lnTo>
                  <a:lnTo>
                    <a:pt x="1285" y="662"/>
                  </a:lnTo>
                  <a:lnTo>
                    <a:pt x="1285" y="677"/>
                  </a:lnTo>
                  <a:lnTo>
                    <a:pt x="1283" y="691"/>
                  </a:lnTo>
                  <a:lnTo>
                    <a:pt x="1282" y="704"/>
                  </a:lnTo>
                  <a:lnTo>
                    <a:pt x="1278" y="716"/>
                  </a:lnTo>
                  <a:lnTo>
                    <a:pt x="1274" y="727"/>
                  </a:lnTo>
                  <a:lnTo>
                    <a:pt x="1270" y="738"/>
                  </a:lnTo>
                  <a:lnTo>
                    <a:pt x="1264" y="748"/>
                  </a:lnTo>
                  <a:lnTo>
                    <a:pt x="1259" y="758"/>
                  </a:lnTo>
                  <a:lnTo>
                    <a:pt x="1251" y="767"/>
                  </a:lnTo>
                  <a:lnTo>
                    <a:pt x="1242" y="775"/>
                  </a:lnTo>
                  <a:lnTo>
                    <a:pt x="1234" y="782"/>
                  </a:lnTo>
                  <a:lnTo>
                    <a:pt x="1222" y="788"/>
                  </a:lnTo>
                  <a:lnTo>
                    <a:pt x="1211" y="794"/>
                  </a:lnTo>
                  <a:lnTo>
                    <a:pt x="1198" y="800"/>
                  </a:lnTo>
                  <a:lnTo>
                    <a:pt x="1133" y="800"/>
                  </a:lnTo>
                  <a:lnTo>
                    <a:pt x="1133" y="803"/>
                  </a:lnTo>
                  <a:lnTo>
                    <a:pt x="1051" y="803"/>
                  </a:lnTo>
                  <a:lnTo>
                    <a:pt x="1051" y="803"/>
                  </a:lnTo>
                  <a:lnTo>
                    <a:pt x="1047" y="807"/>
                  </a:lnTo>
                  <a:lnTo>
                    <a:pt x="1043" y="811"/>
                  </a:lnTo>
                  <a:lnTo>
                    <a:pt x="1039" y="815"/>
                  </a:lnTo>
                  <a:lnTo>
                    <a:pt x="1034" y="821"/>
                  </a:lnTo>
                  <a:lnTo>
                    <a:pt x="1028" y="826"/>
                  </a:lnTo>
                  <a:lnTo>
                    <a:pt x="1024" y="830"/>
                  </a:lnTo>
                  <a:lnTo>
                    <a:pt x="1018" y="832"/>
                  </a:lnTo>
                  <a:lnTo>
                    <a:pt x="1013" y="834"/>
                  </a:lnTo>
                  <a:lnTo>
                    <a:pt x="1013" y="834"/>
                  </a:lnTo>
                  <a:lnTo>
                    <a:pt x="1005" y="834"/>
                  </a:lnTo>
                  <a:lnTo>
                    <a:pt x="997" y="832"/>
                  </a:lnTo>
                  <a:lnTo>
                    <a:pt x="990" y="830"/>
                  </a:lnTo>
                  <a:lnTo>
                    <a:pt x="984" y="828"/>
                  </a:lnTo>
                  <a:lnTo>
                    <a:pt x="978" y="826"/>
                  </a:lnTo>
                  <a:lnTo>
                    <a:pt x="973" y="824"/>
                  </a:lnTo>
                  <a:lnTo>
                    <a:pt x="967" y="826"/>
                  </a:lnTo>
                  <a:lnTo>
                    <a:pt x="963" y="82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7" name="Freeform 151"/>
            <p:cNvSpPr>
              <a:spLocks/>
            </p:cNvSpPr>
            <p:nvPr/>
          </p:nvSpPr>
          <p:spPr bwMode="gray">
            <a:xfrm>
              <a:off x="2166" y="1335"/>
              <a:ext cx="467" cy="704"/>
            </a:xfrm>
            <a:custGeom>
              <a:avLst/>
              <a:gdLst/>
              <a:ahLst/>
              <a:cxnLst>
                <a:cxn ang="0">
                  <a:pos x="145" y="177"/>
                </a:cxn>
                <a:cxn ang="0">
                  <a:pos x="173" y="221"/>
                </a:cxn>
                <a:cxn ang="0">
                  <a:pos x="186" y="252"/>
                </a:cxn>
                <a:cxn ang="0">
                  <a:pos x="173" y="271"/>
                </a:cxn>
                <a:cxn ang="0">
                  <a:pos x="129" y="548"/>
                </a:cxn>
                <a:cxn ang="0">
                  <a:pos x="72" y="624"/>
                </a:cxn>
                <a:cxn ang="0">
                  <a:pos x="21" y="694"/>
                </a:cxn>
                <a:cxn ang="0">
                  <a:pos x="0" y="725"/>
                </a:cxn>
                <a:cxn ang="0">
                  <a:pos x="7" y="769"/>
                </a:cxn>
                <a:cxn ang="0">
                  <a:pos x="36" y="807"/>
                </a:cxn>
                <a:cxn ang="0">
                  <a:pos x="70" y="843"/>
                </a:cxn>
                <a:cxn ang="0">
                  <a:pos x="106" y="948"/>
                </a:cxn>
                <a:cxn ang="0">
                  <a:pos x="124" y="992"/>
                </a:cxn>
                <a:cxn ang="0">
                  <a:pos x="137" y="1042"/>
                </a:cxn>
                <a:cxn ang="0">
                  <a:pos x="120" y="1063"/>
                </a:cxn>
                <a:cxn ang="0">
                  <a:pos x="63" y="1068"/>
                </a:cxn>
                <a:cxn ang="0">
                  <a:pos x="42" y="1099"/>
                </a:cxn>
                <a:cxn ang="0">
                  <a:pos x="57" y="1139"/>
                </a:cxn>
                <a:cxn ang="0">
                  <a:pos x="89" y="1164"/>
                </a:cxn>
                <a:cxn ang="0">
                  <a:pos x="120" y="1194"/>
                </a:cxn>
                <a:cxn ang="0">
                  <a:pos x="146" y="1240"/>
                </a:cxn>
                <a:cxn ang="0">
                  <a:pos x="167" y="1280"/>
                </a:cxn>
                <a:cxn ang="0">
                  <a:pos x="204" y="1271"/>
                </a:cxn>
                <a:cxn ang="0">
                  <a:pos x="234" y="1259"/>
                </a:cxn>
                <a:cxn ang="0">
                  <a:pos x="249" y="1271"/>
                </a:cxn>
                <a:cxn ang="0">
                  <a:pos x="274" y="1271"/>
                </a:cxn>
                <a:cxn ang="0">
                  <a:pos x="299" y="1253"/>
                </a:cxn>
                <a:cxn ang="0">
                  <a:pos x="354" y="1246"/>
                </a:cxn>
                <a:cxn ang="0">
                  <a:pos x="406" y="1236"/>
                </a:cxn>
                <a:cxn ang="0">
                  <a:pos x="440" y="1200"/>
                </a:cxn>
                <a:cxn ang="0">
                  <a:pos x="448" y="1173"/>
                </a:cxn>
                <a:cxn ang="0">
                  <a:pos x="459" y="1164"/>
                </a:cxn>
                <a:cxn ang="0">
                  <a:pos x="543" y="1143"/>
                </a:cxn>
                <a:cxn ang="0">
                  <a:pos x="604" y="1095"/>
                </a:cxn>
                <a:cxn ang="0">
                  <a:pos x="652" y="1057"/>
                </a:cxn>
                <a:cxn ang="0">
                  <a:pos x="679" y="1017"/>
                </a:cxn>
                <a:cxn ang="0">
                  <a:pos x="717" y="1002"/>
                </a:cxn>
                <a:cxn ang="0">
                  <a:pos x="751" y="1015"/>
                </a:cxn>
                <a:cxn ang="0">
                  <a:pos x="743" y="1002"/>
                </a:cxn>
                <a:cxn ang="0">
                  <a:pos x="749" y="986"/>
                </a:cxn>
                <a:cxn ang="0">
                  <a:pos x="749" y="965"/>
                </a:cxn>
                <a:cxn ang="0">
                  <a:pos x="730" y="948"/>
                </a:cxn>
                <a:cxn ang="0">
                  <a:pos x="715" y="901"/>
                </a:cxn>
                <a:cxn ang="0">
                  <a:pos x="688" y="860"/>
                </a:cxn>
                <a:cxn ang="0">
                  <a:pos x="663" y="853"/>
                </a:cxn>
                <a:cxn ang="0">
                  <a:pos x="663" y="832"/>
                </a:cxn>
                <a:cxn ang="0">
                  <a:pos x="682" y="813"/>
                </a:cxn>
                <a:cxn ang="0">
                  <a:pos x="694" y="803"/>
                </a:cxn>
                <a:cxn ang="0">
                  <a:pos x="690" y="780"/>
                </a:cxn>
                <a:cxn ang="0">
                  <a:pos x="690" y="763"/>
                </a:cxn>
                <a:cxn ang="0">
                  <a:pos x="721" y="736"/>
                </a:cxn>
                <a:cxn ang="0">
                  <a:pos x="705" y="717"/>
                </a:cxn>
                <a:cxn ang="0">
                  <a:pos x="723" y="700"/>
                </a:cxn>
                <a:cxn ang="0">
                  <a:pos x="736" y="677"/>
                </a:cxn>
                <a:cxn ang="0">
                  <a:pos x="745" y="641"/>
                </a:cxn>
                <a:cxn ang="0">
                  <a:pos x="761" y="624"/>
                </a:cxn>
                <a:cxn ang="0">
                  <a:pos x="793" y="620"/>
                </a:cxn>
                <a:cxn ang="0">
                  <a:pos x="816" y="307"/>
                </a:cxn>
              </a:cxnLst>
              <a:rect l="0" t="0" r="r" b="b"/>
              <a:pathLst>
                <a:path w="824" h="1282">
                  <a:moveTo>
                    <a:pt x="209" y="0"/>
                  </a:moveTo>
                  <a:lnTo>
                    <a:pt x="135" y="42"/>
                  </a:lnTo>
                  <a:lnTo>
                    <a:pt x="135" y="170"/>
                  </a:lnTo>
                  <a:lnTo>
                    <a:pt x="135" y="170"/>
                  </a:lnTo>
                  <a:lnTo>
                    <a:pt x="137" y="172"/>
                  </a:lnTo>
                  <a:lnTo>
                    <a:pt x="141" y="174"/>
                  </a:lnTo>
                  <a:lnTo>
                    <a:pt x="145" y="177"/>
                  </a:lnTo>
                  <a:lnTo>
                    <a:pt x="146" y="183"/>
                  </a:lnTo>
                  <a:lnTo>
                    <a:pt x="150" y="189"/>
                  </a:lnTo>
                  <a:lnTo>
                    <a:pt x="156" y="195"/>
                  </a:lnTo>
                  <a:lnTo>
                    <a:pt x="160" y="200"/>
                  </a:lnTo>
                  <a:lnTo>
                    <a:pt x="164" y="208"/>
                  </a:lnTo>
                  <a:lnTo>
                    <a:pt x="169" y="214"/>
                  </a:lnTo>
                  <a:lnTo>
                    <a:pt x="173" y="221"/>
                  </a:lnTo>
                  <a:lnTo>
                    <a:pt x="177" y="227"/>
                  </a:lnTo>
                  <a:lnTo>
                    <a:pt x="181" y="235"/>
                  </a:lnTo>
                  <a:lnTo>
                    <a:pt x="183" y="240"/>
                  </a:lnTo>
                  <a:lnTo>
                    <a:pt x="185" y="244"/>
                  </a:lnTo>
                  <a:lnTo>
                    <a:pt x="186" y="248"/>
                  </a:lnTo>
                  <a:lnTo>
                    <a:pt x="186" y="252"/>
                  </a:lnTo>
                  <a:lnTo>
                    <a:pt x="186" y="252"/>
                  </a:lnTo>
                  <a:lnTo>
                    <a:pt x="186" y="256"/>
                  </a:lnTo>
                  <a:lnTo>
                    <a:pt x="185" y="258"/>
                  </a:lnTo>
                  <a:lnTo>
                    <a:pt x="183" y="261"/>
                  </a:lnTo>
                  <a:lnTo>
                    <a:pt x="181" y="263"/>
                  </a:lnTo>
                  <a:lnTo>
                    <a:pt x="179" y="267"/>
                  </a:lnTo>
                  <a:lnTo>
                    <a:pt x="175" y="269"/>
                  </a:lnTo>
                  <a:lnTo>
                    <a:pt x="173" y="271"/>
                  </a:lnTo>
                  <a:lnTo>
                    <a:pt x="171" y="271"/>
                  </a:lnTo>
                  <a:lnTo>
                    <a:pt x="171" y="382"/>
                  </a:lnTo>
                  <a:lnTo>
                    <a:pt x="154" y="519"/>
                  </a:lnTo>
                  <a:lnTo>
                    <a:pt x="154" y="519"/>
                  </a:lnTo>
                  <a:lnTo>
                    <a:pt x="145" y="529"/>
                  </a:lnTo>
                  <a:lnTo>
                    <a:pt x="137" y="538"/>
                  </a:lnTo>
                  <a:lnTo>
                    <a:pt x="129" y="548"/>
                  </a:lnTo>
                  <a:lnTo>
                    <a:pt x="120" y="557"/>
                  </a:lnTo>
                  <a:lnTo>
                    <a:pt x="112" y="569"/>
                  </a:lnTo>
                  <a:lnTo>
                    <a:pt x="104" y="578"/>
                  </a:lnTo>
                  <a:lnTo>
                    <a:pt x="95" y="590"/>
                  </a:lnTo>
                  <a:lnTo>
                    <a:pt x="87" y="601"/>
                  </a:lnTo>
                  <a:lnTo>
                    <a:pt x="80" y="612"/>
                  </a:lnTo>
                  <a:lnTo>
                    <a:pt x="72" y="624"/>
                  </a:lnTo>
                  <a:lnTo>
                    <a:pt x="63" y="635"/>
                  </a:lnTo>
                  <a:lnTo>
                    <a:pt x="55" y="647"/>
                  </a:lnTo>
                  <a:lnTo>
                    <a:pt x="47" y="660"/>
                  </a:lnTo>
                  <a:lnTo>
                    <a:pt x="38" y="672"/>
                  </a:lnTo>
                  <a:lnTo>
                    <a:pt x="30" y="683"/>
                  </a:lnTo>
                  <a:lnTo>
                    <a:pt x="21" y="694"/>
                  </a:lnTo>
                  <a:lnTo>
                    <a:pt x="21" y="694"/>
                  </a:lnTo>
                  <a:lnTo>
                    <a:pt x="19" y="700"/>
                  </a:lnTo>
                  <a:lnTo>
                    <a:pt x="15" y="704"/>
                  </a:lnTo>
                  <a:lnTo>
                    <a:pt x="11" y="708"/>
                  </a:lnTo>
                  <a:lnTo>
                    <a:pt x="7" y="712"/>
                  </a:lnTo>
                  <a:lnTo>
                    <a:pt x="3" y="715"/>
                  </a:lnTo>
                  <a:lnTo>
                    <a:pt x="1" y="719"/>
                  </a:lnTo>
                  <a:lnTo>
                    <a:pt x="0" y="725"/>
                  </a:lnTo>
                  <a:lnTo>
                    <a:pt x="0" y="731"/>
                  </a:lnTo>
                  <a:lnTo>
                    <a:pt x="0" y="731"/>
                  </a:lnTo>
                  <a:lnTo>
                    <a:pt x="0" y="738"/>
                  </a:lnTo>
                  <a:lnTo>
                    <a:pt x="1" y="748"/>
                  </a:lnTo>
                  <a:lnTo>
                    <a:pt x="3" y="756"/>
                  </a:lnTo>
                  <a:lnTo>
                    <a:pt x="5" y="761"/>
                  </a:lnTo>
                  <a:lnTo>
                    <a:pt x="7" y="769"/>
                  </a:lnTo>
                  <a:lnTo>
                    <a:pt x="11" y="775"/>
                  </a:lnTo>
                  <a:lnTo>
                    <a:pt x="15" y="780"/>
                  </a:lnTo>
                  <a:lnTo>
                    <a:pt x="19" y="786"/>
                  </a:lnTo>
                  <a:lnTo>
                    <a:pt x="22" y="792"/>
                  </a:lnTo>
                  <a:lnTo>
                    <a:pt x="28" y="798"/>
                  </a:lnTo>
                  <a:lnTo>
                    <a:pt x="32" y="801"/>
                  </a:lnTo>
                  <a:lnTo>
                    <a:pt x="36" y="807"/>
                  </a:lnTo>
                  <a:lnTo>
                    <a:pt x="42" y="811"/>
                  </a:lnTo>
                  <a:lnTo>
                    <a:pt x="45" y="817"/>
                  </a:lnTo>
                  <a:lnTo>
                    <a:pt x="49" y="822"/>
                  </a:lnTo>
                  <a:lnTo>
                    <a:pt x="53" y="828"/>
                  </a:lnTo>
                  <a:lnTo>
                    <a:pt x="53" y="828"/>
                  </a:lnTo>
                  <a:lnTo>
                    <a:pt x="63" y="836"/>
                  </a:lnTo>
                  <a:lnTo>
                    <a:pt x="70" y="843"/>
                  </a:lnTo>
                  <a:lnTo>
                    <a:pt x="76" y="849"/>
                  </a:lnTo>
                  <a:lnTo>
                    <a:pt x="82" y="859"/>
                  </a:lnTo>
                  <a:lnTo>
                    <a:pt x="87" y="866"/>
                  </a:lnTo>
                  <a:lnTo>
                    <a:pt x="93" y="874"/>
                  </a:lnTo>
                  <a:lnTo>
                    <a:pt x="101" y="883"/>
                  </a:lnTo>
                  <a:lnTo>
                    <a:pt x="106" y="893"/>
                  </a:lnTo>
                  <a:lnTo>
                    <a:pt x="106" y="948"/>
                  </a:lnTo>
                  <a:lnTo>
                    <a:pt x="106" y="948"/>
                  </a:lnTo>
                  <a:lnTo>
                    <a:pt x="110" y="956"/>
                  </a:lnTo>
                  <a:lnTo>
                    <a:pt x="114" y="963"/>
                  </a:lnTo>
                  <a:lnTo>
                    <a:pt x="116" y="971"/>
                  </a:lnTo>
                  <a:lnTo>
                    <a:pt x="120" y="979"/>
                  </a:lnTo>
                  <a:lnTo>
                    <a:pt x="122" y="984"/>
                  </a:lnTo>
                  <a:lnTo>
                    <a:pt x="124" y="992"/>
                  </a:lnTo>
                  <a:lnTo>
                    <a:pt x="125" y="1000"/>
                  </a:lnTo>
                  <a:lnTo>
                    <a:pt x="127" y="1007"/>
                  </a:lnTo>
                  <a:lnTo>
                    <a:pt x="129" y="1013"/>
                  </a:lnTo>
                  <a:lnTo>
                    <a:pt x="131" y="1021"/>
                  </a:lnTo>
                  <a:lnTo>
                    <a:pt x="133" y="1028"/>
                  </a:lnTo>
                  <a:lnTo>
                    <a:pt x="135" y="1034"/>
                  </a:lnTo>
                  <a:lnTo>
                    <a:pt x="137" y="1042"/>
                  </a:lnTo>
                  <a:lnTo>
                    <a:pt x="139" y="1049"/>
                  </a:lnTo>
                  <a:lnTo>
                    <a:pt x="143" y="1055"/>
                  </a:lnTo>
                  <a:lnTo>
                    <a:pt x="145" y="1063"/>
                  </a:lnTo>
                  <a:lnTo>
                    <a:pt x="145" y="1063"/>
                  </a:lnTo>
                  <a:lnTo>
                    <a:pt x="137" y="1063"/>
                  </a:lnTo>
                  <a:lnTo>
                    <a:pt x="129" y="1063"/>
                  </a:lnTo>
                  <a:lnTo>
                    <a:pt x="120" y="1063"/>
                  </a:lnTo>
                  <a:lnTo>
                    <a:pt x="112" y="1063"/>
                  </a:lnTo>
                  <a:lnTo>
                    <a:pt x="103" y="1063"/>
                  </a:lnTo>
                  <a:lnTo>
                    <a:pt x="95" y="1065"/>
                  </a:lnTo>
                  <a:lnTo>
                    <a:pt x="85" y="1065"/>
                  </a:lnTo>
                  <a:lnTo>
                    <a:pt x="78" y="1065"/>
                  </a:lnTo>
                  <a:lnTo>
                    <a:pt x="70" y="1066"/>
                  </a:lnTo>
                  <a:lnTo>
                    <a:pt x="63" y="1068"/>
                  </a:lnTo>
                  <a:lnTo>
                    <a:pt x="57" y="1070"/>
                  </a:lnTo>
                  <a:lnTo>
                    <a:pt x="51" y="1074"/>
                  </a:lnTo>
                  <a:lnTo>
                    <a:pt x="47" y="1078"/>
                  </a:lnTo>
                  <a:lnTo>
                    <a:pt x="43" y="1084"/>
                  </a:lnTo>
                  <a:lnTo>
                    <a:pt x="42" y="1091"/>
                  </a:lnTo>
                  <a:lnTo>
                    <a:pt x="42" y="1099"/>
                  </a:lnTo>
                  <a:lnTo>
                    <a:pt x="42" y="1099"/>
                  </a:lnTo>
                  <a:lnTo>
                    <a:pt x="42" y="1107"/>
                  </a:lnTo>
                  <a:lnTo>
                    <a:pt x="43" y="1114"/>
                  </a:lnTo>
                  <a:lnTo>
                    <a:pt x="45" y="1120"/>
                  </a:lnTo>
                  <a:lnTo>
                    <a:pt x="47" y="1126"/>
                  </a:lnTo>
                  <a:lnTo>
                    <a:pt x="51" y="1131"/>
                  </a:lnTo>
                  <a:lnTo>
                    <a:pt x="53" y="1135"/>
                  </a:lnTo>
                  <a:lnTo>
                    <a:pt x="57" y="1139"/>
                  </a:lnTo>
                  <a:lnTo>
                    <a:pt x="63" y="1143"/>
                  </a:lnTo>
                  <a:lnTo>
                    <a:pt x="66" y="1147"/>
                  </a:lnTo>
                  <a:lnTo>
                    <a:pt x="72" y="1150"/>
                  </a:lnTo>
                  <a:lnTo>
                    <a:pt x="76" y="1154"/>
                  </a:lnTo>
                  <a:lnTo>
                    <a:pt x="80" y="1156"/>
                  </a:lnTo>
                  <a:lnTo>
                    <a:pt x="85" y="1160"/>
                  </a:lnTo>
                  <a:lnTo>
                    <a:pt x="89" y="1164"/>
                  </a:lnTo>
                  <a:lnTo>
                    <a:pt x="95" y="1166"/>
                  </a:lnTo>
                  <a:lnTo>
                    <a:pt x="97" y="1170"/>
                  </a:lnTo>
                  <a:lnTo>
                    <a:pt x="97" y="1170"/>
                  </a:lnTo>
                  <a:lnTo>
                    <a:pt x="103" y="1175"/>
                  </a:lnTo>
                  <a:lnTo>
                    <a:pt x="108" y="1183"/>
                  </a:lnTo>
                  <a:lnTo>
                    <a:pt x="114" y="1189"/>
                  </a:lnTo>
                  <a:lnTo>
                    <a:pt x="120" y="1194"/>
                  </a:lnTo>
                  <a:lnTo>
                    <a:pt x="124" y="1200"/>
                  </a:lnTo>
                  <a:lnTo>
                    <a:pt x="127" y="1206"/>
                  </a:lnTo>
                  <a:lnTo>
                    <a:pt x="133" y="1213"/>
                  </a:lnTo>
                  <a:lnTo>
                    <a:pt x="137" y="1219"/>
                  </a:lnTo>
                  <a:lnTo>
                    <a:pt x="141" y="1227"/>
                  </a:lnTo>
                  <a:lnTo>
                    <a:pt x="145" y="1232"/>
                  </a:lnTo>
                  <a:lnTo>
                    <a:pt x="146" y="1240"/>
                  </a:lnTo>
                  <a:lnTo>
                    <a:pt x="150" y="1248"/>
                  </a:lnTo>
                  <a:lnTo>
                    <a:pt x="154" y="1255"/>
                  </a:lnTo>
                  <a:lnTo>
                    <a:pt x="156" y="1265"/>
                  </a:lnTo>
                  <a:lnTo>
                    <a:pt x="160" y="1273"/>
                  </a:lnTo>
                  <a:lnTo>
                    <a:pt x="162" y="1282"/>
                  </a:lnTo>
                  <a:lnTo>
                    <a:pt x="162" y="1282"/>
                  </a:lnTo>
                  <a:lnTo>
                    <a:pt x="167" y="1280"/>
                  </a:lnTo>
                  <a:lnTo>
                    <a:pt x="173" y="1278"/>
                  </a:lnTo>
                  <a:lnTo>
                    <a:pt x="177" y="1276"/>
                  </a:lnTo>
                  <a:lnTo>
                    <a:pt x="183" y="1274"/>
                  </a:lnTo>
                  <a:lnTo>
                    <a:pt x="188" y="1274"/>
                  </a:lnTo>
                  <a:lnTo>
                    <a:pt x="192" y="1273"/>
                  </a:lnTo>
                  <a:lnTo>
                    <a:pt x="198" y="1273"/>
                  </a:lnTo>
                  <a:lnTo>
                    <a:pt x="204" y="1271"/>
                  </a:lnTo>
                  <a:lnTo>
                    <a:pt x="207" y="1271"/>
                  </a:lnTo>
                  <a:lnTo>
                    <a:pt x="213" y="1269"/>
                  </a:lnTo>
                  <a:lnTo>
                    <a:pt x="217" y="1269"/>
                  </a:lnTo>
                  <a:lnTo>
                    <a:pt x="221" y="1267"/>
                  </a:lnTo>
                  <a:lnTo>
                    <a:pt x="227" y="1265"/>
                  </a:lnTo>
                  <a:lnTo>
                    <a:pt x="230" y="1263"/>
                  </a:lnTo>
                  <a:lnTo>
                    <a:pt x="234" y="1259"/>
                  </a:lnTo>
                  <a:lnTo>
                    <a:pt x="238" y="1255"/>
                  </a:lnTo>
                  <a:lnTo>
                    <a:pt x="238" y="1255"/>
                  </a:lnTo>
                  <a:lnTo>
                    <a:pt x="240" y="1259"/>
                  </a:lnTo>
                  <a:lnTo>
                    <a:pt x="244" y="1261"/>
                  </a:lnTo>
                  <a:lnTo>
                    <a:pt x="246" y="1265"/>
                  </a:lnTo>
                  <a:lnTo>
                    <a:pt x="248" y="1267"/>
                  </a:lnTo>
                  <a:lnTo>
                    <a:pt x="249" y="1271"/>
                  </a:lnTo>
                  <a:lnTo>
                    <a:pt x="253" y="1273"/>
                  </a:lnTo>
                  <a:lnTo>
                    <a:pt x="255" y="1273"/>
                  </a:lnTo>
                  <a:lnTo>
                    <a:pt x="259" y="1274"/>
                  </a:lnTo>
                  <a:lnTo>
                    <a:pt x="259" y="1274"/>
                  </a:lnTo>
                  <a:lnTo>
                    <a:pt x="265" y="1273"/>
                  </a:lnTo>
                  <a:lnTo>
                    <a:pt x="270" y="1273"/>
                  </a:lnTo>
                  <a:lnTo>
                    <a:pt x="274" y="1271"/>
                  </a:lnTo>
                  <a:lnTo>
                    <a:pt x="278" y="1267"/>
                  </a:lnTo>
                  <a:lnTo>
                    <a:pt x="280" y="1265"/>
                  </a:lnTo>
                  <a:lnTo>
                    <a:pt x="284" y="1261"/>
                  </a:lnTo>
                  <a:lnTo>
                    <a:pt x="288" y="1257"/>
                  </a:lnTo>
                  <a:lnTo>
                    <a:pt x="293" y="1255"/>
                  </a:lnTo>
                  <a:lnTo>
                    <a:pt x="293" y="1255"/>
                  </a:lnTo>
                  <a:lnTo>
                    <a:pt x="299" y="1253"/>
                  </a:lnTo>
                  <a:lnTo>
                    <a:pt x="309" y="1252"/>
                  </a:lnTo>
                  <a:lnTo>
                    <a:pt x="316" y="1252"/>
                  </a:lnTo>
                  <a:lnTo>
                    <a:pt x="324" y="1250"/>
                  </a:lnTo>
                  <a:lnTo>
                    <a:pt x="331" y="1248"/>
                  </a:lnTo>
                  <a:lnTo>
                    <a:pt x="339" y="1248"/>
                  </a:lnTo>
                  <a:lnTo>
                    <a:pt x="347" y="1248"/>
                  </a:lnTo>
                  <a:lnTo>
                    <a:pt x="354" y="1246"/>
                  </a:lnTo>
                  <a:lnTo>
                    <a:pt x="364" y="1246"/>
                  </a:lnTo>
                  <a:lnTo>
                    <a:pt x="372" y="1246"/>
                  </a:lnTo>
                  <a:lnTo>
                    <a:pt x="379" y="1244"/>
                  </a:lnTo>
                  <a:lnTo>
                    <a:pt x="385" y="1242"/>
                  </a:lnTo>
                  <a:lnTo>
                    <a:pt x="393" y="1240"/>
                  </a:lnTo>
                  <a:lnTo>
                    <a:pt x="400" y="1238"/>
                  </a:lnTo>
                  <a:lnTo>
                    <a:pt x="406" y="1236"/>
                  </a:lnTo>
                  <a:lnTo>
                    <a:pt x="413" y="1232"/>
                  </a:lnTo>
                  <a:lnTo>
                    <a:pt x="413" y="1232"/>
                  </a:lnTo>
                  <a:lnTo>
                    <a:pt x="421" y="1227"/>
                  </a:lnTo>
                  <a:lnTo>
                    <a:pt x="427" y="1221"/>
                  </a:lnTo>
                  <a:lnTo>
                    <a:pt x="433" y="1213"/>
                  </a:lnTo>
                  <a:lnTo>
                    <a:pt x="436" y="1208"/>
                  </a:lnTo>
                  <a:lnTo>
                    <a:pt x="440" y="1200"/>
                  </a:lnTo>
                  <a:lnTo>
                    <a:pt x="444" y="1192"/>
                  </a:lnTo>
                  <a:lnTo>
                    <a:pt x="448" y="1187"/>
                  </a:lnTo>
                  <a:lnTo>
                    <a:pt x="454" y="1179"/>
                  </a:lnTo>
                  <a:lnTo>
                    <a:pt x="454" y="1179"/>
                  </a:lnTo>
                  <a:lnTo>
                    <a:pt x="452" y="1177"/>
                  </a:lnTo>
                  <a:lnTo>
                    <a:pt x="450" y="1175"/>
                  </a:lnTo>
                  <a:lnTo>
                    <a:pt x="448" y="1173"/>
                  </a:lnTo>
                  <a:lnTo>
                    <a:pt x="448" y="1171"/>
                  </a:lnTo>
                  <a:lnTo>
                    <a:pt x="446" y="1170"/>
                  </a:lnTo>
                  <a:lnTo>
                    <a:pt x="444" y="1168"/>
                  </a:lnTo>
                  <a:lnTo>
                    <a:pt x="444" y="1166"/>
                  </a:lnTo>
                  <a:lnTo>
                    <a:pt x="442" y="1164"/>
                  </a:lnTo>
                  <a:lnTo>
                    <a:pt x="442" y="1164"/>
                  </a:lnTo>
                  <a:lnTo>
                    <a:pt x="459" y="1164"/>
                  </a:lnTo>
                  <a:lnTo>
                    <a:pt x="473" y="1162"/>
                  </a:lnTo>
                  <a:lnTo>
                    <a:pt x="488" y="1162"/>
                  </a:lnTo>
                  <a:lnTo>
                    <a:pt x="501" y="1158"/>
                  </a:lnTo>
                  <a:lnTo>
                    <a:pt x="513" y="1156"/>
                  </a:lnTo>
                  <a:lnTo>
                    <a:pt x="524" y="1152"/>
                  </a:lnTo>
                  <a:lnTo>
                    <a:pt x="534" y="1149"/>
                  </a:lnTo>
                  <a:lnTo>
                    <a:pt x="543" y="1143"/>
                  </a:lnTo>
                  <a:lnTo>
                    <a:pt x="553" y="1139"/>
                  </a:lnTo>
                  <a:lnTo>
                    <a:pt x="562" y="1133"/>
                  </a:lnTo>
                  <a:lnTo>
                    <a:pt x="570" y="1128"/>
                  </a:lnTo>
                  <a:lnTo>
                    <a:pt x="579" y="1120"/>
                  </a:lnTo>
                  <a:lnTo>
                    <a:pt x="587" y="1112"/>
                  </a:lnTo>
                  <a:lnTo>
                    <a:pt x="597" y="1105"/>
                  </a:lnTo>
                  <a:lnTo>
                    <a:pt x="604" y="1095"/>
                  </a:lnTo>
                  <a:lnTo>
                    <a:pt x="614" y="1087"/>
                  </a:lnTo>
                  <a:lnTo>
                    <a:pt x="614" y="1087"/>
                  </a:lnTo>
                  <a:lnTo>
                    <a:pt x="621" y="1082"/>
                  </a:lnTo>
                  <a:lnTo>
                    <a:pt x="629" y="1076"/>
                  </a:lnTo>
                  <a:lnTo>
                    <a:pt x="637" y="1070"/>
                  </a:lnTo>
                  <a:lnTo>
                    <a:pt x="644" y="1063"/>
                  </a:lnTo>
                  <a:lnTo>
                    <a:pt x="652" y="1057"/>
                  </a:lnTo>
                  <a:lnTo>
                    <a:pt x="656" y="1047"/>
                  </a:lnTo>
                  <a:lnTo>
                    <a:pt x="660" y="1038"/>
                  </a:lnTo>
                  <a:lnTo>
                    <a:pt x="658" y="1026"/>
                  </a:lnTo>
                  <a:lnTo>
                    <a:pt x="658" y="1026"/>
                  </a:lnTo>
                  <a:lnTo>
                    <a:pt x="665" y="1025"/>
                  </a:lnTo>
                  <a:lnTo>
                    <a:pt x="673" y="1021"/>
                  </a:lnTo>
                  <a:lnTo>
                    <a:pt x="679" y="1017"/>
                  </a:lnTo>
                  <a:lnTo>
                    <a:pt x="684" y="1013"/>
                  </a:lnTo>
                  <a:lnTo>
                    <a:pt x="690" y="1009"/>
                  </a:lnTo>
                  <a:lnTo>
                    <a:pt x="698" y="1005"/>
                  </a:lnTo>
                  <a:lnTo>
                    <a:pt x="703" y="1004"/>
                  </a:lnTo>
                  <a:lnTo>
                    <a:pt x="711" y="1002"/>
                  </a:lnTo>
                  <a:lnTo>
                    <a:pt x="711" y="1002"/>
                  </a:lnTo>
                  <a:lnTo>
                    <a:pt x="717" y="1002"/>
                  </a:lnTo>
                  <a:lnTo>
                    <a:pt x="723" y="1004"/>
                  </a:lnTo>
                  <a:lnTo>
                    <a:pt x="728" y="1005"/>
                  </a:lnTo>
                  <a:lnTo>
                    <a:pt x="734" y="1007"/>
                  </a:lnTo>
                  <a:lnTo>
                    <a:pt x="740" y="1011"/>
                  </a:lnTo>
                  <a:lnTo>
                    <a:pt x="743" y="1013"/>
                  </a:lnTo>
                  <a:lnTo>
                    <a:pt x="747" y="1015"/>
                  </a:lnTo>
                  <a:lnTo>
                    <a:pt x="751" y="1015"/>
                  </a:lnTo>
                  <a:lnTo>
                    <a:pt x="751" y="1015"/>
                  </a:lnTo>
                  <a:lnTo>
                    <a:pt x="749" y="1013"/>
                  </a:lnTo>
                  <a:lnTo>
                    <a:pt x="749" y="1011"/>
                  </a:lnTo>
                  <a:lnTo>
                    <a:pt x="747" y="1009"/>
                  </a:lnTo>
                  <a:lnTo>
                    <a:pt x="745" y="1005"/>
                  </a:lnTo>
                  <a:lnTo>
                    <a:pt x="745" y="1004"/>
                  </a:lnTo>
                  <a:lnTo>
                    <a:pt x="743" y="1002"/>
                  </a:lnTo>
                  <a:lnTo>
                    <a:pt x="743" y="998"/>
                  </a:lnTo>
                  <a:lnTo>
                    <a:pt x="743" y="996"/>
                  </a:lnTo>
                  <a:lnTo>
                    <a:pt x="743" y="996"/>
                  </a:lnTo>
                  <a:lnTo>
                    <a:pt x="743" y="994"/>
                  </a:lnTo>
                  <a:lnTo>
                    <a:pt x="745" y="992"/>
                  </a:lnTo>
                  <a:lnTo>
                    <a:pt x="747" y="990"/>
                  </a:lnTo>
                  <a:lnTo>
                    <a:pt x="749" y="986"/>
                  </a:lnTo>
                  <a:lnTo>
                    <a:pt x="749" y="986"/>
                  </a:lnTo>
                  <a:lnTo>
                    <a:pt x="751" y="983"/>
                  </a:lnTo>
                  <a:lnTo>
                    <a:pt x="753" y="981"/>
                  </a:lnTo>
                  <a:lnTo>
                    <a:pt x="753" y="979"/>
                  </a:lnTo>
                  <a:lnTo>
                    <a:pt x="753" y="979"/>
                  </a:lnTo>
                  <a:lnTo>
                    <a:pt x="753" y="971"/>
                  </a:lnTo>
                  <a:lnTo>
                    <a:pt x="749" y="965"/>
                  </a:lnTo>
                  <a:lnTo>
                    <a:pt x="747" y="962"/>
                  </a:lnTo>
                  <a:lnTo>
                    <a:pt x="743" y="960"/>
                  </a:lnTo>
                  <a:lnTo>
                    <a:pt x="740" y="956"/>
                  </a:lnTo>
                  <a:lnTo>
                    <a:pt x="736" y="954"/>
                  </a:lnTo>
                  <a:lnTo>
                    <a:pt x="732" y="952"/>
                  </a:lnTo>
                  <a:lnTo>
                    <a:pt x="730" y="948"/>
                  </a:lnTo>
                  <a:lnTo>
                    <a:pt x="730" y="948"/>
                  </a:lnTo>
                  <a:lnTo>
                    <a:pt x="726" y="944"/>
                  </a:lnTo>
                  <a:lnTo>
                    <a:pt x="724" y="937"/>
                  </a:lnTo>
                  <a:lnTo>
                    <a:pt x="723" y="931"/>
                  </a:lnTo>
                  <a:lnTo>
                    <a:pt x="721" y="923"/>
                  </a:lnTo>
                  <a:lnTo>
                    <a:pt x="719" y="916"/>
                  </a:lnTo>
                  <a:lnTo>
                    <a:pt x="717" y="908"/>
                  </a:lnTo>
                  <a:lnTo>
                    <a:pt x="715" y="901"/>
                  </a:lnTo>
                  <a:lnTo>
                    <a:pt x="713" y="893"/>
                  </a:lnTo>
                  <a:lnTo>
                    <a:pt x="711" y="887"/>
                  </a:lnTo>
                  <a:lnTo>
                    <a:pt x="709" y="880"/>
                  </a:lnTo>
                  <a:lnTo>
                    <a:pt x="705" y="874"/>
                  </a:lnTo>
                  <a:lnTo>
                    <a:pt x="700" y="868"/>
                  </a:lnTo>
                  <a:lnTo>
                    <a:pt x="696" y="862"/>
                  </a:lnTo>
                  <a:lnTo>
                    <a:pt x="688" y="860"/>
                  </a:lnTo>
                  <a:lnTo>
                    <a:pt x="681" y="859"/>
                  </a:lnTo>
                  <a:lnTo>
                    <a:pt x="673" y="857"/>
                  </a:lnTo>
                  <a:lnTo>
                    <a:pt x="673" y="857"/>
                  </a:lnTo>
                  <a:lnTo>
                    <a:pt x="669" y="857"/>
                  </a:lnTo>
                  <a:lnTo>
                    <a:pt x="667" y="857"/>
                  </a:lnTo>
                  <a:lnTo>
                    <a:pt x="665" y="855"/>
                  </a:lnTo>
                  <a:lnTo>
                    <a:pt x="663" y="853"/>
                  </a:lnTo>
                  <a:lnTo>
                    <a:pt x="661" y="851"/>
                  </a:lnTo>
                  <a:lnTo>
                    <a:pt x="661" y="849"/>
                  </a:lnTo>
                  <a:lnTo>
                    <a:pt x="661" y="845"/>
                  </a:lnTo>
                  <a:lnTo>
                    <a:pt x="661" y="843"/>
                  </a:lnTo>
                  <a:lnTo>
                    <a:pt x="661" y="843"/>
                  </a:lnTo>
                  <a:lnTo>
                    <a:pt x="661" y="838"/>
                  </a:lnTo>
                  <a:lnTo>
                    <a:pt x="663" y="832"/>
                  </a:lnTo>
                  <a:lnTo>
                    <a:pt x="667" y="828"/>
                  </a:lnTo>
                  <a:lnTo>
                    <a:pt x="669" y="824"/>
                  </a:lnTo>
                  <a:lnTo>
                    <a:pt x="673" y="820"/>
                  </a:lnTo>
                  <a:lnTo>
                    <a:pt x="679" y="817"/>
                  </a:lnTo>
                  <a:lnTo>
                    <a:pt x="681" y="815"/>
                  </a:lnTo>
                  <a:lnTo>
                    <a:pt x="684" y="813"/>
                  </a:lnTo>
                  <a:lnTo>
                    <a:pt x="682" y="813"/>
                  </a:lnTo>
                  <a:lnTo>
                    <a:pt x="682" y="813"/>
                  </a:lnTo>
                  <a:lnTo>
                    <a:pt x="684" y="813"/>
                  </a:lnTo>
                  <a:lnTo>
                    <a:pt x="688" y="811"/>
                  </a:lnTo>
                  <a:lnTo>
                    <a:pt x="688" y="809"/>
                  </a:lnTo>
                  <a:lnTo>
                    <a:pt x="690" y="807"/>
                  </a:lnTo>
                  <a:lnTo>
                    <a:pt x="692" y="805"/>
                  </a:lnTo>
                  <a:lnTo>
                    <a:pt x="694" y="803"/>
                  </a:lnTo>
                  <a:lnTo>
                    <a:pt x="694" y="799"/>
                  </a:lnTo>
                  <a:lnTo>
                    <a:pt x="694" y="798"/>
                  </a:lnTo>
                  <a:lnTo>
                    <a:pt x="694" y="798"/>
                  </a:lnTo>
                  <a:lnTo>
                    <a:pt x="694" y="794"/>
                  </a:lnTo>
                  <a:lnTo>
                    <a:pt x="692" y="790"/>
                  </a:lnTo>
                  <a:lnTo>
                    <a:pt x="690" y="784"/>
                  </a:lnTo>
                  <a:lnTo>
                    <a:pt x="690" y="780"/>
                  </a:lnTo>
                  <a:lnTo>
                    <a:pt x="688" y="778"/>
                  </a:lnTo>
                  <a:lnTo>
                    <a:pt x="686" y="775"/>
                  </a:lnTo>
                  <a:lnTo>
                    <a:pt x="684" y="771"/>
                  </a:lnTo>
                  <a:lnTo>
                    <a:pt x="682" y="769"/>
                  </a:lnTo>
                  <a:lnTo>
                    <a:pt x="682" y="769"/>
                  </a:lnTo>
                  <a:lnTo>
                    <a:pt x="686" y="765"/>
                  </a:lnTo>
                  <a:lnTo>
                    <a:pt x="690" y="763"/>
                  </a:lnTo>
                  <a:lnTo>
                    <a:pt x="698" y="759"/>
                  </a:lnTo>
                  <a:lnTo>
                    <a:pt x="703" y="756"/>
                  </a:lnTo>
                  <a:lnTo>
                    <a:pt x="709" y="750"/>
                  </a:lnTo>
                  <a:lnTo>
                    <a:pt x="715" y="746"/>
                  </a:lnTo>
                  <a:lnTo>
                    <a:pt x="719" y="740"/>
                  </a:lnTo>
                  <a:lnTo>
                    <a:pt x="721" y="736"/>
                  </a:lnTo>
                  <a:lnTo>
                    <a:pt x="721" y="736"/>
                  </a:lnTo>
                  <a:lnTo>
                    <a:pt x="719" y="735"/>
                  </a:lnTo>
                  <a:lnTo>
                    <a:pt x="719" y="731"/>
                  </a:lnTo>
                  <a:lnTo>
                    <a:pt x="715" y="729"/>
                  </a:lnTo>
                  <a:lnTo>
                    <a:pt x="713" y="727"/>
                  </a:lnTo>
                  <a:lnTo>
                    <a:pt x="711" y="723"/>
                  </a:lnTo>
                  <a:lnTo>
                    <a:pt x="707" y="721"/>
                  </a:lnTo>
                  <a:lnTo>
                    <a:pt x="705" y="717"/>
                  </a:lnTo>
                  <a:lnTo>
                    <a:pt x="705" y="714"/>
                  </a:lnTo>
                  <a:lnTo>
                    <a:pt x="705" y="714"/>
                  </a:lnTo>
                  <a:lnTo>
                    <a:pt x="705" y="710"/>
                  </a:lnTo>
                  <a:lnTo>
                    <a:pt x="705" y="708"/>
                  </a:lnTo>
                  <a:lnTo>
                    <a:pt x="705" y="706"/>
                  </a:lnTo>
                  <a:lnTo>
                    <a:pt x="705" y="704"/>
                  </a:lnTo>
                  <a:lnTo>
                    <a:pt x="723" y="700"/>
                  </a:lnTo>
                  <a:lnTo>
                    <a:pt x="723" y="700"/>
                  </a:lnTo>
                  <a:lnTo>
                    <a:pt x="726" y="698"/>
                  </a:lnTo>
                  <a:lnTo>
                    <a:pt x="728" y="694"/>
                  </a:lnTo>
                  <a:lnTo>
                    <a:pt x="730" y="691"/>
                  </a:lnTo>
                  <a:lnTo>
                    <a:pt x="732" y="687"/>
                  </a:lnTo>
                  <a:lnTo>
                    <a:pt x="734" y="683"/>
                  </a:lnTo>
                  <a:lnTo>
                    <a:pt x="736" y="677"/>
                  </a:lnTo>
                  <a:lnTo>
                    <a:pt x="738" y="674"/>
                  </a:lnTo>
                  <a:lnTo>
                    <a:pt x="740" y="668"/>
                  </a:lnTo>
                  <a:lnTo>
                    <a:pt x="742" y="662"/>
                  </a:lnTo>
                  <a:lnTo>
                    <a:pt x="743" y="656"/>
                  </a:lnTo>
                  <a:lnTo>
                    <a:pt x="743" y="653"/>
                  </a:lnTo>
                  <a:lnTo>
                    <a:pt x="745" y="647"/>
                  </a:lnTo>
                  <a:lnTo>
                    <a:pt x="745" y="641"/>
                  </a:lnTo>
                  <a:lnTo>
                    <a:pt x="747" y="635"/>
                  </a:lnTo>
                  <a:lnTo>
                    <a:pt x="747" y="632"/>
                  </a:lnTo>
                  <a:lnTo>
                    <a:pt x="747" y="626"/>
                  </a:lnTo>
                  <a:lnTo>
                    <a:pt x="747" y="626"/>
                  </a:lnTo>
                  <a:lnTo>
                    <a:pt x="751" y="626"/>
                  </a:lnTo>
                  <a:lnTo>
                    <a:pt x="757" y="624"/>
                  </a:lnTo>
                  <a:lnTo>
                    <a:pt x="761" y="624"/>
                  </a:lnTo>
                  <a:lnTo>
                    <a:pt x="764" y="622"/>
                  </a:lnTo>
                  <a:lnTo>
                    <a:pt x="770" y="622"/>
                  </a:lnTo>
                  <a:lnTo>
                    <a:pt x="774" y="622"/>
                  </a:lnTo>
                  <a:lnTo>
                    <a:pt x="778" y="620"/>
                  </a:lnTo>
                  <a:lnTo>
                    <a:pt x="784" y="620"/>
                  </a:lnTo>
                  <a:lnTo>
                    <a:pt x="787" y="620"/>
                  </a:lnTo>
                  <a:lnTo>
                    <a:pt x="793" y="620"/>
                  </a:lnTo>
                  <a:lnTo>
                    <a:pt x="797" y="618"/>
                  </a:lnTo>
                  <a:lnTo>
                    <a:pt x="803" y="618"/>
                  </a:lnTo>
                  <a:lnTo>
                    <a:pt x="806" y="618"/>
                  </a:lnTo>
                  <a:lnTo>
                    <a:pt x="812" y="618"/>
                  </a:lnTo>
                  <a:lnTo>
                    <a:pt x="818" y="618"/>
                  </a:lnTo>
                  <a:lnTo>
                    <a:pt x="824" y="618"/>
                  </a:lnTo>
                  <a:lnTo>
                    <a:pt x="816" y="307"/>
                  </a:lnTo>
                  <a:lnTo>
                    <a:pt x="209" y="0"/>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8" name="Freeform 152"/>
            <p:cNvSpPr>
              <a:spLocks/>
            </p:cNvSpPr>
            <p:nvPr/>
          </p:nvSpPr>
          <p:spPr bwMode="gray">
            <a:xfrm>
              <a:off x="1586" y="1336"/>
              <a:ext cx="686" cy="503"/>
            </a:xfrm>
            <a:custGeom>
              <a:avLst/>
              <a:gdLst/>
              <a:ahLst/>
              <a:cxnLst>
                <a:cxn ang="0">
                  <a:pos x="225" y="883"/>
                </a:cxn>
                <a:cxn ang="0">
                  <a:pos x="183" y="862"/>
                </a:cxn>
                <a:cxn ang="0">
                  <a:pos x="151" y="887"/>
                </a:cxn>
                <a:cxn ang="0">
                  <a:pos x="134" y="864"/>
                </a:cxn>
                <a:cxn ang="0">
                  <a:pos x="141" y="862"/>
                </a:cxn>
                <a:cxn ang="0">
                  <a:pos x="149" y="845"/>
                </a:cxn>
                <a:cxn ang="0">
                  <a:pos x="126" y="834"/>
                </a:cxn>
                <a:cxn ang="0">
                  <a:pos x="107" y="841"/>
                </a:cxn>
                <a:cxn ang="0">
                  <a:pos x="65" y="814"/>
                </a:cxn>
                <a:cxn ang="0">
                  <a:pos x="67" y="797"/>
                </a:cxn>
                <a:cxn ang="0">
                  <a:pos x="69" y="778"/>
                </a:cxn>
                <a:cxn ang="0">
                  <a:pos x="19" y="727"/>
                </a:cxn>
                <a:cxn ang="0">
                  <a:pos x="4" y="656"/>
                </a:cxn>
                <a:cxn ang="0">
                  <a:pos x="38" y="660"/>
                </a:cxn>
                <a:cxn ang="0">
                  <a:pos x="75" y="649"/>
                </a:cxn>
                <a:cxn ang="0">
                  <a:pos x="239" y="628"/>
                </a:cxn>
                <a:cxn ang="0">
                  <a:pos x="300" y="586"/>
                </a:cxn>
                <a:cxn ang="0">
                  <a:pos x="326" y="505"/>
                </a:cxn>
                <a:cxn ang="0">
                  <a:pos x="326" y="431"/>
                </a:cxn>
                <a:cxn ang="0">
                  <a:pos x="323" y="378"/>
                </a:cxn>
                <a:cxn ang="0">
                  <a:pos x="456" y="309"/>
                </a:cxn>
                <a:cxn ang="0">
                  <a:pos x="969" y="2"/>
                </a:cxn>
                <a:cxn ang="0">
                  <a:pos x="1013" y="15"/>
                </a:cxn>
                <a:cxn ang="0">
                  <a:pos x="1053" y="32"/>
                </a:cxn>
                <a:cxn ang="0">
                  <a:pos x="1095" y="65"/>
                </a:cxn>
                <a:cxn ang="0">
                  <a:pos x="1149" y="46"/>
                </a:cxn>
                <a:cxn ang="0">
                  <a:pos x="1170" y="173"/>
                </a:cxn>
                <a:cxn ang="0">
                  <a:pos x="1198" y="217"/>
                </a:cxn>
                <a:cxn ang="0">
                  <a:pos x="1211" y="248"/>
                </a:cxn>
                <a:cxn ang="0">
                  <a:pos x="1198" y="267"/>
                </a:cxn>
                <a:cxn ang="0">
                  <a:pos x="1154" y="544"/>
                </a:cxn>
                <a:cxn ang="0">
                  <a:pos x="1097" y="620"/>
                </a:cxn>
                <a:cxn ang="0">
                  <a:pos x="1046" y="690"/>
                </a:cxn>
                <a:cxn ang="0">
                  <a:pos x="1025" y="721"/>
                </a:cxn>
                <a:cxn ang="0">
                  <a:pos x="1032" y="757"/>
                </a:cxn>
                <a:cxn ang="0">
                  <a:pos x="1015" y="780"/>
                </a:cxn>
                <a:cxn ang="0">
                  <a:pos x="965" y="811"/>
                </a:cxn>
                <a:cxn ang="0">
                  <a:pos x="931" y="828"/>
                </a:cxn>
                <a:cxn ang="0">
                  <a:pos x="889" y="813"/>
                </a:cxn>
                <a:cxn ang="0">
                  <a:pos x="847" y="795"/>
                </a:cxn>
                <a:cxn ang="0">
                  <a:pos x="792" y="801"/>
                </a:cxn>
                <a:cxn ang="0">
                  <a:pos x="742" y="828"/>
                </a:cxn>
                <a:cxn ang="0">
                  <a:pos x="691" y="837"/>
                </a:cxn>
                <a:cxn ang="0">
                  <a:pos x="643" y="818"/>
                </a:cxn>
                <a:cxn ang="0">
                  <a:pos x="599" y="797"/>
                </a:cxn>
                <a:cxn ang="0">
                  <a:pos x="569" y="803"/>
                </a:cxn>
                <a:cxn ang="0">
                  <a:pos x="540" y="816"/>
                </a:cxn>
                <a:cxn ang="0">
                  <a:pos x="510" y="816"/>
                </a:cxn>
                <a:cxn ang="0">
                  <a:pos x="485" y="782"/>
                </a:cxn>
                <a:cxn ang="0">
                  <a:pos x="454" y="765"/>
                </a:cxn>
                <a:cxn ang="0">
                  <a:pos x="408" y="753"/>
                </a:cxn>
                <a:cxn ang="0">
                  <a:pos x="365" y="753"/>
                </a:cxn>
                <a:cxn ang="0">
                  <a:pos x="313" y="769"/>
                </a:cxn>
                <a:cxn ang="0">
                  <a:pos x="294" y="805"/>
                </a:cxn>
                <a:cxn ang="0">
                  <a:pos x="267" y="843"/>
                </a:cxn>
                <a:cxn ang="0">
                  <a:pos x="248" y="898"/>
                </a:cxn>
              </a:cxnLst>
              <a:rect l="0" t="0" r="r" b="b"/>
              <a:pathLst>
                <a:path w="1211" h="916">
                  <a:moveTo>
                    <a:pt x="252" y="908"/>
                  </a:moveTo>
                  <a:lnTo>
                    <a:pt x="256" y="916"/>
                  </a:lnTo>
                  <a:lnTo>
                    <a:pt x="256" y="916"/>
                  </a:lnTo>
                  <a:lnTo>
                    <a:pt x="248" y="910"/>
                  </a:lnTo>
                  <a:lnTo>
                    <a:pt x="242" y="902"/>
                  </a:lnTo>
                  <a:lnTo>
                    <a:pt x="233" y="895"/>
                  </a:lnTo>
                  <a:lnTo>
                    <a:pt x="225" y="883"/>
                  </a:lnTo>
                  <a:lnTo>
                    <a:pt x="216" y="874"/>
                  </a:lnTo>
                  <a:lnTo>
                    <a:pt x="208" y="866"/>
                  </a:lnTo>
                  <a:lnTo>
                    <a:pt x="199" y="860"/>
                  </a:lnTo>
                  <a:lnTo>
                    <a:pt x="193" y="858"/>
                  </a:lnTo>
                  <a:lnTo>
                    <a:pt x="193" y="858"/>
                  </a:lnTo>
                  <a:lnTo>
                    <a:pt x="189" y="860"/>
                  </a:lnTo>
                  <a:lnTo>
                    <a:pt x="183" y="862"/>
                  </a:lnTo>
                  <a:lnTo>
                    <a:pt x="176" y="866"/>
                  </a:lnTo>
                  <a:lnTo>
                    <a:pt x="168" y="872"/>
                  </a:lnTo>
                  <a:lnTo>
                    <a:pt x="162" y="876"/>
                  </a:lnTo>
                  <a:lnTo>
                    <a:pt x="157" y="879"/>
                  </a:lnTo>
                  <a:lnTo>
                    <a:pt x="153" y="883"/>
                  </a:lnTo>
                  <a:lnTo>
                    <a:pt x="151" y="887"/>
                  </a:lnTo>
                  <a:lnTo>
                    <a:pt x="151" y="887"/>
                  </a:lnTo>
                  <a:lnTo>
                    <a:pt x="147" y="885"/>
                  </a:lnTo>
                  <a:lnTo>
                    <a:pt x="143" y="883"/>
                  </a:lnTo>
                  <a:lnTo>
                    <a:pt x="141" y="879"/>
                  </a:lnTo>
                  <a:lnTo>
                    <a:pt x="138" y="877"/>
                  </a:lnTo>
                  <a:lnTo>
                    <a:pt x="136" y="874"/>
                  </a:lnTo>
                  <a:lnTo>
                    <a:pt x="134" y="870"/>
                  </a:lnTo>
                  <a:lnTo>
                    <a:pt x="134" y="864"/>
                  </a:lnTo>
                  <a:lnTo>
                    <a:pt x="134" y="858"/>
                  </a:lnTo>
                  <a:lnTo>
                    <a:pt x="134" y="858"/>
                  </a:lnTo>
                  <a:lnTo>
                    <a:pt x="136" y="860"/>
                  </a:lnTo>
                  <a:lnTo>
                    <a:pt x="138" y="862"/>
                  </a:lnTo>
                  <a:lnTo>
                    <a:pt x="139" y="862"/>
                  </a:lnTo>
                  <a:lnTo>
                    <a:pt x="139" y="862"/>
                  </a:lnTo>
                  <a:lnTo>
                    <a:pt x="141" y="862"/>
                  </a:lnTo>
                  <a:lnTo>
                    <a:pt x="145" y="860"/>
                  </a:lnTo>
                  <a:lnTo>
                    <a:pt x="147" y="860"/>
                  </a:lnTo>
                  <a:lnTo>
                    <a:pt x="151" y="858"/>
                  </a:lnTo>
                  <a:lnTo>
                    <a:pt x="151" y="858"/>
                  </a:lnTo>
                  <a:lnTo>
                    <a:pt x="151" y="855"/>
                  </a:lnTo>
                  <a:lnTo>
                    <a:pt x="149" y="849"/>
                  </a:lnTo>
                  <a:lnTo>
                    <a:pt x="149" y="845"/>
                  </a:lnTo>
                  <a:lnTo>
                    <a:pt x="147" y="841"/>
                  </a:lnTo>
                  <a:lnTo>
                    <a:pt x="143" y="837"/>
                  </a:lnTo>
                  <a:lnTo>
                    <a:pt x="141" y="835"/>
                  </a:lnTo>
                  <a:lnTo>
                    <a:pt x="136" y="834"/>
                  </a:lnTo>
                  <a:lnTo>
                    <a:pt x="132" y="834"/>
                  </a:lnTo>
                  <a:lnTo>
                    <a:pt x="132" y="834"/>
                  </a:lnTo>
                  <a:lnTo>
                    <a:pt x="126" y="834"/>
                  </a:lnTo>
                  <a:lnTo>
                    <a:pt x="122" y="834"/>
                  </a:lnTo>
                  <a:lnTo>
                    <a:pt x="120" y="835"/>
                  </a:lnTo>
                  <a:lnTo>
                    <a:pt x="117" y="837"/>
                  </a:lnTo>
                  <a:lnTo>
                    <a:pt x="115" y="839"/>
                  </a:lnTo>
                  <a:lnTo>
                    <a:pt x="113" y="839"/>
                  </a:lnTo>
                  <a:lnTo>
                    <a:pt x="109" y="841"/>
                  </a:lnTo>
                  <a:lnTo>
                    <a:pt x="107" y="841"/>
                  </a:lnTo>
                  <a:lnTo>
                    <a:pt x="107" y="841"/>
                  </a:lnTo>
                  <a:lnTo>
                    <a:pt x="101" y="839"/>
                  </a:lnTo>
                  <a:lnTo>
                    <a:pt x="94" y="837"/>
                  </a:lnTo>
                  <a:lnTo>
                    <a:pt x="86" y="832"/>
                  </a:lnTo>
                  <a:lnTo>
                    <a:pt x="78" y="826"/>
                  </a:lnTo>
                  <a:lnTo>
                    <a:pt x="71" y="820"/>
                  </a:lnTo>
                  <a:lnTo>
                    <a:pt x="65" y="814"/>
                  </a:lnTo>
                  <a:lnTo>
                    <a:pt x="59" y="809"/>
                  </a:lnTo>
                  <a:lnTo>
                    <a:pt x="56" y="803"/>
                  </a:lnTo>
                  <a:lnTo>
                    <a:pt x="56" y="803"/>
                  </a:lnTo>
                  <a:lnTo>
                    <a:pt x="59" y="801"/>
                  </a:lnTo>
                  <a:lnTo>
                    <a:pt x="61" y="799"/>
                  </a:lnTo>
                  <a:lnTo>
                    <a:pt x="65" y="799"/>
                  </a:lnTo>
                  <a:lnTo>
                    <a:pt x="67" y="797"/>
                  </a:lnTo>
                  <a:lnTo>
                    <a:pt x="71" y="795"/>
                  </a:lnTo>
                  <a:lnTo>
                    <a:pt x="73" y="794"/>
                  </a:lnTo>
                  <a:lnTo>
                    <a:pt x="77" y="792"/>
                  </a:lnTo>
                  <a:lnTo>
                    <a:pt x="80" y="790"/>
                  </a:lnTo>
                  <a:lnTo>
                    <a:pt x="80" y="790"/>
                  </a:lnTo>
                  <a:lnTo>
                    <a:pt x="75" y="784"/>
                  </a:lnTo>
                  <a:lnTo>
                    <a:pt x="69" y="778"/>
                  </a:lnTo>
                  <a:lnTo>
                    <a:pt x="63" y="773"/>
                  </a:lnTo>
                  <a:lnTo>
                    <a:pt x="56" y="765"/>
                  </a:lnTo>
                  <a:lnTo>
                    <a:pt x="48" y="759"/>
                  </a:lnTo>
                  <a:lnTo>
                    <a:pt x="40" y="752"/>
                  </a:lnTo>
                  <a:lnTo>
                    <a:pt x="35" y="744"/>
                  </a:lnTo>
                  <a:lnTo>
                    <a:pt x="27" y="734"/>
                  </a:lnTo>
                  <a:lnTo>
                    <a:pt x="19" y="727"/>
                  </a:lnTo>
                  <a:lnTo>
                    <a:pt x="14" y="717"/>
                  </a:lnTo>
                  <a:lnTo>
                    <a:pt x="10" y="708"/>
                  </a:lnTo>
                  <a:lnTo>
                    <a:pt x="4" y="698"/>
                  </a:lnTo>
                  <a:lnTo>
                    <a:pt x="2" y="689"/>
                  </a:lnTo>
                  <a:lnTo>
                    <a:pt x="0" y="677"/>
                  </a:lnTo>
                  <a:lnTo>
                    <a:pt x="0" y="668"/>
                  </a:lnTo>
                  <a:lnTo>
                    <a:pt x="4" y="656"/>
                  </a:lnTo>
                  <a:lnTo>
                    <a:pt x="4" y="656"/>
                  </a:lnTo>
                  <a:lnTo>
                    <a:pt x="8" y="654"/>
                  </a:lnTo>
                  <a:lnTo>
                    <a:pt x="14" y="652"/>
                  </a:lnTo>
                  <a:lnTo>
                    <a:pt x="19" y="654"/>
                  </a:lnTo>
                  <a:lnTo>
                    <a:pt x="25" y="656"/>
                  </a:lnTo>
                  <a:lnTo>
                    <a:pt x="31" y="658"/>
                  </a:lnTo>
                  <a:lnTo>
                    <a:pt x="38" y="660"/>
                  </a:lnTo>
                  <a:lnTo>
                    <a:pt x="46" y="662"/>
                  </a:lnTo>
                  <a:lnTo>
                    <a:pt x="54" y="662"/>
                  </a:lnTo>
                  <a:lnTo>
                    <a:pt x="54" y="662"/>
                  </a:lnTo>
                  <a:lnTo>
                    <a:pt x="59" y="660"/>
                  </a:lnTo>
                  <a:lnTo>
                    <a:pt x="65" y="658"/>
                  </a:lnTo>
                  <a:lnTo>
                    <a:pt x="69" y="654"/>
                  </a:lnTo>
                  <a:lnTo>
                    <a:pt x="75" y="649"/>
                  </a:lnTo>
                  <a:lnTo>
                    <a:pt x="80" y="643"/>
                  </a:lnTo>
                  <a:lnTo>
                    <a:pt x="84" y="639"/>
                  </a:lnTo>
                  <a:lnTo>
                    <a:pt x="88" y="635"/>
                  </a:lnTo>
                  <a:lnTo>
                    <a:pt x="92" y="631"/>
                  </a:lnTo>
                  <a:lnTo>
                    <a:pt x="174" y="631"/>
                  </a:lnTo>
                  <a:lnTo>
                    <a:pt x="174" y="628"/>
                  </a:lnTo>
                  <a:lnTo>
                    <a:pt x="239" y="628"/>
                  </a:lnTo>
                  <a:lnTo>
                    <a:pt x="239" y="628"/>
                  </a:lnTo>
                  <a:lnTo>
                    <a:pt x="252" y="622"/>
                  </a:lnTo>
                  <a:lnTo>
                    <a:pt x="263" y="616"/>
                  </a:lnTo>
                  <a:lnTo>
                    <a:pt x="275" y="610"/>
                  </a:lnTo>
                  <a:lnTo>
                    <a:pt x="283" y="603"/>
                  </a:lnTo>
                  <a:lnTo>
                    <a:pt x="292" y="595"/>
                  </a:lnTo>
                  <a:lnTo>
                    <a:pt x="300" y="586"/>
                  </a:lnTo>
                  <a:lnTo>
                    <a:pt x="305" y="576"/>
                  </a:lnTo>
                  <a:lnTo>
                    <a:pt x="311" y="566"/>
                  </a:lnTo>
                  <a:lnTo>
                    <a:pt x="315" y="555"/>
                  </a:lnTo>
                  <a:lnTo>
                    <a:pt x="319" y="544"/>
                  </a:lnTo>
                  <a:lnTo>
                    <a:pt x="323" y="532"/>
                  </a:lnTo>
                  <a:lnTo>
                    <a:pt x="324" y="519"/>
                  </a:lnTo>
                  <a:lnTo>
                    <a:pt x="326" y="505"/>
                  </a:lnTo>
                  <a:lnTo>
                    <a:pt x="326" y="490"/>
                  </a:lnTo>
                  <a:lnTo>
                    <a:pt x="328" y="473"/>
                  </a:lnTo>
                  <a:lnTo>
                    <a:pt x="328" y="458"/>
                  </a:lnTo>
                  <a:lnTo>
                    <a:pt x="328" y="458"/>
                  </a:lnTo>
                  <a:lnTo>
                    <a:pt x="328" y="448"/>
                  </a:lnTo>
                  <a:lnTo>
                    <a:pt x="328" y="439"/>
                  </a:lnTo>
                  <a:lnTo>
                    <a:pt x="326" y="431"/>
                  </a:lnTo>
                  <a:lnTo>
                    <a:pt x="326" y="421"/>
                  </a:lnTo>
                  <a:lnTo>
                    <a:pt x="324" y="414"/>
                  </a:lnTo>
                  <a:lnTo>
                    <a:pt x="324" y="406"/>
                  </a:lnTo>
                  <a:lnTo>
                    <a:pt x="324" y="399"/>
                  </a:lnTo>
                  <a:lnTo>
                    <a:pt x="323" y="391"/>
                  </a:lnTo>
                  <a:lnTo>
                    <a:pt x="323" y="385"/>
                  </a:lnTo>
                  <a:lnTo>
                    <a:pt x="323" y="378"/>
                  </a:lnTo>
                  <a:lnTo>
                    <a:pt x="323" y="370"/>
                  </a:lnTo>
                  <a:lnTo>
                    <a:pt x="323" y="362"/>
                  </a:lnTo>
                  <a:lnTo>
                    <a:pt x="323" y="357"/>
                  </a:lnTo>
                  <a:lnTo>
                    <a:pt x="324" y="347"/>
                  </a:lnTo>
                  <a:lnTo>
                    <a:pt x="326" y="339"/>
                  </a:lnTo>
                  <a:lnTo>
                    <a:pt x="328" y="332"/>
                  </a:lnTo>
                  <a:lnTo>
                    <a:pt x="456" y="309"/>
                  </a:lnTo>
                  <a:lnTo>
                    <a:pt x="593" y="194"/>
                  </a:lnTo>
                  <a:lnTo>
                    <a:pt x="937" y="0"/>
                  </a:lnTo>
                  <a:lnTo>
                    <a:pt x="937" y="0"/>
                  </a:lnTo>
                  <a:lnTo>
                    <a:pt x="944" y="0"/>
                  </a:lnTo>
                  <a:lnTo>
                    <a:pt x="954" y="0"/>
                  </a:lnTo>
                  <a:lnTo>
                    <a:pt x="962" y="2"/>
                  </a:lnTo>
                  <a:lnTo>
                    <a:pt x="969" y="2"/>
                  </a:lnTo>
                  <a:lnTo>
                    <a:pt x="977" y="4"/>
                  </a:lnTo>
                  <a:lnTo>
                    <a:pt x="983" y="6"/>
                  </a:lnTo>
                  <a:lnTo>
                    <a:pt x="990" y="8"/>
                  </a:lnTo>
                  <a:lnTo>
                    <a:pt x="996" y="9"/>
                  </a:lnTo>
                  <a:lnTo>
                    <a:pt x="1002" y="11"/>
                  </a:lnTo>
                  <a:lnTo>
                    <a:pt x="1007" y="13"/>
                  </a:lnTo>
                  <a:lnTo>
                    <a:pt x="1013" y="15"/>
                  </a:lnTo>
                  <a:lnTo>
                    <a:pt x="1021" y="19"/>
                  </a:lnTo>
                  <a:lnTo>
                    <a:pt x="1026" y="21"/>
                  </a:lnTo>
                  <a:lnTo>
                    <a:pt x="1032" y="25"/>
                  </a:lnTo>
                  <a:lnTo>
                    <a:pt x="1040" y="27"/>
                  </a:lnTo>
                  <a:lnTo>
                    <a:pt x="1046" y="28"/>
                  </a:lnTo>
                  <a:lnTo>
                    <a:pt x="1046" y="28"/>
                  </a:lnTo>
                  <a:lnTo>
                    <a:pt x="1053" y="32"/>
                  </a:lnTo>
                  <a:lnTo>
                    <a:pt x="1059" y="38"/>
                  </a:lnTo>
                  <a:lnTo>
                    <a:pt x="1065" y="44"/>
                  </a:lnTo>
                  <a:lnTo>
                    <a:pt x="1070" y="49"/>
                  </a:lnTo>
                  <a:lnTo>
                    <a:pt x="1074" y="55"/>
                  </a:lnTo>
                  <a:lnTo>
                    <a:pt x="1082" y="61"/>
                  </a:lnTo>
                  <a:lnTo>
                    <a:pt x="1088" y="63"/>
                  </a:lnTo>
                  <a:lnTo>
                    <a:pt x="1095" y="65"/>
                  </a:lnTo>
                  <a:lnTo>
                    <a:pt x="1095" y="65"/>
                  </a:lnTo>
                  <a:lnTo>
                    <a:pt x="1105" y="65"/>
                  </a:lnTo>
                  <a:lnTo>
                    <a:pt x="1112" y="61"/>
                  </a:lnTo>
                  <a:lnTo>
                    <a:pt x="1122" y="59"/>
                  </a:lnTo>
                  <a:lnTo>
                    <a:pt x="1131" y="55"/>
                  </a:lnTo>
                  <a:lnTo>
                    <a:pt x="1141" y="51"/>
                  </a:lnTo>
                  <a:lnTo>
                    <a:pt x="1149" y="46"/>
                  </a:lnTo>
                  <a:lnTo>
                    <a:pt x="1156" y="42"/>
                  </a:lnTo>
                  <a:lnTo>
                    <a:pt x="1160" y="38"/>
                  </a:lnTo>
                  <a:lnTo>
                    <a:pt x="1160" y="166"/>
                  </a:lnTo>
                  <a:lnTo>
                    <a:pt x="1160" y="166"/>
                  </a:lnTo>
                  <a:lnTo>
                    <a:pt x="1162" y="168"/>
                  </a:lnTo>
                  <a:lnTo>
                    <a:pt x="1166" y="170"/>
                  </a:lnTo>
                  <a:lnTo>
                    <a:pt x="1170" y="173"/>
                  </a:lnTo>
                  <a:lnTo>
                    <a:pt x="1171" y="179"/>
                  </a:lnTo>
                  <a:lnTo>
                    <a:pt x="1175" y="185"/>
                  </a:lnTo>
                  <a:lnTo>
                    <a:pt x="1181" y="191"/>
                  </a:lnTo>
                  <a:lnTo>
                    <a:pt x="1185" y="196"/>
                  </a:lnTo>
                  <a:lnTo>
                    <a:pt x="1189" y="204"/>
                  </a:lnTo>
                  <a:lnTo>
                    <a:pt x="1194" y="210"/>
                  </a:lnTo>
                  <a:lnTo>
                    <a:pt x="1198" y="217"/>
                  </a:lnTo>
                  <a:lnTo>
                    <a:pt x="1202" y="223"/>
                  </a:lnTo>
                  <a:lnTo>
                    <a:pt x="1206" y="231"/>
                  </a:lnTo>
                  <a:lnTo>
                    <a:pt x="1208" y="236"/>
                  </a:lnTo>
                  <a:lnTo>
                    <a:pt x="1210" y="240"/>
                  </a:lnTo>
                  <a:lnTo>
                    <a:pt x="1211" y="244"/>
                  </a:lnTo>
                  <a:lnTo>
                    <a:pt x="1211" y="248"/>
                  </a:lnTo>
                  <a:lnTo>
                    <a:pt x="1211" y="248"/>
                  </a:lnTo>
                  <a:lnTo>
                    <a:pt x="1211" y="252"/>
                  </a:lnTo>
                  <a:lnTo>
                    <a:pt x="1210" y="254"/>
                  </a:lnTo>
                  <a:lnTo>
                    <a:pt x="1208" y="257"/>
                  </a:lnTo>
                  <a:lnTo>
                    <a:pt x="1206" y="259"/>
                  </a:lnTo>
                  <a:lnTo>
                    <a:pt x="1204" y="263"/>
                  </a:lnTo>
                  <a:lnTo>
                    <a:pt x="1200" y="265"/>
                  </a:lnTo>
                  <a:lnTo>
                    <a:pt x="1198" y="267"/>
                  </a:lnTo>
                  <a:lnTo>
                    <a:pt x="1196" y="267"/>
                  </a:lnTo>
                  <a:lnTo>
                    <a:pt x="1196" y="378"/>
                  </a:lnTo>
                  <a:lnTo>
                    <a:pt x="1179" y="515"/>
                  </a:lnTo>
                  <a:lnTo>
                    <a:pt x="1179" y="515"/>
                  </a:lnTo>
                  <a:lnTo>
                    <a:pt x="1170" y="525"/>
                  </a:lnTo>
                  <a:lnTo>
                    <a:pt x="1162" y="534"/>
                  </a:lnTo>
                  <a:lnTo>
                    <a:pt x="1154" y="544"/>
                  </a:lnTo>
                  <a:lnTo>
                    <a:pt x="1145" y="553"/>
                  </a:lnTo>
                  <a:lnTo>
                    <a:pt x="1137" y="565"/>
                  </a:lnTo>
                  <a:lnTo>
                    <a:pt x="1129" y="574"/>
                  </a:lnTo>
                  <a:lnTo>
                    <a:pt x="1120" y="586"/>
                  </a:lnTo>
                  <a:lnTo>
                    <a:pt x="1112" y="597"/>
                  </a:lnTo>
                  <a:lnTo>
                    <a:pt x="1105" y="608"/>
                  </a:lnTo>
                  <a:lnTo>
                    <a:pt x="1097" y="620"/>
                  </a:lnTo>
                  <a:lnTo>
                    <a:pt x="1088" y="631"/>
                  </a:lnTo>
                  <a:lnTo>
                    <a:pt x="1080" y="643"/>
                  </a:lnTo>
                  <a:lnTo>
                    <a:pt x="1072" y="656"/>
                  </a:lnTo>
                  <a:lnTo>
                    <a:pt x="1063" y="668"/>
                  </a:lnTo>
                  <a:lnTo>
                    <a:pt x="1055" y="679"/>
                  </a:lnTo>
                  <a:lnTo>
                    <a:pt x="1046" y="690"/>
                  </a:lnTo>
                  <a:lnTo>
                    <a:pt x="1046" y="690"/>
                  </a:lnTo>
                  <a:lnTo>
                    <a:pt x="1044" y="696"/>
                  </a:lnTo>
                  <a:lnTo>
                    <a:pt x="1040" y="700"/>
                  </a:lnTo>
                  <a:lnTo>
                    <a:pt x="1036" y="704"/>
                  </a:lnTo>
                  <a:lnTo>
                    <a:pt x="1032" y="708"/>
                  </a:lnTo>
                  <a:lnTo>
                    <a:pt x="1028" y="711"/>
                  </a:lnTo>
                  <a:lnTo>
                    <a:pt x="1026" y="715"/>
                  </a:lnTo>
                  <a:lnTo>
                    <a:pt x="1025" y="721"/>
                  </a:lnTo>
                  <a:lnTo>
                    <a:pt x="1025" y="727"/>
                  </a:lnTo>
                  <a:lnTo>
                    <a:pt x="1025" y="727"/>
                  </a:lnTo>
                  <a:lnTo>
                    <a:pt x="1025" y="732"/>
                  </a:lnTo>
                  <a:lnTo>
                    <a:pt x="1026" y="740"/>
                  </a:lnTo>
                  <a:lnTo>
                    <a:pt x="1026" y="746"/>
                  </a:lnTo>
                  <a:lnTo>
                    <a:pt x="1028" y="752"/>
                  </a:lnTo>
                  <a:lnTo>
                    <a:pt x="1032" y="757"/>
                  </a:lnTo>
                  <a:lnTo>
                    <a:pt x="1034" y="763"/>
                  </a:lnTo>
                  <a:lnTo>
                    <a:pt x="1036" y="769"/>
                  </a:lnTo>
                  <a:lnTo>
                    <a:pt x="1038" y="773"/>
                  </a:lnTo>
                  <a:lnTo>
                    <a:pt x="1038" y="773"/>
                  </a:lnTo>
                  <a:lnTo>
                    <a:pt x="1030" y="774"/>
                  </a:lnTo>
                  <a:lnTo>
                    <a:pt x="1023" y="776"/>
                  </a:lnTo>
                  <a:lnTo>
                    <a:pt x="1015" y="780"/>
                  </a:lnTo>
                  <a:lnTo>
                    <a:pt x="1007" y="784"/>
                  </a:lnTo>
                  <a:lnTo>
                    <a:pt x="1002" y="788"/>
                  </a:lnTo>
                  <a:lnTo>
                    <a:pt x="994" y="792"/>
                  </a:lnTo>
                  <a:lnTo>
                    <a:pt x="986" y="797"/>
                  </a:lnTo>
                  <a:lnTo>
                    <a:pt x="979" y="801"/>
                  </a:lnTo>
                  <a:lnTo>
                    <a:pt x="973" y="807"/>
                  </a:lnTo>
                  <a:lnTo>
                    <a:pt x="965" y="811"/>
                  </a:lnTo>
                  <a:lnTo>
                    <a:pt x="960" y="814"/>
                  </a:lnTo>
                  <a:lnTo>
                    <a:pt x="954" y="818"/>
                  </a:lnTo>
                  <a:lnTo>
                    <a:pt x="946" y="822"/>
                  </a:lnTo>
                  <a:lnTo>
                    <a:pt x="941" y="824"/>
                  </a:lnTo>
                  <a:lnTo>
                    <a:pt x="935" y="826"/>
                  </a:lnTo>
                  <a:lnTo>
                    <a:pt x="931" y="828"/>
                  </a:lnTo>
                  <a:lnTo>
                    <a:pt x="931" y="828"/>
                  </a:lnTo>
                  <a:lnTo>
                    <a:pt x="923" y="826"/>
                  </a:lnTo>
                  <a:lnTo>
                    <a:pt x="918" y="826"/>
                  </a:lnTo>
                  <a:lnTo>
                    <a:pt x="910" y="824"/>
                  </a:lnTo>
                  <a:lnTo>
                    <a:pt x="904" y="822"/>
                  </a:lnTo>
                  <a:lnTo>
                    <a:pt x="899" y="818"/>
                  </a:lnTo>
                  <a:lnTo>
                    <a:pt x="895" y="816"/>
                  </a:lnTo>
                  <a:lnTo>
                    <a:pt x="889" y="813"/>
                  </a:lnTo>
                  <a:lnTo>
                    <a:pt x="883" y="811"/>
                  </a:lnTo>
                  <a:lnTo>
                    <a:pt x="878" y="807"/>
                  </a:lnTo>
                  <a:lnTo>
                    <a:pt x="874" y="805"/>
                  </a:lnTo>
                  <a:lnTo>
                    <a:pt x="868" y="801"/>
                  </a:lnTo>
                  <a:lnTo>
                    <a:pt x="861" y="799"/>
                  </a:lnTo>
                  <a:lnTo>
                    <a:pt x="855" y="797"/>
                  </a:lnTo>
                  <a:lnTo>
                    <a:pt x="847" y="795"/>
                  </a:lnTo>
                  <a:lnTo>
                    <a:pt x="840" y="794"/>
                  </a:lnTo>
                  <a:lnTo>
                    <a:pt x="830" y="794"/>
                  </a:lnTo>
                  <a:lnTo>
                    <a:pt x="830" y="794"/>
                  </a:lnTo>
                  <a:lnTo>
                    <a:pt x="819" y="794"/>
                  </a:lnTo>
                  <a:lnTo>
                    <a:pt x="809" y="795"/>
                  </a:lnTo>
                  <a:lnTo>
                    <a:pt x="799" y="797"/>
                  </a:lnTo>
                  <a:lnTo>
                    <a:pt x="792" y="801"/>
                  </a:lnTo>
                  <a:lnTo>
                    <a:pt x="784" y="805"/>
                  </a:lnTo>
                  <a:lnTo>
                    <a:pt x="777" y="809"/>
                  </a:lnTo>
                  <a:lnTo>
                    <a:pt x="769" y="813"/>
                  </a:lnTo>
                  <a:lnTo>
                    <a:pt x="763" y="816"/>
                  </a:lnTo>
                  <a:lnTo>
                    <a:pt x="758" y="820"/>
                  </a:lnTo>
                  <a:lnTo>
                    <a:pt x="750" y="824"/>
                  </a:lnTo>
                  <a:lnTo>
                    <a:pt x="742" y="828"/>
                  </a:lnTo>
                  <a:lnTo>
                    <a:pt x="737" y="832"/>
                  </a:lnTo>
                  <a:lnTo>
                    <a:pt x="729" y="834"/>
                  </a:lnTo>
                  <a:lnTo>
                    <a:pt x="719" y="837"/>
                  </a:lnTo>
                  <a:lnTo>
                    <a:pt x="710" y="837"/>
                  </a:lnTo>
                  <a:lnTo>
                    <a:pt x="700" y="839"/>
                  </a:lnTo>
                  <a:lnTo>
                    <a:pt x="700" y="839"/>
                  </a:lnTo>
                  <a:lnTo>
                    <a:pt x="691" y="837"/>
                  </a:lnTo>
                  <a:lnTo>
                    <a:pt x="683" y="837"/>
                  </a:lnTo>
                  <a:lnTo>
                    <a:pt x="675" y="835"/>
                  </a:lnTo>
                  <a:lnTo>
                    <a:pt x="668" y="832"/>
                  </a:lnTo>
                  <a:lnTo>
                    <a:pt x="662" y="830"/>
                  </a:lnTo>
                  <a:lnTo>
                    <a:pt x="654" y="826"/>
                  </a:lnTo>
                  <a:lnTo>
                    <a:pt x="649" y="822"/>
                  </a:lnTo>
                  <a:lnTo>
                    <a:pt x="643" y="818"/>
                  </a:lnTo>
                  <a:lnTo>
                    <a:pt x="637" y="814"/>
                  </a:lnTo>
                  <a:lnTo>
                    <a:pt x="632" y="811"/>
                  </a:lnTo>
                  <a:lnTo>
                    <a:pt x="626" y="807"/>
                  </a:lnTo>
                  <a:lnTo>
                    <a:pt x="620" y="803"/>
                  </a:lnTo>
                  <a:lnTo>
                    <a:pt x="613" y="801"/>
                  </a:lnTo>
                  <a:lnTo>
                    <a:pt x="607" y="799"/>
                  </a:lnTo>
                  <a:lnTo>
                    <a:pt x="599" y="797"/>
                  </a:lnTo>
                  <a:lnTo>
                    <a:pt x="592" y="797"/>
                  </a:lnTo>
                  <a:lnTo>
                    <a:pt x="592" y="797"/>
                  </a:lnTo>
                  <a:lnTo>
                    <a:pt x="586" y="797"/>
                  </a:lnTo>
                  <a:lnTo>
                    <a:pt x="582" y="797"/>
                  </a:lnTo>
                  <a:lnTo>
                    <a:pt x="576" y="799"/>
                  </a:lnTo>
                  <a:lnTo>
                    <a:pt x="572" y="801"/>
                  </a:lnTo>
                  <a:lnTo>
                    <a:pt x="569" y="803"/>
                  </a:lnTo>
                  <a:lnTo>
                    <a:pt x="563" y="805"/>
                  </a:lnTo>
                  <a:lnTo>
                    <a:pt x="559" y="807"/>
                  </a:lnTo>
                  <a:lnTo>
                    <a:pt x="555" y="809"/>
                  </a:lnTo>
                  <a:lnTo>
                    <a:pt x="551" y="811"/>
                  </a:lnTo>
                  <a:lnTo>
                    <a:pt x="548" y="813"/>
                  </a:lnTo>
                  <a:lnTo>
                    <a:pt x="544" y="814"/>
                  </a:lnTo>
                  <a:lnTo>
                    <a:pt x="540" y="816"/>
                  </a:lnTo>
                  <a:lnTo>
                    <a:pt x="534" y="818"/>
                  </a:lnTo>
                  <a:lnTo>
                    <a:pt x="531" y="820"/>
                  </a:lnTo>
                  <a:lnTo>
                    <a:pt x="525" y="820"/>
                  </a:lnTo>
                  <a:lnTo>
                    <a:pt x="521" y="820"/>
                  </a:lnTo>
                  <a:lnTo>
                    <a:pt x="521" y="820"/>
                  </a:lnTo>
                  <a:lnTo>
                    <a:pt x="513" y="820"/>
                  </a:lnTo>
                  <a:lnTo>
                    <a:pt x="510" y="816"/>
                  </a:lnTo>
                  <a:lnTo>
                    <a:pt x="504" y="813"/>
                  </a:lnTo>
                  <a:lnTo>
                    <a:pt x="500" y="807"/>
                  </a:lnTo>
                  <a:lnTo>
                    <a:pt x="496" y="799"/>
                  </a:lnTo>
                  <a:lnTo>
                    <a:pt x="492" y="794"/>
                  </a:lnTo>
                  <a:lnTo>
                    <a:pt x="489" y="788"/>
                  </a:lnTo>
                  <a:lnTo>
                    <a:pt x="485" y="782"/>
                  </a:lnTo>
                  <a:lnTo>
                    <a:pt x="485" y="782"/>
                  </a:lnTo>
                  <a:lnTo>
                    <a:pt x="483" y="780"/>
                  </a:lnTo>
                  <a:lnTo>
                    <a:pt x="479" y="776"/>
                  </a:lnTo>
                  <a:lnTo>
                    <a:pt x="475" y="774"/>
                  </a:lnTo>
                  <a:lnTo>
                    <a:pt x="471" y="773"/>
                  </a:lnTo>
                  <a:lnTo>
                    <a:pt x="466" y="769"/>
                  </a:lnTo>
                  <a:lnTo>
                    <a:pt x="460" y="767"/>
                  </a:lnTo>
                  <a:lnTo>
                    <a:pt x="454" y="765"/>
                  </a:lnTo>
                  <a:lnTo>
                    <a:pt x="447" y="763"/>
                  </a:lnTo>
                  <a:lnTo>
                    <a:pt x="441" y="761"/>
                  </a:lnTo>
                  <a:lnTo>
                    <a:pt x="433" y="759"/>
                  </a:lnTo>
                  <a:lnTo>
                    <a:pt x="428" y="757"/>
                  </a:lnTo>
                  <a:lnTo>
                    <a:pt x="420" y="755"/>
                  </a:lnTo>
                  <a:lnTo>
                    <a:pt x="414" y="753"/>
                  </a:lnTo>
                  <a:lnTo>
                    <a:pt x="408" y="753"/>
                  </a:lnTo>
                  <a:lnTo>
                    <a:pt x="403" y="752"/>
                  </a:lnTo>
                  <a:lnTo>
                    <a:pt x="399" y="752"/>
                  </a:lnTo>
                  <a:lnTo>
                    <a:pt x="399" y="752"/>
                  </a:lnTo>
                  <a:lnTo>
                    <a:pt x="391" y="752"/>
                  </a:lnTo>
                  <a:lnTo>
                    <a:pt x="382" y="753"/>
                  </a:lnTo>
                  <a:lnTo>
                    <a:pt x="374" y="753"/>
                  </a:lnTo>
                  <a:lnTo>
                    <a:pt x="365" y="753"/>
                  </a:lnTo>
                  <a:lnTo>
                    <a:pt x="357" y="755"/>
                  </a:lnTo>
                  <a:lnTo>
                    <a:pt x="349" y="757"/>
                  </a:lnTo>
                  <a:lnTo>
                    <a:pt x="340" y="759"/>
                  </a:lnTo>
                  <a:lnTo>
                    <a:pt x="332" y="761"/>
                  </a:lnTo>
                  <a:lnTo>
                    <a:pt x="326" y="763"/>
                  </a:lnTo>
                  <a:lnTo>
                    <a:pt x="319" y="765"/>
                  </a:lnTo>
                  <a:lnTo>
                    <a:pt x="313" y="769"/>
                  </a:lnTo>
                  <a:lnTo>
                    <a:pt x="309" y="773"/>
                  </a:lnTo>
                  <a:lnTo>
                    <a:pt x="304" y="778"/>
                  </a:lnTo>
                  <a:lnTo>
                    <a:pt x="302" y="782"/>
                  </a:lnTo>
                  <a:lnTo>
                    <a:pt x="298" y="788"/>
                  </a:lnTo>
                  <a:lnTo>
                    <a:pt x="296" y="795"/>
                  </a:lnTo>
                  <a:lnTo>
                    <a:pt x="296" y="795"/>
                  </a:lnTo>
                  <a:lnTo>
                    <a:pt x="294" y="805"/>
                  </a:lnTo>
                  <a:lnTo>
                    <a:pt x="292" y="814"/>
                  </a:lnTo>
                  <a:lnTo>
                    <a:pt x="288" y="822"/>
                  </a:lnTo>
                  <a:lnTo>
                    <a:pt x="284" y="828"/>
                  </a:lnTo>
                  <a:lnTo>
                    <a:pt x="281" y="832"/>
                  </a:lnTo>
                  <a:lnTo>
                    <a:pt x="277" y="835"/>
                  </a:lnTo>
                  <a:lnTo>
                    <a:pt x="273" y="839"/>
                  </a:lnTo>
                  <a:lnTo>
                    <a:pt x="267" y="843"/>
                  </a:lnTo>
                  <a:lnTo>
                    <a:pt x="263" y="847"/>
                  </a:lnTo>
                  <a:lnTo>
                    <a:pt x="260" y="851"/>
                  </a:lnTo>
                  <a:lnTo>
                    <a:pt x="256" y="856"/>
                  </a:lnTo>
                  <a:lnTo>
                    <a:pt x="254" y="864"/>
                  </a:lnTo>
                  <a:lnTo>
                    <a:pt x="252" y="874"/>
                  </a:lnTo>
                  <a:lnTo>
                    <a:pt x="250" y="885"/>
                  </a:lnTo>
                  <a:lnTo>
                    <a:pt x="248" y="898"/>
                  </a:lnTo>
                  <a:lnTo>
                    <a:pt x="250" y="916"/>
                  </a:lnTo>
                  <a:lnTo>
                    <a:pt x="252" y="908"/>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09" name="Freeform 153"/>
            <p:cNvSpPr>
              <a:spLocks/>
            </p:cNvSpPr>
            <p:nvPr/>
          </p:nvSpPr>
          <p:spPr bwMode="gray">
            <a:xfrm>
              <a:off x="2541" y="1330"/>
              <a:ext cx="714" cy="873"/>
            </a:xfrm>
            <a:custGeom>
              <a:avLst/>
              <a:gdLst/>
              <a:ahLst/>
              <a:cxnLst>
                <a:cxn ang="0">
                  <a:pos x="857" y="117"/>
                </a:cxn>
                <a:cxn ang="0">
                  <a:pos x="891" y="84"/>
                </a:cxn>
                <a:cxn ang="0">
                  <a:pos x="943" y="67"/>
                </a:cxn>
                <a:cxn ang="0">
                  <a:pos x="998" y="10"/>
                </a:cxn>
                <a:cxn ang="0">
                  <a:pos x="1061" y="40"/>
                </a:cxn>
                <a:cxn ang="0">
                  <a:pos x="1137" y="149"/>
                </a:cxn>
                <a:cxn ang="0">
                  <a:pos x="1156" y="268"/>
                </a:cxn>
                <a:cxn ang="0">
                  <a:pos x="1198" y="353"/>
                </a:cxn>
                <a:cxn ang="0">
                  <a:pos x="1259" y="392"/>
                </a:cxn>
                <a:cxn ang="0">
                  <a:pos x="1195" y="468"/>
                </a:cxn>
                <a:cxn ang="0">
                  <a:pos x="1149" y="537"/>
                </a:cxn>
                <a:cxn ang="0">
                  <a:pos x="1139" y="588"/>
                </a:cxn>
                <a:cxn ang="0">
                  <a:pos x="1126" y="653"/>
                </a:cxn>
                <a:cxn ang="0">
                  <a:pos x="1134" y="706"/>
                </a:cxn>
                <a:cxn ang="0">
                  <a:pos x="1116" y="773"/>
                </a:cxn>
                <a:cxn ang="0">
                  <a:pos x="1105" y="840"/>
                </a:cxn>
                <a:cxn ang="0">
                  <a:pos x="1069" y="867"/>
                </a:cxn>
                <a:cxn ang="0">
                  <a:pos x="1040" y="937"/>
                </a:cxn>
                <a:cxn ang="0">
                  <a:pos x="1006" y="998"/>
                </a:cxn>
                <a:cxn ang="0">
                  <a:pos x="987" y="1040"/>
                </a:cxn>
                <a:cxn ang="0">
                  <a:pos x="968" y="1113"/>
                </a:cxn>
                <a:cxn ang="0">
                  <a:pos x="958" y="1179"/>
                </a:cxn>
                <a:cxn ang="0">
                  <a:pos x="901" y="1208"/>
                </a:cxn>
                <a:cxn ang="0">
                  <a:pos x="893" y="1239"/>
                </a:cxn>
                <a:cxn ang="0">
                  <a:pos x="964" y="1265"/>
                </a:cxn>
                <a:cxn ang="0">
                  <a:pos x="1027" y="1332"/>
                </a:cxn>
                <a:cxn ang="0">
                  <a:pos x="1046" y="1391"/>
                </a:cxn>
                <a:cxn ang="0">
                  <a:pos x="1092" y="1422"/>
                </a:cxn>
                <a:cxn ang="0">
                  <a:pos x="1116" y="1475"/>
                </a:cxn>
                <a:cxn ang="0">
                  <a:pos x="992" y="1504"/>
                </a:cxn>
                <a:cxn ang="0">
                  <a:pos x="928" y="1561"/>
                </a:cxn>
                <a:cxn ang="0">
                  <a:pos x="893" y="1561"/>
                </a:cxn>
                <a:cxn ang="0">
                  <a:pos x="844" y="1576"/>
                </a:cxn>
                <a:cxn ang="0">
                  <a:pos x="783" y="1565"/>
                </a:cxn>
                <a:cxn ang="0">
                  <a:pos x="729" y="1584"/>
                </a:cxn>
                <a:cxn ang="0">
                  <a:pos x="701" y="1571"/>
                </a:cxn>
                <a:cxn ang="0">
                  <a:pos x="676" y="1559"/>
                </a:cxn>
                <a:cxn ang="0">
                  <a:pos x="611" y="1513"/>
                </a:cxn>
                <a:cxn ang="0">
                  <a:pos x="563" y="1519"/>
                </a:cxn>
                <a:cxn ang="0">
                  <a:pos x="519" y="1532"/>
                </a:cxn>
                <a:cxn ang="0">
                  <a:pos x="462" y="1483"/>
                </a:cxn>
                <a:cxn ang="0">
                  <a:pos x="435" y="1441"/>
                </a:cxn>
                <a:cxn ang="0">
                  <a:pos x="388" y="1401"/>
                </a:cxn>
                <a:cxn ang="0">
                  <a:pos x="355" y="1343"/>
                </a:cxn>
                <a:cxn ang="0">
                  <a:pos x="304" y="1303"/>
                </a:cxn>
                <a:cxn ang="0">
                  <a:pos x="269" y="1263"/>
                </a:cxn>
                <a:cxn ang="0">
                  <a:pos x="248" y="1233"/>
                </a:cxn>
                <a:cxn ang="0">
                  <a:pos x="189" y="1183"/>
                </a:cxn>
                <a:cxn ang="0">
                  <a:pos x="147" y="1181"/>
                </a:cxn>
                <a:cxn ang="0">
                  <a:pos x="142" y="1126"/>
                </a:cxn>
                <a:cxn ang="0">
                  <a:pos x="115" y="1054"/>
                </a:cxn>
                <a:cxn ang="0">
                  <a:pos x="86" y="998"/>
                </a:cxn>
                <a:cxn ang="0">
                  <a:pos x="75" y="962"/>
                </a:cxn>
                <a:cxn ang="0">
                  <a:pos x="50" y="895"/>
                </a:cxn>
                <a:cxn ang="0">
                  <a:pos x="2" y="861"/>
                </a:cxn>
                <a:cxn ang="0">
                  <a:pos x="20" y="823"/>
                </a:cxn>
                <a:cxn ang="0">
                  <a:pos x="33" y="806"/>
                </a:cxn>
                <a:cxn ang="0">
                  <a:pos x="37" y="767"/>
                </a:cxn>
                <a:cxn ang="0">
                  <a:pos x="46" y="729"/>
                </a:cxn>
                <a:cxn ang="0">
                  <a:pos x="69" y="699"/>
                </a:cxn>
                <a:cxn ang="0">
                  <a:pos x="86" y="640"/>
                </a:cxn>
                <a:cxn ang="0">
                  <a:pos x="132" y="628"/>
                </a:cxn>
              </a:cxnLst>
              <a:rect l="0" t="0" r="r" b="b"/>
              <a:pathLst>
                <a:path w="1261" h="1590">
                  <a:moveTo>
                    <a:pt x="155" y="315"/>
                  </a:moveTo>
                  <a:lnTo>
                    <a:pt x="153" y="279"/>
                  </a:lnTo>
                  <a:lnTo>
                    <a:pt x="227" y="279"/>
                  </a:lnTo>
                  <a:lnTo>
                    <a:pt x="218" y="121"/>
                  </a:lnTo>
                  <a:lnTo>
                    <a:pt x="830" y="105"/>
                  </a:lnTo>
                  <a:lnTo>
                    <a:pt x="830" y="105"/>
                  </a:lnTo>
                  <a:lnTo>
                    <a:pt x="838" y="107"/>
                  </a:lnTo>
                  <a:lnTo>
                    <a:pt x="842" y="109"/>
                  </a:lnTo>
                  <a:lnTo>
                    <a:pt x="847" y="111"/>
                  </a:lnTo>
                  <a:lnTo>
                    <a:pt x="849" y="113"/>
                  </a:lnTo>
                  <a:lnTo>
                    <a:pt x="853" y="115"/>
                  </a:lnTo>
                  <a:lnTo>
                    <a:pt x="857" y="117"/>
                  </a:lnTo>
                  <a:lnTo>
                    <a:pt x="863" y="117"/>
                  </a:lnTo>
                  <a:lnTo>
                    <a:pt x="868" y="119"/>
                  </a:lnTo>
                  <a:lnTo>
                    <a:pt x="868" y="119"/>
                  </a:lnTo>
                  <a:lnTo>
                    <a:pt x="874" y="117"/>
                  </a:lnTo>
                  <a:lnTo>
                    <a:pt x="880" y="113"/>
                  </a:lnTo>
                  <a:lnTo>
                    <a:pt x="884" y="109"/>
                  </a:lnTo>
                  <a:lnTo>
                    <a:pt x="884" y="103"/>
                  </a:lnTo>
                  <a:lnTo>
                    <a:pt x="886" y="98"/>
                  </a:lnTo>
                  <a:lnTo>
                    <a:pt x="887" y="94"/>
                  </a:lnTo>
                  <a:lnTo>
                    <a:pt x="889" y="88"/>
                  </a:lnTo>
                  <a:lnTo>
                    <a:pt x="891" y="84"/>
                  </a:lnTo>
                  <a:lnTo>
                    <a:pt x="891" y="84"/>
                  </a:lnTo>
                  <a:lnTo>
                    <a:pt x="897" y="82"/>
                  </a:lnTo>
                  <a:lnTo>
                    <a:pt x="903" y="81"/>
                  </a:lnTo>
                  <a:lnTo>
                    <a:pt x="908" y="81"/>
                  </a:lnTo>
                  <a:lnTo>
                    <a:pt x="914" y="79"/>
                  </a:lnTo>
                  <a:lnTo>
                    <a:pt x="920" y="79"/>
                  </a:lnTo>
                  <a:lnTo>
                    <a:pt x="924" y="79"/>
                  </a:lnTo>
                  <a:lnTo>
                    <a:pt x="929" y="79"/>
                  </a:lnTo>
                  <a:lnTo>
                    <a:pt x="933" y="77"/>
                  </a:lnTo>
                  <a:lnTo>
                    <a:pt x="933" y="77"/>
                  </a:lnTo>
                  <a:lnTo>
                    <a:pt x="937" y="73"/>
                  </a:lnTo>
                  <a:lnTo>
                    <a:pt x="941" y="69"/>
                  </a:lnTo>
                  <a:lnTo>
                    <a:pt x="943" y="67"/>
                  </a:lnTo>
                  <a:lnTo>
                    <a:pt x="947" y="61"/>
                  </a:lnTo>
                  <a:lnTo>
                    <a:pt x="947" y="58"/>
                  </a:lnTo>
                  <a:lnTo>
                    <a:pt x="949" y="54"/>
                  </a:lnTo>
                  <a:lnTo>
                    <a:pt x="950" y="48"/>
                  </a:lnTo>
                  <a:lnTo>
                    <a:pt x="954" y="44"/>
                  </a:lnTo>
                  <a:lnTo>
                    <a:pt x="954" y="44"/>
                  </a:lnTo>
                  <a:lnTo>
                    <a:pt x="960" y="37"/>
                  </a:lnTo>
                  <a:lnTo>
                    <a:pt x="966" y="29"/>
                  </a:lnTo>
                  <a:lnTo>
                    <a:pt x="973" y="23"/>
                  </a:lnTo>
                  <a:lnTo>
                    <a:pt x="981" y="20"/>
                  </a:lnTo>
                  <a:lnTo>
                    <a:pt x="990" y="14"/>
                  </a:lnTo>
                  <a:lnTo>
                    <a:pt x="998" y="10"/>
                  </a:lnTo>
                  <a:lnTo>
                    <a:pt x="1006" y="4"/>
                  </a:lnTo>
                  <a:lnTo>
                    <a:pt x="1013" y="0"/>
                  </a:lnTo>
                  <a:lnTo>
                    <a:pt x="1013" y="0"/>
                  </a:lnTo>
                  <a:lnTo>
                    <a:pt x="1017" y="10"/>
                  </a:lnTo>
                  <a:lnTo>
                    <a:pt x="1023" y="16"/>
                  </a:lnTo>
                  <a:lnTo>
                    <a:pt x="1029" y="20"/>
                  </a:lnTo>
                  <a:lnTo>
                    <a:pt x="1034" y="23"/>
                  </a:lnTo>
                  <a:lnTo>
                    <a:pt x="1042" y="27"/>
                  </a:lnTo>
                  <a:lnTo>
                    <a:pt x="1048" y="31"/>
                  </a:lnTo>
                  <a:lnTo>
                    <a:pt x="1055" y="37"/>
                  </a:lnTo>
                  <a:lnTo>
                    <a:pt x="1061" y="40"/>
                  </a:lnTo>
                  <a:lnTo>
                    <a:pt x="1061" y="40"/>
                  </a:lnTo>
                  <a:lnTo>
                    <a:pt x="1069" y="50"/>
                  </a:lnTo>
                  <a:lnTo>
                    <a:pt x="1076" y="58"/>
                  </a:lnTo>
                  <a:lnTo>
                    <a:pt x="1086" y="65"/>
                  </a:lnTo>
                  <a:lnTo>
                    <a:pt x="1092" y="75"/>
                  </a:lnTo>
                  <a:lnTo>
                    <a:pt x="1099" y="82"/>
                  </a:lnTo>
                  <a:lnTo>
                    <a:pt x="1107" y="92"/>
                  </a:lnTo>
                  <a:lnTo>
                    <a:pt x="1113" y="100"/>
                  </a:lnTo>
                  <a:lnTo>
                    <a:pt x="1118" y="109"/>
                  </a:lnTo>
                  <a:lnTo>
                    <a:pt x="1124" y="119"/>
                  </a:lnTo>
                  <a:lnTo>
                    <a:pt x="1130" y="128"/>
                  </a:lnTo>
                  <a:lnTo>
                    <a:pt x="1134" y="138"/>
                  </a:lnTo>
                  <a:lnTo>
                    <a:pt x="1137" y="149"/>
                  </a:lnTo>
                  <a:lnTo>
                    <a:pt x="1139" y="161"/>
                  </a:lnTo>
                  <a:lnTo>
                    <a:pt x="1141" y="174"/>
                  </a:lnTo>
                  <a:lnTo>
                    <a:pt x="1143" y="187"/>
                  </a:lnTo>
                  <a:lnTo>
                    <a:pt x="1143" y="201"/>
                  </a:lnTo>
                  <a:lnTo>
                    <a:pt x="1143" y="201"/>
                  </a:lnTo>
                  <a:lnTo>
                    <a:pt x="1143" y="206"/>
                  </a:lnTo>
                  <a:lnTo>
                    <a:pt x="1145" y="214"/>
                  </a:lnTo>
                  <a:lnTo>
                    <a:pt x="1147" y="224"/>
                  </a:lnTo>
                  <a:lnTo>
                    <a:pt x="1149" y="233"/>
                  </a:lnTo>
                  <a:lnTo>
                    <a:pt x="1151" y="245"/>
                  </a:lnTo>
                  <a:lnTo>
                    <a:pt x="1153" y="256"/>
                  </a:lnTo>
                  <a:lnTo>
                    <a:pt x="1156" y="268"/>
                  </a:lnTo>
                  <a:lnTo>
                    <a:pt x="1160" y="281"/>
                  </a:lnTo>
                  <a:lnTo>
                    <a:pt x="1164" y="292"/>
                  </a:lnTo>
                  <a:lnTo>
                    <a:pt x="1168" y="304"/>
                  </a:lnTo>
                  <a:lnTo>
                    <a:pt x="1172" y="313"/>
                  </a:lnTo>
                  <a:lnTo>
                    <a:pt x="1176" y="323"/>
                  </a:lnTo>
                  <a:lnTo>
                    <a:pt x="1179" y="332"/>
                  </a:lnTo>
                  <a:lnTo>
                    <a:pt x="1183" y="340"/>
                  </a:lnTo>
                  <a:lnTo>
                    <a:pt x="1187" y="344"/>
                  </a:lnTo>
                  <a:lnTo>
                    <a:pt x="1191" y="348"/>
                  </a:lnTo>
                  <a:lnTo>
                    <a:pt x="1191" y="348"/>
                  </a:lnTo>
                  <a:lnTo>
                    <a:pt x="1195" y="351"/>
                  </a:lnTo>
                  <a:lnTo>
                    <a:pt x="1198" y="353"/>
                  </a:lnTo>
                  <a:lnTo>
                    <a:pt x="1204" y="357"/>
                  </a:lnTo>
                  <a:lnTo>
                    <a:pt x="1210" y="359"/>
                  </a:lnTo>
                  <a:lnTo>
                    <a:pt x="1216" y="361"/>
                  </a:lnTo>
                  <a:lnTo>
                    <a:pt x="1221" y="365"/>
                  </a:lnTo>
                  <a:lnTo>
                    <a:pt x="1227" y="369"/>
                  </a:lnTo>
                  <a:lnTo>
                    <a:pt x="1233" y="371"/>
                  </a:lnTo>
                  <a:lnTo>
                    <a:pt x="1238" y="374"/>
                  </a:lnTo>
                  <a:lnTo>
                    <a:pt x="1244" y="376"/>
                  </a:lnTo>
                  <a:lnTo>
                    <a:pt x="1248" y="380"/>
                  </a:lnTo>
                  <a:lnTo>
                    <a:pt x="1252" y="384"/>
                  </a:lnTo>
                  <a:lnTo>
                    <a:pt x="1256" y="388"/>
                  </a:lnTo>
                  <a:lnTo>
                    <a:pt x="1259" y="392"/>
                  </a:lnTo>
                  <a:lnTo>
                    <a:pt x="1261" y="393"/>
                  </a:lnTo>
                  <a:lnTo>
                    <a:pt x="1261" y="397"/>
                  </a:lnTo>
                  <a:lnTo>
                    <a:pt x="1261" y="397"/>
                  </a:lnTo>
                  <a:lnTo>
                    <a:pt x="1259" y="411"/>
                  </a:lnTo>
                  <a:lnTo>
                    <a:pt x="1256" y="420"/>
                  </a:lnTo>
                  <a:lnTo>
                    <a:pt x="1250" y="430"/>
                  </a:lnTo>
                  <a:lnTo>
                    <a:pt x="1244" y="437"/>
                  </a:lnTo>
                  <a:lnTo>
                    <a:pt x="1235" y="445"/>
                  </a:lnTo>
                  <a:lnTo>
                    <a:pt x="1225" y="451"/>
                  </a:lnTo>
                  <a:lnTo>
                    <a:pt x="1216" y="456"/>
                  </a:lnTo>
                  <a:lnTo>
                    <a:pt x="1206" y="462"/>
                  </a:lnTo>
                  <a:lnTo>
                    <a:pt x="1195" y="468"/>
                  </a:lnTo>
                  <a:lnTo>
                    <a:pt x="1185" y="474"/>
                  </a:lnTo>
                  <a:lnTo>
                    <a:pt x="1176" y="479"/>
                  </a:lnTo>
                  <a:lnTo>
                    <a:pt x="1166" y="487"/>
                  </a:lnTo>
                  <a:lnTo>
                    <a:pt x="1160" y="495"/>
                  </a:lnTo>
                  <a:lnTo>
                    <a:pt x="1155" y="504"/>
                  </a:lnTo>
                  <a:lnTo>
                    <a:pt x="1151" y="514"/>
                  </a:lnTo>
                  <a:lnTo>
                    <a:pt x="1149" y="525"/>
                  </a:lnTo>
                  <a:lnTo>
                    <a:pt x="1149" y="525"/>
                  </a:lnTo>
                  <a:lnTo>
                    <a:pt x="1149" y="529"/>
                  </a:lnTo>
                  <a:lnTo>
                    <a:pt x="1149" y="533"/>
                  </a:lnTo>
                  <a:lnTo>
                    <a:pt x="1149" y="535"/>
                  </a:lnTo>
                  <a:lnTo>
                    <a:pt x="1149" y="537"/>
                  </a:lnTo>
                  <a:lnTo>
                    <a:pt x="1149" y="540"/>
                  </a:lnTo>
                  <a:lnTo>
                    <a:pt x="1149" y="544"/>
                  </a:lnTo>
                  <a:lnTo>
                    <a:pt x="1149" y="546"/>
                  </a:lnTo>
                  <a:lnTo>
                    <a:pt x="1149" y="550"/>
                  </a:lnTo>
                  <a:lnTo>
                    <a:pt x="1149" y="550"/>
                  </a:lnTo>
                  <a:lnTo>
                    <a:pt x="1149" y="554"/>
                  </a:lnTo>
                  <a:lnTo>
                    <a:pt x="1149" y="559"/>
                  </a:lnTo>
                  <a:lnTo>
                    <a:pt x="1147" y="565"/>
                  </a:lnTo>
                  <a:lnTo>
                    <a:pt x="1145" y="569"/>
                  </a:lnTo>
                  <a:lnTo>
                    <a:pt x="1143" y="575"/>
                  </a:lnTo>
                  <a:lnTo>
                    <a:pt x="1141" y="582"/>
                  </a:lnTo>
                  <a:lnTo>
                    <a:pt x="1139" y="588"/>
                  </a:lnTo>
                  <a:lnTo>
                    <a:pt x="1137" y="594"/>
                  </a:lnTo>
                  <a:lnTo>
                    <a:pt x="1135" y="599"/>
                  </a:lnTo>
                  <a:lnTo>
                    <a:pt x="1134" y="607"/>
                  </a:lnTo>
                  <a:lnTo>
                    <a:pt x="1132" y="613"/>
                  </a:lnTo>
                  <a:lnTo>
                    <a:pt x="1130" y="619"/>
                  </a:lnTo>
                  <a:lnTo>
                    <a:pt x="1128" y="626"/>
                  </a:lnTo>
                  <a:lnTo>
                    <a:pt x="1126" y="632"/>
                  </a:lnTo>
                  <a:lnTo>
                    <a:pt x="1126" y="638"/>
                  </a:lnTo>
                  <a:lnTo>
                    <a:pt x="1126" y="643"/>
                  </a:lnTo>
                  <a:lnTo>
                    <a:pt x="1126" y="643"/>
                  </a:lnTo>
                  <a:lnTo>
                    <a:pt x="1126" y="649"/>
                  </a:lnTo>
                  <a:lnTo>
                    <a:pt x="1126" y="653"/>
                  </a:lnTo>
                  <a:lnTo>
                    <a:pt x="1126" y="657"/>
                  </a:lnTo>
                  <a:lnTo>
                    <a:pt x="1126" y="662"/>
                  </a:lnTo>
                  <a:lnTo>
                    <a:pt x="1128" y="666"/>
                  </a:lnTo>
                  <a:lnTo>
                    <a:pt x="1128" y="670"/>
                  </a:lnTo>
                  <a:lnTo>
                    <a:pt x="1130" y="676"/>
                  </a:lnTo>
                  <a:lnTo>
                    <a:pt x="1130" y="680"/>
                  </a:lnTo>
                  <a:lnTo>
                    <a:pt x="1130" y="683"/>
                  </a:lnTo>
                  <a:lnTo>
                    <a:pt x="1132" y="689"/>
                  </a:lnTo>
                  <a:lnTo>
                    <a:pt x="1132" y="693"/>
                  </a:lnTo>
                  <a:lnTo>
                    <a:pt x="1134" y="697"/>
                  </a:lnTo>
                  <a:lnTo>
                    <a:pt x="1134" y="702"/>
                  </a:lnTo>
                  <a:lnTo>
                    <a:pt x="1134" y="706"/>
                  </a:lnTo>
                  <a:lnTo>
                    <a:pt x="1134" y="710"/>
                  </a:lnTo>
                  <a:lnTo>
                    <a:pt x="1134" y="714"/>
                  </a:lnTo>
                  <a:lnTo>
                    <a:pt x="1134" y="714"/>
                  </a:lnTo>
                  <a:lnTo>
                    <a:pt x="1134" y="723"/>
                  </a:lnTo>
                  <a:lnTo>
                    <a:pt x="1132" y="733"/>
                  </a:lnTo>
                  <a:lnTo>
                    <a:pt x="1130" y="741"/>
                  </a:lnTo>
                  <a:lnTo>
                    <a:pt x="1126" y="748"/>
                  </a:lnTo>
                  <a:lnTo>
                    <a:pt x="1122" y="756"/>
                  </a:lnTo>
                  <a:lnTo>
                    <a:pt x="1120" y="762"/>
                  </a:lnTo>
                  <a:lnTo>
                    <a:pt x="1118" y="767"/>
                  </a:lnTo>
                  <a:lnTo>
                    <a:pt x="1116" y="773"/>
                  </a:lnTo>
                  <a:lnTo>
                    <a:pt x="1116" y="773"/>
                  </a:lnTo>
                  <a:lnTo>
                    <a:pt x="1116" y="783"/>
                  </a:lnTo>
                  <a:lnTo>
                    <a:pt x="1116" y="790"/>
                  </a:lnTo>
                  <a:lnTo>
                    <a:pt x="1118" y="798"/>
                  </a:lnTo>
                  <a:lnTo>
                    <a:pt x="1118" y="806"/>
                  </a:lnTo>
                  <a:lnTo>
                    <a:pt x="1120" y="813"/>
                  </a:lnTo>
                  <a:lnTo>
                    <a:pt x="1120" y="821"/>
                  </a:lnTo>
                  <a:lnTo>
                    <a:pt x="1116" y="828"/>
                  </a:lnTo>
                  <a:lnTo>
                    <a:pt x="1114" y="836"/>
                  </a:lnTo>
                  <a:lnTo>
                    <a:pt x="1114" y="836"/>
                  </a:lnTo>
                  <a:lnTo>
                    <a:pt x="1111" y="838"/>
                  </a:lnTo>
                  <a:lnTo>
                    <a:pt x="1109" y="840"/>
                  </a:lnTo>
                  <a:lnTo>
                    <a:pt x="1105" y="840"/>
                  </a:lnTo>
                  <a:lnTo>
                    <a:pt x="1099" y="840"/>
                  </a:lnTo>
                  <a:lnTo>
                    <a:pt x="1095" y="840"/>
                  </a:lnTo>
                  <a:lnTo>
                    <a:pt x="1092" y="840"/>
                  </a:lnTo>
                  <a:lnTo>
                    <a:pt x="1090" y="840"/>
                  </a:lnTo>
                  <a:lnTo>
                    <a:pt x="1086" y="842"/>
                  </a:lnTo>
                  <a:lnTo>
                    <a:pt x="1086" y="842"/>
                  </a:lnTo>
                  <a:lnTo>
                    <a:pt x="1080" y="846"/>
                  </a:lnTo>
                  <a:lnTo>
                    <a:pt x="1076" y="849"/>
                  </a:lnTo>
                  <a:lnTo>
                    <a:pt x="1074" y="853"/>
                  </a:lnTo>
                  <a:lnTo>
                    <a:pt x="1073" y="857"/>
                  </a:lnTo>
                  <a:lnTo>
                    <a:pt x="1071" y="863"/>
                  </a:lnTo>
                  <a:lnTo>
                    <a:pt x="1069" y="867"/>
                  </a:lnTo>
                  <a:lnTo>
                    <a:pt x="1065" y="872"/>
                  </a:lnTo>
                  <a:lnTo>
                    <a:pt x="1063" y="876"/>
                  </a:lnTo>
                  <a:lnTo>
                    <a:pt x="1063" y="876"/>
                  </a:lnTo>
                  <a:lnTo>
                    <a:pt x="1057" y="884"/>
                  </a:lnTo>
                  <a:lnTo>
                    <a:pt x="1053" y="889"/>
                  </a:lnTo>
                  <a:lnTo>
                    <a:pt x="1052" y="897"/>
                  </a:lnTo>
                  <a:lnTo>
                    <a:pt x="1048" y="903"/>
                  </a:lnTo>
                  <a:lnTo>
                    <a:pt x="1046" y="910"/>
                  </a:lnTo>
                  <a:lnTo>
                    <a:pt x="1044" y="916"/>
                  </a:lnTo>
                  <a:lnTo>
                    <a:pt x="1042" y="924"/>
                  </a:lnTo>
                  <a:lnTo>
                    <a:pt x="1042" y="931"/>
                  </a:lnTo>
                  <a:lnTo>
                    <a:pt x="1040" y="937"/>
                  </a:lnTo>
                  <a:lnTo>
                    <a:pt x="1038" y="945"/>
                  </a:lnTo>
                  <a:lnTo>
                    <a:pt x="1038" y="952"/>
                  </a:lnTo>
                  <a:lnTo>
                    <a:pt x="1036" y="960"/>
                  </a:lnTo>
                  <a:lnTo>
                    <a:pt x="1034" y="968"/>
                  </a:lnTo>
                  <a:lnTo>
                    <a:pt x="1032" y="975"/>
                  </a:lnTo>
                  <a:lnTo>
                    <a:pt x="1031" y="985"/>
                  </a:lnTo>
                  <a:lnTo>
                    <a:pt x="1027" y="992"/>
                  </a:lnTo>
                  <a:lnTo>
                    <a:pt x="1027" y="992"/>
                  </a:lnTo>
                  <a:lnTo>
                    <a:pt x="1025" y="994"/>
                  </a:lnTo>
                  <a:lnTo>
                    <a:pt x="1021" y="994"/>
                  </a:lnTo>
                  <a:lnTo>
                    <a:pt x="1013" y="996"/>
                  </a:lnTo>
                  <a:lnTo>
                    <a:pt x="1006" y="998"/>
                  </a:lnTo>
                  <a:lnTo>
                    <a:pt x="998" y="1000"/>
                  </a:lnTo>
                  <a:lnTo>
                    <a:pt x="992" y="1004"/>
                  </a:lnTo>
                  <a:lnTo>
                    <a:pt x="989" y="1010"/>
                  </a:lnTo>
                  <a:lnTo>
                    <a:pt x="987" y="1019"/>
                  </a:lnTo>
                  <a:lnTo>
                    <a:pt x="987" y="1019"/>
                  </a:lnTo>
                  <a:lnTo>
                    <a:pt x="987" y="1023"/>
                  </a:lnTo>
                  <a:lnTo>
                    <a:pt x="987" y="1027"/>
                  </a:lnTo>
                  <a:lnTo>
                    <a:pt x="987" y="1031"/>
                  </a:lnTo>
                  <a:lnTo>
                    <a:pt x="987" y="1033"/>
                  </a:lnTo>
                  <a:lnTo>
                    <a:pt x="987" y="1036"/>
                  </a:lnTo>
                  <a:lnTo>
                    <a:pt x="987" y="1038"/>
                  </a:lnTo>
                  <a:lnTo>
                    <a:pt x="987" y="1040"/>
                  </a:lnTo>
                  <a:lnTo>
                    <a:pt x="987" y="1042"/>
                  </a:lnTo>
                  <a:lnTo>
                    <a:pt x="987" y="1042"/>
                  </a:lnTo>
                  <a:lnTo>
                    <a:pt x="983" y="1052"/>
                  </a:lnTo>
                  <a:lnTo>
                    <a:pt x="981" y="1059"/>
                  </a:lnTo>
                  <a:lnTo>
                    <a:pt x="977" y="1067"/>
                  </a:lnTo>
                  <a:lnTo>
                    <a:pt x="975" y="1073"/>
                  </a:lnTo>
                  <a:lnTo>
                    <a:pt x="973" y="1080"/>
                  </a:lnTo>
                  <a:lnTo>
                    <a:pt x="971" y="1088"/>
                  </a:lnTo>
                  <a:lnTo>
                    <a:pt x="969" y="1095"/>
                  </a:lnTo>
                  <a:lnTo>
                    <a:pt x="968" y="1105"/>
                  </a:lnTo>
                  <a:lnTo>
                    <a:pt x="968" y="1105"/>
                  </a:lnTo>
                  <a:lnTo>
                    <a:pt x="968" y="1113"/>
                  </a:lnTo>
                  <a:lnTo>
                    <a:pt x="968" y="1120"/>
                  </a:lnTo>
                  <a:lnTo>
                    <a:pt x="968" y="1128"/>
                  </a:lnTo>
                  <a:lnTo>
                    <a:pt x="968" y="1136"/>
                  </a:lnTo>
                  <a:lnTo>
                    <a:pt x="968" y="1141"/>
                  </a:lnTo>
                  <a:lnTo>
                    <a:pt x="968" y="1147"/>
                  </a:lnTo>
                  <a:lnTo>
                    <a:pt x="968" y="1153"/>
                  </a:lnTo>
                  <a:lnTo>
                    <a:pt x="968" y="1158"/>
                  </a:lnTo>
                  <a:lnTo>
                    <a:pt x="968" y="1158"/>
                  </a:lnTo>
                  <a:lnTo>
                    <a:pt x="968" y="1166"/>
                  </a:lnTo>
                  <a:lnTo>
                    <a:pt x="966" y="1172"/>
                  </a:lnTo>
                  <a:lnTo>
                    <a:pt x="962" y="1176"/>
                  </a:lnTo>
                  <a:lnTo>
                    <a:pt x="958" y="1179"/>
                  </a:lnTo>
                  <a:lnTo>
                    <a:pt x="952" y="1181"/>
                  </a:lnTo>
                  <a:lnTo>
                    <a:pt x="947" y="1185"/>
                  </a:lnTo>
                  <a:lnTo>
                    <a:pt x="941" y="1187"/>
                  </a:lnTo>
                  <a:lnTo>
                    <a:pt x="935" y="1187"/>
                  </a:lnTo>
                  <a:lnTo>
                    <a:pt x="928" y="1189"/>
                  </a:lnTo>
                  <a:lnTo>
                    <a:pt x="922" y="1191"/>
                  </a:lnTo>
                  <a:lnTo>
                    <a:pt x="916" y="1191"/>
                  </a:lnTo>
                  <a:lnTo>
                    <a:pt x="912" y="1193"/>
                  </a:lnTo>
                  <a:lnTo>
                    <a:pt x="907" y="1195"/>
                  </a:lnTo>
                  <a:lnTo>
                    <a:pt x="905" y="1198"/>
                  </a:lnTo>
                  <a:lnTo>
                    <a:pt x="903" y="1202"/>
                  </a:lnTo>
                  <a:lnTo>
                    <a:pt x="901" y="1208"/>
                  </a:lnTo>
                  <a:lnTo>
                    <a:pt x="901" y="1208"/>
                  </a:lnTo>
                  <a:lnTo>
                    <a:pt x="901" y="1210"/>
                  </a:lnTo>
                  <a:lnTo>
                    <a:pt x="899" y="1214"/>
                  </a:lnTo>
                  <a:lnTo>
                    <a:pt x="897" y="1216"/>
                  </a:lnTo>
                  <a:lnTo>
                    <a:pt x="895" y="1218"/>
                  </a:lnTo>
                  <a:lnTo>
                    <a:pt x="893" y="1219"/>
                  </a:lnTo>
                  <a:lnTo>
                    <a:pt x="891" y="1223"/>
                  </a:lnTo>
                  <a:lnTo>
                    <a:pt x="889" y="1225"/>
                  </a:lnTo>
                  <a:lnTo>
                    <a:pt x="889" y="1229"/>
                  </a:lnTo>
                  <a:lnTo>
                    <a:pt x="889" y="1229"/>
                  </a:lnTo>
                  <a:lnTo>
                    <a:pt x="891" y="1235"/>
                  </a:lnTo>
                  <a:lnTo>
                    <a:pt x="893" y="1239"/>
                  </a:lnTo>
                  <a:lnTo>
                    <a:pt x="899" y="1240"/>
                  </a:lnTo>
                  <a:lnTo>
                    <a:pt x="907" y="1240"/>
                  </a:lnTo>
                  <a:lnTo>
                    <a:pt x="914" y="1240"/>
                  </a:lnTo>
                  <a:lnTo>
                    <a:pt x="920" y="1240"/>
                  </a:lnTo>
                  <a:lnTo>
                    <a:pt x="928" y="1240"/>
                  </a:lnTo>
                  <a:lnTo>
                    <a:pt x="933" y="1242"/>
                  </a:lnTo>
                  <a:lnTo>
                    <a:pt x="933" y="1242"/>
                  </a:lnTo>
                  <a:lnTo>
                    <a:pt x="939" y="1246"/>
                  </a:lnTo>
                  <a:lnTo>
                    <a:pt x="945" y="1250"/>
                  </a:lnTo>
                  <a:lnTo>
                    <a:pt x="950" y="1256"/>
                  </a:lnTo>
                  <a:lnTo>
                    <a:pt x="958" y="1260"/>
                  </a:lnTo>
                  <a:lnTo>
                    <a:pt x="964" y="1265"/>
                  </a:lnTo>
                  <a:lnTo>
                    <a:pt x="971" y="1271"/>
                  </a:lnTo>
                  <a:lnTo>
                    <a:pt x="977" y="1277"/>
                  </a:lnTo>
                  <a:lnTo>
                    <a:pt x="983" y="1282"/>
                  </a:lnTo>
                  <a:lnTo>
                    <a:pt x="990" y="1290"/>
                  </a:lnTo>
                  <a:lnTo>
                    <a:pt x="996" y="1296"/>
                  </a:lnTo>
                  <a:lnTo>
                    <a:pt x="1002" y="1302"/>
                  </a:lnTo>
                  <a:lnTo>
                    <a:pt x="1008" y="1307"/>
                  </a:lnTo>
                  <a:lnTo>
                    <a:pt x="1013" y="1315"/>
                  </a:lnTo>
                  <a:lnTo>
                    <a:pt x="1019" y="1321"/>
                  </a:lnTo>
                  <a:lnTo>
                    <a:pt x="1023" y="1326"/>
                  </a:lnTo>
                  <a:lnTo>
                    <a:pt x="1027" y="1332"/>
                  </a:lnTo>
                  <a:lnTo>
                    <a:pt x="1027" y="1332"/>
                  </a:lnTo>
                  <a:lnTo>
                    <a:pt x="1031" y="1336"/>
                  </a:lnTo>
                  <a:lnTo>
                    <a:pt x="1032" y="1340"/>
                  </a:lnTo>
                  <a:lnTo>
                    <a:pt x="1034" y="1345"/>
                  </a:lnTo>
                  <a:lnTo>
                    <a:pt x="1036" y="1351"/>
                  </a:lnTo>
                  <a:lnTo>
                    <a:pt x="1038" y="1355"/>
                  </a:lnTo>
                  <a:lnTo>
                    <a:pt x="1040" y="1361"/>
                  </a:lnTo>
                  <a:lnTo>
                    <a:pt x="1040" y="1366"/>
                  </a:lnTo>
                  <a:lnTo>
                    <a:pt x="1042" y="1372"/>
                  </a:lnTo>
                  <a:lnTo>
                    <a:pt x="1042" y="1376"/>
                  </a:lnTo>
                  <a:lnTo>
                    <a:pt x="1044" y="1382"/>
                  </a:lnTo>
                  <a:lnTo>
                    <a:pt x="1046" y="1387"/>
                  </a:lnTo>
                  <a:lnTo>
                    <a:pt x="1046" y="1391"/>
                  </a:lnTo>
                  <a:lnTo>
                    <a:pt x="1050" y="1397"/>
                  </a:lnTo>
                  <a:lnTo>
                    <a:pt x="1052" y="1403"/>
                  </a:lnTo>
                  <a:lnTo>
                    <a:pt x="1053" y="1406"/>
                  </a:lnTo>
                  <a:lnTo>
                    <a:pt x="1057" y="1412"/>
                  </a:lnTo>
                  <a:lnTo>
                    <a:pt x="1057" y="1412"/>
                  </a:lnTo>
                  <a:lnTo>
                    <a:pt x="1061" y="1416"/>
                  </a:lnTo>
                  <a:lnTo>
                    <a:pt x="1065" y="1418"/>
                  </a:lnTo>
                  <a:lnTo>
                    <a:pt x="1071" y="1420"/>
                  </a:lnTo>
                  <a:lnTo>
                    <a:pt x="1074" y="1422"/>
                  </a:lnTo>
                  <a:lnTo>
                    <a:pt x="1080" y="1422"/>
                  </a:lnTo>
                  <a:lnTo>
                    <a:pt x="1086" y="1422"/>
                  </a:lnTo>
                  <a:lnTo>
                    <a:pt x="1092" y="1422"/>
                  </a:lnTo>
                  <a:lnTo>
                    <a:pt x="1099" y="1424"/>
                  </a:lnTo>
                  <a:lnTo>
                    <a:pt x="1099" y="1424"/>
                  </a:lnTo>
                  <a:lnTo>
                    <a:pt x="1105" y="1427"/>
                  </a:lnTo>
                  <a:lnTo>
                    <a:pt x="1109" y="1431"/>
                  </a:lnTo>
                  <a:lnTo>
                    <a:pt x="1113" y="1437"/>
                  </a:lnTo>
                  <a:lnTo>
                    <a:pt x="1114" y="1445"/>
                  </a:lnTo>
                  <a:lnTo>
                    <a:pt x="1116" y="1452"/>
                  </a:lnTo>
                  <a:lnTo>
                    <a:pt x="1116" y="1460"/>
                  </a:lnTo>
                  <a:lnTo>
                    <a:pt x="1116" y="1467"/>
                  </a:lnTo>
                  <a:lnTo>
                    <a:pt x="1116" y="1473"/>
                  </a:lnTo>
                  <a:lnTo>
                    <a:pt x="1116" y="1473"/>
                  </a:lnTo>
                  <a:lnTo>
                    <a:pt x="1116" y="1475"/>
                  </a:lnTo>
                  <a:lnTo>
                    <a:pt x="1116" y="1477"/>
                  </a:lnTo>
                  <a:lnTo>
                    <a:pt x="1118" y="1481"/>
                  </a:lnTo>
                  <a:lnTo>
                    <a:pt x="1118" y="1483"/>
                  </a:lnTo>
                  <a:lnTo>
                    <a:pt x="1120" y="1485"/>
                  </a:lnTo>
                  <a:lnTo>
                    <a:pt x="1120" y="1487"/>
                  </a:lnTo>
                  <a:lnTo>
                    <a:pt x="1122" y="1490"/>
                  </a:lnTo>
                  <a:lnTo>
                    <a:pt x="1122" y="1490"/>
                  </a:lnTo>
                  <a:lnTo>
                    <a:pt x="1004" y="1490"/>
                  </a:lnTo>
                  <a:lnTo>
                    <a:pt x="1004" y="1490"/>
                  </a:lnTo>
                  <a:lnTo>
                    <a:pt x="1002" y="1494"/>
                  </a:lnTo>
                  <a:lnTo>
                    <a:pt x="998" y="1500"/>
                  </a:lnTo>
                  <a:lnTo>
                    <a:pt x="992" y="1504"/>
                  </a:lnTo>
                  <a:lnTo>
                    <a:pt x="989" y="1509"/>
                  </a:lnTo>
                  <a:lnTo>
                    <a:pt x="983" y="1515"/>
                  </a:lnTo>
                  <a:lnTo>
                    <a:pt x="977" y="1521"/>
                  </a:lnTo>
                  <a:lnTo>
                    <a:pt x="971" y="1527"/>
                  </a:lnTo>
                  <a:lnTo>
                    <a:pt x="966" y="1532"/>
                  </a:lnTo>
                  <a:lnTo>
                    <a:pt x="960" y="1538"/>
                  </a:lnTo>
                  <a:lnTo>
                    <a:pt x="954" y="1544"/>
                  </a:lnTo>
                  <a:lnTo>
                    <a:pt x="949" y="1550"/>
                  </a:lnTo>
                  <a:lnTo>
                    <a:pt x="943" y="1553"/>
                  </a:lnTo>
                  <a:lnTo>
                    <a:pt x="937" y="1557"/>
                  </a:lnTo>
                  <a:lnTo>
                    <a:pt x="933" y="1559"/>
                  </a:lnTo>
                  <a:lnTo>
                    <a:pt x="928" y="1561"/>
                  </a:lnTo>
                  <a:lnTo>
                    <a:pt x="924" y="1561"/>
                  </a:lnTo>
                  <a:lnTo>
                    <a:pt x="924" y="1561"/>
                  </a:lnTo>
                  <a:lnTo>
                    <a:pt x="920" y="1561"/>
                  </a:lnTo>
                  <a:lnTo>
                    <a:pt x="916" y="1561"/>
                  </a:lnTo>
                  <a:lnTo>
                    <a:pt x="912" y="1561"/>
                  </a:lnTo>
                  <a:lnTo>
                    <a:pt x="908" y="1561"/>
                  </a:lnTo>
                  <a:lnTo>
                    <a:pt x="905" y="1561"/>
                  </a:lnTo>
                  <a:lnTo>
                    <a:pt x="903" y="1561"/>
                  </a:lnTo>
                  <a:lnTo>
                    <a:pt x="899" y="1561"/>
                  </a:lnTo>
                  <a:lnTo>
                    <a:pt x="897" y="1561"/>
                  </a:lnTo>
                  <a:lnTo>
                    <a:pt x="897" y="1561"/>
                  </a:lnTo>
                  <a:lnTo>
                    <a:pt x="893" y="1561"/>
                  </a:lnTo>
                  <a:lnTo>
                    <a:pt x="891" y="1563"/>
                  </a:lnTo>
                  <a:lnTo>
                    <a:pt x="887" y="1563"/>
                  </a:lnTo>
                  <a:lnTo>
                    <a:pt x="884" y="1565"/>
                  </a:lnTo>
                  <a:lnTo>
                    <a:pt x="878" y="1565"/>
                  </a:lnTo>
                  <a:lnTo>
                    <a:pt x="874" y="1567"/>
                  </a:lnTo>
                  <a:lnTo>
                    <a:pt x="870" y="1569"/>
                  </a:lnTo>
                  <a:lnTo>
                    <a:pt x="866" y="1569"/>
                  </a:lnTo>
                  <a:lnTo>
                    <a:pt x="863" y="1571"/>
                  </a:lnTo>
                  <a:lnTo>
                    <a:pt x="857" y="1572"/>
                  </a:lnTo>
                  <a:lnTo>
                    <a:pt x="853" y="1572"/>
                  </a:lnTo>
                  <a:lnTo>
                    <a:pt x="849" y="1574"/>
                  </a:lnTo>
                  <a:lnTo>
                    <a:pt x="844" y="1576"/>
                  </a:lnTo>
                  <a:lnTo>
                    <a:pt x="840" y="1576"/>
                  </a:lnTo>
                  <a:lnTo>
                    <a:pt x="834" y="1576"/>
                  </a:lnTo>
                  <a:lnTo>
                    <a:pt x="830" y="1576"/>
                  </a:lnTo>
                  <a:lnTo>
                    <a:pt x="830" y="1576"/>
                  </a:lnTo>
                  <a:lnTo>
                    <a:pt x="825" y="1576"/>
                  </a:lnTo>
                  <a:lnTo>
                    <a:pt x="819" y="1574"/>
                  </a:lnTo>
                  <a:lnTo>
                    <a:pt x="815" y="1572"/>
                  </a:lnTo>
                  <a:lnTo>
                    <a:pt x="809" y="1571"/>
                  </a:lnTo>
                  <a:lnTo>
                    <a:pt x="804" y="1569"/>
                  </a:lnTo>
                  <a:lnTo>
                    <a:pt x="798" y="1567"/>
                  </a:lnTo>
                  <a:lnTo>
                    <a:pt x="790" y="1565"/>
                  </a:lnTo>
                  <a:lnTo>
                    <a:pt x="783" y="1565"/>
                  </a:lnTo>
                  <a:lnTo>
                    <a:pt x="783" y="1565"/>
                  </a:lnTo>
                  <a:lnTo>
                    <a:pt x="775" y="1565"/>
                  </a:lnTo>
                  <a:lnTo>
                    <a:pt x="769" y="1567"/>
                  </a:lnTo>
                  <a:lnTo>
                    <a:pt x="763" y="1567"/>
                  </a:lnTo>
                  <a:lnTo>
                    <a:pt x="758" y="1569"/>
                  </a:lnTo>
                  <a:lnTo>
                    <a:pt x="754" y="1571"/>
                  </a:lnTo>
                  <a:lnTo>
                    <a:pt x="748" y="1572"/>
                  </a:lnTo>
                  <a:lnTo>
                    <a:pt x="744" y="1574"/>
                  </a:lnTo>
                  <a:lnTo>
                    <a:pt x="741" y="1576"/>
                  </a:lnTo>
                  <a:lnTo>
                    <a:pt x="737" y="1580"/>
                  </a:lnTo>
                  <a:lnTo>
                    <a:pt x="733" y="1582"/>
                  </a:lnTo>
                  <a:lnTo>
                    <a:pt x="729" y="1584"/>
                  </a:lnTo>
                  <a:lnTo>
                    <a:pt x="727" y="1586"/>
                  </a:lnTo>
                  <a:lnTo>
                    <a:pt x="723" y="1586"/>
                  </a:lnTo>
                  <a:lnTo>
                    <a:pt x="720" y="1588"/>
                  </a:lnTo>
                  <a:lnTo>
                    <a:pt x="716" y="1588"/>
                  </a:lnTo>
                  <a:lnTo>
                    <a:pt x="712" y="1590"/>
                  </a:lnTo>
                  <a:lnTo>
                    <a:pt x="712" y="1590"/>
                  </a:lnTo>
                  <a:lnTo>
                    <a:pt x="706" y="1588"/>
                  </a:lnTo>
                  <a:lnTo>
                    <a:pt x="704" y="1586"/>
                  </a:lnTo>
                  <a:lnTo>
                    <a:pt x="702" y="1582"/>
                  </a:lnTo>
                  <a:lnTo>
                    <a:pt x="701" y="1578"/>
                  </a:lnTo>
                  <a:lnTo>
                    <a:pt x="701" y="1574"/>
                  </a:lnTo>
                  <a:lnTo>
                    <a:pt x="701" y="1571"/>
                  </a:lnTo>
                  <a:lnTo>
                    <a:pt x="701" y="1569"/>
                  </a:lnTo>
                  <a:lnTo>
                    <a:pt x="701" y="1565"/>
                  </a:lnTo>
                  <a:lnTo>
                    <a:pt x="701" y="1565"/>
                  </a:lnTo>
                  <a:lnTo>
                    <a:pt x="699" y="1563"/>
                  </a:lnTo>
                  <a:lnTo>
                    <a:pt x="695" y="1561"/>
                  </a:lnTo>
                  <a:lnTo>
                    <a:pt x="693" y="1561"/>
                  </a:lnTo>
                  <a:lnTo>
                    <a:pt x="689" y="1561"/>
                  </a:lnTo>
                  <a:lnTo>
                    <a:pt x="687" y="1561"/>
                  </a:lnTo>
                  <a:lnTo>
                    <a:pt x="683" y="1559"/>
                  </a:lnTo>
                  <a:lnTo>
                    <a:pt x="680" y="1559"/>
                  </a:lnTo>
                  <a:lnTo>
                    <a:pt x="676" y="1559"/>
                  </a:lnTo>
                  <a:lnTo>
                    <a:pt x="676" y="1559"/>
                  </a:lnTo>
                  <a:lnTo>
                    <a:pt x="668" y="1553"/>
                  </a:lnTo>
                  <a:lnTo>
                    <a:pt x="662" y="1548"/>
                  </a:lnTo>
                  <a:lnTo>
                    <a:pt x="657" y="1538"/>
                  </a:lnTo>
                  <a:lnTo>
                    <a:pt x="651" y="1529"/>
                  </a:lnTo>
                  <a:lnTo>
                    <a:pt x="645" y="1521"/>
                  </a:lnTo>
                  <a:lnTo>
                    <a:pt x="638" y="1513"/>
                  </a:lnTo>
                  <a:lnTo>
                    <a:pt x="630" y="1509"/>
                  </a:lnTo>
                  <a:lnTo>
                    <a:pt x="620" y="1506"/>
                  </a:lnTo>
                  <a:lnTo>
                    <a:pt x="620" y="1506"/>
                  </a:lnTo>
                  <a:lnTo>
                    <a:pt x="617" y="1508"/>
                  </a:lnTo>
                  <a:lnTo>
                    <a:pt x="613" y="1509"/>
                  </a:lnTo>
                  <a:lnTo>
                    <a:pt x="611" y="1513"/>
                  </a:lnTo>
                  <a:lnTo>
                    <a:pt x="607" y="1515"/>
                  </a:lnTo>
                  <a:lnTo>
                    <a:pt x="605" y="1519"/>
                  </a:lnTo>
                  <a:lnTo>
                    <a:pt x="603" y="1523"/>
                  </a:lnTo>
                  <a:lnTo>
                    <a:pt x="599" y="1525"/>
                  </a:lnTo>
                  <a:lnTo>
                    <a:pt x="596" y="1527"/>
                  </a:lnTo>
                  <a:lnTo>
                    <a:pt x="596" y="1527"/>
                  </a:lnTo>
                  <a:lnTo>
                    <a:pt x="590" y="1525"/>
                  </a:lnTo>
                  <a:lnTo>
                    <a:pt x="584" y="1525"/>
                  </a:lnTo>
                  <a:lnTo>
                    <a:pt x="580" y="1523"/>
                  </a:lnTo>
                  <a:lnTo>
                    <a:pt x="575" y="1521"/>
                  </a:lnTo>
                  <a:lnTo>
                    <a:pt x="569" y="1521"/>
                  </a:lnTo>
                  <a:lnTo>
                    <a:pt x="563" y="1519"/>
                  </a:lnTo>
                  <a:lnTo>
                    <a:pt x="557" y="1519"/>
                  </a:lnTo>
                  <a:lnTo>
                    <a:pt x="552" y="1519"/>
                  </a:lnTo>
                  <a:lnTo>
                    <a:pt x="552" y="1519"/>
                  </a:lnTo>
                  <a:lnTo>
                    <a:pt x="546" y="1519"/>
                  </a:lnTo>
                  <a:lnTo>
                    <a:pt x="542" y="1521"/>
                  </a:lnTo>
                  <a:lnTo>
                    <a:pt x="538" y="1523"/>
                  </a:lnTo>
                  <a:lnTo>
                    <a:pt x="535" y="1525"/>
                  </a:lnTo>
                  <a:lnTo>
                    <a:pt x="533" y="1527"/>
                  </a:lnTo>
                  <a:lnTo>
                    <a:pt x="529" y="1530"/>
                  </a:lnTo>
                  <a:lnTo>
                    <a:pt x="525" y="1532"/>
                  </a:lnTo>
                  <a:lnTo>
                    <a:pt x="519" y="1532"/>
                  </a:lnTo>
                  <a:lnTo>
                    <a:pt x="519" y="1532"/>
                  </a:lnTo>
                  <a:lnTo>
                    <a:pt x="510" y="1530"/>
                  </a:lnTo>
                  <a:lnTo>
                    <a:pt x="502" y="1529"/>
                  </a:lnTo>
                  <a:lnTo>
                    <a:pt x="496" y="1525"/>
                  </a:lnTo>
                  <a:lnTo>
                    <a:pt x="491" y="1519"/>
                  </a:lnTo>
                  <a:lnTo>
                    <a:pt x="487" y="1511"/>
                  </a:lnTo>
                  <a:lnTo>
                    <a:pt x="483" y="1506"/>
                  </a:lnTo>
                  <a:lnTo>
                    <a:pt x="479" y="1500"/>
                  </a:lnTo>
                  <a:lnTo>
                    <a:pt x="475" y="1494"/>
                  </a:lnTo>
                  <a:lnTo>
                    <a:pt x="475" y="1494"/>
                  </a:lnTo>
                  <a:lnTo>
                    <a:pt x="472" y="1490"/>
                  </a:lnTo>
                  <a:lnTo>
                    <a:pt x="466" y="1485"/>
                  </a:lnTo>
                  <a:lnTo>
                    <a:pt x="462" y="1483"/>
                  </a:lnTo>
                  <a:lnTo>
                    <a:pt x="454" y="1479"/>
                  </a:lnTo>
                  <a:lnTo>
                    <a:pt x="451" y="1475"/>
                  </a:lnTo>
                  <a:lnTo>
                    <a:pt x="445" y="1473"/>
                  </a:lnTo>
                  <a:lnTo>
                    <a:pt x="441" y="1471"/>
                  </a:lnTo>
                  <a:lnTo>
                    <a:pt x="437" y="1467"/>
                  </a:lnTo>
                  <a:lnTo>
                    <a:pt x="437" y="1467"/>
                  </a:lnTo>
                  <a:lnTo>
                    <a:pt x="433" y="1464"/>
                  </a:lnTo>
                  <a:lnTo>
                    <a:pt x="433" y="1460"/>
                  </a:lnTo>
                  <a:lnTo>
                    <a:pt x="433" y="1454"/>
                  </a:lnTo>
                  <a:lnTo>
                    <a:pt x="433" y="1450"/>
                  </a:lnTo>
                  <a:lnTo>
                    <a:pt x="433" y="1445"/>
                  </a:lnTo>
                  <a:lnTo>
                    <a:pt x="435" y="1441"/>
                  </a:lnTo>
                  <a:lnTo>
                    <a:pt x="435" y="1435"/>
                  </a:lnTo>
                  <a:lnTo>
                    <a:pt x="433" y="1431"/>
                  </a:lnTo>
                  <a:lnTo>
                    <a:pt x="433" y="1431"/>
                  </a:lnTo>
                  <a:lnTo>
                    <a:pt x="430" y="1426"/>
                  </a:lnTo>
                  <a:lnTo>
                    <a:pt x="426" y="1420"/>
                  </a:lnTo>
                  <a:lnTo>
                    <a:pt x="420" y="1416"/>
                  </a:lnTo>
                  <a:lnTo>
                    <a:pt x="414" y="1412"/>
                  </a:lnTo>
                  <a:lnTo>
                    <a:pt x="407" y="1408"/>
                  </a:lnTo>
                  <a:lnTo>
                    <a:pt x="401" y="1405"/>
                  </a:lnTo>
                  <a:lnTo>
                    <a:pt x="393" y="1403"/>
                  </a:lnTo>
                  <a:lnTo>
                    <a:pt x="388" y="1401"/>
                  </a:lnTo>
                  <a:lnTo>
                    <a:pt x="388" y="1401"/>
                  </a:lnTo>
                  <a:lnTo>
                    <a:pt x="382" y="1397"/>
                  </a:lnTo>
                  <a:lnTo>
                    <a:pt x="378" y="1395"/>
                  </a:lnTo>
                  <a:lnTo>
                    <a:pt x="374" y="1391"/>
                  </a:lnTo>
                  <a:lnTo>
                    <a:pt x="371" y="1385"/>
                  </a:lnTo>
                  <a:lnTo>
                    <a:pt x="369" y="1382"/>
                  </a:lnTo>
                  <a:lnTo>
                    <a:pt x="367" y="1376"/>
                  </a:lnTo>
                  <a:lnTo>
                    <a:pt x="365" y="1370"/>
                  </a:lnTo>
                  <a:lnTo>
                    <a:pt x="363" y="1364"/>
                  </a:lnTo>
                  <a:lnTo>
                    <a:pt x="361" y="1359"/>
                  </a:lnTo>
                  <a:lnTo>
                    <a:pt x="359" y="1353"/>
                  </a:lnTo>
                  <a:lnTo>
                    <a:pt x="357" y="1349"/>
                  </a:lnTo>
                  <a:lnTo>
                    <a:pt x="355" y="1343"/>
                  </a:lnTo>
                  <a:lnTo>
                    <a:pt x="353" y="1338"/>
                  </a:lnTo>
                  <a:lnTo>
                    <a:pt x="350" y="1334"/>
                  </a:lnTo>
                  <a:lnTo>
                    <a:pt x="346" y="1330"/>
                  </a:lnTo>
                  <a:lnTo>
                    <a:pt x="342" y="1326"/>
                  </a:lnTo>
                  <a:lnTo>
                    <a:pt x="342" y="1326"/>
                  </a:lnTo>
                  <a:lnTo>
                    <a:pt x="338" y="1323"/>
                  </a:lnTo>
                  <a:lnTo>
                    <a:pt x="334" y="1321"/>
                  </a:lnTo>
                  <a:lnTo>
                    <a:pt x="329" y="1317"/>
                  </a:lnTo>
                  <a:lnTo>
                    <a:pt x="323" y="1313"/>
                  </a:lnTo>
                  <a:lnTo>
                    <a:pt x="317" y="1309"/>
                  </a:lnTo>
                  <a:lnTo>
                    <a:pt x="311" y="1307"/>
                  </a:lnTo>
                  <a:lnTo>
                    <a:pt x="304" y="1303"/>
                  </a:lnTo>
                  <a:lnTo>
                    <a:pt x="298" y="1300"/>
                  </a:lnTo>
                  <a:lnTo>
                    <a:pt x="292" y="1296"/>
                  </a:lnTo>
                  <a:lnTo>
                    <a:pt x="287" y="1292"/>
                  </a:lnTo>
                  <a:lnTo>
                    <a:pt x="283" y="1288"/>
                  </a:lnTo>
                  <a:lnTo>
                    <a:pt x="277" y="1284"/>
                  </a:lnTo>
                  <a:lnTo>
                    <a:pt x="273" y="1281"/>
                  </a:lnTo>
                  <a:lnTo>
                    <a:pt x="271" y="1277"/>
                  </a:lnTo>
                  <a:lnTo>
                    <a:pt x="269" y="1273"/>
                  </a:lnTo>
                  <a:lnTo>
                    <a:pt x="269" y="1269"/>
                  </a:lnTo>
                  <a:lnTo>
                    <a:pt x="269" y="1269"/>
                  </a:lnTo>
                  <a:lnTo>
                    <a:pt x="269" y="1265"/>
                  </a:lnTo>
                  <a:lnTo>
                    <a:pt x="269" y="1263"/>
                  </a:lnTo>
                  <a:lnTo>
                    <a:pt x="269" y="1261"/>
                  </a:lnTo>
                  <a:lnTo>
                    <a:pt x="269" y="1260"/>
                  </a:lnTo>
                  <a:lnTo>
                    <a:pt x="269" y="1258"/>
                  </a:lnTo>
                  <a:lnTo>
                    <a:pt x="269" y="1258"/>
                  </a:lnTo>
                  <a:lnTo>
                    <a:pt x="269" y="1256"/>
                  </a:lnTo>
                  <a:lnTo>
                    <a:pt x="269" y="1252"/>
                  </a:lnTo>
                  <a:lnTo>
                    <a:pt x="269" y="1252"/>
                  </a:lnTo>
                  <a:lnTo>
                    <a:pt x="268" y="1246"/>
                  </a:lnTo>
                  <a:lnTo>
                    <a:pt x="266" y="1242"/>
                  </a:lnTo>
                  <a:lnTo>
                    <a:pt x="260" y="1239"/>
                  </a:lnTo>
                  <a:lnTo>
                    <a:pt x="254" y="1235"/>
                  </a:lnTo>
                  <a:lnTo>
                    <a:pt x="248" y="1233"/>
                  </a:lnTo>
                  <a:lnTo>
                    <a:pt x="241" y="1231"/>
                  </a:lnTo>
                  <a:lnTo>
                    <a:pt x="231" y="1229"/>
                  </a:lnTo>
                  <a:lnTo>
                    <a:pt x="224" y="1227"/>
                  </a:lnTo>
                  <a:lnTo>
                    <a:pt x="216" y="1225"/>
                  </a:lnTo>
                  <a:lnTo>
                    <a:pt x="208" y="1221"/>
                  </a:lnTo>
                  <a:lnTo>
                    <a:pt x="201" y="1219"/>
                  </a:lnTo>
                  <a:lnTo>
                    <a:pt x="195" y="1218"/>
                  </a:lnTo>
                  <a:lnTo>
                    <a:pt x="191" y="1214"/>
                  </a:lnTo>
                  <a:lnTo>
                    <a:pt x="187" y="1210"/>
                  </a:lnTo>
                  <a:lnTo>
                    <a:pt x="187" y="1204"/>
                  </a:lnTo>
                  <a:lnTo>
                    <a:pt x="189" y="1198"/>
                  </a:lnTo>
                  <a:lnTo>
                    <a:pt x="189" y="1183"/>
                  </a:lnTo>
                  <a:lnTo>
                    <a:pt x="189" y="1183"/>
                  </a:lnTo>
                  <a:lnTo>
                    <a:pt x="184" y="1183"/>
                  </a:lnTo>
                  <a:lnTo>
                    <a:pt x="178" y="1183"/>
                  </a:lnTo>
                  <a:lnTo>
                    <a:pt x="174" y="1183"/>
                  </a:lnTo>
                  <a:lnTo>
                    <a:pt x="170" y="1183"/>
                  </a:lnTo>
                  <a:lnTo>
                    <a:pt x="166" y="1183"/>
                  </a:lnTo>
                  <a:lnTo>
                    <a:pt x="163" y="1183"/>
                  </a:lnTo>
                  <a:lnTo>
                    <a:pt x="161" y="1183"/>
                  </a:lnTo>
                  <a:lnTo>
                    <a:pt x="157" y="1183"/>
                  </a:lnTo>
                  <a:lnTo>
                    <a:pt x="157" y="1183"/>
                  </a:lnTo>
                  <a:lnTo>
                    <a:pt x="151" y="1183"/>
                  </a:lnTo>
                  <a:lnTo>
                    <a:pt x="147" y="1181"/>
                  </a:lnTo>
                  <a:lnTo>
                    <a:pt x="142" y="1178"/>
                  </a:lnTo>
                  <a:lnTo>
                    <a:pt x="138" y="1174"/>
                  </a:lnTo>
                  <a:lnTo>
                    <a:pt x="136" y="1168"/>
                  </a:lnTo>
                  <a:lnTo>
                    <a:pt x="132" y="1162"/>
                  </a:lnTo>
                  <a:lnTo>
                    <a:pt x="130" y="1157"/>
                  </a:lnTo>
                  <a:lnTo>
                    <a:pt x="130" y="1149"/>
                  </a:lnTo>
                  <a:lnTo>
                    <a:pt x="130" y="1149"/>
                  </a:lnTo>
                  <a:lnTo>
                    <a:pt x="130" y="1143"/>
                  </a:lnTo>
                  <a:lnTo>
                    <a:pt x="132" y="1137"/>
                  </a:lnTo>
                  <a:lnTo>
                    <a:pt x="136" y="1134"/>
                  </a:lnTo>
                  <a:lnTo>
                    <a:pt x="138" y="1130"/>
                  </a:lnTo>
                  <a:lnTo>
                    <a:pt x="142" y="1126"/>
                  </a:lnTo>
                  <a:lnTo>
                    <a:pt x="145" y="1120"/>
                  </a:lnTo>
                  <a:lnTo>
                    <a:pt x="147" y="1116"/>
                  </a:lnTo>
                  <a:lnTo>
                    <a:pt x="147" y="1111"/>
                  </a:lnTo>
                  <a:lnTo>
                    <a:pt x="147" y="1111"/>
                  </a:lnTo>
                  <a:lnTo>
                    <a:pt x="147" y="1103"/>
                  </a:lnTo>
                  <a:lnTo>
                    <a:pt x="145" y="1095"/>
                  </a:lnTo>
                  <a:lnTo>
                    <a:pt x="142" y="1088"/>
                  </a:lnTo>
                  <a:lnTo>
                    <a:pt x="138" y="1080"/>
                  </a:lnTo>
                  <a:lnTo>
                    <a:pt x="132" y="1073"/>
                  </a:lnTo>
                  <a:lnTo>
                    <a:pt x="126" y="1067"/>
                  </a:lnTo>
                  <a:lnTo>
                    <a:pt x="121" y="1059"/>
                  </a:lnTo>
                  <a:lnTo>
                    <a:pt x="115" y="1054"/>
                  </a:lnTo>
                  <a:lnTo>
                    <a:pt x="109" y="1046"/>
                  </a:lnTo>
                  <a:lnTo>
                    <a:pt x="103" y="1040"/>
                  </a:lnTo>
                  <a:lnTo>
                    <a:pt x="98" y="1034"/>
                  </a:lnTo>
                  <a:lnTo>
                    <a:pt x="92" y="1029"/>
                  </a:lnTo>
                  <a:lnTo>
                    <a:pt x="88" y="1021"/>
                  </a:lnTo>
                  <a:lnTo>
                    <a:pt x="86" y="1015"/>
                  </a:lnTo>
                  <a:lnTo>
                    <a:pt x="82" y="1010"/>
                  </a:lnTo>
                  <a:lnTo>
                    <a:pt x="82" y="1004"/>
                  </a:lnTo>
                  <a:lnTo>
                    <a:pt x="82" y="1004"/>
                  </a:lnTo>
                  <a:lnTo>
                    <a:pt x="82" y="1002"/>
                  </a:lnTo>
                  <a:lnTo>
                    <a:pt x="84" y="1000"/>
                  </a:lnTo>
                  <a:lnTo>
                    <a:pt x="86" y="998"/>
                  </a:lnTo>
                  <a:lnTo>
                    <a:pt x="88" y="994"/>
                  </a:lnTo>
                  <a:lnTo>
                    <a:pt x="88" y="994"/>
                  </a:lnTo>
                  <a:lnTo>
                    <a:pt x="90" y="991"/>
                  </a:lnTo>
                  <a:lnTo>
                    <a:pt x="92" y="989"/>
                  </a:lnTo>
                  <a:lnTo>
                    <a:pt x="92" y="987"/>
                  </a:lnTo>
                  <a:lnTo>
                    <a:pt x="92" y="987"/>
                  </a:lnTo>
                  <a:lnTo>
                    <a:pt x="92" y="979"/>
                  </a:lnTo>
                  <a:lnTo>
                    <a:pt x="88" y="973"/>
                  </a:lnTo>
                  <a:lnTo>
                    <a:pt x="86" y="970"/>
                  </a:lnTo>
                  <a:lnTo>
                    <a:pt x="82" y="968"/>
                  </a:lnTo>
                  <a:lnTo>
                    <a:pt x="79" y="964"/>
                  </a:lnTo>
                  <a:lnTo>
                    <a:pt x="75" y="962"/>
                  </a:lnTo>
                  <a:lnTo>
                    <a:pt x="71" y="960"/>
                  </a:lnTo>
                  <a:lnTo>
                    <a:pt x="69" y="956"/>
                  </a:lnTo>
                  <a:lnTo>
                    <a:pt x="69" y="956"/>
                  </a:lnTo>
                  <a:lnTo>
                    <a:pt x="65" y="952"/>
                  </a:lnTo>
                  <a:lnTo>
                    <a:pt x="63" y="945"/>
                  </a:lnTo>
                  <a:lnTo>
                    <a:pt x="62" y="939"/>
                  </a:lnTo>
                  <a:lnTo>
                    <a:pt x="60" y="931"/>
                  </a:lnTo>
                  <a:lnTo>
                    <a:pt x="58" y="924"/>
                  </a:lnTo>
                  <a:lnTo>
                    <a:pt x="56" y="916"/>
                  </a:lnTo>
                  <a:lnTo>
                    <a:pt x="54" y="909"/>
                  </a:lnTo>
                  <a:lnTo>
                    <a:pt x="52" y="901"/>
                  </a:lnTo>
                  <a:lnTo>
                    <a:pt x="50" y="895"/>
                  </a:lnTo>
                  <a:lnTo>
                    <a:pt x="48" y="888"/>
                  </a:lnTo>
                  <a:lnTo>
                    <a:pt x="44" y="882"/>
                  </a:lnTo>
                  <a:lnTo>
                    <a:pt x="39" y="876"/>
                  </a:lnTo>
                  <a:lnTo>
                    <a:pt x="35" y="870"/>
                  </a:lnTo>
                  <a:lnTo>
                    <a:pt x="27" y="868"/>
                  </a:lnTo>
                  <a:lnTo>
                    <a:pt x="20" y="867"/>
                  </a:lnTo>
                  <a:lnTo>
                    <a:pt x="12" y="865"/>
                  </a:lnTo>
                  <a:lnTo>
                    <a:pt x="12" y="865"/>
                  </a:lnTo>
                  <a:lnTo>
                    <a:pt x="8" y="865"/>
                  </a:lnTo>
                  <a:lnTo>
                    <a:pt x="6" y="865"/>
                  </a:lnTo>
                  <a:lnTo>
                    <a:pt x="4" y="863"/>
                  </a:lnTo>
                  <a:lnTo>
                    <a:pt x="2" y="861"/>
                  </a:lnTo>
                  <a:lnTo>
                    <a:pt x="0" y="859"/>
                  </a:lnTo>
                  <a:lnTo>
                    <a:pt x="0" y="857"/>
                  </a:lnTo>
                  <a:lnTo>
                    <a:pt x="0" y="853"/>
                  </a:lnTo>
                  <a:lnTo>
                    <a:pt x="0" y="851"/>
                  </a:lnTo>
                  <a:lnTo>
                    <a:pt x="0" y="851"/>
                  </a:lnTo>
                  <a:lnTo>
                    <a:pt x="0" y="846"/>
                  </a:lnTo>
                  <a:lnTo>
                    <a:pt x="2" y="840"/>
                  </a:lnTo>
                  <a:lnTo>
                    <a:pt x="6" y="836"/>
                  </a:lnTo>
                  <a:lnTo>
                    <a:pt x="8" y="832"/>
                  </a:lnTo>
                  <a:lnTo>
                    <a:pt x="12" y="828"/>
                  </a:lnTo>
                  <a:lnTo>
                    <a:pt x="18" y="825"/>
                  </a:lnTo>
                  <a:lnTo>
                    <a:pt x="20" y="823"/>
                  </a:lnTo>
                  <a:lnTo>
                    <a:pt x="23" y="821"/>
                  </a:lnTo>
                  <a:lnTo>
                    <a:pt x="21" y="821"/>
                  </a:lnTo>
                  <a:lnTo>
                    <a:pt x="21" y="821"/>
                  </a:lnTo>
                  <a:lnTo>
                    <a:pt x="23" y="821"/>
                  </a:lnTo>
                  <a:lnTo>
                    <a:pt x="27" y="819"/>
                  </a:lnTo>
                  <a:lnTo>
                    <a:pt x="27" y="817"/>
                  </a:lnTo>
                  <a:lnTo>
                    <a:pt x="29" y="815"/>
                  </a:lnTo>
                  <a:lnTo>
                    <a:pt x="31" y="813"/>
                  </a:lnTo>
                  <a:lnTo>
                    <a:pt x="33" y="811"/>
                  </a:lnTo>
                  <a:lnTo>
                    <a:pt x="33" y="807"/>
                  </a:lnTo>
                  <a:lnTo>
                    <a:pt x="33" y="806"/>
                  </a:lnTo>
                  <a:lnTo>
                    <a:pt x="33" y="806"/>
                  </a:lnTo>
                  <a:lnTo>
                    <a:pt x="33" y="802"/>
                  </a:lnTo>
                  <a:lnTo>
                    <a:pt x="31" y="798"/>
                  </a:lnTo>
                  <a:lnTo>
                    <a:pt x="29" y="792"/>
                  </a:lnTo>
                  <a:lnTo>
                    <a:pt x="29" y="788"/>
                  </a:lnTo>
                  <a:lnTo>
                    <a:pt x="27" y="786"/>
                  </a:lnTo>
                  <a:lnTo>
                    <a:pt x="25" y="783"/>
                  </a:lnTo>
                  <a:lnTo>
                    <a:pt x="23" y="779"/>
                  </a:lnTo>
                  <a:lnTo>
                    <a:pt x="21" y="777"/>
                  </a:lnTo>
                  <a:lnTo>
                    <a:pt x="21" y="777"/>
                  </a:lnTo>
                  <a:lnTo>
                    <a:pt x="25" y="773"/>
                  </a:lnTo>
                  <a:lnTo>
                    <a:pt x="29" y="771"/>
                  </a:lnTo>
                  <a:lnTo>
                    <a:pt x="37" y="767"/>
                  </a:lnTo>
                  <a:lnTo>
                    <a:pt x="42" y="764"/>
                  </a:lnTo>
                  <a:lnTo>
                    <a:pt x="48" y="758"/>
                  </a:lnTo>
                  <a:lnTo>
                    <a:pt x="54" y="754"/>
                  </a:lnTo>
                  <a:lnTo>
                    <a:pt x="58" y="748"/>
                  </a:lnTo>
                  <a:lnTo>
                    <a:pt x="60" y="744"/>
                  </a:lnTo>
                  <a:lnTo>
                    <a:pt x="60" y="744"/>
                  </a:lnTo>
                  <a:lnTo>
                    <a:pt x="58" y="743"/>
                  </a:lnTo>
                  <a:lnTo>
                    <a:pt x="58" y="739"/>
                  </a:lnTo>
                  <a:lnTo>
                    <a:pt x="54" y="737"/>
                  </a:lnTo>
                  <a:lnTo>
                    <a:pt x="52" y="735"/>
                  </a:lnTo>
                  <a:lnTo>
                    <a:pt x="50" y="731"/>
                  </a:lnTo>
                  <a:lnTo>
                    <a:pt x="46" y="729"/>
                  </a:lnTo>
                  <a:lnTo>
                    <a:pt x="44" y="725"/>
                  </a:lnTo>
                  <a:lnTo>
                    <a:pt x="44" y="722"/>
                  </a:lnTo>
                  <a:lnTo>
                    <a:pt x="44" y="722"/>
                  </a:lnTo>
                  <a:lnTo>
                    <a:pt x="44" y="718"/>
                  </a:lnTo>
                  <a:lnTo>
                    <a:pt x="44" y="716"/>
                  </a:lnTo>
                  <a:lnTo>
                    <a:pt x="44" y="714"/>
                  </a:lnTo>
                  <a:lnTo>
                    <a:pt x="44" y="712"/>
                  </a:lnTo>
                  <a:lnTo>
                    <a:pt x="62" y="708"/>
                  </a:lnTo>
                  <a:lnTo>
                    <a:pt x="62" y="708"/>
                  </a:lnTo>
                  <a:lnTo>
                    <a:pt x="65" y="706"/>
                  </a:lnTo>
                  <a:lnTo>
                    <a:pt x="67" y="702"/>
                  </a:lnTo>
                  <a:lnTo>
                    <a:pt x="69" y="699"/>
                  </a:lnTo>
                  <a:lnTo>
                    <a:pt x="71" y="695"/>
                  </a:lnTo>
                  <a:lnTo>
                    <a:pt x="73" y="691"/>
                  </a:lnTo>
                  <a:lnTo>
                    <a:pt x="75" y="685"/>
                  </a:lnTo>
                  <a:lnTo>
                    <a:pt x="77" y="682"/>
                  </a:lnTo>
                  <a:lnTo>
                    <a:pt x="79" y="676"/>
                  </a:lnTo>
                  <a:lnTo>
                    <a:pt x="81" y="670"/>
                  </a:lnTo>
                  <a:lnTo>
                    <a:pt x="82" y="664"/>
                  </a:lnTo>
                  <a:lnTo>
                    <a:pt x="82" y="661"/>
                  </a:lnTo>
                  <a:lnTo>
                    <a:pt x="84" y="655"/>
                  </a:lnTo>
                  <a:lnTo>
                    <a:pt x="84" y="649"/>
                  </a:lnTo>
                  <a:lnTo>
                    <a:pt x="86" y="643"/>
                  </a:lnTo>
                  <a:lnTo>
                    <a:pt x="86" y="640"/>
                  </a:lnTo>
                  <a:lnTo>
                    <a:pt x="86" y="634"/>
                  </a:lnTo>
                  <a:lnTo>
                    <a:pt x="86" y="634"/>
                  </a:lnTo>
                  <a:lnTo>
                    <a:pt x="90" y="634"/>
                  </a:lnTo>
                  <a:lnTo>
                    <a:pt x="96" y="632"/>
                  </a:lnTo>
                  <a:lnTo>
                    <a:pt x="100" y="632"/>
                  </a:lnTo>
                  <a:lnTo>
                    <a:pt x="103" y="630"/>
                  </a:lnTo>
                  <a:lnTo>
                    <a:pt x="109" y="630"/>
                  </a:lnTo>
                  <a:lnTo>
                    <a:pt x="113" y="630"/>
                  </a:lnTo>
                  <a:lnTo>
                    <a:pt x="117" y="628"/>
                  </a:lnTo>
                  <a:lnTo>
                    <a:pt x="123" y="628"/>
                  </a:lnTo>
                  <a:lnTo>
                    <a:pt x="126" y="628"/>
                  </a:lnTo>
                  <a:lnTo>
                    <a:pt x="132" y="628"/>
                  </a:lnTo>
                  <a:lnTo>
                    <a:pt x="136" y="626"/>
                  </a:lnTo>
                  <a:lnTo>
                    <a:pt x="142" y="626"/>
                  </a:lnTo>
                  <a:lnTo>
                    <a:pt x="145" y="626"/>
                  </a:lnTo>
                  <a:lnTo>
                    <a:pt x="151" y="626"/>
                  </a:lnTo>
                  <a:lnTo>
                    <a:pt x="157" y="626"/>
                  </a:lnTo>
                  <a:lnTo>
                    <a:pt x="163" y="626"/>
                  </a:lnTo>
                  <a:lnTo>
                    <a:pt x="155" y="315"/>
                  </a:lnTo>
                  <a:lnTo>
                    <a:pt x="155" y="315"/>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10" name="Freeform 154"/>
            <p:cNvSpPr>
              <a:spLocks/>
            </p:cNvSpPr>
            <p:nvPr/>
          </p:nvSpPr>
          <p:spPr bwMode="gray">
            <a:xfrm>
              <a:off x="2010" y="926"/>
              <a:ext cx="659" cy="577"/>
            </a:xfrm>
            <a:custGeom>
              <a:avLst/>
              <a:gdLst/>
              <a:ahLst/>
              <a:cxnLst>
                <a:cxn ang="0">
                  <a:pos x="1116" y="92"/>
                </a:cxn>
                <a:cxn ang="0">
                  <a:pos x="1087" y="88"/>
                </a:cxn>
                <a:cxn ang="0">
                  <a:pos x="1057" y="94"/>
                </a:cxn>
                <a:cxn ang="0">
                  <a:pos x="1001" y="94"/>
                </a:cxn>
                <a:cxn ang="0">
                  <a:pos x="967" y="63"/>
                </a:cxn>
                <a:cxn ang="0">
                  <a:pos x="935" y="44"/>
                </a:cxn>
                <a:cxn ang="0">
                  <a:pos x="895" y="31"/>
                </a:cxn>
                <a:cxn ang="0">
                  <a:pos x="853" y="27"/>
                </a:cxn>
                <a:cxn ang="0">
                  <a:pos x="793" y="46"/>
                </a:cxn>
                <a:cxn ang="0">
                  <a:pos x="757" y="88"/>
                </a:cxn>
                <a:cxn ang="0">
                  <a:pos x="776" y="135"/>
                </a:cxn>
                <a:cxn ang="0">
                  <a:pos x="776" y="177"/>
                </a:cxn>
                <a:cxn ang="0">
                  <a:pos x="717" y="212"/>
                </a:cxn>
                <a:cxn ang="0">
                  <a:pos x="666" y="197"/>
                </a:cxn>
                <a:cxn ang="0">
                  <a:pos x="622" y="174"/>
                </a:cxn>
                <a:cxn ang="0">
                  <a:pos x="587" y="156"/>
                </a:cxn>
                <a:cxn ang="0">
                  <a:pos x="553" y="145"/>
                </a:cxn>
                <a:cxn ang="0">
                  <a:pos x="509" y="143"/>
                </a:cxn>
                <a:cxn ang="0">
                  <a:pos x="479" y="135"/>
                </a:cxn>
                <a:cxn ang="0">
                  <a:pos x="450" y="97"/>
                </a:cxn>
                <a:cxn ang="0">
                  <a:pos x="441" y="61"/>
                </a:cxn>
                <a:cxn ang="0">
                  <a:pos x="410" y="38"/>
                </a:cxn>
                <a:cxn ang="0">
                  <a:pos x="345" y="17"/>
                </a:cxn>
                <a:cxn ang="0">
                  <a:pos x="303" y="11"/>
                </a:cxn>
                <a:cxn ang="0">
                  <a:pos x="263" y="29"/>
                </a:cxn>
                <a:cxn ang="0">
                  <a:pos x="227" y="23"/>
                </a:cxn>
                <a:cxn ang="0">
                  <a:pos x="194" y="6"/>
                </a:cxn>
                <a:cxn ang="0">
                  <a:pos x="175" y="17"/>
                </a:cxn>
                <a:cxn ang="0">
                  <a:pos x="173" y="44"/>
                </a:cxn>
                <a:cxn ang="0">
                  <a:pos x="118" y="78"/>
                </a:cxn>
                <a:cxn ang="0">
                  <a:pos x="78" y="118"/>
                </a:cxn>
                <a:cxn ang="0">
                  <a:pos x="76" y="145"/>
                </a:cxn>
                <a:cxn ang="0">
                  <a:pos x="80" y="172"/>
                </a:cxn>
                <a:cxn ang="0">
                  <a:pos x="51" y="204"/>
                </a:cxn>
                <a:cxn ang="0">
                  <a:pos x="13" y="221"/>
                </a:cxn>
                <a:cxn ang="0">
                  <a:pos x="32" y="261"/>
                </a:cxn>
                <a:cxn ang="0">
                  <a:pos x="44" y="307"/>
                </a:cxn>
                <a:cxn ang="0">
                  <a:pos x="44" y="349"/>
                </a:cxn>
                <a:cxn ang="0">
                  <a:pos x="44" y="380"/>
                </a:cxn>
                <a:cxn ang="0">
                  <a:pos x="44" y="410"/>
                </a:cxn>
                <a:cxn ang="0">
                  <a:pos x="32" y="443"/>
                </a:cxn>
                <a:cxn ang="0">
                  <a:pos x="42" y="473"/>
                </a:cxn>
                <a:cxn ang="0">
                  <a:pos x="19" y="504"/>
                </a:cxn>
                <a:cxn ang="0">
                  <a:pos x="2" y="532"/>
                </a:cxn>
                <a:cxn ang="0">
                  <a:pos x="27" y="582"/>
                </a:cxn>
                <a:cxn ang="0">
                  <a:pos x="53" y="626"/>
                </a:cxn>
                <a:cxn ang="0">
                  <a:pos x="61" y="649"/>
                </a:cxn>
                <a:cxn ang="0">
                  <a:pos x="76" y="656"/>
                </a:cxn>
                <a:cxn ang="0">
                  <a:pos x="103" y="656"/>
                </a:cxn>
                <a:cxn ang="0">
                  <a:pos x="149" y="677"/>
                </a:cxn>
                <a:cxn ang="0">
                  <a:pos x="162" y="710"/>
                </a:cxn>
                <a:cxn ang="0">
                  <a:pos x="183" y="736"/>
                </a:cxn>
                <a:cxn ang="0">
                  <a:pos x="219" y="750"/>
                </a:cxn>
                <a:cxn ang="0">
                  <a:pos x="263" y="763"/>
                </a:cxn>
                <a:cxn ang="0">
                  <a:pos x="303" y="780"/>
                </a:cxn>
                <a:cxn ang="0">
                  <a:pos x="345" y="813"/>
                </a:cxn>
                <a:cxn ang="0">
                  <a:pos x="399" y="794"/>
                </a:cxn>
                <a:cxn ang="0">
                  <a:pos x="1163" y="1015"/>
                </a:cxn>
                <a:cxn ang="0">
                  <a:pos x="1116" y="256"/>
                </a:cxn>
                <a:cxn ang="0">
                  <a:pos x="1110" y="210"/>
                </a:cxn>
                <a:cxn ang="0">
                  <a:pos x="1125" y="177"/>
                </a:cxn>
                <a:cxn ang="0">
                  <a:pos x="1108" y="141"/>
                </a:cxn>
                <a:cxn ang="0">
                  <a:pos x="1116" y="115"/>
                </a:cxn>
              </a:cxnLst>
              <a:rect l="0" t="0" r="r" b="b"/>
              <a:pathLst>
                <a:path w="1163" h="1051">
                  <a:moveTo>
                    <a:pt x="1125" y="109"/>
                  </a:moveTo>
                  <a:lnTo>
                    <a:pt x="1125" y="109"/>
                  </a:lnTo>
                  <a:lnTo>
                    <a:pt x="1125" y="107"/>
                  </a:lnTo>
                  <a:lnTo>
                    <a:pt x="1123" y="103"/>
                  </a:lnTo>
                  <a:lnTo>
                    <a:pt x="1122" y="99"/>
                  </a:lnTo>
                  <a:lnTo>
                    <a:pt x="1120" y="95"/>
                  </a:lnTo>
                  <a:lnTo>
                    <a:pt x="1116" y="92"/>
                  </a:lnTo>
                  <a:lnTo>
                    <a:pt x="1112" y="88"/>
                  </a:lnTo>
                  <a:lnTo>
                    <a:pt x="1106" y="86"/>
                  </a:lnTo>
                  <a:lnTo>
                    <a:pt x="1102" y="86"/>
                  </a:lnTo>
                  <a:lnTo>
                    <a:pt x="1102" y="86"/>
                  </a:lnTo>
                  <a:lnTo>
                    <a:pt x="1095" y="86"/>
                  </a:lnTo>
                  <a:lnTo>
                    <a:pt x="1091" y="86"/>
                  </a:lnTo>
                  <a:lnTo>
                    <a:pt x="1087" y="88"/>
                  </a:lnTo>
                  <a:lnTo>
                    <a:pt x="1083" y="90"/>
                  </a:lnTo>
                  <a:lnTo>
                    <a:pt x="1081" y="92"/>
                  </a:lnTo>
                  <a:lnTo>
                    <a:pt x="1078" y="94"/>
                  </a:lnTo>
                  <a:lnTo>
                    <a:pt x="1072" y="94"/>
                  </a:lnTo>
                  <a:lnTo>
                    <a:pt x="1066" y="94"/>
                  </a:lnTo>
                  <a:lnTo>
                    <a:pt x="1066" y="94"/>
                  </a:lnTo>
                  <a:lnTo>
                    <a:pt x="1057" y="94"/>
                  </a:lnTo>
                  <a:lnTo>
                    <a:pt x="1047" y="94"/>
                  </a:lnTo>
                  <a:lnTo>
                    <a:pt x="1041" y="94"/>
                  </a:lnTo>
                  <a:lnTo>
                    <a:pt x="1036" y="94"/>
                  </a:lnTo>
                  <a:lnTo>
                    <a:pt x="1028" y="94"/>
                  </a:lnTo>
                  <a:lnTo>
                    <a:pt x="1022" y="94"/>
                  </a:lnTo>
                  <a:lnTo>
                    <a:pt x="1013" y="94"/>
                  </a:lnTo>
                  <a:lnTo>
                    <a:pt x="1001" y="94"/>
                  </a:lnTo>
                  <a:lnTo>
                    <a:pt x="1001" y="94"/>
                  </a:lnTo>
                  <a:lnTo>
                    <a:pt x="992" y="94"/>
                  </a:lnTo>
                  <a:lnTo>
                    <a:pt x="984" y="90"/>
                  </a:lnTo>
                  <a:lnTo>
                    <a:pt x="978" y="84"/>
                  </a:lnTo>
                  <a:lnTo>
                    <a:pt x="975" y="76"/>
                  </a:lnTo>
                  <a:lnTo>
                    <a:pt x="971" y="69"/>
                  </a:lnTo>
                  <a:lnTo>
                    <a:pt x="967" y="63"/>
                  </a:lnTo>
                  <a:lnTo>
                    <a:pt x="963" y="57"/>
                  </a:lnTo>
                  <a:lnTo>
                    <a:pt x="957" y="53"/>
                  </a:lnTo>
                  <a:lnTo>
                    <a:pt x="957" y="53"/>
                  </a:lnTo>
                  <a:lnTo>
                    <a:pt x="952" y="50"/>
                  </a:lnTo>
                  <a:lnTo>
                    <a:pt x="944" y="48"/>
                  </a:lnTo>
                  <a:lnTo>
                    <a:pt x="938" y="46"/>
                  </a:lnTo>
                  <a:lnTo>
                    <a:pt x="935" y="44"/>
                  </a:lnTo>
                  <a:lnTo>
                    <a:pt x="929" y="40"/>
                  </a:lnTo>
                  <a:lnTo>
                    <a:pt x="923" y="38"/>
                  </a:lnTo>
                  <a:lnTo>
                    <a:pt x="917" y="36"/>
                  </a:lnTo>
                  <a:lnTo>
                    <a:pt x="912" y="34"/>
                  </a:lnTo>
                  <a:lnTo>
                    <a:pt x="906" y="32"/>
                  </a:lnTo>
                  <a:lnTo>
                    <a:pt x="900" y="31"/>
                  </a:lnTo>
                  <a:lnTo>
                    <a:pt x="895" y="31"/>
                  </a:lnTo>
                  <a:lnTo>
                    <a:pt x="889" y="29"/>
                  </a:lnTo>
                  <a:lnTo>
                    <a:pt x="881" y="27"/>
                  </a:lnTo>
                  <a:lnTo>
                    <a:pt x="875" y="27"/>
                  </a:lnTo>
                  <a:lnTo>
                    <a:pt x="868" y="27"/>
                  </a:lnTo>
                  <a:lnTo>
                    <a:pt x="860" y="27"/>
                  </a:lnTo>
                  <a:lnTo>
                    <a:pt x="860" y="27"/>
                  </a:lnTo>
                  <a:lnTo>
                    <a:pt x="853" y="27"/>
                  </a:lnTo>
                  <a:lnTo>
                    <a:pt x="843" y="27"/>
                  </a:lnTo>
                  <a:lnTo>
                    <a:pt x="835" y="29"/>
                  </a:lnTo>
                  <a:lnTo>
                    <a:pt x="826" y="31"/>
                  </a:lnTo>
                  <a:lnTo>
                    <a:pt x="818" y="34"/>
                  </a:lnTo>
                  <a:lnTo>
                    <a:pt x="811" y="38"/>
                  </a:lnTo>
                  <a:lnTo>
                    <a:pt x="801" y="42"/>
                  </a:lnTo>
                  <a:lnTo>
                    <a:pt x="793" y="46"/>
                  </a:lnTo>
                  <a:lnTo>
                    <a:pt x="786" y="50"/>
                  </a:lnTo>
                  <a:lnTo>
                    <a:pt x="778" y="55"/>
                  </a:lnTo>
                  <a:lnTo>
                    <a:pt x="772" y="61"/>
                  </a:lnTo>
                  <a:lnTo>
                    <a:pt x="767" y="67"/>
                  </a:lnTo>
                  <a:lnTo>
                    <a:pt x="763" y="74"/>
                  </a:lnTo>
                  <a:lnTo>
                    <a:pt x="759" y="80"/>
                  </a:lnTo>
                  <a:lnTo>
                    <a:pt x="757" y="88"/>
                  </a:lnTo>
                  <a:lnTo>
                    <a:pt x="757" y="94"/>
                  </a:lnTo>
                  <a:lnTo>
                    <a:pt x="757" y="94"/>
                  </a:lnTo>
                  <a:lnTo>
                    <a:pt x="757" y="103"/>
                  </a:lnTo>
                  <a:lnTo>
                    <a:pt x="761" y="111"/>
                  </a:lnTo>
                  <a:lnTo>
                    <a:pt x="765" y="120"/>
                  </a:lnTo>
                  <a:lnTo>
                    <a:pt x="771" y="128"/>
                  </a:lnTo>
                  <a:lnTo>
                    <a:pt x="776" y="135"/>
                  </a:lnTo>
                  <a:lnTo>
                    <a:pt x="782" y="143"/>
                  </a:lnTo>
                  <a:lnTo>
                    <a:pt x="784" y="151"/>
                  </a:lnTo>
                  <a:lnTo>
                    <a:pt x="786" y="158"/>
                  </a:lnTo>
                  <a:lnTo>
                    <a:pt x="786" y="158"/>
                  </a:lnTo>
                  <a:lnTo>
                    <a:pt x="784" y="162"/>
                  </a:lnTo>
                  <a:lnTo>
                    <a:pt x="780" y="170"/>
                  </a:lnTo>
                  <a:lnTo>
                    <a:pt x="776" y="177"/>
                  </a:lnTo>
                  <a:lnTo>
                    <a:pt x="769" y="187"/>
                  </a:lnTo>
                  <a:lnTo>
                    <a:pt x="759" y="197"/>
                  </a:lnTo>
                  <a:lnTo>
                    <a:pt x="750" y="204"/>
                  </a:lnTo>
                  <a:lnTo>
                    <a:pt x="738" y="210"/>
                  </a:lnTo>
                  <a:lnTo>
                    <a:pt x="727" y="212"/>
                  </a:lnTo>
                  <a:lnTo>
                    <a:pt x="727" y="212"/>
                  </a:lnTo>
                  <a:lnTo>
                    <a:pt x="717" y="212"/>
                  </a:lnTo>
                  <a:lnTo>
                    <a:pt x="709" y="212"/>
                  </a:lnTo>
                  <a:lnTo>
                    <a:pt x="700" y="210"/>
                  </a:lnTo>
                  <a:lnTo>
                    <a:pt x="692" y="208"/>
                  </a:lnTo>
                  <a:lnTo>
                    <a:pt x="687" y="206"/>
                  </a:lnTo>
                  <a:lnTo>
                    <a:pt x="679" y="202"/>
                  </a:lnTo>
                  <a:lnTo>
                    <a:pt x="673" y="200"/>
                  </a:lnTo>
                  <a:lnTo>
                    <a:pt x="666" y="197"/>
                  </a:lnTo>
                  <a:lnTo>
                    <a:pt x="660" y="195"/>
                  </a:lnTo>
                  <a:lnTo>
                    <a:pt x="654" y="191"/>
                  </a:lnTo>
                  <a:lnTo>
                    <a:pt x="647" y="187"/>
                  </a:lnTo>
                  <a:lnTo>
                    <a:pt x="641" y="183"/>
                  </a:lnTo>
                  <a:lnTo>
                    <a:pt x="635" y="179"/>
                  </a:lnTo>
                  <a:lnTo>
                    <a:pt x="627" y="177"/>
                  </a:lnTo>
                  <a:lnTo>
                    <a:pt x="622" y="174"/>
                  </a:lnTo>
                  <a:lnTo>
                    <a:pt x="614" y="172"/>
                  </a:lnTo>
                  <a:lnTo>
                    <a:pt x="614" y="172"/>
                  </a:lnTo>
                  <a:lnTo>
                    <a:pt x="608" y="168"/>
                  </a:lnTo>
                  <a:lnTo>
                    <a:pt x="603" y="166"/>
                  </a:lnTo>
                  <a:lnTo>
                    <a:pt x="599" y="162"/>
                  </a:lnTo>
                  <a:lnTo>
                    <a:pt x="593" y="158"/>
                  </a:lnTo>
                  <a:lnTo>
                    <a:pt x="587" y="156"/>
                  </a:lnTo>
                  <a:lnTo>
                    <a:pt x="582" y="153"/>
                  </a:lnTo>
                  <a:lnTo>
                    <a:pt x="574" y="151"/>
                  </a:lnTo>
                  <a:lnTo>
                    <a:pt x="568" y="147"/>
                  </a:lnTo>
                  <a:lnTo>
                    <a:pt x="568" y="147"/>
                  </a:lnTo>
                  <a:lnTo>
                    <a:pt x="563" y="147"/>
                  </a:lnTo>
                  <a:lnTo>
                    <a:pt x="557" y="145"/>
                  </a:lnTo>
                  <a:lnTo>
                    <a:pt x="553" y="145"/>
                  </a:lnTo>
                  <a:lnTo>
                    <a:pt x="545" y="145"/>
                  </a:lnTo>
                  <a:lnTo>
                    <a:pt x="540" y="143"/>
                  </a:lnTo>
                  <a:lnTo>
                    <a:pt x="534" y="143"/>
                  </a:lnTo>
                  <a:lnTo>
                    <a:pt x="528" y="143"/>
                  </a:lnTo>
                  <a:lnTo>
                    <a:pt x="523" y="143"/>
                  </a:lnTo>
                  <a:lnTo>
                    <a:pt x="515" y="143"/>
                  </a:lnTo>
                  <a:lnTo>
                    <a:pt x="509" y="143"/>
                  </a:lnTo>
                  <a:lnTo>
                    <a:pt x="503" y="143"/>
                  </a:lnTo>
                  <a:lnTo>
                    <a:pt x="498" y="141"/>
                  </a:lnTo>
                  <a:lnTo>
                    <a:pt x="492" y="141"/>
                  </a:lnTo>
                  <a:lnTo>
                    <a:pt x="488" y="139"/>
                  </a:lnTo>
                  <a:lnTo>
                    <a:pt x="482" y="137"/>
                  </a:lnTo>
                  <a:lnTo>
                    <a:pt x="479" y="135"/>
                  </a:lnTo>
                  <a:lnTo>
                    <a:pt x="479" y="135"/>
                  </a:lnTo>
                  <a:lnTo>
                    <a:pt x="471" y="130"/>
                  </a:lnTo>
                  <a:lnTo>
                    <a:pt x="465" y="124"/>
                  </a:lnTo>
                  <a:lnTo>
                    <a:pt x="460" y="120"/>
                  </a:lnTo>
                  <a:lnTo>
                    <a:pt x="456" y="115"/>
                  </a:lnTo>
                  <a:lnTo>
                    <a:pt x="454" y="109"/>
                  </a:lnTo>
                  <a:lnTo>
                    <a:pt x="450" y="103"/>
                  </a:lnTo>
                  <a:lnTo>
                    <a:pt x="450" y="97"/>
                  </a:lnTo>
                  <a:lnTo>
                    <a:pt x="448" y="94"/>
                  </a:lnTo>
                  <a:lnTo>
                    <a:pt x="448" y="88"/>
                  </a:lnTo>
                  <a:lnTo>
                    <a:pt x="446" y="82"/>
                  </a:lnTo>
                  <a:lnTo>
                    <a:pt x="446" y="76"/>
                  </a:lnTo>
                  <a:lnTo>
                    <a:pt x="444" y="71"/>
                  </a:lnTo>
                  <a:lnTo>
                    <a:pt x="442" y="67"/>
                  </a:lnTo>
                  <a:lnTo>
                    <a:pt x="441" y="61"/>
                  </a:lnTo>
                  <a:lnTo>
                    <a:pt x="437" y="55"/>
                  </a:lnTo>
                  <a:lnTo>
                    <a:pt x="431" y="50"/>
                  </a:lnTo>
                  <a:lnTo>
                    <a:pt x="431" y="50"/>
                  </a:lnTo>
                  <a:lnTo>
                    <a:pt x="429" y="48"/>
                  </a:lnTo>
                  <a:lnTo>
                    <a:pt x="423" y="46"/>
                  </a:lnTo>
                  <a:lnTo>
                    <a:pt x="418" y="42"/>
                  </a:lnTo>
                  <a:lnTo>
                    <a:pt x="410" y="38"/>
                  </a:lnTo>
                  <a:lnTo>
                    <a:pt x="402" y="36"/>
                  </a:lnTo>
                  <a:lnTo>
                    <a:pt x="393" y="32"/>
                  </a:lnTo>
                  <a:lnTo>
                    <a:pt x="383" y="29"/>
                  </a:lnTo>
                  <a:lnTo>
                    <a:pt x="374" y="27"/>
                  </a:lnTo>
                  <a:lnTo>
                    <a:pt x="364" y="23"/>
                  </a:lnTo>
                  <a:lnTo>
                    <a:pt x="355" y="21"/>
                  </a:lnTo>
                  <a:lnTo>
                    <a:pt x="345" y="17"/>
                  </a:lnTo>
                  <a:lnTo>
                    <a:pt x="336" y="15"/>
                  </a:lnTo>
                  <a:lnTo>
                    <a:pt x="328" y="13"/>
                  </a:lnTo>
                  <a:lnTo>
                    <a:pt x="320" y="13"/>
                  </a:lnTo>
                  <a:lnTo>
                    <a:pt x="315" y="11"/>
                  </a:lnTo>
                  <a:lnTo>
                    <a:pt x="311" y="11"/>
                  </a:lnTo>
                  <a:lnTo>
                    <a:pt x="311" y="11"/>
                  </a:lnTo>
                  <a:lnTo>
                    <a:pt x="303" y="11"/>
                  </a:lnTo>
                  <a:lnTo>
                    <a:pt x="297" y="15"/>
                  </a:lnTo>
                  <a:lnTo>
                    <a:pt x="292" y="17"/>
                  </a:lnTo>
                  <a:lnTo>
                    <a:pt x="288" y="21"/>
                  </a:lnTo>
                  <a:lnTo>
                    <a:pt x="282" y="23"/>
                  </a:lnTo>
                  <a:lnTo>
                    <a:pt x="276" y="27"/>
                  </a:lnTo>
                  <a:lnTo>
                    <a:pt x="271" y="29"/>
                  </a:lnTo>
                  <a:lnTo>
                    <a:pt x="263" y="29"/>
                  </a:lnTo>
                  <a:lnTo>
                    <a:pt x="263" y="29"/>
                  </a:lnTo>
                  <a:lnTo>
                    <a:pt x="255" y="29"/>
                  </a:lnTo>
                  <a:lnTo>
                    <a:pt x="250" y="29"/>
                  </a:lnTo>
                  <a:lnTo>
                    <a:pt x="244" y="27"/>
                  </a:lnTo>
                  <a:lnTo>
                    <a:pt x="238" y="27"/>
                  </a:lnTo>
                  <a:lnTo>
                    <a:pt x="233" y="25"/>
                  </a:lnTo>
                  <a:lnTo>
                    <a:pt x="227" y="23"/>
                  </a:lnTo>
                  <a:lnTo>
                    <a:pt x="223" y="21"/>
                  </a:lnTo>
                  <a:lnTo>
                    <a:pt x="217" y="19"/>
                  </a:lnTo>
                  <a:lnTo>
                    <a:pt x="214" y="15"/>
                  </a:lnTo>
                  <a:lnTo>
                    <a:pt x="208" y="13"/>
                  </a:lnTo>
                  <a:lnTo>
                    <a:pt x="204" y="11"/>
                  </a:lnTo>
                  <a:lnTo>
                    <a:pt x="198" y="10"/>
                  </a:lnTo>
                  <a:lnTo>
                    <a:pt x="194" y="6"/>
                  </a:lnTo>
                  <a:lnTo>
                    <a:pt x="189" y="4"/>
                  </a:lnTo>
                  <a:lnTo>
                    <a:pt x="183" y="2"/>
                  </a:lnTo>
                  <a:lnTo>
                    <a:pt x="177" y="0"/>
                  </a:lnTo>
                  <a:lnTo>
                    <a:pt x="177" y="0"/>
                  </a:lnTo>
                  <a:lnTo>
                    <a:pt x="177" y="8"/>
                  </a:lnTo>
                  <a:lnTo>
                    <a:pt x="177" y="13"/>
                  </a:lnTo>
                  <a:lnTo>
                    <a:pt x="175" y="17"/>
                  </a:lnTo>
                  <a:lnTo>
                    <a:pt x="173" y="21"/>
                  </a:lnTo>
                  <a:lnTo>
                    <a:pt x="172" y="25"/>
                  </a:lnTo>
                  <a:lnTo>
                    <a:pt x="173" y="29"/>
                  </a:lnTo>
                  <a:lnTo>
                    <a:pt x="173" y="34"/>
                  </a:lnTo>
                  <a:lnTo>
                    <a:pt x="177" y="40"/>
                  </a:lnTo>
                  <a:lnTo>
                    <a:pt x="177" y="40"/>
                  </a:lnTo>
                  <a:lnTo>
                    <a:pt x="173" y="44"/>
                  </a:lnTo>
                  <a:lnTo>
                    <a:pt x="166" y="48"/>
                  </a:lnTo>
                  <a:lnTo>
                    <a:pt x="160" y="52"/>
                  </a:lnTo>
                  <a:lnTo>
                    <a:pt x="152" y="55"/>
                  </a:lnTo>
                  <a:lnTo>
                    <a:pt x="143" y="61"/>
                  </a:lnTo>
                  <a:lnTo>
                    <a:pt x="135" y="67"/>
                  </a:lnTo>
                  <a:lnTo>
                    <a:pt x="128" y="73"/>
                  </a:lnTo>
                  <a:lnTo>
                    <a:pt x="118" y="78"/>
                  </a:lnTo>
                  <a:lnTo>
                    <a:pt x="111" y="84"/>
                  </a:lnTo>
                  <a:lnTo>
                    <a:pt x="103" y="90"/>
                  </a:lnTo>
                  <a:lnTo>
                    <a:pt x="95" y="95"/>
                  </a:lnTo>
                  <a:lnTo>
                    <a:pt x="90" y="103"/>
                  </a:lnTo>
                  <a:lnTo>
                    <a:pt x="84" y="109"/>
                  </a:lnTo>
                  <a:lnTo>
                    <a:pt x="80" y="113"/>
                  </a:lnTo>
                  <a:lnTo>
                    <a:pt x="78" y="118"/>
                  </a:lnTo>
                  <a:lnTo>
                    <a:pt x="78" y="124"/>
                  </a:lnTo>
                  <a:lnTo>
                    <a:pt x="78" y="124"/>
                  </a:lnTo>
                  <a:lnTo>
                    <a:pt x="78" y="130"/>
                  </a:lnTo>
                  <a:lnTo>
                    <a:pt x="76" y="135"/>
                  </a:lnTo>
                  <a:lnTo>
                    <a:pt x="76" y="139"/>
                  </a:lnTo>
                  <a:lnTo>
                    <a:pt x="76" y="143"/>
                  </a:lnTo>
                  <a:lnTo>
                    <a:pt x="76" y="145"/>
                  </a:lnTo>
                  <a:lnTo>
                    <a:pt x="76" y="149"/>
                  </a:lnTo>
                  <a:lnTo>
                    <a:pt x="76" y="151"/>
                  </a:lnTo>
                  <a:lnTo>
                    <a:pt x="78" y="153"/>
                  </a:lnTo>
                  <a:lnTo>
                    <a:pt x="78" y="153"/>
                  </a:lnTo>
                  <a:lnTo>
                    <a:pt x="80" y="158"/>
                  </a:lnTo>
                  <a:lnTo>
                    <a:pt x="80" y="166"/>
                  </a:lnTo>
                  <a:lnTo>
                    <a:pt x="80" y="172"/>
                  </a:lnTo>
                  <a:lnTo>
                    <a:pt x="78" y="177"/>
                  </a:lnTo>
                  <a:lnTo>
                    <a:pt x="74" y="181"/>
                  </a:lnTo>
                  <a:lnTo>
                    <a:pt x="70" y="187"/>
                  </a:lnTo>
                  <a:lnTo>
                    <a:pt x="67" y="193"/>
                  </a:lnTo>
                  <a:lnTo>
                    <a:pt x="63" y="197"/>
                  </a:lnTo>
                  <a:lnTo>
                    <a:pt x="57" y="200"/>
                  </a:lnTo>
                  <a:lnTo>
                    <a:pt x="51" y="204"/>
                  </a:lnTo>
                  <a:lnTo>
                    <a:pt x="44" y="208"/>
                  </a:lnTo>
                  <a:lnTo>
                    <a:pt x="38" y="212"/>
                  </a:lnTo>
                  <a:lnTo>
                    <a:pt x="32" y="216"/>
                  </a:lnTo>
                  <a:lnTo>
                    <a:pt x="25" y="218"/>
                  </a:lnTo>
                  <a:lnTo>
                    <a:pt x="19" y="219"/>
                  </a:lnTo>
                  <a:lnTo>
                    <a:pt x="13" y="221"/>
                  </a:lnTo>
                  <a:lnTo>
                    <a:pt x="13" y="221"/>
                  </a:lnTo>
                  <a:lnTo>
                    <a:pt x="17" y="227"/>
                  </a:lnTo>
                  <a:lnTo>
                    <a:pt x="19" y="233"/>
                  </a:lnTo>
                  <a:lnTo>
                    <a:pt x="21" y="239"/>
                  </a:lnTo>
                  <a:lnTo>
                    <a:pt x="25" y="244"/>
                  </a:lnTo>
                  <a:lnTo>
                    <a:pt x="27" y="250"/>
                  </a:lnTo>
                  <a:lnTo>
                    <a:pt x="30" y="256"/>
                  </a:lnTo>
                  <a:lnTo>
                    <a:pt x="32" y="261"/>
                  </a:lnTo>
                  <a:lnTo>
                    <a:pt x="34" y="269"/>
                  </a:lnTo>
                  <a:lnTo>
                    <a:pt x="36" y="275"/>
                  </a:lnTo>
                  <a:lnTo>
                    <a:pt x="38" y="280"/>
                  </a:lnTo>
                  <a:lnTo>
                    <a:pt x="40" y="288"/>
                  </a:lnTo>
                  <a:lnTo>
                    <a:pt x="42" y="294"/>
                  </a:lnTo>
                  <a:lnTo>
                    <a:pt x="44" y="301"/>
                  </a:lnTo>
                  <a:lnTo>
                    <a:pt x="44" y="307"/>
                  </a:lnTo>
                  <a:lnTo>
                    <a:pt x="44" y="315"/>
                  </a:lnTo>
                  <a:lnTo>
                    <a:pt x="44" y="322"/>
                  </a:lnTo>
                  <a:lnTo>
                    <a:pt x="44" y="322"/>
                  </a:lnTo>
                  <a:lnTo>
                    <a:pt x="44" y="330"/>
                  </a:lnTo>
                  <a:lnTo>
                    <a:pt x="44" y="338"/>
                  </a:lnTo>
                  <a:lnTo>
                    <a:pt x="44" y="343"/>
                  </a:lnTo>
                  <a:lnTo>
                    <a:pt x="44" y="349"/>
                  </a:lnTo>
                  <a:lnTo>
                    <a:pt x="44" y="355"/>
                  </a:lnTo>
                  <a:lnTo>
                    <a:pt x="44" y="359"/>
                  </a:lnTo>
                  <a:lnTo>
                    <a:pt x="44" y="364"/>
                  </a:lnTo>
                  <a:lnTo>
                    <a:pt x="44" y="368"/>
                  </a:lnTo>
                  <a:lnTo>
                    <a:pt x="44" y="372"/>
                  </a:lnTo>
                  <a:lnTo>
                    <a:pt x="44" y="376"/>
                  </a:lnTo>
                  <a:lnTo>
                    <a:pt x="44" y="380"/>
                  </a:lnTo>
                  <a:lnTo>
                    <a:pt x="44" y="385"/>
                  </a:lnTo>
                  <a:lnTo>
                    <a:pt x="44" y="389"/>
                  </a:lnTo>
                  <a:lnTo>
                    <a:pt x="44" y="395"/>
                  </a:lnTo>
                  <a:lnTo>
                    <a:pt x="44" y="401"/>
                  </a:lnTo>
                  <a:lnTo>
                    <a:pt x="44" y="408"/>
                  </a:lnTo>
                  <a:lnTo>
                    <a:pt x="44" y="408"/>
                  </a:lnTo>
                  <a:lnTo>
                    <a:pt x="44" y="410"/>
                  </a:lnTo>
                  <a:lnTo>
                    <a:pt x="44" y="414"/>
                  </a:lnTo>
                  <a:lnTo>
                    <a:pt x="40" y="420"/>
                  </a:lnTo>
                  <a:lnTo>
                    <a:pt x="38" y="424"/>
                  </a:lnTo>
                  <a:lnTo>
                    <a:pt x="36" y="429"/>
                  </a:lnTo>
                  <a:lnTo>
                    <a:pt x="34" y="433"/>
                  </a:lnTo>
                  <a:lnTo>
                    <a:pt x="34" y="439"/>
                  </a:lnTo>
                  <a:lnTo>
                    <a:pt x="32" y="443"/>
                  </a:lnTo>
                  <a:lnTo>
                    <a:pt x="32" y="443"/>
                  </a:lnTo>
                  <a:lnTo>
                    <a:pt x="34" y="448"/>
                  </a:lnTo>
                  <a:lnTo>
                    <a:pt x="34" y="454"/>
                  </a:lnTo>
                  <a:lnTo>
                    <a:pt x="36" y="460"/>
                  </a:lnTo>
                  <a:lnTo>
                    <a:pt x="38" y="464"/>
                  </a:lnTo>
                  <a:lnTo>
                    <a:pt x="40" y="467"/>
                  </a:lnTo>
                  <a:lnTo>
                    <a:pt x="42" y="473"/>
                  </a:lnTo>
                  <a:lnTo>
                    <a:pt x="44" y="479"/>
                  </a:lnTo>
                  <a:lnTo>
                    <a:pt x="44" y="485"/>
                  </a:lnTo>
                  <a:lnTo>
                    <a:pt x="44" y="485"/>
                  </a:lnTo>
                  <a:lnTo>
                    <a:pt x="40" y="490"/>
                  </a:lnTo>
                  <a:lnTo>
                    <a:pt x="34" y="496"/>
                  </a:lnTo>
                  <a:lnTo>
                    <a:pt x="27" y="500"/>
                  </a:lnTo>
                  <a:lnTo>
                    <a:pt x="19" y="504"/>
                  </a:lnTo>
                  <a:lnTo>
                    <a:pt x="11" y="508"/>
                  </a:lnTo>
                  <a:lnTo>
                    <a:pt x="6" y="511"/>
                  </a:lnTo>
                  <a:lnTo>
                    <a:pt x="2" y="517"/>
                  </a:lnTo>
                  <a:lnTo>
                    <a:pt x="0" y="523"/>
                  </a:lnTo>
                  <a:lnTo>
                    <a:pt x="0" y="523"/>
                  </a:lnTo>
                  <a:lnTo>
                    <a:pt x="2" y="528"/>
                  </a:lnTo>
                  <a:lnTo>
                    <a:pt x="2" y="532"/>
                  </a:lnTo>
                  <a:lnTo>
                    <a:pt x="4" y="538"/>
                  </a:lnTo>
                  <a:lnTo>
                    <a:pt x="8" y="546"/>
                  </a:lnTo>
                  <a:lnTo>
                    <a:pt x="11" y="551"/>
                  </a:lnTo>
                  <a:lnTo>
                    <a:pt x="15" y="559"/>
                  </a:lnTo>
                  <a:lnTo>
                    <a:pt x="19" y="567"/>
                  </a:lnTo>
                  <a:lnTo>
                    <a:pt x="23" y="574"/>
                  </a:lnTo>
                  <a:lnTo>
                    <a:pt x="27" y="582"/>
                  </a:lnTo>
                  <a:lnTo>
                    <a:pt x="32" y="590"/>
                  </a:lnTo>
                  <a:lnTo>
                    <a:pt x="36" y="597"/>
                  </a:lnTo>
                  <a:lnTo>
                    <a:pt x="40" y="603"/>
                  </a:lnTo>
                  <a:lnTo>
                    <a:pt x="44" y="611"/>
                  </a:lnTo>
                  <a:lnTo>
                    <a:pt x="48" y="616"/>
                  </a:lnTo>
                  <a:lnTo>
                    <a:pt x="51" y="622"/>
                  </a:lnTo>
                  <a:lnTo>
                    <a:pt x="53" y="626"/>
                  </a:lnTo>
                  <a:lnTo>
                    <a:pt x="53" y="626"/>
                  </a:lnTo>
                  <a:lnTo>
                    <a:pt x="55" y="630"/>
                  </a:lnTo>
                  <a:lnTo>
                    <a:pt x="57" y="633"/>
                  </a:lnTo>
                  <a:lnTo>
                    <a:pt x="57" y="637"/>
                  </a:lnTo>
                  <a:lnTo>
                    <a:pt x="59" y="641"/>
                  </a:lnTo>
                  <a:lnTo>
                    <a:pt x="59" y="645"/>
                  </a:lnTo>
                  <a:lnTo>
                    <a:pt x="61" y="649"/>
                  </a:lnTo>
                  <a:lnTo>
                    <a:pt x="63" y="652"/>
                  </a:lnTo>
                  <a:lnTo>
                    <a:pt x="67" y="656"/>
                  </a:lnTo>
                  <a:lnTo>
                    <a:pt x="67" y="656"/>
                  </a:lnTo>
                  <a:lnTo>
                    <a:pt x="69" y="656"/>
                  </a:lnTo>
                  <a:lnTo>
                    <a:pt x="70" y="656"/>
                  </a:lnTo>
                  <a:lnTo>
                    <a:pt x="74" y="656"/>
                  </a:lnTo>
                  <a:lnTo>
                    <a:pt x="76" y="656"/>
                  </a:lnTo>
                  <a:lnTo>
                    <a:pt x="78" y="654"/>
                  </a:lnTo>
                  <a:lnTo>
                    <a:pt x="82" y="654"/>
                  </a:lnTo>
                  <a:lnTo>
                    <a:pt x="84" y="652"/>
                  </a:lnTo>
                  <a:lnTo>
                    <a:pt x="86" y="652"/>
                  </a:lnTo>
                  <a:lnTo>
                    <a:pt x="86" y="652"/>
                  </a:lnTo>
                  <a:lnTo>
                    <a:pt x="95" y="654"/>
                  </a:lnTo>
                  <a:lnTo>
                    <a:pt x="103" y="656"/>
                  </a:lnTo>
                  <a:lnTo>
                    <a:pt x="111" y="660"/>
                  </a:lnTo>
                  <a:lnTo>
                    <a:pt x="118" y="664"/>
                  </a:lnTo>
                  <a:lnTo>
                    <a:pt x="124" y="668"/>
                  </a:lnTo>
                  <a:lnTo>
                    <a:pt x="131" y="672"/>
                  </a:lnTo>
                  <a:lnTo>
                    <a:pt x="139" y="675"/>
                  </a:lnTo>
                  <a:lnTo>
                    <a:pt x="149" y="677"/>
                  </a:lnTo>
                  <a:lnTo>
                    <a:pt x="149" y="677"/>
                  </a:lnTo>
                  <a:lnTo>
                    <a:pt x="149" y="683"/>
                  </a:lnTo>
                  <a:lnTo>
                    <a:pt x="151" y="687"/>
                  </a:lnTo>
                  <a:lnTo>
                    <a:pt x="152" y="693"/>
                  </a:lnTo>
                  <a:lnTo>
                    <a:pt x="154" y="696"/>
                  </a:lnTo>
                  <a:lnTo>
                    <a:pt x="156" y="702"/>
                  </a:lnTo>
                  <a:lnTo>
                    <a:pt x="160" y="706"/>
                  </a:lnTo>
                  <a:lnTo>
                    <a:pt x="162" y="710"/>
                  </a:lnTo>
                  <a:lnTo>
                    <a:pt x="166" y="712"/>
                  </a:lnTo>
                  <a:lnTo>
                    <a:pt x="170" y="715"/>
                  </a:lnTo>
                  <a:lnTo>
                    <a:pt x="172" y="719"/>
                  </a:lnTo>
                  <a:lnTo>
                    <a:pt x="175" y="723"/>
                  </a:lnTo>
                  <a:lnTo>
                    <a:pt x="179" y="729"/>
                  </a:lnTo>
                  <a:lnTo>
                    <a:pt x="181" y="733"/>
                  </a:lnTo>
                  <a:lnTo>
                    <a:pt x="183" y="736"/>
                  </a:lnTo>
                  <a:lnTo>
                    <a:pt x="185" y="742"/>
                  </a:lnTo>
                  <a:lnTo>
                    <a:pt x="187" y="748"/>
                  </a:lnTo>
                  <a:lnTo>
                    <a:pt x="187" y="748"/>
                  </a:lnTo>
                  <a:lnTo>
                    <a:pt x="194" y="748"/>
                  </a:lnTo>
                  <a:lnTo>
                    <a:pt x="204" y="748"/>
                  </a:lnTo>
                  <a:lnTo>
                    <a:pt x="212" y="750"/>
                  </a:lnTo>
                  <a:lnTo>
                    <a:pt x="219" y="750"/>
                  </a:lnTo>
                  <a:lnTo>
                    <a:pt x="227" y="752"/>
                  </a:lnTo>
                  <a:lnTo>
                    <a:pt x="233" y="754"/>
                  </a:lnTo>
                  <a:lnTo>
                    <a:pt x="240" y="756"/>
                  </a:lnTo>
                  <a:lnTo>
                    <a:pt x="246" y="757"/>
                  </a:lnTo>
                  <a:lnTo>
                    <a:pt x="252" y="759"/>
                  </a:lnTo>
                  <a:lnTo>
                    <a:pt x="257" y="761"/>
                  </a:lnTo>
                  <a:lnTo>
                    <a:pt x="263" y="763"/>
                  </a:lnTo>
                  <a:lnTo>
                    <a:pt x="271" y="767"/>
                  </a:lnTo>
                  <a:lnTo>
                    <a:pt x="276" y="769"/>
                  </a:lnTo>
                  <a:lnTo>
                    <a:pt x="282" y="773"/>
                  </a:lnTo>
                  <a:lnTo>
                    <a:pt x="290" y="775"/>
                  </a:lnTo>
                  <a:lnTo>
                    <a:pt x="296" y="776"/>
                  </a:lnTo>
                  <a:lnTo>
                    <a:pt x="296" y="776"/>
                  </a:lnTo>
                  <a:lnTo>
                    <a:pt x="303" y="780"/>
                  </a:lnTo>
                  <a:lnTo>
                    <a:pt x="309" y="786"/>
                  </a:lnTo>
                  <a:lnTo>
                    <a:pt x="315" y="792"/>
                  </a:lnTo>
                  <a:lnTo>
                    <a:pt x="320" y="797"/>
                  </a:lnTo>
                  <a:lnTo>
                    <a:pt x="324" y="803"/>
                  </a:lnTo>
                  <a:lnTo>
                    <a:pt x="332" y="809"/>
                  </a:lnTo>
                  <a:lnTo>
                    <a:pt x="338" y="811"/>
                  </a:lnTo>
                  <a:lnTo>
                    <a:pt x="345" y="813"/>
                  </a:lnTo>
                  <a:lnTo>
                    <a:pt x="345" y="813"/>
                  </a:lnTo>
                  <a:lnTo>
                    <a:pt x="355" y="813"/>
                  </a:lnTo>
                  <a:lnTo>
                    <a:pt x="362" y="809"/>
                  </a:lnTo>
                  <a:lnTo>
                    <a:pt x="372" y="807"/>
                  </a:lnTo>
                  <a:lnTo>
                    <a:pt x="381" y="803"/>
                  </a:lnTo>
                  <a:lnTo>
                    <a:pt x="391" y="799"/>
                  </a:lnTo>
                  <a:lnTo>
                    <a:pt x="399" y="794"/>
                  </a:lnTo>
                  <a:lnTo>
                    <a:pt x="406" y="790"/>
                  </a:lnTo>
                  <a:lnTo>
                    <a:pt x="410" y="786"/>
                  </a:lnTo>
                  <a:lnTo>
                    <a:pt x="484" y="744"/>
                  </a:lnTo>
                  <a:lnTo>
                    <a:pt x="1091" y="1051"/>
                  </a:lnTo>
                  <a:lnTo>
                    <a:pt x="1091" y="1051"/>
                  </a:lnTo>
                  <a:lnTo>
                    <a:pt x="1089" y="1015"/>
                  </a:lnTo>
                  <a:lnTo>
                    <a:pt x="1163" y="1015"/>
                  </a:lnTo>
                  <a:lnTo>
                    <a:pt x="1154" y="857"/>
                  </a:lnTo>
                  <a:lnTo>
                    <a:pt x="1125" y="280"/>
                  </a:lnTo>
                  <a:lnTo>
                    <a:pt x="1125" y="280"/>
                  </a:lnTo>
                  <a:lnTo>
                    <a:pt x="1123" y="275"/>
                  </a:lnTo>
                  <a:lnTo>
                    <a:pt x="1122" y="269"/>
                  </a:lnTo>
                  <a:lnTo>
                    <a:pt x="1120" y="263"/>
                  </a:lnTo>
                  <a:lnTo>
                    <a:pt x="1116" y="256"/>
                  </a:lnTo>
                  <a:lnTo>
                    <a:pt x="1112" y="248"/>
                  </a:lnTo>
                  <a:lnTo>
                    <a:pt x="1110" y="239"/>
                  </a:lnTo>
                  <a:lnTo>
                    <a:pt x="1108" y="231"/>
                  </a:lnTo>
                  <a:lnTo>
                    <a:pt x="1106" y="221"/>
                  </a:lnTo>
                  <a:lnTo>
                    <a:pt x="1106" y="221"/>
                  </a:lnTo>
                  <a:lnTo>
                    <a:pt x="1108" y="216"/>
                  </a:lnTo>
                  <a:lnTo>
                    <a:pt x="1110" y="210"/>
                  </a:lnTo>
                  <a:lnTo>
                    <a:pt x="1112" y="204"/>
                  </a:lnTo>
                  <a:lnTo>
                    <a:pt x="1116" y="200"/>
                  </a:lnTo>
                  <a:lnTo>
                    <a:pt x="1120" y="197"/>
                  </a:lnTo>
                  <a:lnTo>
                    <a:pt x="1122" y="191"/>
                  </a:lnTo>
                  <a:lnTo>
                    <a:pt x="1123" y="185"/>
                  </a:lnTo>
                  <a:lnTo>
                    <a:pt x="1125" y="177"/>
                  </a:lnTo>
                  <a:lnTo>
                    <a:pt x="1125" y="177"/>
                  </a:lnTo>
                  <a:lnTo>
                    <a:pt x="1123" y="172"/>
                  </a:lnTo>
                  <a:lnTo>
                    <a:pt x="1122" y="166"/>
                  </a:lnTo>
                  <a:lnTo>
                    <a:pt x="1120" y="160"/>
                  </a:lnTo>
                  <a:lnTo>
                    <a:pt x="1116" y="156"/>
                  </a:lnTo>
                  <a:lnTo>
                    <a:pt x="1112" y="153"/>
                  </a:lnTo>
                  <a:lnTo>
                    <a:pt x="1110" y="147"/>
                  </a:lnTo>
                  <a:lnTo>
                    <a:pt x="1108" y="141"/>
                  </a:lnTo>
                  <a:lnTo>
                    <a:pt x="1106" y="135"/>
                  </a:lnTo>
                  <a:lnTo>
                    <a:pt x="1106" y="135"/>
                  </a:lnTo>
                  <a:lnTo>
                    <a:pt x="1108" y="130"/>
                  </a:lnTo>
                  <a:lnTo>
                    <a:pt x="1108" y="124"/>
                  </a:lnTo>
                  <a:lnTo>
                    <a:pt x="1110" y="120"/>
                  </a:lnTo>
                  <a:lnTo>
                    <a:pt x="1112" y="116"/>
                  </a:lnTo>
                  <a:lnTo>
                    <a:pt x="1116" y="115"/>
                  </a:lnTo>
                  <a:lnTo>
                    <a:pt x="1120" y="113"/>
                  </a:lnTo>
                  <a:lnTo>
                    <a:pt x="1125" y="111"/>
                  </a:lnTo>
                  <a:lnTo>
                    <a:pt x="1131" y="111"/>
                  </a:lnTo>
                  <a:lnTo>
                    <a:pt x="1125" y="10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11" name="Freeform 155"/>
            <p:cNvSpPr>
              <a:spLocks/>
            </p:cNvSpPr>
            <p:nvPr/>
          </p:nvSpPr>
          <p:spPr bwMode="gray">
            <a:xfrm>
              <a:off x="2113" y="2568"/>
              <a:ext cx="30" cy="49"/>
            </a:xfrm>
            <a:custGeom>
              <a:avLst/>
              <a:gdLst/>
              <a:ahLst/>
              <a:cxnLst>
                <a:cxn ang="0">
                  <a:pos x="0" y="88"/>
                </a:cxn>
                <a:cxn ang="0">
                  <a:pos x="8" y="86"/>
                </a:cxn>
                <a:cxn ang="0">
                  <a:pos x="12" y="81"/>
                </a:cxn>
                <a:cxn ang="0">
                  <a:pos x="15" y="75"/>
                </a:cxn>
                <a:cxn ang="0">
                  <a:pos x="15" y="65"/>
                </a:cxn>
                <a:cxn ang="0">
                  <a:pos x="15" y="56"/>
                </a:cxn>
                <a:cxn ang="0">
                  <a:pos x="15" y="46"/>
                </a:cxn>
                <a:cxn ang="0">
                  <a:pos x="15" y="37"/>
                </a:cxn>
                <a:cxn ang="0">
                  <a:pos x="17" y="29"/>
                </a:cxn>
                <a:cxn ang="0">
                  <a:pos x="21" y="23"/>
                </a:cxn>
                <a:cxn ang="0">
                  <a:pos x="25" y="20"/>
                </a:cxn>
                <a:cxn ang="0">
                  <a:pos x="29" y="16"/>
                </a:cxn>
                <a:cxn ang="0">
                  <a:pos x="34" y="14"/>
                </a:cxn>
                <a:cxn ang="0">
                  <a:pos x="38" y="10"/>
                </a:cxn>
                <a:cxn ang="0">
                  <a:pos x="44" y="8"/>
                </a:cxn>
                <a:cxn ang="0">
                  <a:pos x="48" y="4"/>
                </a:cxn>
                <a:cxn ang="0">
                  <a:pos x="52" y="0"/>
                </a:cxn>
                <a:cxn ang="0">
                  <a:pos x="0" y="88"/>
                </a:cxn>
              </a:cxnLst>
              <a:rect l="0" t="0" r="r" b="b"/>
              <a:pathLst>
                <a:path w="52" h="88">
                  <a:moveTo>
                    <a:pt x="0" y="88"/>
                  </a:moveTo>
                  <a:lnTo>
                    <a:pt x="8" y="86"/>
                  </a:lnTo>
                  <a:lnTo>
                    <a:pt x="12" y="81"/>
                  </a:lnTo>
                  <a:lnTo>
                    <a:pt x="15" y="75"/>
                  </a:lnTo>
                  <a:lnTo>
                    <a:pt x="15" y="65"/>
                  </a:lnTo>
                  <a:lnTo>
                    <a:pt x="15" y="56"/>
                  </a:lnTo>
                  <a:lnTo>
                    <a:pt x="15" y="46"/>
                  </a:lnTo>
                  <a:lnTo>
                    <a:pt x="15" y="37"/>
                  </a:lnTo>
                  <a:lnTo>
                    <a:pt x="17" y="29"/>
                  </a:lnTo>
                  <a:lnTo>
                    <a:pt x="21" y="23"/>
                  </a:lnTo>
                  <a:lnTo>
                    <a:pt x="25" y="20"/>
                  </a:lnTo>
                  <a:lnTo>
                    <a:pt x="29" y="16"/>
                  </a:lnTo>
                  <a:lnTo>
                    <a:pt x="34" y="14"/>
                  </a:lnTo>
                  <a:lnTo>
                    <a:pt x="38" y="10"/>
                  </a:lnTo>
                  <a:lnTo>
                    <a:pt x="44" y="8"/>
                  </a:lnTo>
                  <a:lnTo>
                    <a:pt x="48" y="4"/>
                  </a:lnTo>
                  <a:lnTo>
                    <a:pt x="52" y="0"/>
                  </a:lnTo>
                  <a:lnTo>
                    <a:pt x="0" y="88"/>
                  </a:lnTo>
                  <a:close/>
                </a:path>
              </a:pathLst>
            </a:custGeom>
            <a:no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412" name="Freeform 156"/>
            <p:cNvSpPr>
              <a:spLocks/>
            </p:cNvSpPr>
            <p:nvPr/>
          </p:nvSpPr>
          <p:spPr bwMode="gray">
            <a:xfrm>
              <a:off x="2111" y="920"/>
              <a:ext cx="1" cy="6"/>
            </a:xfrm>
            <a:custGeom>
              <a:avLst/>
              <a:gdLst/>
              <a:ahLst/>
              <a:cxnLst>
                <a:cxn ang="0">
                  <a:pos x="0" y="0"/>
                </a:cxn>
                <a:cxn ang="0">
                  <a:pos x="0" y="1"/>
                </a:cxn>
                <a:cxn ang="0">
                  <a:pos x="0" y="3"/>
                </a:cxn>
                <a:cxn ang="0">
                  <a:pos x="0" y="5"/>
                </a:cxn>
                <a:cxn ang="0">
                  <a:pos x="0" y="9"/>
                </a:cxn>
                <a:cxn ang="0">
                  <a:pos x="0" y="0"/>
                </a:cxn>
              </a:cxnLst>
              <a:rect l="0" t="0" r="r" b="b"/>
              <a:pathLst>
                <a:path h="9">
                  <a:moveTo>
                    <a:pt x="0" y="0"/>
                  </a:moveTo>
                  <a:lnTo>
                    <a:pt x="0" y="1"/>
                  </a:lnTo>
                  <a:lnTo>
                    <a:pt x="0" y="3"/>
                  </a:lnTo>
                  <a:lnTo>
                    <a:pt x="0" y="5"/>
                  </a:lnTo>
                  <a:lnTo>
                    <a:pt x="0" y="9"/>
                  </a:lnTo>
                  <a:lnTo>
                    <a:pt x="0" y="0"/>
                  </a:lnTo>
                  <a:close/>
                </a:path>
              </a:pathLst>
            </a:custGeom>
            <a:noFill/>
            <a:ln w="9525" cmpd="sng">
              <a:solidFill>
                <a:srgbClr val="808080"/>
              </a:solidFill>
              <a:round/>
              <a:headEnd/>
              <a:tailEnd/>
            </a:ln>
          </p:spPr>
          <p:txBody>
            <a:bodyPr/>
            <a:lstStyle/>
            <a:p>
              <a:endParaRPr lang="en-US" dirty="0">
                <a:solidFill>
                  <a:srgbClr val="000000"/>
                </a:solidFill>
                <a:latin typeface="Arial" charset="0"/>
              </a:endParaRPr>
            </a:p>
          </p:txBody>
        </p:sp>
        <p:sp>
          <p:nvSpPr>
            <p:cNvPr id="608413" name="Freeform 157"/>
            <p:cNvSpPr>
              <a:spLocks/>
            </p:cNvSpPr>
            <p:nvPr/>
          </p:nvSpPr>
          <p:spPr bwMode="gray">
            <a:xfrm>
              <a:off x="2111" y="920"/>
              <a:ext cx="1" cy="6"/>
            </a:xfrm>
            <a:custGeom>
              <a:avLst/>
              <a:gdLst/>
              <a:ahLst/>
              <a:cxnLst>
                <a:cxn ang="0">
                  <a:pos x="0" y="0"/>
                </a:cxn>
                <a:cxn ang="0">
                  <a:pos x="0" y="0"/>
                </a:cxn>
                <a:cxn ang="0">
                  <a:pos x="0" y="1"/>
                </a:cxn>
                <a:cxn ang="0">
                  <a:pos x="0" y="3"/>
                </a:cxn>
                <a:cxn ang="0">
                  <a:pos x="0" y="5"/>
                </a:cxn>
                <a:cxn ang="0">
                  <a:pos x="0" y="9"/>
                </a:cxn>
              </a:cxnLst>
              <a:rect l="0" t="0" r="r" b="b"/>
              <a:pathLst>
                <a:path h="9">
                  <a:moveTo>
                    <a:pt x="0" y="0"/>
                  </a:moveTo>
                  <a:lnTo>
                    <a:pt x="0" y="0"/>
                  </a:lnTo>
                  <a:lnTo>
                    <a:pt x="0" y="1"/>
                  </a:lnTo>
                  <a:lnTo>
                    <a:pt x="0" y="3"/>
                  </a:lnTo>
                  <a:lnTo>
                    <a:pt x="0" y="5"/>
                  </a:lnTo>
                  <a:lnTo>
                    <a:pt x="0" y="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14" name="Freeform 158"/>
            <p:cNvSpPr>
              <a:spLocks/>
            </p:cNvSpPr>
            <p:nvPr/>
          </p:nvSpPr>
          <p:spPr bwMode="gray">
            <a:xfrm>
              <a:off x="2892" y="2165"/>
              <a:ext cx="249" cy="259"/>
            </a:xfrm>
            <a:custGeom>
              <a:avLst/>
              <a:gdLst/>
              <a:ahLst/>
              <a:cxnLst>
                <a:cxn ang="0">
                  <a:pos x="96" y="82"/>
                </a:cxn>
                <a:cxn ang="0">
                  <a:pos x="94" y="107"/>
                </a:cxn>
                <a:cxn ang="0">
                  <a:pos x="96" y="118"/>
                </a:cxn>
                <a:cxn ang="0">
                  <a:pos x="98" y="130"/>
                </a:cxn>
                <a:cxn ang="0">
                  <a:pos x="92" y="143"/>
                </a:cxn>
                <a:cxn ang="0">
                  <a:pos x="92" y="160"/>
                </a:cxn>
                <a:cxn ang="0">
                  <a:pos x="121" y="174"/>
                </a:cxn>
                <a:cxn ang="0">
                  <a:pos x="123" y="195"/>
                </a:cxn>
                <a:cxn ang="0">
                  <a:pos x="100" y="216"/>
                </a:cxn>
                <a:cxn ang="0">
                  <a:pos x="75" y="240"/>
                </a:cxn>
                <a:cxn ang="0">
                  <a:pos x="40" y="275"/>
                </a:cxn>
                <a:cxn ang="0">
                  <a:pos x="31" y="284"/>
                </a:cxn>
                <a:cxn ang="0">
                  <a:pos x="25" y="296"/>
                </a:cxn>
                <a:cxn ang="0">
                  <a:pos x="19" y="340"/>
                </a:cxn>
                <a:cxn ang="0">
                  <a:pos x="8" y="385"/>
                </a:cxn>
                <a:cxn ang="0">
                  <a:pos x="2" y="437"/>
                </a:cxn>
                <a:cxn ang="0">
                  <a:pos x="0" y="456"/>
                </a:cxn>
                <a:cxn ang="0">
                  <a:pos x="2" y="471"/>
                </a:cxn>
                <a:cxn ang="0">
                  <a:pos x="12" y="467"/>
                </a:cxn>
                <a:cxn ang="0">
                  <a:pos x="21" y="465"/>
                </a:cxn>
                <a:cxn ang="0">
                  <a:pos x="33" y="471"/>
                </a:cxn>
                <a:cxn ang="0">
                  <a:pos x="60" y="456"/>
                </a:cxn>
                <a:cxn ang="0">
                  <a:pos x="77" y="446"/>
                </a:cxn>
                <a:cxn ang="0">
                  <a:pos x="189" y="435"/>
                </a:cxn>
                <a:cxn ang="0">
                  <a:pos x="184" y="427"/>
                </a:cxn>
                <a:cxn ang="0">
                  <a:pos x="180" y="418"/>
                </a:cxn>
                <a:cxn ang="0">
                  <a:pos x="187" y="403"/>
                </a:cxn>
                <a:cxn ang="0">
                  <a:pos x="195" y="397"/>
                </a:cxn>
                <a:cxn ang="0">
                  <a:pos x="199" y="380"/>
                </a:cxn>
                <a:cxn ang="0">
                  <a:pos x="206" y="368"/>
                </a:cxn>
                <a:cxn ang="0">
                  <a:pos x="237" y="357"/>
                </a:cxn>
                <a:cxn ang="0">
                  <a:pos x="245" y="355"/>
                </a:cxn>
                <a:cxn ang="0">
                  <a:pos x="252" y="351"/>
                </a:cxn>
                <a:cxn ang="0">
                  <a:pos x="266" y="343"/>
                </a:cxn>
                <a:cxn ang="0">
                  <a:pos x="277" y="349"/>
                </a:cxn>
                <a:cxn ang="0">
                  <a:pos x="287" y="343"/>
                </a:cxn>
                <a:cxn ang="0">
                  <a:pos x="292" y="336"/>
                </a:cxn>
                <a:cxn ang="0">
                  <a:pos x="302" y="343"/>
                </a:cxn>
                <a:cxn ang="0">
                  <a:pos x="317" y="330"/>
                </a:cxn>
                <a:cxn ang="0">
                  <a:pos x="327" y="322"/>
                </a:cxn>
                <a:cxn ang="0">
                  <a:pos x="334" y="328"/>
                </a:cxn>
                <a:cxn ang="0">
                  <a:pos x="351" y="357"/>
                </a:cxn>
                <a:cxn ang="0">
                  <a:pos x="359" y="355"/>
                </a:cxn>
                <a:cxn ang="0">
                  <a:pos x="363" y="336"/>
                </a:cxn>
                <a:cxn ang="0">
                  <a:pos x="378" y="303"/>
                </a:cxn>
                <a:cxn ang="0">
                  <a:pos x="409" y="265"/>
                </a:cxn>
                <a:cxn ang="0">
                  <a:pos x="435" y="223"/>
                </a:cxn>
                <a:cxn ang="0">
                  <a:pos x="439" y="176"/>
                </a:cxn>
                <a:cxn ang="0">
                  <a:pos x="422" y="111"/>
                </a:cxn>
                <a:cxn ang="0">
                  <a:pos x="390" y="52"/>
                </a:cxn>
                <a:cxn ang="0">
                  <a:pos x="361" y="0"/>
                </a:cxn>
                <a:cxn ang="0">
                  <a:pos x="329" y="29"/>
                </a:cxn>
                <a:cxn ang="0">
                  <a:pos x="304" y="42"/>
                </a:cxn>
                <a:cxn ang="0">
                  <a:pos x="285" y="42"/>
                </a:cxn>
                <a:cxn ang="0">
                  <a:pos x="273" y="42"/>
                </a:cxn>
                <a:cxn ang="0">
                  <a:pos x="254" y="48"/>
                </a:cxn>
                <a:cxn ang="0">
                  <a:pos x="233" y="53"/>
                </a:cxn>
                <a:cxn ang="0">
                  <a:pos x="210" y="57"/>
                </a:cxn>
                <a:cxn ang="0">
                  <a:pos x="189" y="52"/>
                </a:cxn>
                <a:cxn ang="0">
                  <a:pos x="163" y="46"/>
                </a:cxn>
                <a:cxn ang="0">
                  <a:pos x="134" y="52"/>
                </a:cxn>
                <a:cxn ang="0">
                  <a:pos x="113" y="63"/>
                </a:cxn>
                <a:cxn ang="0">
                  <a:pos x="96" y="69"/>
                </a:cxn>
              </a:cxnLst>
              <a:rect l="0" t="0" r="r" b="b"/>
              <a:pathLst>
                <a:path w="441" h="471">
                  <a:moveTo>
                    <a:pt x="94" y="69"/>
                  </a:moveTo>
                  <a:lnTo>
                    <a:pt x="94" y="69"/>
                  </a:lnTo>
                  <a:lnTo>
                    <a:pt x="96" y="74"/>
                  </a:lnTo>
                  <a:lnTo>
                    <a:pt x="96" y="78"/>
                  </a:lnTo>
                  <a:lnTo>
                    <a:pt x="96" y="82"/>
                  </a:lnTo>
                  <a:lnTo>
                    <a:pt x="96" y="86"/>
                  </a:lnTo>
                  <a:lnTo>
                    <a:pt x="96" y="92"/>
                  </a:lnTo>
                  <a:lnTo>
                    <a:pt x="94" y="95"/>
                  </a:lnTo>
                  <a:lnTo>
                    <a:pt x="94" y="101"/>
                  </a:lnTo>
                  <a:lnTo>
                    <a:pt x="94" y="107"/>
                  </a:lnTo>
                  <a:lnTo>
                    <a:pt x="94" y="107"/>
                  </a:lnTo>
                  <a:lnTo>
                    <a:pt x="94" y="111"/>
                  </a:lnTo>
                  <a:lnTo>
                    <a:pt x="94" y="114"/>
                  </a:lnTo>
                  <a:lnTo>
                    <a:pt x="94" y="116"/>
                  </a:lnTo>
                  <a:lnTo>
                    <a:pt x="96" y="118"/>
                  </a:lnTo>
                  <a:lnTo>
                    <a:pt x="96" y="120"/>
                  </a:lnTo>
                  <a:lnTo>
                    <a:pt x="98" y="122"/>
                  </a:lnTo>
                  <a:lnTo>
                    <a:pt x="98" y="126"/>
                  </a:lnTo>
                  <a:lnTo>
                    <a:pt x="98" y="130"/>
                  </a:lnTo>
                  <a:lnTo>
                    <a:pt x="98" y="130"/>
                  </a:lnTo>
                  <a:lnTo>
                    <a:pt x="98" y="134"/>
                  </a:lnTo>
                  <a:lnTo>
                    <a:pt x="96" y="135"/>
                  </a:lnTo>
                  <a:lnTo>
                    <a:pt x="96" y="137"/>
                  </a:lnTo>
                  <a:lnTo>
                    <a:pt x="94" y="139"/>
                  </a:lnTo>
                  <a:lnTo>
                    <a:pt x="92" y="143"/>
                  </a:lnTo>
                  <a:lnTo>
                    <a:pt x="90" y="145"/>
                  </a:lnTo>
                  <a:lnTo>
                    <a:pt x="90" y="149"/>
                  </a:lnTo>
                  <a:lnTo>
                    <a:pt x="90" y="155"/>
                  </a:lnTo>
                  <a:lnTo>
                    <a:pt x="90" y="155"/>
                  </a:lnTo>
                  <a:lnTo>
                    <a:pt x="92" y="160"/>
                  </a:lnTo>
                  <a:lnTo>
                    <a:pt x="96" y="164"/>
                  </a:lnTo>
                  <a:lnTo>
                    <a:pt x="102" y="166"/>
                  </a:lnTo>
                  <a:lnTo>
                    <a:pt x="107" y="168"/>
                  </a:lnTo>
                  <a:lnTo>
                    <a:pt x="115" y="170"/>
                  </a:lnTo>
                  <a:lnTo>
                    <a:pt x="121" y="174"/>
                  </a:lnTo>
                  <a:lnTo>
                    <a:pt x="124" y="177"/>
                  </a:lnTo>
                  <a:lnTo>
                    <a:pt x="124" y="183"/>
                  </a:lnTo>
                  <a:lnTo>
                    <a:pt x="124" y="183"/>
                  </a:lnTo>
                  <a:lnTo>
                    <a:pt x="124" y="189"/>
                  </a:lnTo>
                  <a:lnTo>
                    <a:pt x="123" y="195"/>
                  </a:lnTo>
                  <a:lnTo>
                    <a:pt x="119" y="198"/>
                  </a:lnTo>
                  <a:lnTo>
                    <a:pt x="115" y="204"/>
                  </a:lnTo>
                  <a:lnTo>
                    <a:pt x="111" y="208"/>
                  </a:lnTo>
                  <a:lnTo>
                    <a:pt x="105" y="212"/>
                  </a:lnTo>
                  <a:lnTo>
                    <a:pt x="100" y="216"/>
                  </a:lnTo>
                  <a:lnTo>
                    <a:pt x="96" y="219"/>
                  </a:lnTo>
                  <a:lnTo>
                    <a:pt x="96" y="219"/>
                  </a:lnTo>
                  <a:lnTo>
                    <a:pt x="88" y="227"/>
                  </a:lnTo>
                  <a:lnTo>
                    <a:pt x="82" y="233"/>
                  </a:lnTo>
                  <a:lnTo>
                    <a:pt x="75" y="240"/>
                  </a:lnTo>
                  <a:lnTo>
                    <a:pt x="69" y="248"/>
                  </a:lnTo>
                  <a:lnTo>
                    <a:pt x="61" y="254"/>
                  </a:lnTo>
                  <a:lnTo>
                    <a:pt x="56" y="261"/>
                  </a:lnTo>
                  <a:lnTo>
                    <a:pt x="48" y="269"/>
                  </a:lnTo>
                  <a:lnTo>
                    <a:pt x="40" y="275"/>
                  </a:lnTo>
                  <a:lnTo>
                    <a:pt x="40" y="275"/>
                  </a:lnTo>
                  <a:lnTo>
                    <a:pt x="39" y="277"/>
                  </a:lnTo>
                  <a:lnTo>
                    <a:pt x="37" y="280"/>
                  </a:lnTo>
                  <a:lnTo>
                    <a:pt x="33" y="282"/>
                  </a:lnTo>
                  <a:lnTo>
                    <a:pt x="31" y="284"/>
                  </a:lnTo>
                  <a:lnTo>
                    <a:pt x="29" y="286"/>
                  </a:lnTo>
                  <a:lnTo>
                    <a:pt x="27" y="290"/>
                  </a:lnTo>
                  <a:lnTo>
                    <a:pt x="25" y="294"/>
                  </a:lnTo>
                  <a:lnTo>
                    <a:pt x="25" y="296"/>
                  </a:lnTo>
                  <a:lnTo>
                    <a:pt x="25" y="296"/>
                  </a:lnTo>
                  <a:lnTo>
                    <a:pt x="25" y="305"/>
                  </a:lnTo>
                  <a:lnTo>
                    <a:pt x="23" y="313"/>
                  </a:lnTo>
                  <a:lnTo>
                    <a:pt x="23" y="322"/>
                  </a:lnTo>
                  <a:lnTo>
                    <a:pt x="21" y="330"/>
                  </a:lnTo>
                  <a:lnTo>
                    <a:pt x="19" y="340"/>
                  </a:lnTo>
                  <a:lnTo>
                    <a:pt x="18" y="347"/>
                  </a:lnTo>
                  <a:lnTo>
                    <a:pt x="16" y="357"/>
                  </a:lnTo>
                  <a:lnTo>
                    <a:pt x="14" y="366"/>
                  </a:lnTo>
                  <a:lnTo>
                    <a:pt x="10" y="376"/>
                  </a:lnTo>
                  <a:lnTo>
                    <a:pt x="8" y="385"/>
                  </a:lnTo>
                  <a:lnTo>
                    <a:pt x="6" y="395"/>
                  </a:lnTo>
                  <a:lnTo>
                    <a:pt x="4" y="404"/>
                  </a:lnTo>
                  <a:lnTo>
                    <a:pt x="2" y="414"/>
                  </a:lnTo>
                  <a:lnTo>
                    <a:pt x="2" y="425"/>
                  </a:lnTo>
                  <a:lnTo>
                    <a:pt x="2" y="437"/>
                  </a:lnTo>
                  <a:lnTo>
                    <a:pt x="0" y="448"/>
                  </a:lnTo>
                  <a:lnTo>
                    <a:pt x="0" y="448"/>
                  </a:lnTo>
                  <a:lnTo>
                    <a:pt x="0" y="450"/>
                  </a:lnTo>
                  <a:lnTo>
                    <a:pt x="0" y="454"/>
                  </a:lnTo>
                  <a:lnTo>
                    <a:pt x="0" y="456"/>
                  </a:lnTo>
                  <a:lnTo>
                    <a:pt x="0" y="460"/>
                  </a:lnTo>
                  <a:lnTo>
                    <a:pt x="2" y="462"/>
                  </a:lnTo>
                  <a:lnTo>
                    <a:pt x="2" y="465"/>
                  </a:lnTo>
                  <a:lnTo>
                    <a:pt x="2" y="467"/>
                  </a:lnTo>
                  <a:lnTo>
                    <a:pt x="2" y="471"/>
                  </a:lnTo>
                  <a:lnTo>
                    <a:pt x="2" y="471"/>
                  </a:lnTo>
                  <a:lnTo>
                    <a:pt x="4" y="469"/>
                  </a:lnTo>
                  <a:lnTo>
                    <a:pt x="8" y="469"/>
                  </a:lnTo>
                  <a:lnTo>
                    <a:pt x="10" y="467"/>
                  </a:lnTo>
                  <a:lnTo>
                    <a:pt x="12" y="467"/>
                  </a:lnTo>
                  <a:lnTo>
                    <a:pt x="14" y="465"/>
                  </a:lnTo>
                  <a:lnTo>
                    <a:pt x="16" y="465"/>
                  </a:lnTo>
                  <a:lnTo>
                    <a:pt x="19" y="465"/>
                  </a:lnTo>
                  <a:lnTo>
                    <a:pt x="21" y="465"/>
                  </a:lnTo>
                  <a:lnTo>
                    <a:pt x="21" y="465"/>
                  </a:lnTo>
                  <a:lnTo>
                    <a:pt x="25" y="465"/>
                  </a:lnTo>
                  <a:lnTo>
                    <a:pt x="29" y="469"/>
                  </a:lnTo>
                  <a:lnTo>
                    <a:pt x="31" y="471"/>
                  </a:lnTo>
                  <a:lnTo>
                    <a:pt x="33" y="471"/>
                  </a:lnTo>
                  <a:lnTo>
                    <a:pt x="33" y="471"/>
                  </a:lnTo>
                  <a:lnTo>
                    <a:pt x="40" y="471"/>
                  </a:lnTo>
                  <a:lnTo>
                    <a:pt x="46" y="467"/>
                  </a:lnTo>
                  <a:lnTo>
                    <a:pt x="50" y="465"/>
                  </a:lnTo>
                  <a:lnTo>
                    <a:pt x="56" y="462"/>
                  </a:lnTo>
                  <a:lnTo>
                    <a:pt x="60" y="456"/>
                  </a:lnTo>
                  <a:lnTo>
                    <a:pt x="63" y="454"/>
                  </a:lnTo>
                  <a:lnTo>
                    <a:pt x="69" y="450"/>
                  </a:lnTo>
                  <a:lnTo>
                    <a:pt x="75" y="448"/>
                  </a:lnTo>
                  <a:lnTo>
                    <a:pt x="77" y="446"/>
                  </a:lnTo>
                  <a:lnTo>
                    <a:pt x="77" y="446"/>
                  </a:lnTo>
                  <a:lnTo>
                    <a:pt x="77" y="443"/>
                  </a:lnTo>
                  <a:lnTo>
                    <a:pt x="79" y="441"/>
                  </a:lnTo>
                  <a:lnTo>
                    <a:pt x="81" y="439"/>
                  </a:lnTo>
                  <a:lnTo>
                    <a:pt x="84" y="435"/>
                  </a:lnTo>
                  <a:lnTo>
                    <a:pt x="189" y="435"/>
                  </a:lnTo>
                  <a:lnTo>
                    <a:pt x="189" y="435"/>
                  </a:lnTo>
                  <a:lnTo>
                    <a:pt x="187" y="433"/>
                  </a:lnTo>
                  <a:lnTo>
                    <a:pt x="187" y="431"/>
                  </a:lnTo>
                  <a:lnTo>
                    <a:pt x="185" y="429"/>
                  </a:lnTo>
                  <a:lnTo>
                    <a:pt x="184" y="427"/>
                  </a:lnTo>
                  <a:lnTo>
                    <a:pt x="182" y="425"/>
                  </a:lnTo>
                  <a:lnTo>
                    <a:pt x="182" y="424"/>
                  </a:lnTo>
                  <a:lnTo>
                    <a:pt x="180" y="420"/>
                  </a:lnTo>
                  <a:lnTo>
                    <a:pt x="180" y="418"/>
                  </a:lnTo>
                  <a:lnTo>
                    <a:pt x="180" y="418"/>
                  </a:lnTo>
                  <a:lnTo>
                    <a:pt x="182" y="414"/>
                  </a:lnTo>
                  <a:lnTo>
                    <a:pt x="182" y="410"/>
                  </a:lnTo>
                  <a:lnTo>
                    <a:pt x="184" y="408"/>
                  </a:lnTo>
                  <a:lnTo>
                    <a:pt x="185" y="404"/>
                  </a:lnTo>
                  <a:lnTo>
                    <a:pt x="187" y="403"/>
                  </a:lnTo>
                  <a:lnTo>
                    <a:pt x="189" y="403"/>
                  </a:lnTo>
                  <a:lnTo>
                    <a:pt x="191" y="401"/>
                  </a:lnTo>
                  <a:lnTo>
                    <a:pt x="193" y="399"/>
                  </a:lnTo>
                  <a:lnTo>
                    <a:pt x="193" y="399"/>
                  </a:lnTo>
                  <a:lnTo>
                    <a:pt x="195" y="397"/>
                  </a:lnTo>
                  <a:lnTo>
                    <a:pt x="197" y="393"/>
                  </a:lnTo>
                  <a:lnTo>
                    <a:pt x="197" y="391"/>
                  </a:lnTo>
                  <a:lnTo>
                    <a:pt x="199" y="387"/>
                  </a:lnTo>
                  <a:lnTo>
                    <a:pt x="199" y="383"/>
                  </a:lnTo>
                  <a:lnTo>
                    <a:pt x="199" y="380"/>
                  </a:lnTo>
                  <a:lnTo>
                    <a:pt x="201" y="378"/>
                  </a:lnTo>
                  <a:lnTo>
                    <a:pt x="201" y="374"/>
                  </a:lnTo>
                  <a:lnTo>
                    <a:pt x="201" y="374"/>
                  </a:lnTo>
                  <a:lnTo>
                    <a:pt x="203" y="370"/>
                  </a:lnTo>
                  <a:lnTo>
                    <a:pt x="206" y="368"/>
                  </a:lnTo>
                  <a:lnTo>
                    <a:pt x="212" y="366"/>
                  </a:lnTo>
                  <a:lnTo>
                    <a:pt x="220" y="362"/>
                  </a:lnTo>
                  <a:lnTo>
                    <a:pt x="227" y="361"/>
                  </a:lnTo>
                  <a:lnTo>
                    <a:pt x="233" y="359"/>
                  </a:lnTo>
                  <a:lnTo>
                    <a:pt x="237" y="357"/>
                  </a:lnTo>
                  <a:lnTo>
                    <a:pt x="239" y="355"/>
                  </a:lnTo>
                  <a:lnTo>
                    <a:pt x="239" y="355"/>
                  </a:lnTo>
                  <a:lnTo>
                    <a:pt x="241" y="357"/>
                  </a:lnTo>
                  <a:lnTo>
                    <a:pt x="243" y="357"/>
                  </a:lnTo>
                  <a:lnTo>
                    <a:pt x="245" y="355"/>
                  </a:lnTo>
                  <a:lnTo>
                    <a:pt x="246" y="355"/>
                  </a:lnTo>
                  <a:lnTo>
                    <a:pt x="246" y="355"/>
                  </a:lnTo>
                  <a:lnTo>
                    <a:pt x="248" y="355"/>
                  </a:lnTo>
                  <a:lnTo>
                    <a:pt x="250" y="355"/>
                  </a:lnTo>
                  <a:lnTo>
                    <a:pt x="252" y="351"/>
                  </a:lnTo>
                  <a:lnTo>
                    <a:pt x="254" y="349"/>
                  </a:lnTo>
                  <a:lnTo>
                    <a:pt x="256" y="347"/>
                  </a:lnTo>
                  <a:lnTo>
                    <a:pt x="260" y="345"/>
                  </a:lnTo>
                  <a:lnTo>
                    <a:pt x="262" y="345"/>
                  </a:lnTo>
                  <a:lnTo>
                    <a:pt x="266" y="343"/>
                  </a:lnTo>
                  <a:lnTo>
                    <a:pt x="266" y="343"/>
                  </a:lnTo>
                  <a:lnTo>
                    <a:pt x="267" y="345"/>
                  </a:lnTo>
                  <a:lnTo>
                    <a:pt x="271" y="345"/>
                  </a:lnTo>
                  <a:lnTo>
                    <a:pt x="273" y="347"/>
                  </a:lnTo>
                  <a:lnTo>
                    <a:pt x="277" y="349"/>
                  </a:lnTo>
                  <a:lnTo>
                    <a:pt x="277" y="349"/>
                  </a:lnTo>
                  <a:lnTo>
                    <a:pt x="279" y="347"/>
                  </a:lnTo>
                  <a:lnTo>
                    <a:pt x="283" y="347"/>
                  </a:lnTo>
                  <a:lnTo>
                    <a:pt x="285" y="345"/>
                  </a:lnTo>
                  <a:lnTo>
                    <a:pt x="287" y="343"/>
                  </a:lnTo>
                  <a:lnTo>
                    <a:pt x="288" y="341"/>
                  </a:lnTo>
                  <a:lnTo>
                    <a:pt x="288" y="340"/>
                  </a:lnTo>
                  <a:lnTo>
                    <a:pt x="290" y="338"/>
                  </a:lnTo>
                  <a:lnTo>
                    <a:pt x="292" y="336"/>
                  </a:lnTo>
                  <a:lnTo>
                    <a:pt x="292" y="336"/>
                  </a:lnTo>
                  <a:lnTo>
                    <a:pt x="294" y="338"/>
                  </a:lnTo>
                  <a:lnTo>
                    <a:pt x="296" y="341"/>
                  </a:lnTo>
                  <a:lnTo>
                    <a:pt x="300" y="343"/>
                  </a:lnTo>
                  <a:lnTo>
                    <a:pt x="302" y="343"/>
                  </a:lnTo>
                  <a:lnTo>
                    <a:pt x="302" y="343"/>
                  </a:lnTo>
                  <a:lnTo>
                    <a:pt x="308" y="343"/>
                  </a:lnTo>
                  <a:lnTo>
                    <a:pt x="311" y="341"/>
                  </a:lnTo>
                  <a:lnTo>
                    <a:pt x="313" y="338"/>
                  </a:lnTo>
                  <a:lnTo>
                    <a:pt x="315" y="334"/>
                  </a:lnTo>
                  <a:lnTo>
                    <a:pt x="317" y="330"/>
                  </a:lnTo>
                  <a:lnTo>
                    <a:pt x="319" y="326"/>
                  </a:lnTo>
                  <a:lnTo>
                    <a:pt x="321" y="322"/>
                  </a:lnTo>
                  <a:lnTo>
                    <a:pt x="323" y="322"/>
                  </a:lnTo>
                  <a:lnTo>
                    <a:pt x="323" y="322"/>
                  </a:lnTo>
                  <a:lnTo>
                    <a:pt x="327" y="322"/>
                  </a:lnTo>
                  <a:lnTo>
                    <a:pt x="329" y="322"/>
                  </a:lnTo>
                  <a:lnTo>
                    <a:pt x="332" y="322"/>
                  </a:lnTo>
                  <a:lnTo>
                    <a:pt x="334" y="322"/>
                  </a:lnTo>
                  <a:lnTo>
                    <a:pt x="334" y="322"/>
                  </a:lnTo>
                  <a:lnTo>
                    <a:pt x="334" y="328"/>
                  </a:lnTo>
                  <a:lnTo>
                    <a:pt x="336" y="336"/>
                  </a:lnTo>
                  <a:lnTo>
                    <a:pt x="340" y="341"/>
                  </a:lnTo>
                  <a:lnTo>
                    <a:pt x="344" y="347"/>
                  </a:lnTo>
                  <a:lnTo>
                    <a:pt x="348" y="353"/>
                  </a:lnTo>
                  <a:lnTo>
                    <a:pt x="351" y="357"/>
                  </a:lnTo>
                  <a:lnTo>
                    <a:pt x="355" y="361"/>
                  </a:lnTo>
                  <a:lnTo>
                    <a:pt x="359" y="362"/>
                  </a:lnTo>
                  <a:lnTo>
                    <a:pt x="359" y="362"/>
                  </a:lnTo>
                  <a:lnTo>
                    <a:pt x="359" y="359"/>
                  </a:lnTo>
                  <a:lnTo>
                    <a:pt x="359" y="355"/>
                  </a:lnTo>
                  <a:lnTo>
                    <a:pt x="361" y="351"/>
                  </a:lnTo>
                  <a:lnTo>
                    <a:pt x="361" y="347"/>
                  </a:lnTo>
                  <a:lnTo>
                    <a:pt x="361" y="345"/>
                  </a:lnTo>
                  <a:lnTo>
                    <a:pt x="361" y="341"/>
                  </a:lnTo>
                  <a:lnTo>
                    <a:pt x="363" y="336"/>
                  </a:lnTo>
                  <a:lnTo>
                    <a:pt x="363" y="332"/>
                  </a:lnTo>
                  <a:lnTo>
                    <a:pt x="363" y="332"/>
                  </a:lnTo>
                  <a:lnTo>
                    <a:pt x="367" y="322"/>
                  </a:lnTo>
                  <a:lnTo>
                    <a:pt x="372" y="313"/>
                  </a:lnTo>
                  <a:lnTo>
                    <a:pt x="378" y="303"/>
                  </a:lnTo>
                  <a:lnTo>
                    <a:pt x="384" y="296"/>
                  </a:lnTo>
                  <a:lnTo>
                    <a:pt x="390" y="288"/>
                  </a:lnTo>
                  <a:lnTo>
                    <a:pt x="395" y="280"/>
                  </a:lnTo>
                  <a:lnTo>
                    <a:pt x="403" y="273"/>
                  </a:lnTo>
                  <a:lnTo>
                    <a:pt x="409" y="265"/>
                  </a:lnTo>
                  <a:lnTo>
                    <a:pt x="414" y="258"/>
                  </a:lnTo>
                  <a:lnTo>
                    <a:pt x="420" y="250"/>
                  </a:lnTo>
                  <a:lnTo>
                    <a:pt x="426" y="240"/>
                  </a:lnTo>
                  <a:lnTo>
                    <a:pt x="432" y="233"/>
                  </a:lnTo>
                  <a:lnTo>
                    <a:pt x="435" y="223"/>
                  </a:lnTo>
                  <a:lnTo>
                    <a:pt x="437" y="214"/>
                  </a:lnTo>
                  <a:lnTo>
                    <a:pt x="439" y="202"/>
                  </a:lnTo>
                  <a:lnTo>
                    <a:pt x="441" y="191"/>
                  </a:lnTo>
                  <a:lnTo>
                    <a:pt x="441" y="191"/>
                  </a:lnTo>
                  <a:lnTo>
                    <a:pt x="439" y="176"/>
                  </a:lnTo>
                  <a:lnTo>
                    <a:pt x="437" y="162"/>
                  </a:lnTo>
                  <a:lnTo>
                    <a:pt x="435" y="149"/>
                  </a:lnTo>
                  <a:lnTo>
                    <a:pt x="432" y="135"/>
                  </a:lnTo>
                  <a:lnTo>
                    <a:pt x="428" y="124"/>
                  </a:lnTo>
                  <a:lnTo>
                    <a:pt x="422" y="111"/>
                  </a:lnTo>
                  <a:lnTo>
                    <a:pt x="416" y="99"/>
                  </a:lnTo>
                  <a:lnTo>
                    <a:pt x="411" y="86"/>
                  </a:lnTo>
                  <a:lnTo>
                    <a:pt x="403" y="74"/>
                  </a:lnTo>
                  <a:lnTo>
                    <a:pt x="397" y="63"/>
                  </a:lnTo>
                  <a:lnTo>
                    <a:pt x="390" y="52"/>
                  </a:lnTo>
                  <a:lnTo>
                    <a:pt x="384" y="42"/>
                  </a:lnTo>
                  <a:lnTo>
                    <a:pt x="376" y="31"/>
                  </a:lnTo>
                  <a:lnTo>
                    <a:pt x="370" y="21"/>
                  </a:lnTo>
                  <a:lnTo>
                    <a:pt x="367" y="10"/>
                  </a:lnTo>
                  <a:lnTo>
                    <a:pt x="361" y="0"/>
                  </a:lnTo>
                  <a:lnTo>
                    <a:pt x="361" y="0"/>
                  </a:lnTo>
                  <a:lnTo>
                    <a:pt x="353" y="8"/>
                  </a:lnTo>
                  <a:lnTo>
                    <a:pt x="346" y="15"/>
                  </a:lnTo>
                  <a:lnTo>
                    <a:pt x="338" y="21"/>
                  </a:lnTo>
                  <a:lnTo>
                    <a:pt x="329" y="29"/>
                  </a:lnTo>
                  <a:lnTo>
                    <a:pt x="323" y="34"/>
                  </a:lnTo>
                  <a:lnTo>
                    <a:pt x="315" y="38"/>
                  </a:lnTo>
                  <a:lnTo>
                    <a:pt x="309" y="42"/>
                  </a:lnTo>
                  <a:lnTo>
                    <a:pt x="304" y="42"/>
                  </a:lnTo>
                  <a:lnTo>
                    <a:pt x="304" y="42"/>
                  </a:lnTo>
                  <a:lnTo>
                    <a:pt x="300" y="42"/>
                  </a:lnTo>
                  <a:lnTo>
                    <a:pt x="296" y="42"/>
                  </a:lnTo>
                  <a:lnTo>
                    <a:pt x="292" y="42"/>
                  </a:lnTo>
                  <a:lnTo>
                    <a:pt x="288" y="42"/>
                  </a:lnTo>
                  <a:lnTo>
                    <a:pt x="285" y="42"/>
                  </a:lnTo>
                  <a:lnTo>
                    <a:pt x="283" y="42"/>
                  </a:lnTo>
                  <a:lnTo>
                    <a:pt x="279" y="42"/>
                  </a:lnTo>
                  <a:lnTo>
                    <a:pt x="277" y="42"/>
                  </a:lnTo>
                  <a:lnTo>
                    <a:pt x="277" y="42"/>
                  </a:lnTo>
                  <a:lnTo>
                    <a:pt x="273" y="42"/>
                  </a:lnTo>
                  <a:lnTo>
                    <a:pt x="271" y="44"/>
                  </a:lnTo>
                  <a:lnTo>
                    <a:pt x="267" y="44"/>
                  </a:lnTo>
                  <a:lnTo>
                    <a:pt x="264" y="46"/>
                  </a:lnTo>
                  <a:lnTo>
                    <a:pt x="258" y="46"/>
                  </a:lnTo>
                  <a:lnTo>
                    <a:pt x="254" y="48"/>
                  </a:lnTo>
                  <a:lnTo>
                    <a:pt x="250" y="50"/>
                  </a:lnTo>
                  <a:lnTo>
                    <a:pt x="246" y="50"/>
                  </a:lnTo>
                  <a:lnTo>
                    <a:pt x="243" y="52"/>
                  </a:lnTo>
                  <a:lnTo>
                    <a:pt x="237" y="53"/>
                  </a:lnTo>
                  <a:lnTo>
                    <a:pt x="233" y="53"/>
                  </a:lnTo>
                  <a:lnTo>
                    <a:pt x="229" y="55"/>
                  </a:lnTo>
                  <a:lnTo>
                    <a:pt x="224" y="57"/>
                  </a:lnTo>
                  <a:lnTo>
                    <a:pt x="220" y="57"/>
                  </a:lnTo>
                  <a:lnTo>
                    <a:pt x="214" y="57"/>
                  </a:lnTo>
                  <a:lnTo>
                    <a:pt x="210" y="57"/>
                  </a:lnTo>
                  <a:lnTo>
                    <a:pt x="210" y="57"/>
                  </a:lnTo>
                  <a:lnTo>
                    <a:pt x="205" y="57"/>
                  </a:lnTo>
                  <a:lnTo>
                    <a:pt x="199" y="55"/>
                  </a:lnTo>
                  <a:lnTo>
                    <a:pt x="195" y="53"/>
                  </a:lnTo>
                  <a:lnTo>
                    <a:pt x="189" y="52"/>
                  </a:lnTo>
                  <a:lnTo>
                    <a:pt x="184" y="50"/>
                  </a:lnTo>
                  <a:lnTo>
                    <a:pt x="178" y="48"/>
                  </a:lnTo>
                  <a:lnTo>
                    <a:pt x="170" y="46"/>
                  </a:lnTo>
                  <a:lnTo>
                    <a:pt x="163" y="46"/>
                  </a:lnTo>
                  <a:lnTo>
                    <a:pt x="163" y="46"/>
                  </a:lnTo>
                  <a:lnTo>
                    <a:pt x="155" y="46"/>
                  </a:lnTo>
                  <a:lnTo>
                    <a:pt x="149" y="48"/>
                  </a:lnTo>
                  <a:lnTo>
                    <a:pt x="143" y="48"/>
                  </a:lnTo>
                  <a:lnTo>
                    <a:pt x="138" y="50"/>
                  </a:lnTo>
                  <a:lnTo>
                    <a:pt x="134" y="52"/>
                  </a:lnTo>
                  <a:lnTo>
                    <a:pt x="128" y="53"/>
                  </a:lnTo>
                  <a:lnTo>
                    <a:pt x="124" y="55"/>
                  </a:lnTo>
                  <a:lnTo>
                    <a:pt x="121" y="57"/>
                  </a:lnTo>
                  <a:lnTo>
                    <a:pt x="117" y="61"/>
                  </a:lnTo>
                  <a:lnTo>
                    <a:pt x="113" y="63"/>
                  </a:lnTo>
                  <a:lnTo>
                    <a:pt x="109" y="65"/>
                  </a:lnTo>
                  <a:lnTo>
                    <a:pt x="107" y="67"/>
                  </a:lnTo>
                  <a:lnTo>
                    <a:pt x="103" y="67"/>
                  </a:lnTo>
                  <a:lnTo>
                    <a:pt x="100" y="69"/>
                  </a:lnTo>
                  <a:lnTo>
                    <a:pt x="96" y="69"/>
                  </a:lnTo>
                  <a:lnTo>
                    <a:pt x="92" y="71"/>
                  </a:lnTo>
                  <a:lnTo>
                    <a:pt x="94" y="69"/>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15" name="Freeform 159"/>
            <p:cNvSpPr>
              <a:spLocks/>
            </p:cNvSpPr>
            <p:nvPr/>
          </p:nvSpPr>
          <p:spPr bwMode="gray">
            <a:xfrm>
              <a:off x="3178" y="1548"/>
              <a:ext cx="292" cy="242"/>
            </a:xfrm>
            <a:custGeom>
              <a:avLst/>
              <a:gdLst/>
              <a:ahLst/>
              <a:cxnLst>
                <a:cxn ang="0">
                  <a:pos x="74" y="296"/>
                </a:cxn>
                <a:cxn ang="0">
                  <a:pos x="86" y="311"/>
                </a:cxn>
                <a:cxn ang="0">
                  <a:pos x="99" y="315"/>
                </a:cxn>
                <a:cxn ang="0">
                  <a:pos x="116" y="275"/>
                </a:cxn>
                <a:cxn ang="0">
                  <a:pos x="135" y="269"/>
                </a:cxn>
                <a:cxn ang="0">
                  <a:pos x="172" y="290"/>
                </a:cxn>
                <a:cxn ang="0">
                  <a:pos x="193" y="286"/>
                </a:cxn>
                <a:cxn ang="0">
                  <a:pos x="208" y="277"/>
                </a:cxn>
                <a:cxn ang="0">
                  <a:pos x="217" y="283"/>
                </a:cxn>
                <a:cxn ang="0">
                  <a:pos x="221" y="290"/>
                </a:cxn>
                <a:cxn ang="0">
                  <a:pos x="248" y="286"/>
                </a:cxn>
                <a:cxn ang="0">
                  <a:pos x="269" y="286"/>
                </a:cxn>
                <a:cxn ang="0">
                  <a:pos x="301" y="290"/>
                </a:cxn>
                <a:cxn ang="0">
                  <a:pos x="332" y="300"/>
                </a:cxn>
                <a:cxn ang="0">
                  <a:pos x="359" y="319"/>
                </a:cxn>
                <a:cxn ang="0">
                  <a:pos x="366" y="334"/>
                </a:cxn>
                <a:cxn ang="0">
                  <a:pos x="374" y="349"/>
                </a:cxn>
                <a:cxn ang="0">
                  <a:pos x="406" y="374"/>
                </a:cxn>
                <a:cxn ang="0">
                  <a:pos x="441" y="401"/>
                </a:cxn>
                <a:cxn ang="0">
                  <a:pos x="469" y="433"/>
                </a:cxn>
                <a:cxn ang="0">
                  <a:pos x="490" y="431"/>
                </a:cxn>
                <a:cxn ang="0">
                  <a:pos x="515" y="418"/>
                </a:cxn>
                <a:cxn ang="0">
                  <a:pos x="490" y="399"/>
                </a:cxn>
                <a:cxn ang="0">
                  <a:pos x="469" y="378"/>
                </a:cxn>
                <a:cxn ang="0">
                  <a:pos x="462" y="355"/>
                </a:cxn>
                <a:cxn ang="0">
                  <a:pos x="446" y="342"/>
                </a:cxn>
                <a:cxn ang="0">
                  <a:pos x="412" y="328"/>
                </a:cxn>
                <a:cxn ang="0">
                  <a:pos x="389" y="305"/>
                </a:cxn>
                <a:cxn ang="0">
                  <a:pos x="362" y="271"/>
                </a:cxn>
                <a:cxn ang="0">
                  <a:pos x="341" y="262"/>
                </a:cxn>
                <a:cxn ang="0">
                  <a:pos x="320" y="260"/>
                </a:cxn>
                <a:cxn ang="0">
                  <a:pos x="299" y="254"/>
                </a:cxn>
                <a:cxn ang="0">
                  <a:pos x="282" y="243"/>
                </a:cxn>
                <a:cxn ang="0">
                  <a:pos x="271" y="218"/>
                </a:cxn>
                <a:cxn ang="0">
                  <a:pos x="252" y="212"/>
                </a:cxn>
                <a:cxn ang="0">
                  <a:pos x="227" y="187"/>
                </a:cxn>
                <a:cxn ang="0">
                  <a:pos x="204" y="143"/>
                </a:cxn>
                <a:cxn ang="0">
                  <a:pos x="194" y="119"/>
                </a:cxn>
                <a:cxn ang="0">
                  <a:pos x="185" y="77"/>
                </a:cxn>
                <a:cxn ang="0">
                  <a:pos x="168" y="33"/>
                </a:cxn>
                <a:cxn ang="0">
                  <a:pos x="143" y="4"/>
                </a:cxn>
                <a:cxn ang="0">
                  <a:pos x="126" y="33"/>
                </a:cxn>
                <a:cxn ang="0">
                  <a:pos x="80" y="65"/>
                </a:cxn>
                <a:cxn ang="0">
                  <a:pos x="34" y="98"/>
                </a:cxn>
                <a:cxn ang="0">
                  <a:pos x="25" y="130"/>
                </a:cxn>
                <a:cxn ang="0">
                  <a:pos x="25" y="145"/>
                </a:cxn>
                <a:cxn ang="0">
                  <a:pos x="23" y="162"/>
                </a:cxn>
                <a:cxn ang="0">
                  <a:pos x="15" y="191"/>
                </a:cxn>
                <a:cxn ang="0">
                  <a:pos x="4" y="222"/>
                </a:cxn>
                <a:cxn ang="0">
                  <a:pos x="0" y="246"/>
                </a:cxn>
                <a:cxn ang="0">
                  <a:pos x="6" y="285"/>
                </a:cxn>
              </a:cxnLst>
              <a:rect l="0" t="0" r="r" b="b"/>
              <a:pathLst>
                <a:path w="515" h="441">
                  <a:moveTo>
                    <a:pt x="6" y="307"/>
                  </a:moveTo>
                  <a:lnTo>
                    <a:pt x="38" y="304"/>
                  </a:lnTo>
                  <a:lnTo>
                    <a:pt x="50" y="311"/>
                  </a:lnTo>
                  <a:lnTo>
                    <a:pt x="74" y="296"/>
                  </a:lnTo>
                  <a:lnTo>
                    <a:pt x="74" y="296"/>
                  </a:lnTo>
                  <a:lnTo>
                    <a:pt x="78" y="298"/>
                  </a:lnTo>
                  <a:lnTo>
                    <a:pt x="80" y="302"/>
                  </a:lnTo>
                  <a:lnTo>
                    <a:pt x="82" y="305"/>
                  </a:lnTo>
                  <a:lnTo>
                    <a:pt x="84" y="307"/>
                  </a:lnTo>
                  <a:lnTo>
                    <a:pt x="86" y="311"/>
                  </a:lnTo>
                  <a:lnTo>
                    <a:pt x="88" y="315"/>
                  </a:lnTo>
                  <a:lnTo>
                    <a:pt x="91" y="317"/>
                  </a:lnTo>
                  <a:lnTo>
                    <a:pt x="95" y="317"/>
                  </a:lnTo>
                  <a:lnTo>
                    <a:pt x="95" y="317"/>
                  </a:lnTo>
                  <a:lnTo>
                    <a:pt x="99" y="315"/>
                  </a:lnTo>
                  <a:lnTo>
                    <a:pt x="103" y="309"/>
                  </a:lnTo>
                  <a:lnTo>
                    <a:pt x="107" y="302"/>
                  </a:lnTo>
                  <a:lnTo>
                    <a:pt x="111" y="294"/>
                  </a:lnTo>
                  <a:lnTo>
                    <a:pt x="114" y="285"/>
                  </a:lnTo>
                  <a:lnTo>
                    <a:pt x="116" y="275"/>
                  </a:lnTo>
                  <a:lnTo>
                    <a:pt x="120" y="267"/>
                  </a:lnTo>
                  <a:lnTo>
                    <a:pt x="122" y="262"/>
                  </a:lnTo>
                  <a:lnTo>
                    <a:pt x="122" y="262"/>
                  </a:lnTo>
                  <a:lnTo>
                    <a:pt x="130" y="265"/>
                  </a:lnTo>
                  <a:lnTo>
                    <a:pt x="135" y="269"/>
                  </a:lnTo>
                  <a:lnTo>
                    <a:pt x="143" y="275"/>
                  </a:lnTo>
                  <a:lnTo>
                    <a:pt x="149" y="279"/>
                  </a:lnTo>
                  <a:lnTo>
                    <a:pt x="156" y="285"/>
                  </a:lnTo>
                  <a:lnTo>
                    <a:pt x="162" y="288"/>
                  </a:lnTo>
                  <a:lnTo>
                    <a:pt x="172" y="290"/>
                  </a:lnTo>
                  <a:lnTo>
                    <a:pt x="181" y="290"/>
                  </a:lnTo>
                  <a:lnTo>
                    <a:pt x="181" y="290"/>
                  </a:lnTo>
                  <a:lnTo>
                    <a:pt x="187" y="290"/>
                  </a:lnTo>
                  <a:lnTo>
                    <a:pt x="191" y="288"/>
                  </a:lnTo>
                  <a:lnTo>
                    <a:pt x="193" y="286"/>
                  </a:lnTo>
                  <a:lnTo>
                    <a:pt x="196" y="283"/>
                  </a:lnTo>
                  <a:lnTo>
                    <a:pt x="198" y="281"/>
                  </a:lnTo>
                  <a:lnTo>
                    <a:pt x="200" y="279"/>
                  </a:lnTo>
                  <a:lnTo>
                    <a:pt x="204" y="277"/>
                  </a:lnTo>
                  <a:lnTo>
                    <a:pt x="208" y="277"/>
                  </a:lnTo>
                  <a:lnTo>
                    <a:pt x="208" y="277"/>
                  </a:lnTo>
                  <a:lnTo>
                    <a:pt x="212" y="277"/>
                  </a:lnTo>
                  <a:lnTo>
                    <a:pt x="214" y="277"/>
                  </a:lnTo>
                  <a:lnTo>
                    <a:pt x="215" y="279"/>
                  </a:lnTo>
                  <a:lnTo>
                    <a:pt x="217" y="283"/>
                  </a:lnTo>
                  <a:lnTo>
                    <a:pt x="219" y="285"/>
                  </a:lnTo>
                  <a:lnTo>
                    <a:pt x="219" y="286"/>
                  </a:lnTo>
                  <a:lnTo>
                    <a:pt x="221" y="288"/>
                  </a:lnTo>
                  <a:lnTo>
                    <a:pt x="221" y="290"/>
                  </a:lnTo>
                  <a:lnTo>
                    <a:pt x="221" y="290"/>
                  </a:lnTo>
                  <a:lnTo>
                    <a:pt x="227" y="290"/>
                  </a:lnTo>
                  <a:lnTo>
                    <a:pt x="233" y="288"/>
                  </a:lnTo>
                  <a:lnTo>
                    <a:pt x="236" y="286"/>
                  </a:lnTo>
                  <a:lnTo>
                    <a:pt x="242" y="286"/>
                  </a:lnTo>
                  <a:lnTo>
                    <a:pt x="248" y="286"/>
                  </a:lnTo>
                  <a:lnTo>
                    <a:pt x="252" y="286"/>
                  </a:lnTo>
                  <a:lnTo>
                    <a:pt x="257" y="286"/>
                  </a:lnTo>
                  <a:lnTo>
                    <a:pt x="263" y="286"/>
                  </a:lnTo>
                  <a:lnTo>
                    <a:pt x="263" y="286"/>
                  </a:lnTo>
                  <a:lnTo>
                    <a:pt x="269" y="286"/>
                  </a:lnTo>
                  <a:lnTo>
                    <a:pt x="277" y="286"/>
                  </a:lnTo>
                  <a:lnTo>
                    <a:pt x="282" y="286"/>
                  </a:lnTo>
                  <a:lnTo>
                    <a:pt x="290" y="288"/>
                  </a:lnTo>
                  <a:lnTo>
                    <a:pt x="296" y="288"/>
                  </a:lnTo>
                  <a:lnTo>
                    <a:pt x="301" y="290"/>
                  </a:lnTo>
                  <a:lnTo>
                    <a:pt x="307" y="290"/>
                  </a:lnTo>
                  <a:lnTo>
                    <a:pt x="315" y="292"/>
                  </a:lnTo>
                  <a:lnTo>
                    <a:pt x="320" y="294"/>
                  </a:lnTo>
                  <a:lnTo>
                    <a:pt x="326" y="298"/>
                  </a:lnTo>
                  <a:lnTo>
                    <a:pt x="332" y="300"/>
                  </a:lnTo>
                  <a:lnTo>
                    <a:pt x="336" y="304"/>
                  </a:lnTo>
                  <a:lnTo>
                    <a:pt x="341" y="305"/>
                  </a:lnTo>
                  <a:lnTo>
                    <a:pt x="347" y="309"/>
                  </a:lnTo>
                  <a:lnTo>
                    <a:pt x="353" y="315"/>
                  </a:lnTo>
                  <a:lnTo>
                    <a:pt x="359" y="319"/>
                  </a:lnTo>
                  <a:lnTo>
                    <a:pt x="359" y="319"/>
                  </a:lnTo>
                  <a:lnTo>
                    <a:pt x="360" y="323"/>
                  </a:lnTo>
                  <a:lnTo>
                    <a:pt x="362" y="326"/>
                  </a:lnTo>
                  <a:lnTo>
                    <a:pt x="364" y="330"/>
                  </a:lnTo>
                  <a:lnTo>
                    <a:pt x="366" y="334"/>
                  </a:lnTo>
                  <a:lnTo>
                    <a:pt x="368" y="338"/>
                  </a:lnTo>
                  <a:lnTo>
                    <a:pt x="368" y="342"/>
                  </a:lnTo>
                  <a:lnTo>
                    <a:pt x="370" y="346"/>
                  </a:lnTo>
                  <a:lnTo>
                    <a:pt x="374" y="349"/>
                  </a:lnTo>
                  <a:lnTo>
                    <a:pt x="374" y="349"/>
                  </a:lnTo>
                  <a:lnTo>
                    <a:pt x="380" y="353"/>
                  </a:lnTo>
                  <a:lnTo>
                    <a:pt x="385" y="359"/>
                  </a:lnTo>
                  <a:lnTo>
                    <a:pt x="393" y="365"/>
                  </a:lnTo>
                  <a:lnTo>
                    <a:pt x="399" y="370"/>
                  </a:lnTo>
                  <a:lnTo>
                    <a:pt x="406" y="374"/>
                  </a:lnTo>
                  <a:lnTo>
                    <a:pt x="414" y="380"/>
                  </a:lnTo>
                  <a:lnTo>
                    <a:pt x="420" y="386"/>
                  </a:lnTo>
                  <a:lnTo>
                    <a:pt x="427" y="389"/>
                  </a:lnTo>
                  <a:lnTo>
                    <a:pt x="433" y="395"/>
                  </a:lnTo>
                  <a:lnTo>
                    <a:pt x="441" y="401"/>
                  </a:lnTo>
                  <a:lnTo>
                    <a:pt x="446" y="407"/>
                  </a:lnTo>
                  <a:lnTo>
                    <a:pt x="454" y="412"/>
                  </a:lnTo>
                  <a:lnTo>
                    <a:pt x="460" y="420"/>
                  </a:lnTo>
                  <a:lnTo>
                    <a:pt x="463" y="426"/>
                  </a:lnTo>
                  <a:lnTo>
                    <a:pt x="469" y="433"/>
                  </a:lnTo>
                  <a:lnTo>
                    <a:pt x="473" y="441"/>
                  </a:lnTo>
                  <a:lnTo>
                    <a:pt x="473" y="441"/>
                  </a:lnTo>
                  <a:lnTo>
                    <a:pt x="479" y="437"/>
                  </a:lnTo>
                  <a:lnTo>
                    <a:pt x="484" y="433"/>
                  </a:lnTo>
                  <a:lnTo>
                    <a:pt x="490" y="431"/>
                  </a:lnTo>
                  <a:lnTo>
                    <a:pt x="496" y="428"/>
                  </a:lnTo>
                  <a:lnTo>
                    <a:pt x="500" y="426"/>
                  </a:lnTo>
                  <a:lnTo>
                    <a:pt x="505" y="424"/>
                  </a:lnTo>
                  <a:lnTo>
                    <a:pt x="509" y="420"/>
                  </a:lnTo>
                  <a:lnTo>
                    <a:pt x="515" y="418"/>
                  </a:lnTo>
                  <a:lnTo>
                    <a:pt x="515" y="418"/>
                  </a:lnTo>
                  <a:lnTo>
                    <a:pt x="509" y="414"/>
                  </a:lnTo>
                  <a:lnTo>
                    <a:pt x="504" y="410"/>
                  </a:lnTo>
                  <a:lnTo>
                    <a:pt x="498" y="405"/>
                  </a:lnTo>
                  <a:lnTo>
                    <a:pt x="490" y="399"/>
                  </a:lnTo>
                  <a:lnTo>
                    <a:pt x="483" y="393"/>
                  </a:lnTo>
                  <a:lnTo>
                    <a:pt x="477" y="389"/>
                  </a:lnTo>
                  <a:lnTo>
                    <a:pt x="473" y="384"/>
                  </a:lnTo>
                  <a:lnTo>
                    <a:pt x="469" y="378"/>
                  </a:lnTo>
                  <a:lnTo>
                    <a:pt x="469" y="378"/>
                  </a:lnTo>
                  <a:lnTo>
                    <a:pt x="467" y="374"/>
                  </a:lnTo>
                  <a:lnTo>
                    <a:pt x="467" y="370"/>
                  </a:lnTo>
                  <a:lnTo>
                    <a:pt x="465" y="365"/>
                  </a:lnTo>
                  <a:lnTo>
                    <a:pt x="463" y="361"/>
                  </a:lnTo>
                  <a:lnTo>
                    <a:pt x="462" y="355"/>
                  </a:lnTo>
                  <a:lnTo>
                    <a:pt x="460" y="351"/>
                  </a:lnTo>
                  <a:lnTo>
                    <a:pt x="458" y="349"/>
                  </a:lnTo>
                  <a:lnTo>
                    <a:pt x="456" y="347"/>
                  </a:lnTo>
                  <a:lnTo>
                    <a:pt x="456" y="347"/>
                  </a:lnTo>
                  <a:lnTo>
                    <a:pt x="446" y="342"/>
                  </a:lnTo>
                  <a:lnTo>
                    <a:pt x="439" y="340"/>
                  </a:lnTo>
                  <a:lnTo>
                    <a:pt x="431" y="336"/>
                  </a:lnTo>
                  <a:lnTo>
                    <a:pt x="425" y="334"/>
                  </a:lnTo>
                  <a:lnTo>
                    <a:pt x="418" y="330"/>
                  </a:lnTo>
                  <a:lnTo>
                    <a:pt x="412" y="328"/>
                  </a:lnTo>
                  <a:lnTo>
                    <a:pt x="404" y="325"/>
                  </a:lnTo>
                  <a:lnTo>
                    <a:pt x="399" y="317"/>
                  </a:lnTo>
                  <a:lnTo>
                    <a:pt x="399" y="317"/>
                  </a:lnTo>
                  <a:lnTo>
                    <a:pt x="393" y="311"/>
                  </a:lnTo>
                  <a:lnTo>
                    <a:pt x="389" y="305"/>
                  </a:lnTo>
                  <a:lnTo>
                    <a:pt x="383" y="298"/>
                  </a:lnTo>
                  <a:lnTo>
                    <a:pt x="380" y="290"/>
                  </a:lnTo>
                  <a:lnTo>
                    <a:pt x="374" y="283"/>
                  </a:lnTo>
                  <a:lnTo>
                    <a:pt x="368" y="277"/>
                  </a:lnTo>
                  <a:lnTo>
                    <a:pt x="362" y="271"/>
                  </a:lnTo>
                  <a:lnTo>
                    <a:pt x="355" y="267"/>
                  </a:lnTo>
                  <a:lnTo>
                    <a:pt x="355" y="267"/>
                  </a:lnTo>
                  <a:lnTo>
                    <a:pt x="351" y="265"/>
                  </a:lnTo>
                  <a:lnTo>
                    <a:pt x="345" y="264"/>
                  </a:lnTo>
                  <a:lnTo>
                    <a:pt x="341" y="262"/>
                  </a:lnTo>
                  <a:lnTo>
                    <a:pt x="338" y="262"/>
                  </a:lnTo>
                  <a:lnTo>
                    <a:pt x="334" y="262"/>
                  </a:lnTo>
                  <a:lnTo>
                    <a:pt x="328" y="260"/>
                  </a:lnTo>
                  <a:lnTo>
                    <a:pt x="324" y="260"/>
                  </a:lnTo>
                  <a:lnTo>
                    <a:pt x="320" y="260"/>
                  </a:lnTo>
                  <a:lnTo>
                    <a:pt x="317" y="258"/>
                  </a:lnTo>
                  <a:lnTo>
                    <a:pt x="311" y="258"/>
                  </a:lnTo>
                  <a:lnTo>
                    <a:pt x="307" y="256"/>
                  </a:lnTo>
                  <a:lnTo>
                    <a:pt x="303" y="256"/>
                  </a:lnTo>
                  <a:lnTo>
                    <a:pt x="299" y="254"/>
                  </a:lnTo>
                  <a:lnTo>
                    <a:pt x="296" y="252"/>
                  </a:lnTo>
                  <a:lnTo>
                    <a:pt x="290" y="248"/>
                  </a:lnTo>
                  <a:lnTo>
                    <a:pt x="286" y="246"/>
                  </a:lnTo>
                  <a:lnTo>
                    <a:pt x="286" y="246"/>
                  </a:lnTo>
                  <a:lnTo>
                    <a:pt x="282" y="243"/>
                  </a:lnTo>
                  <a:lnTo>
                    <a:pt x="278" y="239"/>
                  </a:lnTo>
                  <a:lnTo>
                    <a:pt x="277" y="233"/>
                  </a:lnTo>
                  <a:lnTo>
                    <a:pt x="275" y="227"/>
                  </a:lnTo>
                  <a:lnTo>
                    <a:pt x="273" y="223"/>
                  </a:lnTo>
                  <a:lnTo>
                    <a:pt x="271" y="218"/>
                  </a:lnTo>
                  <a:lnTo>
                    <a:pt x="265" y="214"/>
                  </a:lnTo>
                  <a:lnTo>
                    <a:pt x="259" y="210"/>
                  </a:lnTo>
                  <a:lnTo>
                    <a:pt x="259" y="210"/>
                  </a:lnTo>
                  <a:lnTo>
                    <a:pt x="256" y="212"/>
                  </a:lnTo>
                  <a:lnTo>
                    <a:pt x="252" y="212"/>
                  </a:lnTo>
                  <a:lnTo>
                    <a:pt x="248" y="210"/>
                  </a:lnTo>
                  <a:lnTo>
                    <a:pt x="242" y="206"/>
                  </a:lnTo>
                  <a:lnTo>
                    <a:pt x="238" y="201"/>
                  </a:lnTo>
                  <a:lnTo>
                    <a:pt x="233" y="195"/>
                  </a:lnTo>
                  <a:lnTo>
                    <a:pt x="227" y="187"/>
                  </a:lnTo>
                  <a:lnTo>
                    <a:pt x="221" y="180"/>
                  </a:lnTo>
                  <a:lnTo>
                    <a:pt x="217" y="170"/>
                  </a:lnTo>
                  <a:lnTo>
                    <a:pt x="212" y="162"/>
                  </a:lnTo>
                  <a:lnTo>
                    <a:pt x="208" y="153"/>
                  </a:lnTo>
                  <a:lnTo>
                    <a:pt x="204" y="143"/>
                  </a:lnTo>
                  <a:lnTo>
                    <a:pt x="200" y="136"/>
                  </a:lnTo>
                  <a:lnTo>
                    <a:pt x="198" y="130"/>
                  </a:lnTo>
                  <a:lnTo>
                    <a:pt x="196" y="124"/>
                  </a:lnTo>
                  <a:lnTo>
                    <a:pt x="194" y="119"/>
                  </a:lnTo>
                  <a:lnTo>
                    <a:pt x="194" y="119"/>
                  </a:lnTo>
                  <a:lnTo>
                    <a:pt x="194" y="111"/>
                  </a:lnTo>
                  <a:lnTo>
                    <a:pt x="193" y="103"/>
                  </a:lnTo>
                  <a:lnTo>
                    <a:pt x="191" y="94"/>
                  </a:lnTo>
                  <a:lnTo>
                    <a:pt x="189" y="86"/>
                  </a:lnTo>
                  <a:lnTo>
                    <a:pt x="185" y="77"/>
                  </a:lnTo>
                  <a:lnTo>
                    <a:pt x="183" y="67"/>
                  </a:lnTo>
                  <a:lnTo>
                    <a:pt x="179" y="59"/>
                  </a:lnTo>
                  <a:lnTo>
                    <a:pt x="175" y="50"/>
                  </a:lnTo>
                  <a:lnTo>
                    <a:pt x="172" y="42"/>
                  </a:lnTo>
                  <a:lnTo>
                    <a:pt x="168" y="33"/>
                  </a:lnTo>
                  <a:lnTo>
                    <a:pt x="164" y="25"/>
                  </a:lnTo>
                  <a:lnTo>
                    <a:pt x="158" y="19"/>
                  </a:lnTo>
                  <a:lnTo>
                    <a:pt x="153" y="14"/>
                  </a:lnTo>
                  <a:lnTo>
                    <a:pt x="149" y="8"/>
                  </a:lnTo>
                  <a:lnTo>
                    <a:pt x="143" y="4"/>
                  </a:lnTo>
                  <a:lnTo>
                    <a:pt x="135" y="0"/>
                  </a:lnTo>
                  <a:lnTo>
                    <a:pt x="135" y="0"/>
                  </a:lnTo>
                  <a:lnTo>
                    <a:pt x="135" y="12"/>
                  </a:lnTo>
                  <a:lnTo>
                    <a:pt x="132" y="23"/>
                  </a:lnTo>
                  <a:lnTo>
                    <a:pt x="126" y="33"/>
                  </a:lnTo>
                  <a:lnTo>
                    <a:pt x="118" y="40"/>
                  </a:lnTo>
                  <a:lnTo>
                    <a:pt x="111" y="46"/>
                  </a:lnTo>
                  <a:lnTo>
                    <a:pt x="101" y="54"/>
                  </a:lnTo>
                  <a:lnTo>
                    <a:pt x="91" y="59"/>
                  </a:lnTo>
                  <a:lnTo>
                    <a:pt x="80" y="65"/>
                  </a:lnTo>
                  <a:lnTo>
                    <a:pt x="69" y="71"/>
                  </a:lnTo>
                  <a:lnTo>
                    <a:pt x="59" y="77"/>
                  </a:lnTo>
                  <a:lnTo>
                    <a:pt x="50" y="82"/>
                  </a:lnTo>
                  <a:lnTo>
                    <a:pt x="42" y="90"/>
                  </a:lnTo>
                  <a:lnTo>
                    <a:pt x="34" y="98"/>
                  </a:lnTo>
                  <a:lnTo>
                    <a:pt x="29" y="105"/>
                  </a:lnTo>
                  <a:lnTo>
                    <a:pt x="25" y="117"/>
                  </a:lnTo>
                  <a:lnTo>
                    <a:pt x="25" y="128"/>
                  </a:lnTo>
                  <a:lnTo>
                    <a:pt x="25" y="128"/>
                  </a:lnTo>
                  <a:lnTo>
                    <a:pt x="25" y="130"/>
                  </a:lnTo>
                  <a:lnTo>
                    <a:pt x="25" y="134"/>
                  </a:lnTo>
                  <a:lnTo>
                    <a:pt x="25" y="138"/>
                  </a:lnTo>
                  <a:lnTo>
                    <a:pt x="25" y="140"/>
                  </a:lnTo>
                  <a:lnTo>
                    <a:pt x="25" y="143"/>
                  </a:lnTo>
                  <a:lnTo>
                    <a:pt x="25" y="145"/>
                  </a:lnTo>
                  <a:lnTo>
                    <a:pt x="25" y="149"/>
                  </a:lnTo>
                  <a:lnTo>
                    <a:pt x="25" y="153"/>
                  </a:lnTo>
                  <a:lnTo>
                    <a:pt x="25" y="153"/>
                  </a:lnTo>
                  <a:lnTo>
                    <a:pt x="23" y="157"/>
                  </a:lnTo>
                  <a:lnTo>
                    <a:pt x="23" y="162"/>
                  </a:lnTo>
                  <a:lnTo>
                    <a:pt x="23" y="166"/>
                  </a:lnTo>
                  <a:lnTo>
                    <a:pt x="21" y="172"/>
                  </a:lnTo>
                  <a:lnTo>
                    <a:pt x="19" y="178"/>
                  </a:lnTo>
                  <a:lnTo>
                    <a:pt x="17" y="183"/>
                  </a:lnTo>
                  <a:lnTo>
                    <a:pt x="15" y="191"/>
                  </a:lnTo>
                  <a:lnTo>
                    <a:pt x="13" y="197"/>
                  </a:lnTo>
                  <a:lnTo>
                    <a:pt x="9" y="202"/>
                  </a:lnTo>
                  <a:lnTo>
                    <a:pt x="8" y="208"/>
                  </a:lnTo>
                  <a:lnTo>
                    <a:pt x="6" y="216"/>
                  </a:lnTo>
                  <a:lnTo>
                    <a:pt x="4" y="222"/>
                  </a:lnTo>
                  <a:lnTo>
                    <a:pt x="2" y="227"/>
                  </a:lnTo>
                  <a:lnTo>
                    <a:pt x="2" y="235"/>
                  </a:lnTo>
                  <a:lnTo>
                    <a:pt x="0" y="241"/>
                  </a:lnTo>
                  <a:lnTo>
                    <a:pt x="0" y="246"/>
                  </a:lnTo>
                  <a:lnTo>
                    <a:pt x="0" y="246"/>
                  </a:lnTo>
                  <a:lnTo>
                    <a:pt x="0" y="254"/>
                  </a:lnTo>
                  <a:lnTo>
                    <a:pt x="2" y="262"/>
                  </a:lnTo>
                  <a:lnTo>
                    <a:pt x="2" y="269"/>
                  </a:lnTo>
                  <a:lnTo>
                    <a:pt x="4" y="277"/>
                  </a:lnTo>
                  <a:lnTo>
                    <a:pt x="6" y="285"/>
                  </a:lnTo>
                  <a:lnTo>
                    <a:pt x="6" y="292"/>
                  </a:lnTo>
                  <a:lnTo>
                    <a:pt x="8" y="300"/>
                  </a:lnTo>
                  <a:lnTo>
                    <a:pt x="8" y="307"/>
                  </a:lnTo>
                  <a:lnTo>
                    <a:pt x="6" y="307"/>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16" name="Freeform 160"/>
            <p:cNvSpPr>
              <a:spLocks/>
            </p:cNvSpPr>
            <p:nvPr/>
          </p:nvSpPr>
          <p:spPr bwMode="gray">
            <a:xfrm>
              <a:off x="3044" y="1692"/>
              <a:ext cx="656" cy="506"/>
            </a:xfrm>
            <a:custGeom>
              <a:avLst/>
              <a:gdLst/>
              <a:ahLst/>
              <a:cxnLst>
                <a:cxn ang="0">
                  <a:pos x="246" y="55"/>
                </a:cxn>
                <a:cxn ang="0">
                  <a:pos x="229" y="108"/>
                </a:cxn>
                <a:cxn ang="0">
                  <a:pos x="231" y="154"/>
                </a:cxn>
                <a:cxn ang="0">
                  <a:pos x="216" y="181"/>
                </a:cxn>
                <a:cxn ang="0">
                  <a:pos x="193" y="185"/>
                </a:cxn>
                <a:cxn ang="0">
                  <a:pos x="174" y="217"/>
                </a:cxn>
                <a:cxn ang="0">
                  <a:pos x="157" y="257"/>
                </a:cxn>
                <a:cxn ang="0">
                  <a:pos x="147" y="309"/>
                </a:cxn>
                <a:cxn ang="0">
                  <a:pos x="126" y="337"/>
                </a:cxn>
                <a:cxn ang="0">
                  <a:pos x="98" y="362"/>
                </a:cxn>
                <a:cxn ang="0">
                  <a:pos x="98" y="383"/>
                </a:cxn>
                <a:cxn ang="0">
                  <a:pos x="82" y="429"/>
                </a:cxn>
                <a:cxn ang="0">
                  <a:pos x="80" y="475"/>
                </a:cxn>
                <a:cxn ang="0">
                  <a:pos x="77" y="511"/>
                </a:cxn>
                <a:cxn ang="0">
                  <a:pos x="40" y="530"/>
                </a:cxn>
                <a:cxn ang="0">
                  <a:pos x="14" y="547"/>
                </a:cxn>
                <a:cxn ang="0">
                  <a:pos x="2" y="562"/>
                </a:cxn>
                <a:cxn ang="0">
                  <a:pos x="18" y="581"/>
                </a:cxn>
                <a:cxn ang="0">
                  <a:pos x="58" y="591"/>
                </a:cxn>
                <a:cxn ang="0">
                  <a:pos x="101" y="629"/>
                </a:cxn>
                <a:cxn ang="0">
                  <a:pos x="140" y="673"/>
                </a:cxn>
                <a:cxn ang="0">
                  <a:pos x="151" y="702"/>
                </a:cxn>
                <a:cxn ang="0">
                  <a:pos x="161" y="738"/>
                </a:cxn>
                <a:cxn ang="0">
                  <a:pos x="182" y="761"/>
                </a:cxn>
                <a:cxn ang="0">
                  <a:pos x="216" y="768"/>
                </a:cxn>
                <a:cxn ang="0">
                  <a:pos x="227" y="814"/>
                </a:cxn>
                <a:cxn ang="0">
                  <a:pos x="233" y="828"/>
                </a:cxn>
                <a:cxn ang="0">
                  <a:pos x="281" y="849"/>
                </a:cxn>
                <a:cxn ang="0">
                  <a:pos x="348" y="873"/>
                </a:cxn>
                <a:cxn ang="0">
                  <a:pos x="456" y="906"/>
                </a:cxn>
                <a:cxn ang="0">
                  <a:pos x="504" y="919"/>
                </a:cxn>
                <a:cxn ang="0">
                  <a:pos x="542" y="904"/>
                </a:cxn>
                <a:cxn ang="0">
                  <a:pos x="582" y="860"/>
                </a:cxn>
                <a:cxn ang="0">
                  <a:pos x="624" y="852"/>
                </a:cxn>
                <a:cxn ang="0">
                  <a:pos x="657" y="873"/>
                </a:cxn>
                <a:cxn ang="0">
                  <a:pos x="754" y="850"/>
                </a:cxn>
                <a:cxn ang="0">
                  <a:pos x="830" y="799"/>
                </a:cxn>
                <a:cxn ang="0">
                  <a:pos x="853" y="454"/>
                </a:cxn>
                <a:cxn ang="0">
                  <a:pos x="813" y="425"/>
                </a:cxn>
                <a:cxn ang="0">
                  <a:pos x="779" y="379"/>
                </a:cxn>
                <a:cxn ang="0">
                  <a:pos x="754" y="347"/>
                </a:cxn>
                <a:cxn ang="0">
                  <a:pos x="737" y="322"/>
                </a:cxn>
                <a:cxn ang="0">
                  <a:pos x="765" y="284"/>
                </a:cxn>
                <a:cxn ang="0">
                  <a:pos x="748" y="276"/>
                </a:cxn>
                <a:cxn ang="0">
                  <a:pos x="693" y="299"/>
                </a:cxn>
                <a:cxn ang="0">
                  <a:pos x="668" y="265"/>
                </a:cxn>
                <a:cxn ang="0">
                  <a:pos x="674" y="215"/>
                </a:cxn>
                <a:cxn ang="0">
                  <a:pos x="706" y="171"/>
                </a:cxn>
                <a:cxn ang="0">
                  <a:pos x="664" y="127"/>
                </a:cxn>
                <a:cxn ang="0">
                  <a:pos x="617" y="91"/>
                </a:cxn>
                <a:cxn ang="0">
                  <a:pos x="601" y="68"/>
                </a:cxn>
                <a:cxn ang="0">
                  <a:pos x="578" y="43"/>
                </a:cxn>
                <a:cxn ang="0">
                  <a:pos x="538" y="28"/>
                </a:cxn>
                <a:cxn ang="0">
                  <a:pos x="500" y="24"/>
                </a:cxn>
                <a:cxn ang="0">
                  <a:pos x="464" y="28"/>
                </a:cxn>
                <a:cxn ang="0">
                  <a:pos x="452" y="17"/>
                </a:cxn>
                <a:cxn ang="0">
                  <a:pos x="435" y="19"/>
                </a:cxn>
                <a:cxn ang="0">
                  <a:pos x="409" y="28"/>
                </a:cxn>
                <a:cxn ang="0">
                  <a:pos x="359" y="0"/>
                </a:cxn>
                <a:cxn ang="0">
                  <a:pos x="340" y="47"/>
                </a:cxn>
                <a:cxn ang="0">
                  <a:pos x="321" y="45"/>
                </a:cxn>
                <a:cxn ang="0">
                  <a:pos x="245" y="45"/>
                </a:cxn>
              </a:cxnLst>
              <a:rect l="0" t="0" r="r" b="b"/>
              <a:pathLst>
                <a:path w="1158" h="919">
                  <a:moveTo>
                    <a:pt x="245" y="45"/>
                  </a:moveTo>
                  <a:lnTo>
                    <a:pt x="245" y="45"/>
                  </a:lnTo>
                  <a:lnTo>
                    <a:pt x="245" y="47"/>
                  </a:lnTo>
                  <a:lnTo>
                    <a:pt x="246" y="49"/>
                  </a:lnTo>
                  <a:lnTo>
                    <a:pt x="246" y="53"/>
                  </a:lnTo>
                  <a:lnTo>
                    <a:pt x="246" y="55"/>
                  </a:lnTo>
                  <a:lnTo>
                    <a:pt x="246" y="55"/>
                  </a:lnTo>
                  <a:lnTo>
                    <a:pt x="245" y="64"/>
                  </a:lnTo>
                  <a:lnTo>
                    <a:pt x="243" y="74"/>
                  </a:lnTo>
                  <a:lnTo>
                    <a:pt x="241" y="82"/>
                  </a:lnTo>
                  <a:lnTo>
                    <a:pt x="237" y="87"/>
                  </a:lnTo>
                  <a:lnTo>
                    <a:pt x="235" y="95"/>
                  </a:lnTo>
                  <a:lnTo>
                    <a:pt x="231" y="103"/>
                  </a:lnTo>
                  <a:lnTo>
                    <a:pt x="229" y="108"/>
                  </a:lnTo>
                  <a:lnTo>
                    <a:pt x="227" y="114"/>
                  </a:lnTo>
                  <a:lnTo>
                    <a:pt x="227" y="114"/>
                  </a:lnTo>
                  <a:lnTo>
                    <a:pt x="227" y="122"/>
                  </a:lnTo>
                  <a:lnTo>
                    <a:pt x="227" y="131"/>
                  </a:lnTo>
                  <a:lnTo>
                    <a:pt x="229" y="139"/>
                  </a:lnTo>
                  <a:lnTo>
                    <a:pt x="231" y="147"/>
                  </a:lnTo>
                  <a:lnTo>
                    <a:pt x="231" y="154"/>
                  </a:lnTo>
                  <a:lnTo>
                    <a:pt x="231" y="162"/>
                  </a:lnTo>
                  <a:lnTo>
                    <a:pt x="229" y="169"/>
                  </a:lnTo>
                  <a:lnTo>
                    <a:pt x="225" y="175"/>
                  </a:lnTo>
                  <a:lnTo>
                    <a:pt x="225" y="175"/>
                  </a:lnTo>
                  <a:lnTo>
                    <a:pt x="224" y="177"/>
                  </a:lnTo>
                  <a:lnTo>
                    <a:pt x="220" y="179"/>
                  </a:lnTo>
                  <a:lnTo>
                    <a:pt x="216" y="181"/>
                  </a:lnTo>
                  <a:lnTo>
                    <a:pt x="212" y="181"/>
                  </a:lnTo>
                  <a:lnTo>
                    <a:pt x="208" y="181"/>
                  </a:lnTo>
                  <a:lnTo>
                    <a:pt x="204" y="181"/>
                  </a:lnTo>
                  <a:lnTo>
                    <a:pt x="201" y="181"/>
                  </a:lnTo>
                  <a:lnTo>
                    <a:pt x="199" y="181"/>
                  </a:lnTo>
                  <a:lnTo>
                    <a:pt x="199" y="181"/>
                  </a:lnTo>
                  <a:lnTo>
                    <a:pt x="193" y="185"/>
                  </a:lnTo>
                  <a:lnTo>
                    <a:pt x="189" y="190"/>
                  </a:lnTo>
                  <a:lnTo>
                    <a:pt x="185" y="194"/>
                  </a:lnTo>
                  <a:lnTo>
                    <a:pt x="184" y="198"/>
                  </a:lnTo>
                  <a:lnTo>
                    <a:pt x="182" y="202"/>
                  </a:lnTo>
                  <a:lnTo>
                    <a:pt x="180" y="208"/>
                  </a:lnTo>
                  <a:lnTo>
                    <a:pt x="178" y="211"/>
                  </a:lnTo>
                  <a:lnTo>
                    <a:pt x="174" y="217"/>
                  </a:lnTo>
                  <a:lnTo>
                    <a:pt x="174" y="217"/>
                  </a:lnTo>
                  <a:lnTo>
                    <a:pt x="170" y="225"/>
                  </a:lnTo>
                  <a:lnTo>
                    <a:pt x="166" y="230"/>
                  </a:lnTo>
                  <a:lnTo>
                    <a:pt x="163" y="236"/>
                  </a:lnTo>
                  <a:lnTo>
                    <a:pt x="161" y="244"/>
                  </a:lnTo>
                  <a:lnTo>
                    <a:pt x="157" y="251"/>
                  </a:lnTo>
                  <a:lnTo>
                    <a:pt x="157" y="257"/>
                  </a:lnTo>
                  <a:lnTo>
                    <a:pt x="155" y="265"/>
                  </a:lnTo>
                  <a:lnTo>
                    <a:pt x="153" y="271"/>
                  </a:lnTo>
                  <a:lnTo>
                    <a:pt x="151" y="278"/>
                  </a:lnTo>
                  <a:lnTo>
                    <a:pt x="151" y="286"/>
                  </a:lnTo>
                  <a:lnTo>
                    <a:pt x="149" y="293"/>
                  </a:lnTo>
                  <a:lnTo>
                    <a:pt x="149" y="301"/>
                  </a:lnTo>
                  <a:lnTo>
                    <a:pt x="147" y="309"/>
                  </a:lnTo>
                  <a:lnTo>
                    <a:pt x="145" y="316"/>
                  </a:lnTo>
                  <a:lnTo>
                    <a:pt x="142" y="324"/>
                  </a:lnTo>
                  <a:lnTo>
                    <a:pt x="140" y="333"/>
                  </a:lnTo>
                  <a:lnTo>
                    <a:pt x="140" y="333"/>
                  </a:lnTo>
                  <a:lnTo>
                    <a:pt x="138" y="335"/>
                  </a:lnTo>
                  <a:lnTo>
                    <a:pt x="132" y="335"/>
                  </a:lnTo>
                  <a:lnTo>
                    <a:pt x="126" y="337"/>
                  </a:lnTo>
                  <a:lnTo>
                    <a:pt x="119" y="337"/>
                  </a:lnTo>
                  <a:lnTo>
                    <a:pt x="111" y="339"/>
                  </a:lnTo>
                  <a:lnTo>
                    <a:pt x="103" y="343"/>
                  </a:lnTo>
                  <a:lnTo>
                    <a:pt x="100" y="351"/>
                  </a:lnTo>
                  <a:lnTo>
                    <a:pt x="98" y="358"/>
                  </a:lnTo>
                  <a:lnTo>
                    <a:pt x="98" y="358"/>
                  </a:lnTo>
                  <a:lnTo>
                    <a:pt x="98" y="362"/>
                  </a:lnTo>
                  <a:lnTo>
                    <a:pt x="98" y="368"/>
                  </a:lnTo>
                  <a:lnTo>
                    <a:pt x="98" y="370"/>
                  </a:lnTo>
                  <a:lnTo>
                    <a:pt x="98" y="374"/>
                  </a:lnTo>
                  <a:lnTo>
                    <a:pt x="98" y="377"/>
                  </a:lnTo>
                  <a:lnTo>
                    <a:pt x="98" y="379"/>
                  </a:lnTo>
                  <a:lnTo>
                    <a:pt x="98" y="381"/>
                  </a:lnTo>
                  <a:lnTo>
                    <a:pt x="98" y="383"/>
                  </a:lnTo>
                  <a:lnTo>
                    <a:pt x="98" y="383"/>
                  </a:lnTo>
                  <a:lnTo>
                    <a:pt x="96" y="391"/>
                  </a:lnTo>
                  <a:lnTo>
                    <a:pt x="92" y="398"/>
                  </a:lnTo>
                  <a:lnTo>
                    <a:pt x="90" y="406"/>
                  </a:lnTo>
                  <a:lnTo>
                    <a:pt x="86" y="414"/>
                  </a:lnTo>
                  <a:lnTo>
                    <a:pt x="84" y="421"/>
                  </a:lnTo>
                  <a:lnTo>
                    <a:pt x="82" y="429"/>
                  </a:lnTo>
                  <a:lnTo>
                    <a:pt x="80" y="436"/>
                  </a:lnTo>
                  <a:lnTo>
                    <a:pt x="80" y="444"/>
                  </a:lnTo>
                  <a:lnTo>
                    <a:pt x="80" y="444"/>
                  </a:lnTo>
                  <a:lnTo>
                    <a:pt x="80" y="454"/>
                  </a:lnTo>
                  <a:lnTo>
                    <a:pt x="80" y="461"/>
                  </a:lnTo>
                  <a:lnTo>
                    <a:pt x="80" y="469"/>
                  </a:lnTo>
                  <a:lnTo>
                    <a:pt x="80" y="475"/>
                  </a:lnTo>
                  <a:lnTo>
                    <a:pt x="80" y="482"/>
                  </a:lnTo>
                  <a:lnTo>
                    <a:pt x="80" y="488"/>
                  </a:lnTo>
                  <a:lnTo>
                    <a:pt x="80" y="494"/>
                  </a:lnTo>
                  <a:lnTo>
                    <a:pt x="80" y="498"/>
                  </a:lnTo>
                  <a:lnTo>
                    <a:pt x="80" y="498"/>
                  </a:lnTo>
                  <a:lnTo>
                    <a:pt x="79" y="505"/>
                  </a:lnTo>
                  <a:lnTo>
                    <a:pt x="77" y="511"/>
                  </a:lnTo>
                  <a:lnTo>
                    <a:pt x="75" y="517"/>
                  </a:lnTo>
                  <a:lnTo>
                    <a:pt x="69" y="520"/>
                  </a:lnTo>
                  <a:lnTo>
                    <a:pt x="65" y="522"/>
                  </a:lnTo>
                  <a:lnTo>
                    <a:pt x="60" y="524"/>
                  </a:lnTo>
                  <a:lnTo>
                    <a:pt x="54" y="526"/>
                  </a:lnTo>
                  <a:lnTo>
                    <a:pt x="46" y="528"/>
                  </a:lnTo>
                  <a:lnTo>
                    <a:pt x="40" y="530"/>
                  </a:lnTo>
                  <a:lnTo>
                    <a:pt x="35" y="530"/>
                  </a:lnTo>
                  <a:lnTo>
                    <a:pt x="29" y="532"/>
                  </a:lnTo>
                  <a:lnTo>
                    <a:pt x="23" y="534"/>
                  </a:lnTo>
                  <a:lnTo>
                    <a:pt x="19" y="536"/>
                  </a:lnTo>
                  <a:lnTo>
                    <a:pt x="16" y="539"/>
                  </a:lnTo>
                  <a:lnTo>
                    <a:pt x="14" y="543"/>
                  </a:lnTo>
                  <a:lnTo>
                    <a:pt x="14" y="547"/>
                  </a:lnTo>
                  <a:lnTo>
                    <a:pt x="14" y="547"/>
                  </a:lnTo>
                  <a:lnTo>
                    <a:pt x="12" y="551"/>
                  </a:lnTo>
                  <a:lnTo>
                    <a:pt x="10" y="555"/>
                  </a:lnTo>
                  <a:lnTo>
                    <a:pt x="10" y="557"/>
                  </a:lnTo>
                  <a:lnTo>
                    <a:pt x="8" y="559"/>
                  </a:lnTo>
                  <a:lnTo>
                    <a:pt x="4" y="560"/>
                  </a:lnTo>
                  <a:lnTo>
                    <a:pt x="2" y="562"/>
                  </a:lnTo>
                  <a:lnTo>
                    <a:pt x="2" y="566"/>
                  </a:lnTo>
                  <a:lnTo>
                    <a:pt x="0" y="570"/>
                  </a:lnTo>
                  <a:lnTo>
                    <a:pt x="0" y="570"/>
                  </a:lnTo>
                  <a:lnTo>
                    <a:pt x="2" y="576"/>
                  </a:lnTo>
                  <a:lnTo>
                    <a:pt x="6" y="580"/>
                  </a:lnTo>
                  <a:lnTo>
                    <a:pt x="12" y="581"/>
                  </a:lnTo>
                  <a:lnTo>
                    <a:pt x="18" y="581"/>
                  </a:lnTo>
                  <a:lnTo>
                    <a:pt x="25" y="581"/>
                  </a:lnTo>
                  <a:lnTo>
                    <a:pt x="33" y="581"/>
                  </a:lnTo>
                  <a:lnTo>
                    <a:pt x="39" y="581"/>
                  </a:lnTo>
                  <a:lnTo>
                    <a:pt x="44" y="583"/>
                  </a:lnTo>
                  <a:lnTo>
                    <a:pt x="44" y="583"/>
                  </a:lnTo>
                  <a:lnTo>
                    <a:pt x="50" y="587"/>
                  </a:lnTo>
                  <a:lnTo>
                    <a:pt x="58" y="591"/>
                  </a:lnTo>
                  <a:lnTo>
                    <a:pt x="63" y="595"/>
                  </a:lnTo>
                  <a:lnTo>
                    <a:pt x="69" y="601"/>
                  </a:lnTo>
                  <a:lnTo>
                    <a:pt x="77" y="606"/>
                  </a:lnTo>
                  <a:lnTo>
                    <a:pt x="82" y="612"/>
                  </a:lnTo>
                  <a:lnTo>
                    <a:pt x="88" y="618"/>
                  </a:lnTo>
                  <a:lnTo>
                    <a:pt x="96" y="623"/>
                  </a:lnTo>
                  <a:lnTo>
                    <a:pt x="101" y="629"/>
                  </a:lnTo>
                  <a:lnTo>
                    <a:pt x="107" y="637"/>
                  </a:lnTo>
                  <a:lnTo>
                    <a:pt x="115" y="643"/>
                  </a:lnTo>
                  <a:lnTo>
                    <a:pt x="121" y="648"/>
                  </a:lnTo>
                  <a:lnTo>
                    <a:pt x="126" y="654"/>
                  </a:lnTo>
                  <a:lnTo>
                    <a:pt x="130" y="662"/>
                  </a:lnTo>
                  <a:lnTo>
                    <a:pt x="136" y="667"/>
                  </a:lnTo>
                  <a:lnTo>
                    <a:pt x="140" y="673"/>
                  </a:lnTo>
                  <a:lnTo>
                    <a:pt x="140" y="673"/>
                  </a:lnTo>
                  <a:lnTo>
                    <a:pt x="142" y="677"/>
                  </a:lnTo>
                  <a:lnTo>
                    <a:pt x="145" y="681"/>
                  </a:lnTo>
                  <a:lnTo>
                    <a:pt x="147" y="686"/>
                  </a:lnTo>
                  <a:lnTo>
                    <a:pt x="149" y="690"/>
                  </a:lnTo>
                  <a:lnTo>
                    <a:pt x="151" y="696"/>
                  </a:lnTo>
                  <a:lnTo>
                    <a:pt x="151" y="702"/>
                  </a:lnTo>
                  <a:lnTo>
                    <a:pt x="153" y="707"/>
                  </a:lnTo>
                  <a:lnTo>
                    <a:pt x="153" y="711"/>
                  </a:lnTo>
                  <a:lnTo>
                    <a:pt x="155" y="717"/>
                  </a:lnTo>
                  <a:lnTo>
                    <a:pt x="157" y="723"/>
                  </a:lnTo>
                  <a:lnTo>
                    <a:pt x="157" y="728"/>
                  </a:lnTo>
                  <a:lnTo>
                    <a:pt x="159" y="732"/>
                  </a:lnTo>
                  <a:lnTo>
                    <a:pt x="161" y="738"/>
                  </a:lnTo>
                  <a:lnTo>
                    <a:pt x="163" y="744"/>
                  </a:lnTo>
                  <a:lnTo>
                    <a:pt x="166" y="747"/>
                  </a:lnTo>
                  <a:lnTo>
                    <a:pt x="168" y="753"/>
                  </a:lnTo>
                  <a:lnTo>
                    <a:pt x="168" y="753"/>
                  </a:lnTo>
                  <a:lnTo>
                    <a:pt x="172" y="757"/>
                  </a:lnTo>
                  <a:lnTo>
                    <a:pt x="178" y="759"/>
                  </a:lnTo>
                  <a:lnTo>
                    <a:pt x="182" y="761"/>
                  </a:lnTo>
                  <a:lnTo>
                    <a:pt x="187" y="761"/>
                  </a:lnTo>
                  <a:lnTo>
                    <a:pt x="193" y="763"/>
                  </a:lnTo>
                  <a:lnTo>
                    <a:pt x="199" y="763"/>
                  </a:lnTo>
                  <a:lnTo>
                    <a:pt x="204" y="763"/>
                  </a:lnTo>
                  <a:lnTo>
                    <a:pt x="210" y="765"/>
                  </a:lnTo>
                  <a:lnTo>
                    <a:pt x="210" y="765"/>
                  </a:lnTo>
                  <a:lnTo>
                    <a:pt x="216" y="768"/>
                  </a:lnTo>
                  <a:lnTo>
                    <a:pt x="222" y="772"/>
                  </a:lnTo>
                  <a:lnTo>
                    <a:pt x="224" y="778"/>
                  </a:lnTo>
                  <a:lnTo>
                    <a:pt x="225" y="786"/>
                  </a:lnTo>
                  <a:lnTo>
                    <a:pt x="227" y="793"/>
                  </a:lnTo>
                  <a:lnTo>
                    <a:pt x="227" y="801"/>
                  </a:lnTo>
                  <a:lnTo>
                    <a:pt x="227" y="808"/>
                  </a:lnTo>
                  <a:lnTo>
                    <a:pt x="227" y="814"/>
                  </a:lnTo>
                  <a:lnTo>
                    <a:pt x="227" y="814"/>
                  </a:lnTo>
                  <a:lnTo>
                    <a:pt x="227" y="816"/>
                  </a:lnTo>
                  <a:lnTo>
                    <a:pt x="229" y="818"/>
                  </a:lnTo>
                  <a:lnTo>
                    <a:pt x="229" y="822"/>
                  </a:lnTo>
                  <a:lnTo>
                    <a:pt x="231" y="824"/>
                  </a:lnTo>
                  <a:lnTo>
                    <a:pt x="231" y="826"/>
                  </a:lnTo>
                  <a:lnTo>
                    <a:pt x="233" y="828"/>
                  </a:lnTo>
                  <a:lnTo>
                    <a:pt x="233" y="829"/>
                  </a:lnTo>
                  <a:lnTo>
                    <a:pt x="233" y="831"/>
                  </a:lnTo>
                  <a:lnTo>
                    <a:pt x="233" y="831"/>
                  </a:lnTo>
                  <a:lnTo>
                    <a:pt x="246" y="837"/>
                  </a:lnTo>
                  <a:lnTo>
                    <a:pt x="260" y="841"/>
                  </a:lnTo>
                  <a:lnTo>
                    <a:pt x="269" y="845"/>
                  </a:lnTo>
                  <a:lnTo>
                    <a:pt x="281" y="849"/>
                  </a:lnTo>
                  <a:lnTo>
                    <a:pt x="292" y="852"/>
                  </a:lnTo>
                  <a:lnTo>
                    <a:pt x="302" y="854"/>
                  </a:lnTo>
                  <a:lnTo>
                    <a:pt x="311" y="858"/>
                  </a:lnTo>
                  <a:lnTo>
                    <a:pt x="321" y="862"/>
                  </a:lnTo>
                  <a:lnTo>
                    <a:pt x="330" y="866"/>
                  </a:lnTo>
                  <a:lnTo>
                    <a:pt x="340" y="870"/>
                  </a:lnTo>
                  <a:lnTo>
                    <a:pt x="348" y="873"/>
                  </a:lnTo>
                  <a:lnTo>
                    <a:pt x="357" y="877"/>
                  </a:lnTo>
                  <a:lnTo>
                    <a:pt x="367" y="885"/>
                  </a:lnTo>
                  <a:lnTo>
                    <a:pt x="376" y="891"/>
                  </a:lnTo>
                  <a:lnTo>
                    <a:pt x="388" y="898"/>
                  </a:lnTo>
                  <a:lnTo>
                    <a:pt x="397" y="906"/>
                  </a:lnTo>
                  <a:lnTo>
                    <a:pt x="456" y="906"/>
                  </a:lnTo>
                  <a:lnTo>
                    <a:pt x="456" y="906"/>
                  </a:lnTo>
                  <a:lnTo>
                    <a:pt x="460" y="908"/>
                  </a:lnTo>
                  <a:lnTo>
                    <a:pt x="466" y="912"/>
                  </a:lnTo>
                  <a:lnTo>
                    <a:pt x="473" y="913"/>
                  </a:lnTo>
                  <a:lnTo>
                    <a:pt x="481" y="915"/>
                  </a:lnTo>
                  <a:lnTo>
                    <a:pt x="489" y="917"/>
                  </a:lnTo>
                  <a:lnTo>
                    <a:pt x="496" y="919"/>
                  </a:lnTo>
                  <a:lnTo>
                    <a:pt x="504" y="919"/>
                  </a:lnTo>
                  <a:lnTo>
                    <a:pt x="512" y="919"/>
                  </a:lnTo>
                  <a:lnTo>
                    <a:pt x="512" y="919"/>
                  </a:lnTo>
                  <a:lnTo>
                    <a:pt x="517" y="919"/>
                  </a:lnTo>
                  <a:lnTo>
                    <a:pt x="525" y="917"/>
                  </a:lnTo>
                  <a:lnTo>
                    <a:pt x="531" y="913"/>
                  </a:lnTo>
                  <a:lnTo>
                    <a:pt x="536" y="910"/>
                  </a:lnTo>
                  <a:lnTo>
                    <a:pt x="542" y="904"/>
                  </a:lnTo>
                  <a:lnTo>
                    <a:pt x="548" y="898"/>
                  </a:lnTo>
                  <a:lnTo>
                    <a:pt x="552" y="891"/>
                  </a:lnTo>
                  <a:lnTo>
                    <a:pt x="557" y="885"/>
                  </a:lnTo>
                  <a:lnTo>
                    <a:pt x="563" y="877"/>
                  </a:lnTo>
                  <a:lnTo>
                    <a:pt x="569" y="871"/>
                  </a:lnTo>
                  <a:lnTo>
                    <a:pt x="575" y="866"/>
                  </a:lnTo>
                  <a:lnTo>
                    <a:pt x="582" y="860"/>
                  </a:lnTo>
                  <a:lnTo>
                    <a:pt x="588" y="856"/>
                  </a:lnTo>
                  <a:lnTo>
                    <a:pt x="596" y="852"/>
                  </a:lnTo>
                  <a:lnTo>
                    <a:pt x="603" y="850"/>
                  </a:lnTo>
                  <a:lnTo>
                    <a:pt x="611" y="849"/>
                  </a:lnTo>
                  <a:lnTo>
                    <a:pt x="611" y="849"/>
                  </a:lnTo>
                  <a:lnTo>
                    <a:pt x="618" y="850"/>
                  </a:lnTo>
                  <a:lnTo>
                    <a:pt x="624" y="852"/>
                  </a:lnTo>
                  <a:lnTo>
                    <a:pt x="630" y="856"/>
                  </a:lnTo>
                  <a:lnTo>
                    <a:pt x="634" y="860"/>
                  </a:lnTo>
                  <a:lnTo>
                    <a:pt x="637" y="866"/>
                  </a:lnTo>
                  <a:lnTo>
                    <a:pt x="641" y="870"/>
                  </a:lnTo>
                  <a:lnTo>
                    <a:pt x="649" y="871"/>
                  </a:lnTo>
                  <a:lnTo>
                    <a:pt x="657" y="873"/>
                  </a:lnTo>
                  <a:lnTo>
                    <a:pt x="657" y="873"/>
                  </a:lnTo>
                  <a:lnTo>
                    <a:pt x="672" y="871"/>
                  </a:lnTo>
                  <a:lnTo>
                    <a:pt x="685" y="871"/>
                  </a:lnTo>
                  <a:lnTo>
                    <a:pt x="700" y="868"/>
                  </a:lnTo>
                  <a:lnTo>
                    <a:pt x="714" y="866"/>
                  </a:lnTo>
                  <a:lnTo>
                    <a:pt x="727" y="860"/>
                  </a:lnTo>
                  <a:lnTo>
                    <a:pt x="741" y="856"/>
                  </a:lnTo>
                  <a:lnTo>
                    <a:pt x="754" y="850"/>
                  </a:lnTo>
                  <a:lnTo>
                    <a:pt x="765" y="843"/>
                  </a:lnTo>
                  <a:lnTo>
                    <a:pt x="779" y="837"/>
                  </a:lnTo>
                  <a:lnTo>
                    <a:pt x="790" y="831"/>
                  </a:lnTo>
                  <a:lnTo>
                    <a:pt x="802" y="824"/>
                  </a:lnTo>
                  <a:lnTo>
                    <a:pt x="811" y="816"/>
                  </a:lnTo>
                  <a:lnTo>
                    <a:pt x="823" y="808"/>
                  </a:lnTo>
                  <a:lnTo>
                    <a:pt x="830" y="799"/>
                  </a:lnTo>
                  <a:lnTo>
                    <a:pt x="840" y="791"/>
                  </a:lnTo>
                  <a:lnTo>
                    <a:pt x="847" y="784"/>
                  </a:lnTo>
                  <a:lnTo>
                    <a:pt x="943" y="784"/>
                  </a:lnTo>
                  <a:lnTo>
                    <a:pt x="1158" y="519"/>
                  </a:lnTo>
                  <a:lnTo>
                    <a:pt x="1158" y="522"/>
                  </a:lnTo>
                  <a:lnTo>
                    <a:pt x="1072" y="522"/>
                  </a:lnTo>
                  <a:lnTo>
                    <a:pt x="853" y="454"/>
                  </a:lnTo>
                  <a:lnTo>
                    <a:pt x="853" y="454"/>
                  </a:lnTo>
                  <a:lnTo>
                    <a:pt x="845" y="450"/>
                  </a:lnTo>
                  <a:lnTo>
                    <a:pt x="838" y="446"/>
                  </a:lnTo>
                  <a:lnTo>
                    <a:pt x="830" y="442"/>
                  </a:lnTo>
                  <a:lnTo>
                    <a:pt x="824" y="436"/>
                  </a:lnTo>
                  <a:lnTo>
                    <a:pt x="819" y="431"/>
                  </a:lnTo>
                  <a:lnTo>
                    <a:pt x="813" y="425"/>
                  </a:lnTo>
                  <a:lnTo>
                    <a:pt x="807" y="419"/>
                  </a:lnTo>
                  <a:lnTo>
                    <a:pt x="802" y="414"/>
                  </a:lnTo>
                  <a:lnTo>
                    <a:pt x="798" y="408"/>
                  </a:lnTo>
                  <a:lnTo>
                    <a:pt x="792" y="400"/>
                  </a:lnTo>
                  <a:lnTo>
                    <a:pt x="788" y="393"/>
                  </a:lnTo>
                  <a:lnTo>
                    <a:pt x="782" y="385"/>
                  </a:lnTo>
                  <a:lnTo>
                    <a:pt x="779" y="379"/>
                  </a:lnTo>
                  <a:lnTo>
                    <a:pt x="773" y="372"/>
                  </a:lnTo>
                  <a:lnTo>
                    <a:pt x="769" y="364"/>
                  </a:lnTo>
                  <a:lnTo>
                    <a:pt x="763" y="356"/>
                  </a:lnTo>
                  <a:lnTo>
                    <a:pt x="763" y="356"/>
                  </a:lnTo>
                  <a:lnTo>
                    <a:pt x="761" y="354"/>
                  </a:lnTo>
                  <a:lnTo>
                    <a:pt x="758" y="351"/>
                  </a:lnTo>
                  <a:lnTo>
                    <a:pt x="754" y="347"/>
                  </a:lnTo>
                  <a:lnTo>
                    <a:pt x="748" y="341"/>
                  </a:lnTo>
                  <a:lnTo>
                    <a:pt x="744" y="335"/>
                  </a:lnTo>
                  <a:lnTo>
                    <a:pt x="741" y="332"/>
                  </a:lnTo>
                  <a:lnTo>
                    <a:pt x="737" y="328"/>
                  </a:lnTo>
                  <a:lnTo>
                    <a:pt x="735" y="328"/>
                  </a:lnTo>
                  <a:lnTo>
                    <a:pt x="735" y="328"/>
                  </a:lnTo>
                  <a:lnTo>
                    <a:pt x="737" y="322"/>
                  </a:lnTo>
                  <a:lnTo>
                    <a:pt x="739" y="316"/>
                  </a:lnTo>
                  <a:lnTo>
                    <a:pt x="742" y="311"/>
                  </a:lnTo>
                  <a:lnTo>
                    <a:pt x="746" y="305"/>
                  </a:lnTo>
                  <a:lnTo>
                    <a:pt x="752" y="299"/>
                  </a:lnTo>
                  <a:lnTo>
                    <a:pt x="756" y="293"/>
                  </a:lnTo>
                  <a:lnTo>
                    <a:pt x="760" y="288"/>
                  </a:lnTo>
                  <a:lnTo>
                    <a:pt x="765" y="284"/>
                  </a:lnTo>
                  <a:lnTo>
                    <a:pt x="765" y="284"/>
                  </a:lnTo>
                  <a:lnTo>
                    <a:pt x="761" y="282"/>
                  </a:lnTo>
                  <a:lnTo>
                    <a:pt x="760" y="280"/>
                  </a:lnTo>
                  <a:lnTo>
                    <a:pt x="758" y="276"/>
                  </a:lnTo>
                  <a:lnTo>
                    <a:pt x="754" y="276"/>
                  </a:lnTo>
                  <a:lnTo>
                    <a:pt x="754" y="276"/>
                  </a:lnTo>
                  <a:lnTo>
                    <a:pt x="748" y="276"/>
                  </a:lnTo>
                  <a:lnTo>
                    <a:pt x="741" y="280"/>
                  </a:lnTo>
                  <a:lnTo>
                    <a:pt x="735" y="282"/>
                  </a:lnTo>
                  <a:lnTo>
                    <a:pt x="725" y="286"/>
                  </a:lnTo>
                  <a:lnTo>
                    <a:pt x="716" y="290"/>
                  </a:lnTo>
                  <a:lnTo>
                    <a:pt x="708" y="293"/>
                  </a:lnTo>
                  <a:lnTo>
                    <a:pt x="700" y="297"/>
                  </a:lnTo>
                  <a:lnTo>
                    <a:pt x="693" y="299"/>
                  </a:lnTo>
                  <a:lnTo>
                    <a:pt x="664" y="299"/>
                  </a:lnTo>
                  <a:lnTo>
                    <a:pt x="664" y="299"/>
                  </a:lnTo>
                  <a:lnTo>
                    <a:pt x="668" y="293"/>
                  </a:lnTo>
                  <a:lnTo>
                    <a:pt x="670" y="288"/>
                  </a:lnTo>
                  <a:lnTo>
                    <a:pt x="670" y="280"/>
                  </a:lnTo>
                  <a:lnTo>
                    <a:pt x="668" y="272"/>
                  </a:lnTo>
                  <a:lnTo>
                    <a:pt x="668" y="265"/>
                  </a:lnTo>
                  <a:lnTo>
                    <a:pt x="666" y="255"/>
                  </a:lnTo>
                  <a:lnTo>
                    <a:pt x="666" y="248"/>
                  </a:lnTo>
                  <a:lnTo>
                    <a:pt x="664" y="238"/>
                  </a:lnTo>
                  <a:lnTo>
                    <a:pt x="664" y="238"/>
                  </a:lnTo>
                  <a:lnTo>
                    <a:pt x="666" y="230"/>
                  </a:lnTo>
                  <a:lnTo>
                    <a:pt x="668" y="223"/>
                  </a:lnTo>
                  <a:lnTo>
                    <a:pt x="674" y="215"/>
                  </a:lnTo>
                  <a:lnTo>
                    <a:pt x="679" y="208"/>
                  </a:lnTo>
                  <a:lnTo>
                    <a:pt x="685" y="200"/>
                  </a:lnTo>
                  <a:lnTo>
                    <a:pt x="693" y="192"/>
                  </a:lnTo>
                  <a:lnTo>
                    <a:pt x="702" y="187"/>
                  </a:lnTo>
                  <a:lnTo>
                    <a:pt x="710" y="179"/>
                  </a:lnTo>
                  <a:lnTo>
                    <a:pt x="710" y="179"/>
                  </a:lnTo>
                  <a:lnTo>
                    <a:pt x="706" y="171"/>
                  </a:lnTo>
                  <a:lnTo>
                    <a:pt x="700" y="164"/>
                  </a:lnTo>
                  <a:lnTo>
                    <a:pt x="697" y="158"/>
                  </a:lnTo>
                  <a:lnTo>
                    <a:pt x="691" y="150"/>
                  </a:lnTo>
                  <a:lnTo>
                    <a:pt x="683" y="145"/>
                  </a:lnTo>
                  <a:lnTo>
                    <a:pt x="678" y="139"/>
                  </a:lnTo>
                  <a:lnTo>
                    <a:pt x="670" y="133"/>
                  </a:lnTo>
                  <a:lnTo>
                    <a:pt x="664" y="127"/>
                  </a:lnTo>
                  <a:lnTo>
                    <a:pt x="657" y="124"/>
                  </a:lnTo>
                  <a:lnTo>
                    <a:pt x="651" y="118"/>
                  </a:lnTo>
                  <a:lnTo>
                    <a:pt x="643" y="112"/>
                  </a:lnTo>
                  <a:lnTo>
                    <a:pt x="636" y="108"/>
                  </a:lnTo>
                  <a:lnTo>
                    <a:pt x="630" y="103"/>
                  </a:lnTo>
                  <a:lnTo>
                    <a:pt x="622" y="97"/>
                  </a:lnTo>
                  <a:lnTo>
                    <a:pt x="617" y="91"/>
                  </a:lnTo>
                  <a:lnTo>
                    <a:pt x="611" y="87"/>
                  </a:lnTo>
                  <a:lnTo>
                    <a:pt x="611" y="87"/>
                  </a:lnTo>
                  <a:lnTo>
                    <a:pt x="607" y="84"/>
                  </a:lnTo>
                  <a:lnTo>
                    <a:pt x="605" y="80"/>
                  </a:lnTo>
                  <a:lnTo>
                    <a:pt x="605" y="76"/>
                  </a:lnTo>
                  <a:lnTo>
                    <a:pt x="603" y="72"/>
                  </a:lnTo>
                  <a:lnTo>
                    <a:pt x="601" y="68"/>
                  </a:lnTo>
                  <a:lnTo>
                    <a:pt x="599" y="64"/>
                  </a:lnTo>
                  <a:lnTo>
                    <a:pt x="597" y="61"/>
                  </a:lnTo>
                  <a:lnTo>
                    <a:pt x="596" y="57"/>
                  </a:lnTo>
                  <a:lnTo>
                    <a:pt x="596" y="57"/>
                  </a:lnTo>
                  <a:lnTo>
                    <a:pt x="590" y="53"/>
                  </a:lnTo>
                  <a:lnTo>
                    <a:pt x="584" y="47"/>
                  </a:lnTo>
                  <a:lnTo>
                    <a:pt x="578" y="43"/>
                  </a:lnTo>
                  <a:lnTo>
                    <a:pt x="573" y="42"/>
                  </a:lnTo>
                  <a:lnTo>
                    <a:pt x="569" y="38"/>
                  </a:lnTo>
                  <a:lnTo>
                    <a:pt x="563" y="36"/>
                  </a:lnTo>
                  <a:lnTo>
                    <a:pt x="557" y="32"/>
                  </a:lnTo>
                  <a:lnTo>
                    <a:pt x="552" y="30"/>
                  </a:lnTo>
                  <a:lnTo>
                    <a:pt x="544" y="28"/>
                  </a:lnTo>
                  <a:lnTo>
                    <a:pt x="538" y="28"/>
                  </a:lnTo>
                  <a:lnTo>
                    <a:pt x="533" y="26"/>
                  </a:lnTo>
                  <a:lnTo>
                    <a:pt x="527" y="26"/>
                  </a:lnTo>
                  <a:lnTo>
                    <a:pt x="519" y="24"/>
                  </a:lnTo>
                  <a:lnTo>
                    <a:pt x="514" y="24"/>
                  </a:lnTo>
                  <a:lnTo>
                    <a:pt x="506" y="24"/>
                  </a:lnTo>
                  <a:lnTo>
                    <a:pt x="500" y="24"/>
                  </a:lnTo>
                  <a:lnTo>
                    <a:pt x="500" y="24"/>
                  </a:lnTo>
                  <a:lnTo>
                    <a:pt x="494" y="24"/>
                  </a:lnTo>
                  <a:lnTo>
                    <a:pt x="489" y="24"/>
                  </a:lnTo>
                  <a:lnTo>
                    <a:pt x="485" y="24"/>
                  </a:lnTo>
                  <a:lnTo>
                    <a:pt x="479" y="24"/>
                  </a:lnTo>
                  <a:lnTo>
                    <a:pt x="473" y="24"/>
                  </a:lnTo>
                  <a:lnTo>
                    <a:pt x="470" y="26"/>
                  </a:lnTo>
                  <a:lnTo>
                    <a:pt x="464" y="28"/>
                  </a:lnTo>
                  <a:lnTo>
                    <a:pt x="458" y="28"/>
                  </a:lnTo>
                  <a:lnTo>
                    <a:pt x="458" y="28"/>
                  </a:lnTo>
                  <a:lnTo>
                    <a:pt x="458" y="26"/>
                  </a:lnTo>
                  <a:lnTo>
                    <a:pt x="456" y="24"/>
                  </a:lnTo>
                  <a:lnTo>
                    <a:pt x="456" y="23"/>
                  </a:lnTo>
                  <a:lnTo>
                    <a:pt x="454" y="21"/>
                  </a:lnTo>
                  <a:lnTo>
                    <a:pt x="452" y="17"/>
                  </a:lnTo>
                  <a:lnTo>
                    <a:pt x="451" y="15"/>
                  </a:lnTo>
                  <a:lnTo>
                    <a:pt x="449" y="15"/>
                  </a:lnTo>
                  <a:lnTo>
                    <a:pt x="445" y="15"/>
                  </a:lnTo>
                  <a:lnTo>
                    <a:pt x="445" y="15"/>
                  </a:lnTo>
                  <a:lnTo>
                    <a:pt x="441" y="15"/>
                  </a:lnTo>
                  <a:lnTo>
                    <a:pt x="437" y="17"/>
                  </a:lnTo>
                  <a:lnTo>
                    <a:pt x="435" y="19"/>
                  </a:lnTo>
                  <a:lnTo>
                    <a:pt x="433" y="21"/>
                  </a:lnTo>
                  <a:lnTo>
                    <a:pt x="430" y="24"/>
                  </a:lnTo>
                  <a:lnTo>
                    <a:pt x="428" y="26"/>
                  </a:lnTo>
                  <a:lnTo>
                    <a:pt x="424" y="28"/>
                  </a:lnTo>
                  <a:lnTo>
                    <a:pt x="418" y="28"/>
                  </a:lnTo>
                  <a:lnTo>
                    <a:pt x="418" y="28"/>
                  </a:lnTo>
                  <a:lnTo>
                    <a:pt x="409" y="28"/>
                  </a:lnTo>
                  <a:lnTo>
                    <a:pt x="399" y="26"/>
                  </a:lnTo>
                  <a:lnTo>
                    <a:pt x="393" y="23"/>
                  </a:lnTo>
                  <a:lnTo>
                    <a:pt x="386" y="17"/>
                  </a:lnTo>
                  <a:lnTo>
                    <a:pt x="380" y="13"/>
                  </a:lnTo>
                  <a:lnTo>
                    <a:pt x="372" y="7"/>
                  </a:lnTo>
                  <a:lnTo>
                    <a:pt x="367" y="3"/>
                  </a:lnTo>
                  <a:lnTo>
                    <a:pt x="359" y="0"/>
                  </a:lnTo>
                  <a:lnTo>
                    <a:pt x="359" y="0"/>
                  </a:lnTo>
                  <a:lnTo>
                    <a:pt x="357" y="5"/>
                  </a:lnTo>
                  <a:lnTo>
                    <a:pt x="353" y="13"/>
                  </a:lnTo>
                  <a:lnTo>
                    <a:pt x="351" y="23"/>
                  </a:lnTo>
                  <a:lnTo>
                    <a:pt x="348" y="32"/>
                  </a:lnTo>
                  <a:lnTo>
                    <a:pt x="344" y="40"/>
                  </a:lnTo>
                  <a:lnTo>
                    <a:pt x="340" y="47"/>
                  </a:lnTo>
                  <a:lnTo>
                    <a:pt x="336" y="53"/>
                  </a:lnTo>
                  <a:lnTo>
                    <a:pt x="332" y="55"/>
                  </a:lnTo>
                  <a:lnTo>
                    <a:pt x="332" y="55"/>
                  </a:lnTo>
                  <a:lnTo>
                    <a:pt x="328" y="55"/>
                  </a:lnTo>
                  <a:lnTo>
                    <a:pt x="325" y="53"/>
                  </a:lnTo>
                  <a:lnTo>
                    <a:pt x="323" y="49"/>
                  </a:lnTo>
                  <a:lnTo>
                    <a:pt x="321" y="45"/>
                  </a:lnTo>
                  <a:lnTo>
                    <a:pt x="319" y="43"/>
                  </a:lnTo>
                  <a:lnTo>
                    <a:pt x="317" y="40"/>
                  </a:lnTo>
                  <a:lnTo>
                    <a:pt x="315" y="36"/>
                  </a:lnTo>
                  <a:lnTo>
                    <a:pt x="311" y="34"/>
                  </a:lnTo>
                  <a:lnTo>
                    <a:pt x="287" y="49"/>
                  </a:lnTo>
                  <a:lnTo>
                    <a:pt x="275" y="42"/>
                  </a:lnTo>
                  <a:lnTo>
                    <a:pt x="245" y="45"/>
                  </a:lnTo>
                </a:path>
              </a:pathLst>
            </a:custGeom>
            <a:no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17" name="Freeform 161"/>
            <p:cNvSpPr>
              <a:spLocks/>
            </p:cNvSpPr>
            <p:nvPr/>
          </p:nvSpPr>
          <p:spPr bwMode="gray">
            <a:xfrm>
              <a:off x="2874" y="2531"/>
              <a:ext cx="95" cy="212"/>
            </a:xfrm>
            <a:custGeom>
              <a:avLst/>
              <a:gdLst/>
              <a:ahLst/>
              <a:cxnLst>
                <a:cxn ang="0">
                  <a:pos x="25" y="21"/>
                </a:cxn>
                <a:cxn ang="0">
                  <a:pos x="34" y="34"/>
                </a:cxn>
                <a:cxn ang="0">
                  <a:pos x="40" y="51"/>
                </a:cxn>
                <a:cxn ang="0">
                  <a:pos x="46" y="68"/>
                </a:cxn>
                <a:cxn ang="0">
                  <a:pos x="49" y="84"/>
                </a:cxn>
                <a:cxn ang="0">
                  <a:pos x="55" y="105"/>
                </a:cxn>
                <a:cxn ang="0">
                  <a:pos x="55" y="128"/>
                </a:cxn>
                <a:cxn ang="0">
                  <a:pos x="61" y="143"/>
                </a:cxn>
                <a:cxn ang="0">
                  <a:pos x="63" y="160"/>
                </a:cxn>
                <a:cxn ang="0">
                  <a:pos x="55" y="171"/>
                </a:cxn>
                <a:cxn ang="0">
                  <a:pos x="51" y="185"/>
                </a:cxn>
                <a:cxn ang="0">
                  <a:pos x="61" y="200"/>
                </a:cxn>
                <a:cxn ang="0">
                  <a:pos x="80" y="210"/>
                </a:cxn>
                <a:cxn ang="0">
                  <a:pos x="95" y="223"/>
                </a:cxn>
                <a:cxn ang="0">
                  <a:pos x="107" y="246"/>
                </a:cxn>
                <a:cxn ang="0">
                  <a:pos x="114" y="269"/>
                </a:cxn>
                <a:cxn ang="0">
                  <a:pos x="126" y="296"/>
                </a:cxn>
                <a:cxn ang="0">
                  <a:pos x="133" y="318"/>
                </a:cxn>
                <a:cxn ang="0">
                  <a:pos x="143" y="343"/>
                </a:cxn>
                <a:cxn ang="0">
                  <a:pos x="154" y="358"/>
                </a:cxn>
                <a:cxn ang="0">
                  <a:pos x="166" y="374"/>
                </a:cxn>
                <a:cxn ang="0">
                  <a:pos x="166" y="385"/>
                </a:cxn>
                <a:cxn ang="0">
                  <a:pos x="160" y="385"/>
                </a:cxn>
                <a:cxn ang="0">
                  <a:pos x="151" y="381"/>
                </a:cxn>
                <a:cxn ang="0">
                  <a:pos x="141" y="370"/>
                </a:cxn>
                <a:cxn ang="0">
                  <a:pos x="126" y="353"/>
                </a:cxn>
                <a:cxn ang="0">
                  <a:pos x="112" y="339"/>
                </a:cxn>
                <a:cxn ang="0">
                  <a:pos x="95" y="320"/>
                </a:cxn>
                <a:cxn ang="0">
                  <a:pos x="88" y="297"/>
                </a:cxn>
                <a:cxn ang="0">
                  <a:pos x="78" y="275"/>
                </a:cxn>
                <a:cxn ang="0">
                  <a:pos x="63" y="261"/>
                </a:cxn>
                <a:cxn ang="0">
                  <a:pos x="48" y="250"/>
                </a:cxn>
                <a:cxn ang="0">
                  <a:pos x="38" y="240"/>
                </a:cxn>
                <a:cxn ang="0">
                  <a:pos x="30" y="227"/>
                </a:cxn>
                <a:cxn ang="0">
                  <a:pos x="25" y="213"/>
                </a:cxn>
                <a:cxn ang="0">
                  <a:pos x="19" y="198"/>
                </a:cxn>
                <a:cxn ang="0">
                  <a:pos x="15" y="183"/>
                </a:cxn>
                <a:cxn ang="0">
                  <a:pos x="13" y="170"/>
                </a:cxn>
                <a:cxn ang="0">
                  <a:pos x="13" y="158"/>
                </a:cxn>
                <a:cxn ang="0">
                  <a:pos x="13" y="152"/>
                </a:cxn>
                <a:cxn ang="0">
                  <a:pos x="13" y="143"/>
                </a:cxn>
                <a:cxn ang="0">
                  <a:pos x="11" y="131"/>
                </a:cxn>
                <a:cxn ang="0">
                  <a:pos x="8" y="120"/>
                </a:cxn>
                <a:cxn ang="0">
                  <a:pos x="4" y="109"/>
                </a:cxn>
                <a:cxn ang="0">
                  <a:pos x="0" y="93"/>
                </a:cxn>
                <a:cxn ang="0">
                  <a:pos x="0" y="78"/>
                </a:cxn>
                <a:cxn ang="0">
                  <a:pos x="2" y="63"/>
                </a:cxn>
                <a:cxn ang="0">
                  <a:pos x="6" y="49"/>
                </a:cxn>
                <a:cxn ang="0">
                  <a:pos x="6" y="36"/>
                </a:cxn>
                <a:cxn ang="0">
                  <a:pos x="2" y="25"/>
                </a:cxn>
                <a:cxn ang="0">
                  <a:pos x="0" y="13"/>
                </a:cxn>
                <a:cxn ang="0">
                  <a:pos x="0" y="7"/>
                </a:cxn>
                <a:cxn ang="0">
                  <a:pos x="0" y="4"/>
                </a:cxn>
                <a:cxn ang="0">
                  <a:pos x="8" y="0"/>
                </a:cxn>
                <a:cxn ang="0">
                  <a:pos x="11" y="7"/>
                </a:cxn>
                <a:cxn ang="0">
                  <a:pos x="15" y="13"/>
                </a:cxn>
              </a:cxnLst>
              <a:rect l="0" t="0" r="r" b="b"/>
              <a:pathLst>
                <a:path w="168" h="385">
                  <a:moveTo>
                    <a:pt x="17" y="15"/>
                  </a:moveTo>
                  <a:lnTo>
                    <a:pt x="21" y="19"/>
                  </a:lnTo>
                  <a:lnTo>
                    <a:pt x="25" y="21"/>
                  </a:lnTo>
                  <a:lnTo>
                    <a:pt x="29" y="25"/>
                  </a:lnTo>
                  <a:lnTo>
                    <a:pt x="30" y="30"/>
                  </a:lnTo>
                  <a:lnTo>
                    <a:pt x="34" y="34"/>
                  </a:lnTo>
                  <a:lnTo>
                    <a:pt x="36" y="40"/>
                  </a:lnTo>
                  <a:lnTo>
                    <a:pt x="38" y="46"/>
                  </a:lnTo>
                  <a:lnTo>
                    <a:pt x="40" y="51"/>
                  </a:lnTo>
                  <a:lnTo>
                    <a:pt x="42" y="55"/>
                  </a:lnTo>
                  <a:lnTo>
                    <a:pt x="44" y="61"/>
                  </a:lnTo>
                  <a:lnTo>
                    <a:pt x="46" y="68"/>
                  </a:lnTo>
                  <a:lnTo>
                    <a:pt x="48" y="72"/>
                  </a:lnTo>
                  <a:lnTo>
                    <a:pt x="48" y="78"/>
                  </a:lnTo>
                  <a:lnTo>
                    <a:pt x="49" y="84"/>
                  </a:lnTo>
                  <a:lnTo>
                    <a:pt x="51" y="89"/>
                  </a:lnTo>
                  <a:lnTo>
                    <a:pt x="53" y="93"/>
                  </a:lnTo>
                  <a:lnTo>
                    <a:pt x="55" y="105"/>
                  </a:lnTo>
                  <a:lnTo>
                    <a:pt x="55" y="114"/>
                  </a:lnTo>
                  <a:lnTo>
                    <a:pt x="55" y="122"/>
                  </a:lnTo>
                  <a:lnTo>
                    <a:pt x="55" y="128"/>
                  </a:lnTo>
                  <a:lnTo>
                    <a:pt x="55" y="133"/>
                  </a:lnTo>
                  <a:lnTo>
                    <a:pt x="57" y="139"/>
                  </a:lnTo>
                  <a:lnTo>
                    <a:pt x="61" y="143"/>
                  </a:lnTo>
                  <a:lnTo>
                    <a:pt x="67" y="149"/>
                  </a:lnTo>
                  <a:lnTo>
                    <a:pt x="65" y="154"/>
                  </a:lnTo>
                  <a:lnTo>
                    <a:pt x="63" y="160"/>
                  </a:lnTo>
                  <a:lnTo>
                    <a:pt x="61" y="164"/>
                  </a:lnTo>
                  <a:lnTo>
                    <a:pt x="57" y="168"/>
                  </a:lnTo>
                  <a:lnTo>
                    <a:pt x="55" y="171"/>
                  </a:lnTo>
                  <a:lnTo>
                    <a:pt x="53" y="175"/>
                  </a:lnTo>
                  <a:lnTo>
                    <a:pt x="51" y="179"/>
                  </a:lnTo>
                  <a:lnTo>
                    <a:pt x="51" y="185"/>
                  </a:lnTo>
                  <a:lnTo>
                    <a:pt x="53" y="191"/>
                  </a:lnTo>
                  <a:lnTo>
                    <a:pt x="57" y="196"/>
                  </a:lnTo>
                  <a:lnTo>
                    <a:pt x="61" y="200"/>
                  </a:lnTo>
                  <a:lnTo>
                    <a:pt x="67" y="204"/>
                  </a:lnTo>
                  <a:lnTo>
                    <a:pt x="74" y="208"/>
                  </a:lnTo>
                  <a:lnTo>
                    <a:pt x="80" y="210"/>
                  </a:lnTo>
                  <a:lnTo>
                    <a:pt x="84" y="213"/>
                  </a:lnTo>
                  <a:lnTo>
                    <a:pt x="88" y="215"/>
                  </a:lnTo>
                  <a:lnTo>
                    <a:pt x="95" y="223"/>
                  </a:lnTo>
                  <a:lnTo>
                    <a:pt x="101" y="231"/>
                  </a:lnTo>
                  <a:lnTo>
                    <a:pt x="105" y="238"/>
                  </a:lnTo>
                  <a:lnTo>
                    <a:pt x="107" y="246"/>
                  </a:lnTo>
                  <a:lnTo>
                    <a:pt x="109" y="254"/>
                  </a:lnTo>
                  <a:lnTo>
                    <a:pt x="111" y="261"/>
                  </a:lnTo>
                  <a:lnTo>
                    <a:pt x="114" y="269"/>
                  </a:lnTo>
                  <a:lnTo>
                    <a:pt x="118" y="278"/>
                  </a:lnTo>
                  <a:lnTo>
                    <a:pt x="122" y="286"/>
                  </a:lnTo>
                  <a:lnTo>
                    <a:pt x="126" y="296"/>
                  </a:lnTo>
                  <a:lnTo>
                    <a:pt x="128" y="303"/>
                  </a:lnTo>
                  <a:lnTo>
                    <a:pt x="132" y="311"/>
                  </a:lnTo>
                  <a:lnTo>
                    <a:pt x="133" y="318"/>
                  </a:lnTo>
                  <a:lnTo>
                    <a:pt x="137" y="326"/>
                  </a:lnTo>
                  <a:lnTo>
                    <a:pt x="139" y="336"/>
                  </a:lnTo>
                  <a:lnTo>
                    <a:pt x="143" y="343"/>
                  </a:lnTo>
                  <a:lnTo>
                    <a:pt x="147" y="349"/>
                  </a:lnTo>
                  <a:lnTo>
                    <a:pt x="151" y="355"/>
                  </a:lnTo>
                  <a:lnTo>
                    <a:pt x="154" y="358"/>
                  </a:lnTo>
                  <a:lnTo>
                    <a:pt x="158" y="364"/>
                  </a:lnTo>
                  <a:lnTo>
                    <a:pt x="162" y="368"/>
                  </a:lnTo>
                  <a:lnTo>
                    <a:pt x="166" y="374"/>
                  </a:lnTo>
                  <a:lnTo>
                    <a:pt x="166" y="378"/>
                  </a:lnTo>
                  <a:lnTo>
                    <a:pt x="168" y="385"/>
                  </a:lnTo>
                  <a:lnTo>
                    <a:pt x="166" y="385"/>
                  </a:lnTo>
                  <a:lnTo>
                    <a:pt x="166" y="385"/>
                  </a:lnTo>
                  <a:lnTo>
                    <a:pt x="162" y="385"/>
                  </a:lnTo>
                  <a:lnTo>
                    <a:pt x="160" y="385"/>
                  </a:lnTo>
                  <a:lnTo>
                    <a:pt x="156" y="383"/>
                  </a:lnTo>
                  <a:lnTo>
                    <a:pt x="154" y="383"/>
                  </a:lnTo>
                  <a:lnTo>
                    <a:pt x="151" y="381"/>
                  </a:lnTo>
                  <a:lnTo>
                    <a:pt x="151" y="379"/>
                  </a:lnTo>
                  <a:lnTo>
                    <a:pt x="145" y="374"/>
                  </a:lnTo>
                  <a:lnTo>
                    <a:pt x="141" y="370"/>
                  </a:lnTo>
                  <a:lnTo>
                    <a:pt x="135" y="364"/>
                  </a:lnTo>
                  <a:lnTo>
                    <a:pt x="132" y="358"/>
                  </a:lnTo>
                  <a:lnTo>
                    <a:pt x="126" y="353"/>
                  </a:lnTo>
                  <a:lnTo>
                    <a:pt x="122" y="347"/>
                  </a:lnTo>
                  <a:lnTo>
                    <a:pt x="118" y="343"/>
                  </a:lnTo>
                  <a:lnTo>
                    <a:pt x="112" y="339"/>
                  </a:lnTo>
                  <a:lnTo>
                    <a:pt x="105" y="334"/>
                  </a:lnTo>
                  <a:lnTo>
                    <a:pt x="99" y="328"/>
                  </a:lnTo>
                  <a:lnTo>
                    <a:pt x="95" y="320"/>
                  </a:lnTo>
                  <a:lnTo>
                    <a:pt x="93" y="315"/>
                  </a:lnTo>
                  <a:lnTo>
                    <a:pt x="90" y="307"/>
                  </a:lnTo>
                  <a:lnTo>
                    <a:pt x="88" y="297"/>
                  </a:lnTo>
                  <a:lnTo>
                    <a:pt x="86" y="290"/>
                  </a:lnTo>
                  <a:lnTo>
                    <a:pt x="82" y="280"/>
                  </a:lnTo>
                  <a:lnTo>
                    <a:pt x="78" y="275"/>
                  </a:lnTo>
                  <a:lnTo>
                    <a:pt x="74" y="271"/>
                  </a:lnTo>
                  <a:lnTo>
                    <a:pt x="69" y="265"/>
                  </a:lnTo>
                  <a:lnTo>
                    <a:pt x="63" y="261"/>
                  </a:lnTo>
                  <a:lnTo>
                    <a:pt x="57" y="257"/>
                  </a:lnTo>
                  <a:lnTo>
                    <a:pt x="51" y="254"/>
                  </a:lnTo>
                  <a:lnTo>
                    <a:pt x="48" y="250"/>
                  </a:lnTo>
                  <a:lnTo>
                    <a:pt x="42" y="246"/>
                  </a:lnTo>
                  <a:lnTo>
                    <a:pt x="40" y="242"/>
                  </a:lnTo>
                  <a:lnTo>
                    <a:pt x="38" y="240"/>
                  </a:lnTo>
                  <a:lnTo>
                    <a:pt x="36" y="236"/>
                  </a:lnTo>
                  <a:lnTo>
                    <a:pt x="32" y="233"/>
                  </a:lnTo>
                  <a:lnTo>
                    <a:pt x="30" y="227"/>
                  </a:lnTo>
                  <a:lnTo>
                    <a:pt x="29" y="223"/>
                  </a:lnTo>
                  <a:lnTo>
                    <a:pt x="27" y="217"/>
                  </a:lnTo>
                  <a:lnTo>
                    <a:pt x="25" y="213"/>
                  </a:lnTo>
                  <a:lnTo>
                    <a:pt x="23" y="208"/>
                  </a:lnTo>
                  <a:lnTo>
                    <a:pt x="21" y="202"/>
                  </a:lnTo>
                  <a:lnTo>
                    <a:pt x="19" y="198"/>
                  </a:lnTo>
                  <a:lnTo>
                    <a:pt x="17" y="192"/>
                  </a:lnTo>
                  <a:lnTo>
                    <a:pt x="15" y="187"/>
                  </a:lnTo>
                  <a:lnTo>
                    <a:pt x="15" y="183"/>
                  </a:lnTo>
                  <a:lnTo>
                    <a:pt x="13" y="179"/>
                  </a:lnTo>
                  <a:lnTo>
                    <a:pt x="13" y="173"/>
                  </a:lnTo>
                  <a:lnTo>
                    <a:pt x="13" y="170"/>
                  </a:lnTo>
                  <a:lnTo>
                    <a:pt x="13" y="166"/>
                  </a:lnTo>
                  <a:lnTo>
                    <a:pt x="13" y="162"/>
                  </a:lnTo>
                  <a:lnTo>
                    <a:pt x="13" y="158"/>
                  </a:lnTo>
                  <a:lnTo>
                    <a:pt x="13" y="156"/>
                  </a:lnTo>
                  <a:lnTo>
                    <a:pt x="13" y="154"/>
                  </a:lnTo>
                  <a:lnTo>
                    <a:pt x="13" y="152"/>
                  </a:lnTo>
                  <a:lnTo>
                    <a:pt x="13" y="149"/>
                  </a:lnTo>
                  <a:lnTo>
                    <a:pt x="13" y="147"/>
                  </a:lnTo>
                  <a:lnTo>
                    <a:pt x="13" y="143"/>
                  </a:lnTo>
                  <a:lnTo>
                    <a:pt x="13" y="139"/>
                  </a:lnTo>
                  <a:lnTo>
                    <a:pt x="11" y="135"/>
                  </a:lnTo>
                  <a:lnTo>
                    <a:pt x="11" y="131"/>
                  </a:lnTo>
                  <a:lnTo>
                    <a:pt x="9" y="128"/>
                  </a:lnTo>
                  <a:lnTo>
                    <a:pt x="8" y="124"/>
                  </a:lnTo>
                  <a:lnTo>
                    <a:pt x="8" y="120"/>
                  </a:lnTo>
                  <a:lnTo>
                    <a:pt x="6" y="116"/>
                  </a:lnTo>
                  <a:lnTo>
                    <a:pt x="4" y="112"/>
                  </a:lnTo>
                  <a:lnTo>
                    <a:pt x="4" y="109"/>
                  </a:lnTo>
                  <a:lnTo>
                    <a:pt x="2" y="103"/>
                  </a:lnTo>
                  <a:lnTo>
                    <a:pt x="2" y="99"/>
                  </a:lnTo>
                  <a:lnTo>
                    <a:pt x="0" y="93"/>
                  </a:lnTo>
                  <a:lnTo>
                    <a:pt x="0" y="89"/>
                  </a:lnTo>
                  <a:lnTo>
                    <a:pt x="0" y="84"/>
                  </a:lnTo>
                  <a:lnTo>
                    <a:pt x="0" y="78"/>
                  </a:lnTo>
                  <a:lnTo>
                    <a:pt x="0" y="72"/>
                  </a:lnTo>
                  <a:lnTo>
                    <a:pt x="2" y="67"/>
                  </a:lnTo>
                  <a:lnTo>
                    <a:pt x="2" y="63"/>
                  </a:lnTo>
                  <a:lnTo>
                    <a:pt x="4" y="59"/>
                  </a:lnTo>
                  <a:lnTo>
                    <a:pt x="6" y="53"/>
                  </a:lnTo>
                  <a:lnTo>
                    <a:pt x="6" y="49"/>
                  </a:lnTo>
                  <a:lnTo>
                    <a:pt x="6" y="44"/>
                  </a:lnTo>
                  <a:lnTo>
                    <a:pt x="6" y="40"/>
                  </a:lnTo>
                  <a:lnTo>
                    <a:pt x="6" y="36"/>
                  </a:lnTo>
                  <a:lnTo>
                    <a:pt x="4" y="32"/>
                  </a:lnTo>
                  <a:lnTo>
                    <a:pt x="2" y="28"/>
                  </a:lnTo>
                  <a:lnTo>
                    <a:pt x="2" y="25"/>
                  </a:lnTo>
                  <a:lnTo>
                    <a:pt x="0" y="21"/>
                  </a:lnTo>
                  <a:lnTo>
                    <a:pt x="0" y="17"/>
                  </a:lnTo>
                  <a:lnTo>
                    <a:pt x="0" y="13"/>
                  </a:lnTo>
                  <a:lnTo>
                    <a:pt x="0" y="11"/>
                  </a:lnTo>
                  <a:lnTo>
                    <a:pt x="0" y="9"/>
                  </a:lnTo>
                  <a:lnTo>
                    <a:pt x="0" y="7"/>
                  </a:lnTo>
                  <a:lnTo>
                    <a:pt x="0" y="6"/>
                  </a:lnTo>
                  <a:lnTo>
                    <a:pt x="0" y="4"/>
                  </a:lnTo>
                  <a:lnTo>
                    <a:pt x="0" y="4"/>
                  </a:lnTo>
                  <a:lnTo>
                    <a:pt x="0" y="2"/>
                  </a:lnTo>
                  <a:lnTo>
                    <a:pt x="0" y="0"/>
                  </a:lnTo>
                  <a:lnTo>
                    <a:pt x="8" y="0"/>
                  </a:lnTo>
                  <a:lnTo>
                    <a:pt x="9" y="2"/>
                  </a:lnTo>
                  <a:lnTo>
                    <a:pt x="11" y="4"/>
                  </a:lnTo>
                  <a:lnTo>
                    <a:pt x="11" y="7"/>
                  </a:lnTo>
                  <a:lnTo>
                    <a:pt x="13" y="9"/>
                  </a:lnTo>
                  <a:lnTo>
                    <a:pt x="15" y="11"/>
                  </a:lnTo>
                  <a:lnTo>
                    <a:pt x="15" y="13"/>
                  </a:lnTo>
                  <a:lnTo>
                    <a:pt x="17" y="15"/>
                  </a:lnTo>
                  <a:lnTo>
                    <a:pt x="17" y="15"/>
                  </a:lnTo>
                  <a:close/>
                </a:path>
              </a:pathLst>
            </a:custGeom>
            <a:no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418" name="Freeform 162"/>
            <p:cNvSpPr>
              <a:spLocks/>
            </p:cNvSpPr>
            <p:nvPr/>
          </p:nvSpPr>
          <p:spPr bwMode="gray">
            <a:xfrm>
              <a:off x="3086" y="2779"/>
              <a:ext cx="45" cy="208"/>
            </a:xfrm>
            <a:custGeom>
              <a:avLst/>
              <a:gdLst/>
              <a:ahLst/>
              <a:cxnLst>
                <a:cxn ang="0">
                  <a:pos x="9" y="53"/>
                </a:cxn>
                <a:cxn ang="0">
                  <a:pos x="7" y="42"/>
                </a:cxn>
                <a:cxn ang="0">
                  <a:pos x="2" y="27"/>
                </a:cxn>
                <a:cxn ang="0">
                  <a:pos x="0" y="8"/>
                </a:cxn>
                <a:cxn ang="0">
                  <a:pos x="2" y="0"/>
                </a:cxn>
                <a:cxn ang="0">
                  <a:pos x="15" y="8"/>
                </a:cxn>
                <a:cxn ang="0">
                  <a:pos x="32" y="27"/>
                </a:cxn>
                <a:cxn ang="0">
                  <a:pos x="44" y="51"/>
                </a:cxn>
                <a:cxn ang="0">
                  <a:pos x="49" y="103"/>
                </a:cxn>
                <a:cxn ang="0">
                  <a:pos x="51" y="114"/>
                </a:cxn>
                <a:cxn ang="0">
                  <a:pos x="51" y="126"/>
                </a:cxn>
                <a:cxn ang="0">
                  <a:pos x="55" y="141"/>
                </a:cxn>
                <a:cxn ang="0">
                  <a:pos x="67" y="154"/>
                </a:cxn>
                <a:cxn ang="0">
                  <a:pos x="74" y="170"/>
                </a:cxn>
                <a:cxn ang="0">
                  <a:pos x="68" y="189"/>
                </a:cxn>
                <a:cxn ang="0">
                  <a:pos x="57" y="204"/>
                </a:cxn>
                <a:cxn ang="0">
                  <a:pos x="51" y="219"/>
                </a:cxn>
                <a:cxn ang="0">
                  <a:pos x="53" y="235"/>
                </a:cxn>
                <a:cxn ang="0">
                  <a:pos x="55" y="252"/>
                </a:cxn>
                <a:cxn ang="0">
                  <a:pos x="57" y="311"/>
                </a:cxn>
                <a:cxn ang="0">
                  <a:pos x="68" y="334"/>
                </a:cxn>
                <a:cxn ang="0">
                  <a:pos x="80" y="351"/>
                </a:cxn>
                <a:cxn ang="0">
                  <a:pos x="80" y="364"/>
                </a:cxn>
                <a:cxn ang="0">
                  <a:pos x="78" y="370"/>
                </a:cxn>
                <a:cxn ang="0">
                  <a:pos x="80" y="376"/>
                </a:cxn>
                <a:cxn ang="0">
                  <a:pos x="72" y="372"/>
                </a:cxn>
                <a:cxn ang="0">
                  <a:pos x="63" y="366"/>
                </a:cxn>
                <a:cxn ang="0">
                  <a:pos x="55" y="364"/>
                </a:cxn>
                <a:cxn ang="0">
                  <a:pos x="51" y="370"/>
                </a:cxn>
                <a:cxn ang="0">
                  <a:pos x="51" y="376"/>
                </a:cxn>
                <a:cxn ang="0">
                  <a:pos x="44" y="376"/>
                </a:cxn>
                <a:cxn ang="0">
                  <a:pos x="36" y="368"/>
                </a:cxn>
                <a:cxn ang="0">
                  <a:pos x="34" y="359"/>
                </a:cxn>
                <a:cxn ang="0">
                  <a:pos x="34" y="351"/>
                </a:cxn>
                <a:cxn ang="0">
                  <a:pos x="38" y="343"/>
                </a:cxn>
                <a:cxn ang="0">
                  <a:pos x="38" y="336"/>
                </a:cxn>
                <a:cxn ang="0">
                  <a:pos x="34" y="328"/>
                </a:cxn>
                <a:cxn ang="0">
                  <a:pos x="28" y="324"/>
                </a:cxn>
                <a:cxn ang="0">
                  <a:pos x="21" y="307"/>
                </a:cxn>
                <a:cxn ang="0">
                  <a:pos x="17" y="282"/>
                </a:cxn>
                <a:cxn ang="0">
                  <a:pos x="17" y="259"/>
                </a:cxn>
                <a:cxn ang="0">
                  <a:pos x="11" y="242"/>
                </a:cxn>
                <a:cxn ang="0">
                  <a:pos x="4" y="231"/>
                </a:cxn>
                <a:cxn ang="0">
                  <a:pos x="2" y="221"/>
                </a:cxn>
                <a:cxn ang="0">
                  <a:pos x="7" y="214"/>
                </a:cxn>
                <a:cxn ang="0">
                  <a:pos x="13" y="198"/>
                </a:cxn>
                <a:cxn ang="0">
                  <a:pos x="19" y="181"/>
                </a:cxn>
                <a:cxn ang="0">
                  <a:pos x="23" y="166"/>
                </a:cxn>
                <a:cxn ang="0">
                  <a:pos x="26" y="156"/>
                </a:cxn>
                <a:cxn ang="0">
                  <a:pos x="21" y="67"/>
                </a:cxn>
                <a:cxn ang="0">
                  <a:pos x="17" y="61"/>
                </a:cxn>
                <a:cxn ang="0">
                  <a:pos x="11" y="57"/>
                </a:cxn>
              </a:cxnLst>
              <a:rect l="0" t="0" r="r" b="b"/>
              <a:pathLst>
                <a:path w="80" h="378">
                  <a:moveTo>
                    <a:pt x="11" y="57"/>
                  </a:moveTo>
                  <a:lnTo>
                    <a:pt x="11" y="55"/>
                  </a:lnTo>
                  <a:lnTo>
                    <a:pt x="9" y="53"/>
                  </a:lnTo>
                  <a:lnTo>
                    <a:pt x="9" y="50"/>
                  </a:lnTo>
                  <a:lnTo>
                    <a:pt x="9" y="48"/>
                  </a:lnTo>
                  <a:lnTo>
                    <a:pt x="7" y="42"/>
                  </a:lnTo>
                  <a:lnTo>
                    <a:pt x="5" y="36"/>
                  </a:lnTo>
                  <a:lnTo>
                    <a:pt x="4" y="32"/>
                  </a:lnTo>
                  <a:lnTo>
                    <a:pt x="2" y="27"/>
                  </a:lnTo>
                  <a:lnTo>
                    <a:pt x="0" y="21"/>
                  </a:lnTo>
                  <a:lnTo>
                    <a:pt x="0" y="15"/>
                  </a:lnTo>
                  <a:lnTo>
                    <a:pt x="0" y="8"/>
                  </a:lnTo>
                  <a:lnTo>
                    <a:pt x="0" y="0"/>
                  </a:lnTo>
                  <a:lnTo>
                    <a:pt x="0" y="0"/>
                  </a:lnTo>
                  <a:lnTo>
                    <a:pt x="2" y="0"/>
                  </a:lnTo>
                  <a:lnTo>
                    <a:pt x="4" y="0"/>
                  </a:lnTo>
                  <a:lnTo>
                    <a:pt x="5" y="0"/>
                  </a:lnTo>
                  <a:lnTo>
                    <a:pt x="15" y="8"/>
                  </a:lnTo>
                  <a:lnTo>
                    <a:pt x="23" y="13"/>
                  </a:lnTo>
                  <a:lnTo>
                    <a:pt x="28" y="21"/>
                  </a:lnTo>
                  <a:lnTo>
                    <a:pt x="32" y="27"/>
                  </a:lnTo>
                  <a:lnTo>
                    <a:pt x="36" y="34"/>
                  </a:lnTo>
                  <a:lnTo>
                    <a:pt x="40" y="42"/>
                  </a:lnTo>
                  <a:lnTo>
                    <a:pt x="44" y="51"/>
                  </a:lnTo>
                  <a:lnTo>
                    <a:pt x="47" y="61"/>
                  </a:lnTo>
                  <a:lnTo>
                    <a:pt x="47" y="99"/>
                  </a:lnTo>
                  <a:lnTo>
                    <a:pt x="49" y="103"/>
                  </a:lnTo>
                  <a:lnTo>
                    <a:pt x="51" y="107"/>
                  </a:lnTo>
                  <a:lnTo>
                    <a:pt x="51" y="111"/>
                  </a:lnTo>
                  <a:lnTo>
                    <a:pt x="51" y="114"/>
                  </a:lnTo>
                  <a:lnTo>
                    <a:pt x="51" y="118"/>
                  </a:lnTo>
                  <a:lnTo>
                    <a:pt x="51" y="122"/>
                  </a:lnTo>
                  <a:lnTo>
                    <a:pt x="51" y="126"/>
                  </a:lnTo>
                  <a:lnTo>
                    <a:pt x="51" y="130"/>
                  </a:lnTo>
                  <a:lnTo>
                    <a:pt x="53" y="135"/>
                  </a:lnTo>
                  <a:lnTo>
                    <a:pt x="55" y="141"/>
                  </a:lnTo>
                  <a:lnTo>
                    <a:pt x="59" y="145"/>
                  </a:lnTo>
                  <a:lnTo>
                    <a:pt x="63" y="151"/>
                  </a:lnTo>
                  <a:lnTo>
                    <a:pt x="67" y="154"/>
                  </a:lnTo>
                  <a:lnTo>
                    <a:pt x="70" y="158"/>
                  </a:lnTo>
                  <a:lnTo>
                    <a:pt x="72" y="164"/>
                  </a:lnTo>
                  <a:lnTo>
                    <a:pt x="74" y="170"/>
                  </a:lnTo>
                  <a:lnTo>
                    <a:pt x="72" y="177"/>
                  </a:lnTo>
                  <a:lnTo>
                    <a:pt x="70" y="183"/>
                  </a:lnTo>
                  <a:lnTo>
                    <a:pt x="68" y="189"/>
                  </a:lnTo>
                  <a:lnTo>
                    <a:pt x="65" y="195"/>
                  </a:lnTo>
                  <a:lnTo>
                    <a:pt x="61" y="198"/>
                  </a:lnTo>
                  <a:lnTo>
                    <a:pt x="57" y="204"/>
                  </a:lnTo>
                  <a:lnTo>
                    <a:pt x="55" y="208"/>
                  </a:lnTo>
                  <a:lnTo>
                    <a:pt x="53" y="212"/>
                  </a:lnTo>
                  <a:lnTo>
                    <a:pt x="51" y="219"/>
                  </a:lnTo>
                  <a:lnTo>
                    <a:pt x="51" y="223"/>
                  </a:lnTo>
                  <a:lnTo>
                    <a:pt x="51" y="229"/>
                  </a:lnTo>
                  <a:lnTo>
                    <a:pt x="53" y="235"/>
                  </a:lnTo>
                  <a:lnTo>
                    <a:pt x="53" y="240"/>
                  </a:lnTo>
                  <a:lnTo>
                    <a:pt x="55" y="246"/>
                  </a:lnTo>
                  <a:lnTo>
                    <a:pt x="55" y="252"/>
                  </a:lnTo>
                  <a:lnTo>
                    <a:pt x="55" y="257"/>
                  </a:lnTo>
                  <a:lnTo>
                    <a:pt x="55" y="301"/>
                  </a:lnTo>
                  <a:lnTo>
                    <a:pt x="57" y="311"/>
                  </a:lnTo>
                  <a:lnTo>
                    <a:pt x="59" y="320"/>
                  </a:lnTo>
                  <a:lnTo>
                    <a:pt x="63" y="328"/>
                  </a:lnTo>
                  <a:lnTo>
                    <a:pt x="68" y="334"/>
                  </a:lnTo>
                  <a:lnTo>
                    <a:pt x="72" y="340"/>
                  </a:lnTo>
                  <a:lnTo>
                    <a:pt x="76" y="345"/>
                  </a:lnTo>
                  <a:lnTo>
                    <a:pt x="80" y="351"/>
                  </a:lnTo>
                  <a:lnTo>
                    <a:pt x="80" y="359"/>
                  </a:lnTo>
                  <a:lnTo>
                    <a:pt x="80" y="362"/>
                  </a:lnTo>
                  <a:lnTo>
                    <a:pt x="80" y="364"/>
                  </a:lnTo>
                  <a:lnTo>
                    <a:pt x="78" y="366"/>
                  </a:lnTo>
                  <a:lnTo>
                    <a:pt x="78" y="368"/>
                  </a:lnTo>
                  <a:lnTo>
                    <a:pt x="78" y="370"/>
                  </a:lnTo>
                  <a:lnTo>
                    <a:pt x="78" y="372"/>
                  </a:lnTo>
                  <a:lnTo>
                    <a:pt x="78" y="374"/>
                  </a:lnTo>
                  <a:lnTo>
                    <a:pt x="80" y="376"/>
                  </a:lnTo>
                  <a:lnTo>
                    <a:pt x="78" y="376"/>
                  </a:lnTo>
                  <a:lnTo>
                    <a:pt x="74" y="374"/>
                  </a:lnTo>
                  <a:lnTo>
                    <a:pt x="72" y="372"/>
                  </a:lnTo>
                  <a:lnTo>
                    <a:pt x="68" y="370"/>
                  </a:lnTo>
                  <a:lnTo>
                    <a:pt x="67" y="368"/>
                  </a:lnTo>
                  <a:lnTo>
                    <a:pt x="63" y="366"/>
                  </a:lnTo>
                  <a:lnTo>
                    <a:pt x="61" y="364"/>
                  </a:lnTo>
                  <a:lnTo>
                    <a:pt x="57" y="362"/>
                  </a:lnTo>
                  <a:lnTo>
                    <a:pt x="55" y="364"/>
                  </a:lnTo>
                  <a:lnTo>
                    <a:pt x="53" y="366"/>
                  </a:lnTo>
                  <a:lnTo>
                    <a:pt x="53" y="368"/>
                  </a:lnTo>
                  <a:lnTo>
                    <a:pt x="51" y="370"/>
                  </a:lnTo>
                  <a:lnTo>
                    <a:pt x="51" y="372"/>
                  </a:lnTo>
                  <a:lnTo>
                    <a:pt x="51" y="374"/>
                  </a:lnTo>
                  <a:lnTo>
                    <a:pt x="51" y="376"/>
                  </a:lnTo>
                  <a:lnTo>
                    <a:pt x="51" y="378"/>
                  </a:lnTo>
                  <a:lnTo>
                    <a:pt x="47" y="378"/>
                  </a:lnTo>
                  <a:lnTo>
                    <a:pt x="44" y="376"/>
                  </a:lnTo>
                  <a:lnTo>
                    <a:pt x="42" y="374"/>
                  </a:lnTo>
                  <a:lnTo>
                    <a:pt x="38" y="372"/>
                  </a:lnTo>
                  <a:lnTo>
                    <a:pt x="36" y="368"/>
                  </a:lnTo>
                  <a:lnTo>
                    <a:pt x="34" y="364"/>
                  </a:lnTo>
                  <a:lnTo>
                    <a:pt x="34" y="362"/>
                  </a:lnTo>
                  <a:lnTo>
                    <a:pt x="34" y="359"/>
                  </a:lnTo>
                  <a:lnTo>
                    <a:pt x="34" y="355"/>
                  </a:lnTo>
                  <a:lnTo>
                    <a:pt x="34" y="353"/>
                  </a:lnTo>
                  <a:lnTo>
                    <a:pt x="34" y="351"/>
                  </a:lnTo>
                  <a:lnTo>
                    <a:pt x="36" y="347"/>
                  </a:lnTo>
                  <a:lnTo>
                    <a:pt x="36" y="345"/>
                  </a:lnTo>
                  <a:lnTo>
                    <a:pt x="38" y="343"/>
                  </a:lnTo>
                  <a:lnTo>
                    <a:pt x="38" y="341"/>
                  </a:lnTo>
                  <a:lnTo>
                    <a:pt x="38" y="340"/>
                  </a:lnTo>
                  <a:lnTo>
                    <a:pt x="38" y="336"/>
                  </a:lnTo>
                  <a:lnTo>
                    <a:pt x="36" y="332"/>
                  </a:lnTo>
                  <a:lnTo>
                    <a:pt x="36" y="330"/>
                  </a:lnTo>
                  <a:lnTo>
                    <a:pt x="34" y="328"/>
                  </a:lnTo>
                  <a:lnTo>
                    <a:pt x="32" y="328"/>
                  </a:lnTo>
                  <a:lnTo>
                    <a:pt x="30" y="326"/>
                  </a:lnTo>
                  <a:lnTo>
                    <a:pt x="28" y="324"/>
                  </a:lnTo>
                  <a:lnTo>
                    <a:pt x="26" y="322"/>
                  </a:lnTo>
                  <a:lnTo>
                    <a:pt x="25" y="315"/>
                  </a:lnTo>
                  <a:lnTo>
                    <a:pt x="21" y="307"/>
                  </a:lnTo>
                  <a:lnTo>
                    <a:pt x="19" y="299"/>
                  </a:lnTo>
                  <a:lnTo>
                    <a:pt x="19" y="292"/>
                  </a:lnTo>
                  <a:lnTo>
                    <a:pt x="17" y="282"/>
                  </a:lnTo>
                  <a:lnTo>
                    <a:pt x="17" y="275"/>
                  </a:lnTo>
                  <a:lnTo>
                    <a:pt x="17" y="267"/>
                  </a:lnTo>
                  <a:lnTo>
                    <a:pt x="17" y="259"/>
                  </a:lnTo>
                  <a:lnTo>
                    <a:pt x="17" y="252"/>
                  </a:lnTo>
                  <a:lnTo>
                    <a:pt x="15" y="248"/>
                  </a:lnTo>
                  <a:lnTo>
                    <a:pt x="11" y="242"/>
                  </a:lnTo>
                  <a:lnTo>
                    <a:pt x="9" y="238"/>
                  </a:lnTo>
                  <a:lnTo>
                    <a:pt x="5" y="235"/>
                  </a:lnTo>
                  <a:lnTo>
                    <a:pt x="4" y="231"/>
                  </a:lnTo>
                  <a:lnTo>
                    <a:pt x="2" y="227"/>
                  </a:lnTo>
                  <a:lnTo>
                    <a:pt x="0" y="221"/>
                  </a:lnTo>
                  <a:lnTo>
                    <a:pt x="2" y="221"/>
                  </a:lnTo>
                  <a:lnTo>
                    <a:pt x="4" y="219"/>
                  </a:lnTo>
                  <a:lnTo>
                    <a:pt x="5" y="217"/>
                  </a:lnTo>
                  <a:lnTo>
                    <a:pt x="7" y="214"/>
                  </a:lnTo>
                  <a:lnTo>
                    <a:pt x="9" y="208"/>
                  </a:lnTo>
                  <a:lnTo>
                    <a:pt x="11" y="204"/>
                  </a:lnTo>
                  <a:lnTo>
                    <a:pt x="13" y="198"/>
                  </a:lnTo>
                  <a:lnTo>
                    <a:pt x="15" y="193"/>
                  </a:lnTo>
                  <a:lnTo>
                    <a:pt x="17" y="187"/>
                  </a:lnTo>
                  <a:lnTo>
                    <a:pt x="19" y="181"/>
                  </a:lnTo>
                  <a:lnTo>
                    <a:pt x="21" y="175"/>
                  </a:lnTo>
                  <a:lnTo>
                    <a:pt x="23" y="170"/>
                  </a:lnTo>
                  <a:lnTo>
                    <a:pt x="23" y="166"/>
                  </a:lnTo>
                  <a:lnTo>
                    <a:pt x="25" y="162"/>
                  </a:lnTo>
                  <a:lnTo>
                    <a:pt x="26" y="158"/>
                  </a:lnTo>
                  <a:lnTo>
                    <a:pt x="26" y="156"/>
                  </a:lnTo>
                  <a:lnTo>
                    <a:pt x="26" y="71"/>
                  </a:lnTo>
                  <a:lnTo>
                    <a:pt x="23" y="69"/>
                  </a:lnTo>
                  <a:lnTo>
                    <a:pt x="21" y="67"/>
                  </a:lnTo>
                  <a:lnTo>
                    <a:pt x="19" y="65"/>
                  </a:lnTo>
                  <a:lnTo>
                    <a:pt x="19" y="63"/>
                  </a:lnTo>
                  <a:lnTo>
                    <a:pt x="17" y="61"/>
                  </a:lnTo>
                  <a:lnTo>
                    <a:pt x="15" y="59"/>
                  </a:lnTo>
                  <a:lnTo>
                    <a:pt x="13" y="57"/>
                  </a:lnTo>
                  <a:lnTo>
                    <a:pt x="11" y="57"/>
                  </a:lnTo>
                  <a:close/>
                </a:path>
              </a:pathLst>
            </a:custGeom>
            <a:noFill/>
            <a:ln w="9525" cmpd="sng">
              <a:solidFill>
                <a:srgbClr val="808080"/>
              </a:solidFill>
              <a:round/>
              <a:headEnd/>
              <a:tailEnd/>
            </a:ln>
          </p:spPr>
          <p:txBody>
            <a:bodyPr/>
            <a:lstStyle/>
            <a:p>
              <a:endParaRPr lang="en-US" dirty="0">
                <a:solidFill>
                  <a:srgbClr val="000000"/>
                </a:solidFill>
                <a:latin typeface="Arial" charset="0"/>
              </a:endParaRPr>
            </a:p>
          </p:txBody>
        </p:sp>
        <p:sp>
          <p:nvSpPr>
            <p:cNvPr id="608419" name="Freeform 163"/>
            <p:cNvSpPr>
              <a:spLocks/>
            </p:cNvSpPr>
            <p:nvPr/>
          </p:nvSpPr>
          <p:spPr bwMode="gray">
            <a:xfrm>
              <a:off x="2993" y="2342"/>
              <a:ext cx="137" cy="133"/>
            </a:xfrm>
            <a:custGeom>
              <a:avLst/>
              <a:gdLst/>
              <a:ahLst/>
              <a:cxnLst>
                <a:cxn ang="0">
                  <a:pos x="181" y="105"/>
                </a:cxn>
                <a:cxn ang="0">
                  <a:pos x="187" y="79"/>
                </a:cxn>
                <a:cxn ang="0">
                  <a:pos x="204" y="61"/>
                </a:cxn>
                <a:cxn ang="0">
                  <a:pos x="225" y="60"/>
                </a:cxn>
                <a:cxn ang="0">
                  <a:pos x="234" y="44"/>
                </a:cxn>
                <a:cxn ang="0">
                  <a:pos x="208" y="44"/>
                </a:cxn>
                <a:cxn ang="0">
                  <a:pos x="175" y="39"/>
                </a:cxn>
                <a:cxn ang="0">
                  <a:pos x="160" y="19"/>
                </a:cxn>
                <a:cxn ang="0">
                  <a:pos x="152" y="0"/>
                </a:cxn>
                <a:cxn ang="0">
                  <a:pos x="141" y="0"/>
                </a:cxn>
                <a:cxn ang="0">
                  <a:pos x="133" y="16"/>
                </a:cxn>
                <a:cxn ang="0">
                  <a:pos x="120" y="21"/>
                </a:cxn>
                <a:cxn ang="0">
                  <a:pos x="110" y="16"/>
                </a:cxn>
                <a:cxn ang="0">
                  <a:pos x="105" y="23"/>
                </a:cxn>
                <a:cxn ang="0">
                  <a:pos x="93" y="25"/>
                </a:cxn>
                <a:cxn ang="0">
                  <a:pos x="82" y="23"/>
                </a:cxn>
                <a:cxn ang="0">
                  <a:pos x="72" y="29"/>
                </a:cxn>
                <a:cxn ang="0">
                  <a:pos x="65" y="33"/>
                </a:cxn>
                <a:cxn ang="0">
                  <a:pos x="57" y="35"/>
                </a:cxn>
                <a:cxn ang="0">
                  <a:pos x="34" y="44"/>
                </a:cxn>
                <a:cxn ang="0">
                  <a:pos x="21" y="56"/>
                </a:cxn>
                <a:cxn ang="0">
                  <a:pos x="19" y="69"/>
                </a:cxn>
                <a:cxn ang="0">
                  <a:pos x="11" y="79"/>
                </a:cxn>
                <a:cxn ang="0">
                  <a:pos x="4" y="86"/>
                </a:cxn>
                <a:cxn ang="0">
                  <a:pos x="2" y="102"/>
                </a:cxn>
                <a:cxn ang="0">
                  <a:pos x="11" y="113"/>
                </a:cxn>
                <a:cxn ang="0">
                  <a:pos x="15" y="136"/>
                </a:cxn>
                <a:cxn ang="0">
                  <a:pos x="4" y="163"/>
                </a:cxn>
                <a:cxn ang="0">
                  <a:pos x="0" y="187"/>
                </a:cxn>
                <a:cxn ang="0">
                  <a:pos x="0" y="203"/>
                </a:cxn>
                <a:cxn ang="0">
                  <a:pos x="5" y="212"/>
                </a:cxn>
                <a:cxn ang="0">
                  <a:pos x="13" y="220"/>
                </a:cxn>
                <a:cxn ang="0">
                  <a:pos x="9" y="229"/>
                </a:cxn>
                <a:cxn ang="0">
                  <a:pos x="9" y="239"/>
                </a:cxn>
                <a:cxn ang="0">
                  <a:pos x="17" y="239"/>
                </a:cxn>
                <a:cxn ang="0">
                  <a:pos x="30" y="222"/>
                </a:cxn>
                <a:cxn ang="0">
                  <a:pos x="49" y="218"/>
                </a:cxn>
                <a:cxn ang="0">
                  <a:pos x="70" y="229"/>
                </a:cxn>
                <a:cxn ang="0">
                  <a:pos x="86" y="235"/>
                </a:cxn>
                <a:cxn ang="0">
                  <a:pos x="93" y="227"/>
                </a:cxn>
                <a:cxn ang="0">
                  <a:pos x="107" y="224"/>
                </a:cxn>
                <a:cxn ang="0">
                  <a:pos x="114" y="227"/>
                </a:cxn>
                <a:cxn ang="0">
                  <a:pos x="122" y="231"/>
                </a:cxn>
                <a:cxn ang="0">
                  <a:pos x="135" y="233"/>
                </a:cxn>
                <a:cxn ang="0">
                  <a:pos x="149" y="218"/>
                </a:cxn>
                <a:cxn ang="0">
                  <a:pos x="110" y="201"/>
                </a:cxn>
                <a:cxn ang="0">
                  <a:pos x="126" y="187"/>
                </a:cxn>
                <a:cxn ang="0">
                  <a:pos x="143" y="172"/>
                </a:cxn>
                <a:cxn ang="0">
                  <a:pos x="150" y="157"/>
                </a:cxn>
                <a:cxn ang="0">
                  <a:pos x="160" y="140"/>
                </a:cxn>
                <a:cxn ang="0">
                  <a:pos x="169" y="123"/>
                </a:cxn>
                <a:cxn ang="0">
                  <a:pos x="179" y="105"/>
                </a:cxn>
              </a:cxnLst>
              <a:rect l="0" t="0" r="r" b="b"/>
              <a:pathLst>
                <a:path w="240" h="243">
                  <a:moveTo>
                    <a:pt x="185" y="111"/>
                  </a:moveTo>
                  <a:lnTo>
                    <a:pt x="185" y="111"/>
                  </a:lnTo>
                  <a:lnTo>
                    <a:pt x="179" y="107"/>
                  </a:lnTo>
                  <a:lnTo>
                    <a:pt x="181" y="105"/>
                  </a:lnTo>
                  <a:lnTo>
                    <a:pt x="183" y="100"/>
                  </a:lnTo>
                  <a:lnTo>
                    <a:pt x="185" y="94"/>
                  </a:lnTo>
                  <a:lnTo>
                    <a:pt x="187" y="86"/>
                  </a:lnTo>
                  <a:lnTo>
                    <a:pt x="187" y="79"/>
                  </a:lnTo>
                  <a:lnTo>
                    <a:pt x="189" y="73"/>
                  </a:lnTo>
                  <a:lnTo>
                    <a:pt x="192" y="67"/>
                  </a:lnTo>
                  <a:lnTo>
                    <a:pt x="198" y="63"/>
                  </a:lnTo>
                  <a:lnTo>
                    <a:pt x="204" y="61"/>
                  </a:lnTo>
                  <a:lnTo>
                    <a:pt x="210" y="61"/>
                  </a:lnTo>
                  <a:lnTo>
                    <a:pt x="215" y="60"/>
                  </a:lnTo>
                  <a:lnTo>
                    <a:pt x="221" y="60"/>
                  </a:lnTo>
                  <a:lnTo>
                    <a:pt x="225" y="60"/>
                  </a:lnTo>
                  <a:lnTo>
                    <a:pt x="231" y="58"/>
                  </a:lnTo>
                  <a:lnTo>
                    <a:pt x="234" y="54"/>
                  </a:lnTo>
                  <a:lnTo>
                    <a:pt x="240" y="50"/>
                  </a:lnTo>
                  <a:lnTo>
                    <a:pt x="234" y="44"/>
                  </a:lnTo>
                  <a:lnTo>
                    <a:pt x="229" y="44"/>
                  </a:lnTo>
                  <a:lnTo>
                    <a:pt x="223" y="42"/>
                  </a:lnTo>
                  <a:lnTo>
                    <a:pt x="215" y="44"/>
                  </a:lnTo>
                  <a:lnTo>
                    <a:pt x="208" y="44"/>
                  </a:lnTo>
                  <a:lnTo>
                    <a:pt x="200" y="44"/>
                  </a:lnTo>
                  <a:lnTo>
                    <a:pt x="190" y="42"/>
                  </a:lnTo>
                  <a:lnTo>
                    <a:pt x="179" y="40"/>
                  </a:lnTo>
                  <a:lnTo>
                    <a:pt x="175" y="39"/>
                  </a:lnTo>
                  <a:lnTo>
                    <a:pt x="171" y="35"/>
                  </a:lnTo>
                  <a:lnTo>
                    <a:pt x="168" y="31"/>
                  </a:lnTo>
                  <a:lnTo>
                    <a:pt x="164" y="25"/>
                  </a:lnTo>
                  <a:lnTo>
                    <a:pt x="160" y="19"/>
                  </a:lnTo>
                  <a:lnTo>
                    <a:pt x="158" y="14"/>
                  </a:lnTo>
                  <a:lnTo>
                    <a:pt x="156" y="6"/>
                  </a:lnTo>
                  <a:lnTo>
                    <a:pt x="154" y="0"/>
                  </a:lnTo>
                  <a:lnTo>
                    <a:pt x="152" y="0"/>
                  </a:lnTo>
                  <a:lnTo>
                    <a:pt x="149" y="0"/>
                  </a:lnTo>
                  <a:lnTo>
                    <a:pt x="147" y="0"/>
                  </a:lnTo>
                  <a:lnTo>
                    <a:pt x="145" y="0"/>
                  </a:lnTo>
                  <a:lnTo>
                    <a:pt x="141" y="0"/>
                  </a:lnTo>
                  <a:lnTo>
                    <a:pt x="139" y="4"/>
                  </a:lnTo>
                  <a:lnTo>
                    <a:pt x="137" y="8"/>
                  </a:lnTo>
                  <a:lnTo>
                    <a:pt x="137" y="12"/>
                  </a:lnTo>
                  <a:lnTo>
                    <a:pt x="133" y="16"/>
                  </a:lnTo>
                  <a:lnTo>
                    <a:pt x="131" y="19"/>
                  </a:lnTo>
                  <a:lnTo>
                    <a:pt x="128" y="21"/>
                  </a:lnTo>
                  <a:lnTo>
                    <a:pt x="124" y="21"/>
                  </a:lnTo>
                  <a:lnTo>
                    <a:pt x="120" y="21"/>
                  </a:lnTo>
                  <a:lnTo>
                    <a:pt x="118" y="19"/>
                  </a:lnTo>
                  <a:lnTo>
                    <a:pt x="114" y="18"/>
                  </a:lnTo>
                  <a:lnTo>
                    <a:pt x="112" y="16"/>
                  </a:lnTo>
                  <a:lnTo>
                    <a:pt x="110" y="16"/>
                  </a:lnTo>
                  <a:lnTo>
                    <a:pt x="110" y="18"/>
                  </a:lnTo>
                  <a:lnTo>
                    <a:pt x="108" y="19"/>
                  </a:lnTo>
                  <a:lnTo>
                    <a:pt x="107" y="21"/>
                  </a:lnTo>
                  <a:lnTo>
                    <a:pt x="105" y="23"/>
                  </a:lnTo>
                  <a:lnTo>
                    <a:pt x="103" y="25"/>
                  </a:lnTo>
                  <a:lnTo>
                    <a:pt x="101" y="25"/>
                  </a:lnTo>
                  <a:lnTo>
                    <a:pt x="97" y="27"/>
                  </a:lnTo>
                  <a:lnTo>
                    <a:pt x="93" y="25"/>
                  </a:lnTo>
                  <a:lnTo>
                    <a:pt x="91" y="23"/>
                  </a:lnTo>
                  <a:lnTo>
                    <a:pt x="89" y="23"/>
                  </a:lnTo>
                  <a:lnTo>
                    <a:pt x="86" y="21"/>
                  </a:lnTo>
                  <a:lnTo>
                    <a:pt x="82" y="23"/>
                  </a:lnTo>
                  <a:lnTo>
                    <a:pt x="80" y="23"/>
                  </a:lnTo>
                  <a:lnTo>
                    <a:pt x="78" y="25"/>
                  </a:lnTo>
                  <a:lnTo>
                    <a:pt x="74" y="27"/>
                  </a:lnTo>
                  <a:lnTo>
                    <a:pt x="72" y="29"/>
                  </a:lnTo>
                  <a:lnTo>
                    <a:pt x="72" y="33"/>
                  </a:lnTo>
                  <a:lnTo>
                    <a:pt x="68" y="33"/>
                  </a:lnTo>
                  <a:lnTo>
                    <a:pt x="66" y="33"/>
                  </a:lnTo>
                  <a:lnTo>
                    <a:pt x="65" y="33"/>
                  </a:lnTo>
                  <a:lnTo>
                    <a:pt x="63" y="35"/>
                  </a:lnTo>
                  <a:lnTo>
                    <a:pt x="61" y="35"/>
                  </a:lnTo>
                  <a:lnTo>
                    <a:pt x="61" y="33"/>
                  </a:lnTo>
                  <a:lnTo>
                    <a:pt x="57" y="35"/>
                  </a:lnTo>
                  <a:lnTo>
                    <a:pt x="53" y="37"/>
                  </a:lnTo>
                  <a:lnTo>
                    <a:pt x="47" y="39"/>
                  </a:lnTo>
                  <a:lnTo>
                    <a:pt x="40" y="40"/>
                  </a:lnTo>
                  <a:lnTo>
                    <a:pt x="34" y="44"/>
                  </a:lnTo>
                  <a:lnTo>
                    <a:pt x="28" y="46"/>
                  </a:lnTo>
                  <a:lnTo>
                    <a:pt x="23" y="48"/>
                  </a:lnTo>
                  <a:lnTo>
                    <a:pt x="21" y="52"/>
                  </a:lnTo>
                  <a:lnTo>
                    <a:pt x="21" y="56"/>
                  </a:lnTo>
                  <a:lnTo>
                    <a:pt x="21" y="58"/>
                  </a:lnTo>
                  <a:lnTo>
                    <a:pt x="19" y="61"/>
                  </a:lnTo>
                  <a:lnTo>
                    <a:pt x="19" y="65"/>
                  </a:lnTo>
                  <a:lnTo>
                    <a:pt x="19" y="69"/>
                  </a:lnTo>
                  <a:lnTo>
                    <a:pt x="17" y="71"/>
                  </a:lnTo>
                  <a:lnTo>
                    <a:pt x="15" y="75"/>
                  </a:lnTo>
                  <a:lnTo>
                    <a:pt x="13" y="77"/>
                  </a:lnTo>
                  <a:lnTo>
                    <a:pt x="11" y="79"/>
                  </a:lnTo>
                  <a:lnTo>
                    <a:pt x="9" y="81"/>
                  </a:lnTo>
                  <a:lnTo>
                    <a:pt x="7" y="81"/>
                  </a:lnTo>
                  <a:lnTo>
                    <a:pt x="5" y="82"/>
                  </a:lnTo>
                  <a:lnTo>
                    <a:pt x="4" y="86"/>
                  </a:lnTo>
                  <a:lnTo>
                    <a:pt x="4" y="88"/>
                  </a:lnTo>
                  <a:lnTo>
                    <a:pt x="2" y="92"/>
                  </a:lnTo>
                  <a:lnTo>
                    <a:pt x="2" y="96"/>
                  </a:lnTo>
                  <a:lnTo>
                    <a:pt x="2" y="102"/>
                  </a:lnTo>
                  <a:lnTo>
                    <a:pt x="4" y="105"/>
                  </a:lnTo>
                  <a:lnTo>
                    <a:pt x="5" y="107"/>
                  </a:lnTo>
                  <a:lnTo>
                    <a:pt x="9" y="111"/>
                  </a:lnTo>
                  <a:lnTo>
                    <a:pt x="11" y="113"/>
                  </a:lnTo>
                  <a:lnTo>
                    <a:pt x="13" y="117"/>
                  </a:lnTo>
                  <a:lnTo>
                    <a:pt x="15" y="123"/>
                  </a:lnTo>
                  <a:lnTo>
                    <a:pt x="15" y="128"/>
                  </a:lnTo>
                  <a:lnTo>
                    <a:pt x="15" y="136"/>
                  </a:lnTo>
                  <a:lnTo>
                    <a:pt x="13" y="143"/>
                  </a:lnTo>
                  <a:lnTo>
                    <a:pt x="9" y="151"/>
                  </a:lnTo>
                  <a:lnTo>
                    <a:pt x="7" y="157"/>
                  </a:lnTo>
                  <a:lnTo>
                    <a:pt x="4" y="163"/>
                  </a:lnTo>
                  <a:lnTo>
                    <a:pt x="2" y="168"/>
                  </a:lnTo>
                  <a:lnTo>
                    <a:pt x="0" y="176"/>
                  </a:lnTo>
                  <a:lnTo>
                    <a:pt x="0" y="185"/>
                  </a:lnTo>
                  <a:lnTo>
                    <a:pt x="0" y="187"/>
                  </a:lnTo>
                  <a:lnTo>
                    <a:pt x="0" y="191"/>
                  </a:lnTo>
                  <a:lnTo>
                    <a:pt x="0" y="195"/>
                  </a:lnTo>
                  <a:lnTo>
                    <a:pt x="0" y="199"/>
                  </a:lnTo>
                  <a:lnTo>
                    <a:pt x="0" y="203"/>
                  </a:lnTo>
                  <a:lnTo>
                    <a:pt x="0" y="206"/>
                  </a:lnTo>
                  <a:lnTo>
                    <a:pt x="2" y="208"/>
                  </a:lnTo>
                  <a:lnTo>
                    <a:pt x="2" y="210"/>
                  </a:lnTo>
                  <a:lnTo>
                    <a:pt x="5" y="212"/>
                  </a:lnTo>
                  <a:lnTo>
                    <a:pt x="9" y="212"/>
                  </a:lnTo>
                  <a:lnTo>
                    <a:pt x="13" y="212"/>
                  </a:lnTo>
                  <a:lnTo>
                    <a:pt x="15" y="216"/>
                  </a:lnTo>
                  <a:lnTo>
                    <a:pt x="13" y="220"/>
                  </a:lnTo>
                  <a:lnTo>
                    <a:pt x="13" y="222"/>
                  </a:lnTo>
                  <a:lnTo>
                    <a:pt x="13" y="226"/>
                  </a:lnTo>
                  <a:lnTo>
                    <a:pt x="11" y="227"/>
                  </a:lnTo>
                  <a:lnTo>
                    <a:pt x="9" y="229"/>
                  </a:lnTo>
                  <a:lnTo>
                    <a:pt x="9" y="231"/>
                  </a:lnTo>
                  <a:lnTo>
                    <a:pt x="9" y="235"/>
                  </a:lnTo>
                  <a:lnTo>
                    <a:pt x="7" y="239"/>
                  </a:lnTo>
                  <a:lnTo>
                    <a:pt x="9" y="239"/>
                  </a:lnTo>
                  <a:lnTo>
                    <a:pt x="9" y="241"/>
                  </a:lnTo>
                  <a:lnTo>
                    <a:pt x="11" y="243"/>
                  </a:lnTo>
                  <a:lnTo>
                    <a:pt x="13" y="243"/>
                  </a:lnTo>
                  <a:lnTo>
                    <a:pt x="17" y="239"/>
                  </a:lnTo>
                  <a:lnTo>
                    <a:pt x="19" y="235"/>
                  </a:lnTo>
                  <a:lnTo>
                    <a:pt x="23" y="231"/>
                  </a:lnTo>
                  <a:lnTo>
                    <a:pt x="26" y="226"/>
                  </a:lnTo>
                  <a:lnTo>
                    <a:pt x="30" y="222"/>
                  </a:lnTo>
                  <a:lnTo>
                    <a:pt x="34" y="220"/>
                  </a:lnTo>
                  <a:lnTo>
                    <a:pt x="38" y="218"/>
                  </a:lnTo>
                  <a:lnTo>
                    <a:pt x="44" y="216"/>
                  </a:lnTo>
                  <a:lnTo>
                    <a:pt x="49" y="218"/>
                  </a:lnTo>
                  <a:lnTo>
                    <a:pt x="53" y="220"/>
                  </a:lnTo>
                  <a:lnTo>
                    <a:pt x="59" y="222"/>
                  </a:lnTo>
                  <a:lnTo>
                    <a:pt x="65" y="226"/>
                  </a:lnTo>
                  <a:lnTo>
                    <a:pt x="70" y="229"/>
                  </a:lnTo>
                  <a:lnTo>
                    <a:pt x="76" y="231"/>
                  </a:lnTo>
                  <a:lnTo>
                    <a:pt x="80" y="233"/>
                  </a:lnTo>
                  <a:lnTo>
                    <a:pt x="84" y="235"/>
                  </a:lnTo>
                  <a:lnTo>
                    <a:pt x="86" y="235"/>
                  </a:lnTo>
                  <a:lnTo>
                    <a:pt x="87" y="233"/>
                  </a:lnTo>
                  <a:lnTo>
                    <a:pt x="89" y="231"/>
                  </a:lnTo>
                  <a:lnTo>
                    <a:pt x="91" y="229"/>
                  </a:lnTo>
                  <a:lnTo>
                    <a:pt x="93" y="227"/>
                  </a:lnTo>
                  <a:lnTo>
                    <a:pt x="97" y="226"/>
                  </a:lnTo>
                  <a:lnTo>
                    <a:pt x="99" y="224"/>
                  </a:lnTo>
                  <a:lnTo>
                    <a:pt x="105" y="224"/>
                  </a:lnTo>
                  <a:lnTo>
                    <a:pt x="107" y="224"/>
                  </a:lnTo>
                  <a:lnTo>
                    <a:pt x="108" y="224"/>
                  </a:lnTo>
                  <a:lnTo>
                    <a:pt x="110" y="226"/>
                  </a:lnTo>
                  <a:lnTo>
                    <a:pt x="112" y="226"/>
                  </a:lnTo>
                  <a:lnTo>
                    <a:pt x="114" y="227"/>
                  </a:lnTo>
                  <a:lnTo>
                    <a:pt x="118" y="227"/>
                  </a:lnTo>
                  <a:lnTo>
                    <a:pt x="120" y="227"/>
                  </a:lnTo>
                  <a:lnTo>
                    <a:pt x="122" y="229"/>
                  </a:lnTo>
                  <a:lnTo>
                    <a:pt x="122" y="231"/>
                  </a:lnTo>
                  <a:lnTo>
                    <a:pt x="126" y="233"/>
                  </a:lnTo>
                  <a:lnTo>
                    <a:pt x="128" y="235"/>
                  </a:lnTo>
                  <a:lnTo>
                    <a:pt x="131" y="237"/>
                  </a:lnTo>
                  <a:lnTo>
                    <a:pt x="135" y="233"/>
                  </a:lnTo>
                  <a:lnTo>
                    <a:pt x="137" y="229"/>
                  </a:lnTo>
                  <a:lnTo>
                    <a:pt x="141" y="226"/>
                  </a:lnTo>
                  <a:lnTo>
                    <a:pt x="147" y="222"/>
                  </a:lnTo>
                  <a:lnTo>
                    <a:pt x="149" y="218"/>
                  </a:lnTo>
                  <a:lnTo>
                    <a:pt x="152" y="212"/>
                  </a:lnTo>
                  <a:lnTo>
                    <a:pt x="156" y="206"/>
                  </a:lnTo>
                  <a:lnTo>
                    <a:pt x="156" y="201"/>
                  </a:lnTo>
                  <a:lnTo>
                    <a:pt x="110" y="201"/>
                  </a:lnTo>
                  <a:lnTo>
                    <a:pt x="112" y="197"/>
                  </a:lnTo>
                  <a:lnTo>
                    <a:pt x="116" y="193"/>
                  </a:lnTo>
                  <a:lnTo>
                    <a:pt x="120" y="189"/>
                  </a:lnTo>
                  <a:lnTo>
                    <a:pt x="126" y="187"/>
                  </a:lnTo>
                  <a:lnTo>
                    <a:pt x="129" y="184"/>
                  </a:lnTo>
                  <a:lnTo>
                    <a:pt x="135" y="182"/>
                  </a:lnTo>
                  <a:lnTo>
                    <a:pt x="139" y="178"/>
                  </a:lnTo>
                  <a:lnTo>
                    <a:pt x="143" y="172"/>
                  </a:lnTo>
                  <a:lnTo>
                    <a:pt x="145" y="168"/>
                  </a:lnTo>
                  <a:lnTo>
                    <a:pt x="147" y="164"/>
                  </a:lnTo>
                  <a:lnTo>
                    <a:pt x="149" y="161"/>
                  </a:lnTo>
                  <a:lnTo>
                    <a:pt x="150" y="157"/>
                  </a:lnTo>
                  <a:lnTo>
                    <a:pt x="152" y="153"/>
                  </a:lnTo>
                  <a:lnTo>
                    <a:pt x="156" y="147"/>
                  </a:lnTo>
                  <a:lnTo>
                    <a:pt x="158" y="143"/>
                  </a:lnTo>
                  <a:lnTo>
                    <a:pt x="160" y="140"/>
                  </a:lnTo>
                  <a:lnTo>
                    <a:pt x="162" y="136"/>
                  </a:lnTo>
                  <a:lnTo>
                    <a:pt x="164" y="132"/>
                  </a:lnTo>
                  <a:lnTo>
                    <a:pt x="166" y="128"/>
                  </a:lnTo>
                  <a:lnTo>
                    <a:pt x="169" y="123"/>
                  </a:lnTo>
                  <a:lnTo>
                    <a:pt x="171" y="119"/>
                  </a:lnTo>
                  <a:lnTo>
                    <a:pt x="175" y="115"/>
                  </a:lnTo>
                  <a:lnTo>
                    <a:pt x="177" y="109"/>
                  </a:lnTo>
                  <a:lnTo>
                    <a:pt x="179" y="105"/>
                  </a:lnTo>
                  <a:lnTo>
                    <a:pt x="185" y="111"/>
                  </a:lnTo>
                  <a:close/>
                </a:path>
              </a:pathLst>
            </a:custGeom>
            <a:no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420" name="Rectangle 164"/>
            <p:cNvSpPr>
              <a:spLocks noChangeArrowheads="1"/>
            </p:cNvSpPr>
            <p:nvPr/>
          </p:nvSpPr>
          <p:spPr bwMode="gray">
            <a:xfrm>
              <a:off x="2268" y="1144"/>
              <a:ext cx="13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21" name="Rectangle 165"/>
            <p:cNvSpPr>
              <a:spLocks noChangeArrowheads="1"/>
            </p:cNvSpPr>
            <p:nvPr/>
          </p:nvSpPr>
          <p:spPr bwMode="gray">
            <a:xfrm>
              <a:off x="1620" y="1088"/>
              <a:ext cx="17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22" name="Rectangle 166"/>
            <p:cNvSpPr>
              <a:spLocks noChangeArrowheads="1"/>
            </p:cNvSpPr>
            <p:nvPr/>
          </p:nvSpPr>
          <p:spPr bwMode="gray">
            <a:xfrm>
              <a:off x="1324" y="876"/>
              <a:ext cx="21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23" name="Rectangle 167"/>
            <p:cNvSpPr>
              <a:spLocks noChangeArrowheads="1"/>
            </p:cNvSpPr>
            <p:nvPr/>
          </p:nvSpPr>
          <p:spPr bwMode="gray">
            <a:xfrm>
              <a:off x="988" y="1432"/>
              <a:ext cx="26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24" name="Rectangle 168"/>
            <p:cNvSpPr>
              <a:spLocks noChangeArrowheads="1"/>
            </p:cNvSpPr>
            <p:nvPr/>
          </p:nvSpPr>
          <p:spPr bwMode="gray">
            <a:xfrm>
              <a:off x="2748" y="1166"/>
              <a:ext cx="14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25" name="Rectangle 169"/>
            <p:cNvSpPr>
              <a:spLocks noChangeArrowheads="1"/>
            </p:cNvSpPr>
            <p:nvPr/>
          </p:nvSpPr>
          <p:spPr bwMode="gray">
            <a:xfrm>
              <a:off x="2332" y="1632"/>
              <a:ext cx="13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26" name="Rectangle 170"/>
            <p:cNvSpPr>
              <a:spLocks noChangeArrowheads="1"/>
            </p:cNvSpPr>
            <p:nvPr/>
          </p:nvSpPr>
          <p:spPr bwMode="gray">
            <a:xfrm>
              <a:off x="1948" y="1544"/>
              <a:ext cx="13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27" name="Rectangle 171"/>
            <p:cNvSpPr>
              <a:spLocks noChangeArrowheads="1"/>
            </p:cNvSpPr>
            <p:nvPr/>
          </p:nvSpPr>
          <p:spPr bwMode="gray">
            <a:xfrm>
              <a:off x="2852" y="1520"/>
              <a:ext cx="18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28" name="Rectangle 172"/>
            <p:cNvSpPr>
              <a:spLocks noChangeArrowheads="1"/>
            </p:cNvSpPr>
            <p:nvPr/>
          </p:nvSpPr>
          <p:spPr bwMode="gray">
            <a:xfrm>
              <a:off x="2664" y="1804"/>
              <a:ext cx="372" cy="134"/>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29" name="Rectangle 173"/>
            <p:cNvSpPr>
              <a:spLocks noChangeArrowheads="1"/>
            </p:cNvSpPr>
            <p:nvPr/>
          </p:nvSpPr>
          <p:spPr bwMode="gray">
            <a:xfrm>
              <a:off x="1852" y="1880"/>
              <a:ext cx="17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0" name="Rectangle 174"/>
            <p:cNvSpPr>
              <a:spLocks noChangeArrowheads="1"/>
            </p:cNvSpPr>
            <p:nvPr/>
          </p:nvSpPr>
          <p:spPr bwMode="gray">
            <a:xfrm>
              <a:off x="1484" y="1512"/>
              <a:ext cx="10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1" name="Rectangle 175"/>
            <p:cNvSpPr>
              <a:spLocks noChangeArrowheads="1"/>
            </p:cNvSpPr>
            <p:nvPr/>
          </p:nvSpPr>
          <p:spPr bwMode="gray">
            <a:xfrm>
              <a:off x="1956" y="2112"/>
              <a:ext cx="26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2" name="Rectangle 176"/>
            <p:cNvSpPr>
              <a:spLocks noChangeArrowheads="1"/>
            </p:cNvSpPr>
            <p:nvPr/>
          </p:nvSpPr>
          <p:spPr bwMode="gray">
            <a:xfrm>
              <a:off x="3220" y="1936"/>
              <a:ext cx="23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3" name="Rectangle 177"/>
            <p:cNvSpPr>
              <a:spLocks noChangeArrowheads="1"/>
            </p:cNvSpPr>
            <p:nvPr/>
          </p:nvSpPr>
          <p:spPr bwMode="gray">
            <a:xfrm>
              <a:off x="3572" y="1880"/>
              <a:ext cx="22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4" name="Rectangle 178"/>
            <p:cNvSpPr>
              <a:spLocks noChangeArrowheads="1"/>
            </p:cNvSpPr>
            <p:nvPr/>
          </p:nvSpPr>
          <p:spPr bwMode="gray">
            <a:xfrm>
              <a:off x="956" y="1832"/>
              <a:ext cx="20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5" name="Rectangle 179"/>
            <p:cNvSpPr>
              <a:spLocks noChangeArrowheads="1"/>
            </p:cNvSpPr>
            <p:nvPr/>
          </p:nvSpPr>
          <p:spPr bwMode="gray">
            <a:xfrm>
              <a:off x="2572" y="2264"/>
              <a:ext cx="12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6" name="Rectangle 180"/>
            <p:cNvSpPr>
              <a:spLocks noChangeArrowheads="1"/>
            </p:cNvSpPr>
            <p:nvPr/>
          </p:nvSpPr>
          <p:spPr bwMode="gray">
            <a:xfrm>
              <a:off x="2940" y="2204"/>
              <a:ext cx="20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7" name="Rectangle 181"/>
            <p:cNvSpPr>
              <a:spLocks noChangeArrowheads="1"/>
            </p:cNvSpPr>
            <p:nvPr/>
          </p:nvSpPr>
          <p:spPr bwMode="gray">
            <a:xfrm>
              <a:off x="1980" y="2352"/>
              <a:ext cx="16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8" name="Rectangle 182"/>
            <p:cNvSpPr>
              <a:spLocks noChangeArrowheads="1"/>
            </p:cNvSpPr>
            <p:nvPr/>
          </p:nvSpPr>
          <p:spPr bwMode="gray">
            <a:xfrm>
              <a:off x="3184" y="2292"/>
              <a:ext cx="160"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39" name="Rectangle 183"/>
            <p:cNvSpPr>
              <a:spLocks noChangeArrowheads="1"/>
            </p:cNvSpPr>
            <p:nvPr/>
          </p:nvSpPr>
          <p:spPr bwMode="gray">
            <a:xfrm>
              <a:off x="2100" y="2472"/>
              <a:ext cx="180"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40" name="Rectangle 184"/>
            <p:cNvSpPr>
              <a:spLocks noChangeArrowheads="1"/>
            </p:cNvSpPr>
            <p:nvPr/>
          </p:nvSpPr>
          <p:spPr bwMode="gray">
            <a:xfrm>
              <a:off x="2596" y="2400"/>
              <a:ext cx="20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41" name="Rectangle 185"/>
            <p:cNvSpPr>
              <a:spLocks noChangeArrowheads="1"/>
            </p:cNvSpPr>
            <p:nvPr/>
          </p:nvSpPr>
          <p:spPr bwMode="gray">
            <a:xfrm>
              <a:off x="3020" y="2600"/>
              <a:ext cx="232"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42" name="Rectangle 186"/>
            <p:cNvSpPr>
              <a:spLocks noChangeArrowheads="1"/>
            </p:cNvSpPr>
            <p:nvPr/>
          </p:nvSpPr>
          <p:spPr bwMode="gray">
            <a:xfrm>
              <a:off x="2236" y="2840"/>
              <a:ext cx="17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43" name="Rectangle 187"/>
            <p:cNvSpPr>
              <a:spLocks noChangeArrowheads="1"/>
            </p:cNvSpPr>
            <p:nvPr/>
          </p:nvSpPr>
          <p:spPr bwMode="gray">
            <a:xfrm>
              <a:off x="2604" y="2960"/>
              <a:ext cx="22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44" name="Rectangle 188"/>
            <p:cNvSpPr>
              <a:spLocks noChangeArrowheads="1"/>
            </p:cNvSpPr>
            <p:nvPr/>
          </p:nvSpPr>
          <p:spPr bwMode="gray">
            <a:xfrm>
              <a:off x="2596" y="2480"/>
              <a:ext cx="192"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45" name="Rectangle 189"/>
            <p:cNvSpPr>
              <a:spLocks noChangeArrowheads="1"/>
            </p:cNvSpPr>
            <p:nvPr/>
          </p:nvSpPr>
          <p:spPr bwMode="gray">
            <a:xfrm>
              <a:off x="2516" y="3280"/>
              <a:ext cx="24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46" name="Rectangle 190"/>
            <p:cNvSpPr>
              <a:spLocks noChangeArrowheads="1"/>
            </p:cNvSpPr>
            <p:nvPr/>
          </p:nvSpPr>
          <p:spPr bwMode="gray">
            <a:xfrm>
              <a:off x="2748" y="3152"/>
              <a:ext cx="280"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47" name="Rectangle 191"/>
            <p:cNvSpPr>
              <a:spLocks noChangeArrowheads="1"/>
            </p:cNvSpPr>
            <p:nvPr/>
          </p:nvSpPr>
          <p:spPr bwMode="gray">
            <a:xfrm>
              <a:off x="2220" y="3208"/>
              <a:ext cx="208"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448" name="Rectangle 192"/>
            <p:cNvSpPr>
              <a:spLocks noChangeArrowheads="1"/>
            </p:cNvSpPr>
            <p:nvPr/>
          </p:nvSpPr>
          <p:spPr bwMode="gray">
            <a:xfrm>
              <a:off x="2472" y="3539"/>
              <a:ext cx="36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grpSp>
          <p:nvGrpSpPr>
            <p:cNvPr id="7" name="Group 193"/>
            <p:cNvGrpSpPr>
              <a:grpSpLocks/>
            </p:cNvGrpSpPr>
            <p:nvPr/>
          </p:nvGrpSpPr>
          <p:grpSpPr bwMode="auto">
            <a:xfrm>
              <a:off x="266" y="1621"/>
              <a:ext cx="278" cy="294"/>
              <a:chOff x="1944" y="2777"/>
              <a:chExt cx="975" cy="1033"/>
            </a:xfrm>
          </p:grpSpPr>
          <p:sp>
            <p:nvSpPr>
              <p:cNvPr id="608450" name="Freeform 194"/>
              <p:cNvSpPr>
                <a:spLocks/>
              </p:cNvSpPr>
              <p:nvPr/>
            </p:nvSpPr>
            <p:spPr bwMode="auto">
              <a:xfrm>
                <a:off x="2129" y="2990"/>
                <a:ext cx="52" cy="63"/>
              </a:xfrm>
              <a:custGeom>
                <a:avLst/>
                <a:gdLst/>
                <a:ahLst/>
                <a:cxnLst>
                  <a:cxn ang="0">
                    <a:pos x="7" y="0"/>
                  </a:cxn>
                  <a:cxn ang="0">
                    <a:pos x="18" y="16"/>
                  </a:cxn>
                  <a:cxn ang="0">
                    <a:pos x="33" y="28"/>
                  </a:cxn>
                  <a:cxn ang="0">
                    <a:pos x="33" y="45"/>
                  </a:cxn>
                  <a:cxn ang="0">
                    <a:pos x="52" y="63"/>
                  </a:cxn>
                  <a:cxn ang="0">
                    <a:pos x="27" y="48"/>
                  </a:cxn>
                  <a:cxn ang="0">
                    <a:pos x="27" y="33"/>
                  </a:cxn>
                  <a:cxn ang="0">
                    <a:pos x="13" y="19"/>
                  </a:cxn>
                  <a:cxn ang="0">
                    <a:pos x="0" y="9"/>
                  </a:cxn>
                  <a:cxn ang="0">
                    <a:pos x="7" y="0"/>
                  </a:cxn>
                </a:cxnLst>
                <a:rect l="0" t="0" r="r" b="b"/>
                <a:pathLst>
                  <a:path w="52" h="63">
                    <a:moveTo>
                      <a:pt x="7" y="0"/>
                    </a:moveTo>
                    <a:lnTo>
                      <a:pt x="18" y="16"/>
                    </a:lnTo>
                    <a:lnTo>
                      <a:pt x="33" y="28"/>
                    </a:lnTo>
                    <a:lnTo>
                      <a:pt x="33" y="45"/>
                    </a:lnTo>
                    <a:lnTo>
                      <a:pt x="52" y="63"/>
                    </a:lnTo>
                    <a:lnTo>
                      <a:pt x="27" y="48"/>
                    </a:lnTo>
                    <a:lnTo>
                      <a:pt x="27" y="33"/>
                    </a:lnTo>
                    <a:lnTo>
                      <a:pt x="13" y="19"/>
                    </a:lnTo>
                    <a:lnTo>
                      <a:pt x="0" y="9"/>
                    </a:lnTo>
                    <a:lnTo>
                      <a:pt x="7" y="0"/>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grpSp>
            <p:nvGrpSpPr>
              <p:cNvPr id="8" name="Group 195"/>
              <p:cNvGrpSpPr>
                <a:grpSpLocks/>
              </p:cNvGrpSpPr>
              <p:nvPr/>
            </p:nvGrpSpPr>
            <p:grpSpPr bwMode="auto">
              <a:xfrm>
                <a:off x="1944" y="2777"/>
                <a:ext cx="975" cy="1033"/>
                <a:chOff x="1944" y="2777"/>
                <a:chExt cx="975" cy="1033"/>
              </a:xfrm>
            </p:grpSpPr>
            <p:sp>
              <p:nvSpPr>
                <p:cNvPr id="608452" name="Freeform 196"/>
                <p:cNvSpPr>
                  <a:spLocks/>
                </p:cNvSpPr>
                <p:nvPr/>
              </p:nvSpPr>
              <p:spPr bwMode="auto">
                <a:xfrm>
                  <a:off x="1944" y="2777"/>
                  <a:ext cx="168" cy="174"/>
                </a:xfrm>
                <a:custGeom>
                  <a:avLst/>
                  <a:gdLst/>
                  <a:ahLst/>
                  <a:cxnLst>
                    <a:cxn ang="0">
                      <a:pos x="33" y="162"/>
                    </a:cxn>
                    <a:cxn ang="0">
                      <a:pos x="33" y="150"/>
                    </a:cxn>
                    <a:cxn ang="0">
                      <a:pos x="23" y="139"/>
                    </a:cxn>
                    <a:cxn ang="0">
                      <a:pos x="26" y="117"/>
                    </a:cxn>
                    <a:cxn ang="0">
                      <a:pos x="0" y="108"/>
                    </a:cxn>
                    <a:cxn ang="0">
                      <a:pos x="21" y="88"/>
                    </a:cxn>
                    <a:cxn ang="0">
                      <a:pos x="68" y="36"/>
                    </a:cxn>
                    <a:cxn ang="0">
                      <a:pos x="86" y="30"/>
                    </a:cxn>
                    <a:cxn ang="0">
                      <a:pos x="102" y="0"/>
                    </a:cxn>
                    <a:cxn ang="0">
                      <a:pos x="110" y="25"/>
                    </a:cxn>
                    <a:cxn ang="0">
                      <a:pos x="119" y="30"/>
                    </a:cxn>
                    <a:cxn ang="0">
                      <a:pos x="119" y="43"/>
                    </a:cxn>
                    <a:cxn ang="0">
                      <a:pos x="156" y="72"/>
                    </a:cxn>
                    <a:cxn ang="0">
                      <a:pos x="168" y="84"/>
                    </a:cxn>
                    <a:cxn ang="0">
                      <a:pos x="134" y="100"/>
                    </a:cxn>
                    <a:cxn ang="0">
                      <a:pos x="123" y="115"/>
                    </a:cxn>
                    <a:cxn ang="0">
                      <a:pos x="114" y="129"/>
                    </a:cxn>
                    <a:cxn ang="0">
                      <a:pos x="108" y="147"/>
                    </a:cxn>
                    <a:cxn ang="0">
                      <a:pos x="83" y="154"/>
                    </a:cxn>
                    <a:cxn ang="0">
                      <a:pos x="78" y="174"/>
                    </a:cxn>
                    <a:cxn ang="0">
                      <a:pos x="33" y="162"/>
                    </a:cxn>
                  </a:cxnLst>
                  <a:rect l="0" t="0" r="r" b="b"/>
                  <a:pathLst>
                    <a:path w="168" h="174">
                      <a:moveTo>
                        <a:pt x="33" y="162"/>
                      </a:moveTo>
                      <a:lnTo>
                        <a:pt x="33" y="150"/>
                      </a:lnTo>
                      <a:lnTo>
                        <a:pt x="23" y="139"/>
                      </a:lnTo>
                      <a:lnTo>
                        <a:pt x="26" y="117"/>
                      </a:lnTo>
                      <a:lnTo>
                        <a:pt x="0" y="108"/>
                      </a:lnTo>
                      <a:lnTo>
                        <a:pt x="21" y="88"/>
                      </a:lnTo>
                      <a:lnTo>
                        <a:pt x="68" y="36"/>
                      </a:lnTo>
                      <a:lnTo>
                        <a:pt x="86" y="30"/>
                      </a:lnTo>
                      <a:lnTo>
                        <a:pt x="102" y="0"/>
                      </a:lnTo>
                      <a:lnTo>
                        <a:pt x="110" y="25"/>
                      </a:lnTo>
                      <a:lnTo>
                        <a:pt x="119" y="30"/>
                      </a:lnTo>
                      <a:lnTo>
                        <a:pt x="119" y="43"/>
                      </a:lnTo>
                      <a:lnTo>
                        <a:pt x="156" y="72"/>
                      </a:lnTo>
                      <a:lnTo>
                        <a:pt x="168" y="84"/>
                      </a:lnTo>
                      <a:lnTo>
                        <a:pt x="134" y="100"/>
                      </a:lnTo>
                      <a:lnTo>
                        <a:pt x="123" y="115"/>
                      </a:lnTo>
                      <a:lnTo>
                        <a:pt x="114" y="129"/>
                      </a:lnTo>
                      <a:lnTo>
                        <a:pt x="108" y="147"/>
                      </a:lnTo>
                      <a:lnTo>
                        <a:pt x="83" y="154"/>
                      </a:lnTo>
                      <a:lnTo>
                        <a:pt x="78" y="174"/>
                      </a:lnTo>
                      <a:lnTo>
                        <a:pt x="33" y="162"/>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453" name="Freeform 197"/>
                <p:cNvSpPr>
                  <a:spLocks/>
                </p:cNvSpPr>
                <p:nvPr/>
              </p:nvSpPr>
              <p:spPr bwMode="auto">
                <a:xfrm>
                  <a:off x="2049" y="2951"/>
                  <a:ext cx="87" cy="57"/>
                </a:xfrm>
                <a:custGeom>
                  <a:avLst/>
                  <a:gdLst/>
                  <a:ahLst/>
                  <a:cxnLst>
                    <a:cxn ang="0">
                      <a:pos x="0" y="39"/>
                    </a:cxn>
                    <a:cxn ang="0">
                      <a:pos x="6" y="25"/>
                    </a:cxn>
                    <a:cxn ang="0">
                      <a:pos x="20" y="25"/>
                    </a:cxn>
                    <a:cxn ang="0">
                      <a:pos x="29" y="10"/>
                    </a:cxn>
                    <a:cxn ang="0">
                      <a:pos x="45" y="0"/>
                    </a:cxn>
                    <a:cxn ang="0">
                      <a:pos x="65" y="24"/>
                    </a:cxn>
                    <a:cxn ang="0">
                      <a:pos x="87" y="34"/>
                    </a:cxn>
                    <a:cxn ang="0">
                      <a:pos x="68" y="45"/>
                    </a:cxn>
                    <a:cxn ang="0">
                      <a:pos x="59" y="57"/>
                    </a:cxn>
                    <a:cxn ang="0">
                      <a:pos x="33" y="57"/>
                    </a:cxn>
                    <a:cxn ang="0">
                      <a:pos x="14" y="57"/>
                    </a:cxn>
                    <a:cxn ang="0">
                      <a:pos x="0" y="39"/>
                    </a:cxn>
                  </a:cxnLst>
                  <a:rect l="0" t="0" r="r" b="b"/>
                  <a:pathLst>
                    <a:path w="87" h="57">
                      <a:moveTo>
                        <a:pt x="0" y="39"/>
                      </a:moveTo>
                      <a:lnTo>
                        <a:pt x="6" y="25"/>
                      </a:lnTo>
                      <a:lnTo>
                        <a:pt x="20" y="25"/>
                      </a:lnTo>
                      <a:lnTo>
                        <a:pt x="29" y="10"/>
                      </a:lnTo>
                      <a:lnTo>
                        <a:pt x="45" y="0"/>
                      </a:lnTo>
                      <a:lnTo>
                        <a:pt x="65" y="24"/>
                      </a:lnTo>
                      <a:lnTo>
                        <a:pt x="87" y="34"/>
                      </a:lnTo>
                      <a:lnTo>
                        <a:pt x="68" y="45"/>
                      </a:lnTo>
                      <a:lnTo>
                        <a:pt x="59" y="57"/>
                      </a:lnTo>
                      <a:lnTo>
                        <a:pt x="33" y="57"/>
                      </a:lnTo>
                      <a:lnTo>
                        <a:pt x="14" y="57"/>
                      </a:lnTo>
                      <a:lnTo>
                        <a:pt x="0" y="39"/>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454" name="Freeform 198"/>
                <p:cNvSpPr>
                  <a:spLocks/>
                </p:cNvSpPr>
                <p:nvPr/>
              </p:nvSpPr>
              <p:spPr bwMode="auto">
                <a:xfrm>
                  <a:off x="2190" y="3018"/>
                  <a:ext cx="167" cy="81"/>
                </a:xfrm>
                <a:custGeom>
                  <a:avLst/>
                  <a:gdLst/>
                  <a:ahLst/>
                  <a:cxnLst>
                    <a:cxn ang="0">
                      <a:pos x="0" y="23"/>
                    </a:cxn>
                    <a:cxn ang="0">
                      <a:pos x="30" y="0"/>
                    </a:cxn>
                    <a:cxn ang="0">
                      <a:pos x="48" y="12"/>
                    </a:cxn>
                    <a:cxn ang="0">
                      <a:pos x="72" y="27"/>
                    </a:cxn>
                    <a:cxn ang="0">
                      <a:pos x="78" y="50"/>
                    </a:cxn>
                    <a:cxn ang="0">
                      <a:pos x="138" y="50"/>
                    </a:cxn>
                    <a:cxn ang="0">
                      <a:pos x="167" y="56"/>
                    </a:cxn>
                    <a:cxn ang="0">
                      <a:pos x="150" y="66"/>
                    </a:cxn>
                    <a:cxn ang="0">
                      <a:pos x="101" y="60"/>
                    </a:cxn>
                    <a:cxn ang="0">
                      <a:pos x="92" y="66"/>
                    </a:cxn>
                    <a:cxn ang="0">
                      <a:pos x="71" y="57"/>
                    </a:cxn>
                    <a:cxn ang="0">
                      <a:pos x="47" y="81"/>
                    </a:cxn>
                    <a:cxn ang="0">
                      <a:pos x="45" y="47"/>
                    </a:cxn>
                    <a:cxn ang="0">
                      <a:pos x="29" y="47"/>
                    </a:cxn>
                    <a:cxn ang="0">
                      <a:pos x="15" y="48"/>
                    </a:cxn>
                    <a:cxn ang="0">
                      <a:pos x="0" y="23"/>
                    </a:cxn>
                  </a:cxnLst>
                  <a:rect l="0" t="0" r="r" b="b"/>
                  <a:pathLst>
                    <a:path w="167" h="81">
                      <a:moveTo>
                        <a:pt x="0" y="23"/>
                      </a:moveTo>
                      <a:lnTo>
                        <a:pt x="30" y="0"/>
                      </a:lnTo>
                      <a:lnTo>
                        <a:pt x="48" y="12"/>
                      </a:lnTo>
                      <a:lnTo>
                        <a:pt x="72" y="27"/>
                      </a:lnTo>
                      <a:lnTo>
                        <a:pt x="78" y="50"/>
                      </a:lnTo>
                      <a:lnTo>
                        <a:pt x="138" y="50"/>
                      </a:lnTo>
                      <a:lnTo>
                        <a:pt x="167" y="56"/>
                      </a:lnTo>
                      <a:lnTo>
                        <a:pt x="150" y="66"/>
                      </a:lnTo>
                      <a:lnTo>
                        <a:pt x="101" y="60"/>
                      </a:lnTo>
                      <a:lnTo>
                        <a:pt x="92" y="66"/>
                      </a:lnTo>
                      <a:lnTo>
                        <a:pt x="71" y="57"/>
                      </a:lnTo>
                      <a:lnTo>
                        <a:pt x="47" y="81"/>
                      </a:lnTo>
                      <a:lnTo>
                        <a:pt x="45" y="47"/>
                      </a:lnTo>
                      <a:lnTo>
                        <a:pt x="29" y="47"/>
                      </a:lnTo>
                      <a:lnTo>
                        <a:pt x="15" y="48"/>
                      </a:lnTo>
                      <a:lnTo>
                        <a:pt x="0" y="23"/>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455" name="Freeform 199"/>
                <p:cNvSpPr>
                  <a:spLocks/>
                </p:cNvSpPr>
                <p:nvPr/>
              </p:nvSpPr>
              <p:spPr bwMode="auto">
                <a:xfrm>
                  <a:off x="2796" y="2912"/>
                  <a:ext cx="45" cy="124"/>
                </a:xfrm>
                <a:custGeom>
                  <a:avLst/>
                  <a:gdLst/>
                  <a:ahLst/>
                  <a:cxnLst>
                    <a:cxn ang="0">
                      <a:pos x="42" y="124"/>
                    </a:cxn>
                    <a:cxn ang="0">
                      <a:pos x="17" y="94"/>
                    </a:cxn>
                    <a:cxn ang="0">
                      <a:pos x="3" y="61"/>
                    </a:cxn>
                    <a:cxn ang="0">
                      <a:pos x="0" y="31"/>
                    </a:cxn>
                    <a:cxn ang="0">
                      <a:pos x="3" y="4"/>
                    </a:cxn>
                    <a:cxn ang="0">
                      <a:pos x="29" y="0"/>
                    </a:cxn>
                    <a:cxn ang="0">
                      <a:pos x="35" y="22"/>
                    </a:cxn>
                    <a:cxn ang="0">
                      <a:pos x="45" y="49"/>
                    </a:cxn>
                    <a:cxn ang="0">
                      <a:pos x="38" y="73"/>
                    </a:cxn>
                    <a:cxn ang="0">
                      <a:pos x="42" y="124"/>
                    </a:cxn>
                  </a:cxnLst>
                  <a:rect l="0" t="0" r="r" b="b"/>
                  <a:pathLst>
                    <a:path w="45" h="124">
                      <a:moveTo>
                        <a:pt x="42" y="124"/>
                      </a:moveTo>
                      <a:lnTo>
                        <a:pt x="17" y="94"/>
                      </a:lnTo>
                      <a:lnTo>
                        <a:pt x="3" y="61"/>
                      </a:lnTo>
                      <a:lnTo>
                        <a:pt x="0" y="31"/>
                      </a:lnTo>
                      <a:lnTo>
                        <a:pt x="3" y="4"/>
                      </a:lnTo>
                      <a:lnTo>
                        <a:pt x="29" y="0"/>
                      </a:lnTo>
                      <a:lnTo>
                        <a:pt x="35" y="22"/>
                      </a:lnTo>
                      <a:lnTo>
                        <a:pt x="45" y="49"/>
                      </a:lnTo>
                      <a:lnTo>
                        <a:pt x="38" y="73"/>
                      </a:lnTo>
                      <a:lnTo>
                        <a:pt x="42" y="124"/>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456" name="Freeform 200"/>
                <p:cNvSpPr>
                  <a:spLocks/>
                </p:cNvSpPr>
                <p:nvPr/>
              </p:nvSpPr>
              <p:spPr bwMode="auto">
                <a:xfrm>
                  <a:off x="2783" y="3167"/>
                  <a:ext cx="136" cy="169"/>
                </a:xfrm>
                <a:custGeom>
                  <a:avLst/>
                  <a:gdLst/>
                  <a:ahLst/>
                  <a:cxnLst>
                    <a:cxn ang="0">
                      <a:pos x="0" y="132"/>
                    </a:cxn>
                    <a:cxn ang="0">
                      <a:pos x="10" y="97"/>
                    </a:cxn>
                    <a:cxn ang="0">
                      <a:pos x="18" y="88"/>
                    </a:cxn>
                    <a:cxn ang="0">
                      <a:pos x="18" y="58"/>
                    </a:cxn>
                    <a:cxn ang="0">
                      <a:pos x="16" y="19"/>
                    </a:cxn>
                    <a:cxn ang="0">
                      <a:pos x="24" y="9"/>
                    </a:cxn>
                    <a:cxn ang="0">
                      <a:pos x="36" y="18"/>
                    </a:cxn>
                    <a:cxn ang="0">
                      <a:pos x="63" y="0"/>
                    </a:cxn>
                    <a:cxn ang="0">
                      <a:pos x="96" y="7"/>
                    </a:cxn>
                    <a:cxn ang="0">
                      <a:pos x="87" y="30"/>
                    </a:cxn>
                    <a:cxn ang="0">
                      <a:pos x="124" y="61"/>
                    </a:cxn>
                    <a:cxn ang="0">
                      <a:pos x="136" y="75"/>
                    </a:cxn>
                    <a:cxn ang="0">
                      <a:pos x="117" y="94"/>
                    </a:cxn>
                    <a:cxn ang="0">
                      <a:pos x="117" y="105"/>
                    </a:cxn>
                    <a:cxn ang="0">
                      <a:pos x="96" y="129"/>
                    </a:cxn>
                    <a:cxn ang="0">
                      <a:pos x="97" y="153"/>
                    </a:cxn>
                    <a:cxn ang="0">
                      <a:pos x="73" y="169"/>
                    </a:cxn>
                    <a:cxn ang="0">
                      <a:pos x="34" y="156"/>
                    </a:cxn>
                    <a:cxn ang="0">
                      <a:pos x="0" y="132"/>
                    </a:cxn>
                  </a:cxnLst>
                  <a:rect l="0" t="0" r="r" b="b"/>
                  <a:pathLst>
                    <a:path w="136" h="169">
                      <a:moveTo>
                        <a:pt x="0" y="132"/>
                      </a:moveTo>
                      <a:lnTo>
                        <a:pt x="10" y="97"/>
                      </a:lnTo>
                      <a:lnTo>
                        <a:pt x="18" y="88"/>
                      </a:lnTo>
                      <a:lnTo>
                        <a:pt x="18" y="58"/>
                      </a:lnTo>
                      <a:lnTo>
                        <a:pt x="16" y="19"/>
                      </a:lnTo>
                      <a:lnTo>
                        <a:pt x="24" y="9"/>
                      </a:lnTo>
                      <a:lnTo>
                        <a:pt x="36" y="18"/>
                      </a:lnTo>
                      <a:lnTo>
                        <a:pt x="63" y="0"/>
                      </a:lnTo>
                      <a:lnTo>
                        <a:pt x="96" y="7"/>
                      </a:lnTo>
                      <a:lnTo>
                        <a:pt x="87" y="30"/>
                      </a:lnTo>
                      <a:lnTo>
                        <a:pt x="124" y="61"/>
                      </a:lnTo>
                      <a:lnTo>
                        <a:pt x="136" y="75"/>
                      </a:lnTo>
                      <a:lnTo>
                        <a:pt x="117" y="94"/>
                      </a:lnTo>
                      <a:lnTo>
                        <a:pt x="117" y="105"/>
                      </a:lnTo>
                      <a:lnTo>
                        <a:pt x="96" y="129"/>
                      </a:lnTo>
                      <a:lnTo>
                        <a:pt x="97" y="153"/>
                      </a:lnTo>
                      <a:lnTo>
                        <a:pt x="73" y="169"/>
                      </a:lnTo>
                      <a:lnTo>
                        <a:pt x="34" y="156"/>
                      </a:lnTo>
                      <a:lnTo>
                        <a:pt x="0" y="132"/>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457" name="Freeform 201"/>
                <p:cNvSpPr>
                  <a:spLocks/>
                </p:cNvSpPr>
                <p:nvPr/>
              </p:nvSpPr>
              <p:spPr bwMode="auto">
                <a:xfrm>
                  <a:off x="2183" y="3699"/>
                  <a:ext cx="82" cy="111"/>
                </a:xfrm>
                <a:custGeom>
                  <a:avLst/>
                  <a:gdLst/>
                  <a:ahLst/>
                  <a:cxnLst>
                    <a:cxn ang="0">
                      <a:pos x="0" y="72"/>
                    </a:cxn>
                    <a:cxn ang="0">
                      <a:pos x="7" y="47"/>
                    </a:cxn>
                    <a:cxn ang="0">
                      <a:pos x="7" y="18"/>
                    </a:cxn>
                    <a:cxn ang="0">
                      <a:pos x="31" y="0"/>
                    </a:cxn>
                    <a:cxn ang="0">
                      <a:pos x="64" y="0"/>
                    </a:cxn>
                    <a:cxn ang="0">
                      <a:pos x="76" y="8"/>
                    </a:cxn>
                    <a:cxn ang="0">
                      <a:pos x="76" y="42"/>
                    </a:cxn>
                    <a:cxn ang="0">
                      <a:pos x="82" y="62"/>
                    </a:cxn>
                    <a:cxn ang="0">
                      <a:pos x="78" y="93"/>
                    </a:cxn>
                    <a:cxn ang="0">
                      <a:pos x="48" y="111"/>
                    </a:cxn>
                    <a:cxn ang="0">
                      <a:pos x="0" y="72"/>
                    </a:cxn>
                  </a:cxnLst>
                  <a:rect l="0" t="0" r="r" b="b"/>
                  <a:pathLst>
                    <a:path w="82" h="111">
                      <a:moveTo>
                        <a:pt x="0" y="72"/>
                      </a:moveTo>
                      <a:lnTo>
                        <a:pt x="7" y="47"/>
                      </a:lnTo>
                      <a:lnTo>
                        <a:pt x="7" y="18"/>
                      </a:lnTo>
                      <a:lnTo>
                        <a:pt x="31" y="0"/>
                      </a:lnTo>
                      <a:lnTo>
                        <a:pt x="64" y="0"/>
                      </a:lnTo>
                      <a:lnTo>
                        <a:pt x="76" y="8"/>
                      </a:lnTo>
                      <a:lnTo>
                        <a:pt x="76" y="42"/>
                      </a:lnTo>
                      <a:lnTo>
                        <a:pt x="82" y="62"/>
                      </a:lnTo>
                      <a:lnTo>
                        <a:pt x="78" y="93"/>
                      </a:lnTo>
                      <a:lnTo>
                        <a:pt x="48" y="111"/>
                      </a:lnTo>
                      <a:lnTo>
                        <a:pt x="0" y="72"/>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458" name="Freeform 202"/>
                <p:cNvSpPr>
                  <a:spLocks/>
                </p:cNvSpPr>
                <p:nvPr/>
              </p:nvSpPr>
              <p:spPr bwMode="auto">
                <a:xfrm>
                  <a:off x="2120" y="3777"/>
                  <a:ext cx="21" cy="20"/>
                </a:xfrm>
                <a:custGeom>
                  <a:avLst/>
                  <a:gdLst/>
                  <a:ahLst/>
                  <a:cxnLst>
                    <a:cxn ang="0">
                      <a:pos x="10" y="0"/>
                    </a:cxn>
                    <a:cxn ang="0">
                      <a:pos x="0" y="15"/>
                    </a:cxn>
                    <a:cxn ang="0">
                      <a:pos x="9" y="20"/>
                    </a:cxn>
                    <a:cxn ang="0">
                      <a:pos x="21" y="14"/>
                    </a:cxn>
                    <a:cxn ang="0">
                      <a:pos x="10" y="0"/>
                    </a:cxn>
                  </a:cxnLst>
                  <a:rect l="0" t="0" r="r" b="b"/>
                  <a:pathLst>
                    <a:path w="21" h="20">
                      <a:moveTo>
                        <a:pt x="10" y="0"/>
                      </a:moveTo>
                      <a:lnTo>
                        <a:pt x="0" y="15"/>
                      </a:lnTo>
                      <a:lnTo>
                        <a:pt x="9" y="20"/>
                      </a:lnTo>
                      <a:lnTo>
                        <a:pt x="21" y="14"/>
                      </a:lnTo>
                      <a:lnTo>
                        <a:pt x="10" y="0"/>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459" name="Freeform 203"/>
                <p:cNvSpPr>
                  <a:spLocks/>
                </p:cNvSpPr>
                <p:nvPr/>
              </p:nvSpPr>
              <p:spPr bwMode="auto">
                <a:xfrm>
                  <a:off x="2405" y="3549"/>
                  <a:ext cx="159" cy="221"/>
                </a:xfrm>
                <a:custGeom>
                  <a:avLst/>
                  <a:gdLst/>
                  <a:ahLst/>
                  <a:cxnLst>
                    <a:cxn ang="0">
                      <a:pos x="16" y="0"/>
                    </a:cxn>
                    <a:cxn ang="0">
                      <a:pos x="10" y="21"/>
                    </a:cxn>
                    <a:cxn ang="0">
                      <a:pos x="0" y="32"/>
                    </a:cxn>
                    <a:cxn ang="0">
                      <a:pos x="16" y="54"/>
                    </a:cxn>
                    <a:cxn ang="0">
                      <a:pos x="16" y="86"/>
                    </a:cxn>
                    <a:cxn ang="0">
                      <a:pos x="3" y="108"/>
                    </a:cxn>
                    <a:cxn ang="0">
                      <a:pos x="19" y="137"/>
                    </a:cxn>
                    <a:cxn ang="0">
                      <a:pos x="51" y="168"/>
                    </a:cxn>
                    <a:cxn ang="0">
                      <a:pos x="55" y="204"/>
                    </a:cxn>
                    <a:cxn ang="0">
                      <a:pos x="85" y="204"/>
                    </a:cxn>
                    <a:cxn ang="0">
                      <a:pos x="109" y="221"/>
                    </a:cxn>
                    <a:cxn ang="0">
                      <a:pos x="130" y="216"/>
                    </a:cxn>
                    <a:cxn ang="0">
                      <a:pos x="138" y="185"/>
                    </a:cxn>
                    <a:cxn ang="0">
                      <a:pos x="157" y="179"/>
                    </a:cxn>
                    <a:cxn ang="0">
                      <a:pos x="159" y="137"/>
                    </a:cxn>
                    <a:cxn ang="0">
                      <a:pos x="118" y="105"/>
                    </a:cxn>
                    <a:cxn ang="0">
                      <a:pos x="102" y="74"/>
                    </a:cxn>
                    <a:cxn ang="0">
                      <a:pos x="87" y="74"/>
                    </a:cxn>
                    <a:cxn ang="0">
                      <a:pos x="67" y="51"/>
                    </a:cxn>
                    <a:cxn ang="0">
                      <a:pos x="48" y="29"/>
                    </a:cxn>
                    <a:cxn ang="0">
                      <a:pos x="34" y="35"/>
                    </a:cxn>
                    <a:cxn ang="0">
                      <a:pos x="16" y="0"/>
                    </a:cxn>
                  </a:cxnLst>
                  <a:rect l="0" t="0" r="r" b="b"/>
                  <a:pathLst>
                    <a:path w="159" h="221">
                      <a:moveTo>
                        <a:pt x="16" y="0"/>
                      </a:moveTo>
                      <a:lnTo>
                        <a:pt x="10" y="21"/>
                      </a:lnTo>
                      <a:lnTo>
                        <a:pt x="0" y="32"/>
                      </a:lnTo>
                      <a:lnTo>
                        <a:pt x="16" y="54"/>
                      </a:lnTo>
                      <a:lnTo>
                        <a:pt x="16" y="86"/>
                      </a:lnTo>
                      <a:lnTo>
                        <a:pt x="3" y="108"/>
                      </a:lnTo>
                      <a:lnTo>
                        <a:pt x="19" y="137"/>
                      </a:lnTo>
                      <a:lnTo>
                        <a:pt x="51" y="168"/>
                      </a:lnTo>
                      <a:lnTo>
                        <a:pt x="55" y="204"/>
                      </a:lnTo>
                      <a:lnTo>
                        <a:pt x="85" y="204"/>
                      </a:lnTo>
                      <a:lnTo>
                        <a:pt x="109" y="221"/>
                      </a:lnTo>
                      <a:lnTo>
                        <a:pt x="130" y="216"/>
                      </a:lnTo>
                      <a:lnTo>
                        <a:pt x="138" y="185"/>
                      </a:lnTo>
                      <a:lnTo>
                        <a:pt x="157" y="179"/>
                      </a:lnTo>
                      <a:lnTo>
                        <a:pt x="159" y="137"/>
                      </a:lnTo>
                      <a:lnTo>
                        <a:pt x="118" y="105"/>
                      </a:lnTo>
                      <a:lnTo>
                        <a:pt x="102" y="74"/>
                      </a:lnTo>
                      <a:lnTo>
                        <a:pt x="87" y="74"/>
                      </a:lnTo>
                      <a:lnTo>
                        <a:pt x="67" y="51"/>
                      </a:lnTo>
                      <a:lnTo>
                        <a:pt x="48" y="29"/>
                      </a:lnTo>
                      <a:lnTo>
                        <a:pt x="34" y="35"/>
                      </a:lnTo>
                      <a:lnTo>
                        <a:pt x="16" y="0"/>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460" name="Freeform 204"/>
                <p:cNvSpPr>
                  <a:spLocks/>
                </p:cNvSpPr>
                <p:nvPr/>
              </p:nvSpPr>
              <p:spPr bwMode="auto">
                <a:xfrm>
                  <a:off x="2607" y="3545"/>
                  <a:ext cx="60" cy="82"/>
                </a:xfrm>
                <a:custGeom>
                  <a:avLst/>
                  <a:gdLst/>
                  <a:ahLst/>
                  <a:cxnLst>
                    <a:cxn ang="0">
                      <a:pos x="14" y="0"/>
                    </a:cxn>
                    <a:cxn ang="0">
                      <a:pos x="2" y="15"/>
                    </a:cxn>
                    <a:cxn ang="0">
                      <a:pos x="12" y="27"/>
                    </a:cxn>
                    <a:cxn ang="0">
                      <a:pos x="8" y="42"/>
                    </a:cxn>
                    <a:cxn ang="0">
                      <a:pos x="20" y="54"/>
                    </a:cxn>
                    <a:cxn ang="0">
                      <a:pos x="0" y="67"/>
                    </a:cxn>
                    <a:cxn ang="0">
                      <a:pos x="29" y="82"/>
                    </a:cxn>
                    <a:cxn ang="0">
                      <a:pos x="48" y="76"/>
                    </a:cxn>
                    <a:cxn ang="0">
                      <a:pos x="60" y="54"/>
                    </a:cxn>
                    <a:cxn ang="0">
                      <a:pos x="60" y="36"/>
                    </a:cxn>
                    <a:cxn ang="0">
                      <a:pos x="48" y="25"/>
                    </a:cxn>
                    <a:cxn ang="0">
                      <a:pos x="39" y="13"/>
                    </a:cxn>
                    <a:cxn ang="0">
                      <a:pos x="39" y="1"/>
                    </a:cxn>
                    <a:cxn ang="0">
                      <a:pos x="27" y="7"/>
                    </a:cxn>
                    <a:cxn ang="0">
                      <a:pos x="14" y="0"/>
                    </a:cxn>
                  </a:cxnLst>
                  <a:rect l="0" t="0" r="r" b="b"/>
                  <a:pathLst>
                    <a:path w="60" h="82">
                      <a:moveTo>
                        <a:pt x="14" y="0"/>
                      </a:moveTo>
                      <a:lnTo>
                        <a:pt x="2" y="15"/>
                      </a:lnTo>
                      <a:lnTo>
                        <a:pt x="12" y="27"/>
                      </a:lnTo>
                      <a:lnTo>
                        <a:pt x="8" y="42"/>
                      </a:lnTo>
                      <a:lnTo>
                        <a:pt x="20" y="54"/>
                      </a:lnTo>
                      <a:lnTo>
                        <a:pt x="0" y="67"/>
                      </a:lnTo>
                      <a:lnTo>
                        <a:pt x="29" y="82"/>
                      </a:lnTo>
                      <a:lnTo>
                        <a:pt x="48" y="76"/>
                      </a:lnTo>
                      <a:lnTo>
                        <a:pt x="60" y="54"/>
                      </a:lnTo>
                      <a:lnTo>
                        <a:pt x="60" y="36"/>
                      </a:lnTo>
                      <a:lnTo>
                        <a:pt x="48" y="25"/>
                      </a:lnTo>
                      <a:lnTo>
                        <a:pt x="39" y="13"/>
                      </a:lnTo>
                      <a:lnTo>
                        <a:pt x="39" y="1"/>
                      </a:lnTo>
                      <a:lnTo>
                        <a:pt x="27" y="7"/>
                      </a:lnTo>
                      <a:lnTo>
                        <a:pt x="14" y="0"/>
                      </a:lnTo>
                      <a:close/>
                    </a:path>
                  </a:pathLst>
                </a:custGeom>
                <a:noFill/>
                <a:ln w="9525">
                  <a:solidFill>
                    <a:srgbClr val="808080"/>
                  </a:solidFill>
                  <a:round/>
                  <a:headEnd/>
                  <a:tailEnd/>
                </a:ln>
                <a:effectLst/>
              </p:spPr>
              <p:txBody>
                <a:bodyPr/>
                <a:lstStyle/>
                <a:p>
                  <a:endParaRPr lang="en-US" dirty="0">
                    <a:solidFill>
                      <a:srgbClr val="000000"/>
                    </a:solidFill>
                    <a:latin typeface="Arial" charset="0"/>
                  </a:endParaRPr>
                </a:p>
              </p:txBody>
            </p:sp>
          </p:grpSp>
        </p:grpSp>
        <p:sp>
          <p:nvSpPr>
            <p:cNvPr id="608461" name="Rectangle 205"/>
            <p:cNvSpPr>
              <a:spLocks noChangeArrowheads="1"/>
            </p:cNvSpPr>
            <p:nvPr/>
          </p:nvSpPr>
          <p:spPr bwMode="gray">
            <a:xfrm>
              <a:off x="144" y="1742"/>
              <a:ext cx="0" cy="142"/>
            </a:xfrm>
            <a:prstGeom prst="rect">
              <a:avLst/>
            </a:prstGeom>
            <a:solidFill>
              <a:srgbClr val="F8F8F8"/>
            </a:solidFill>
            <a:ln w="9525">
              <a:noFill/>
              <a:miter lim="800000"/>
              <a:headEnd/>
              <a:tailEnd/>
            </a:ln>
            <a:effectLst/>
          </p:spPr>
          <p:txBody>
            <a:bodyPr wrap="none" lIns="0" tIns="0" rIns="0" bIns="0">
              <a:spAutoFit/>
            </a:bodyPr>
            <a:lstStyle/>
            <a:p>
              <a:pPr defTabSz="912705">
                <a:buClr>
                  <a:srgbClr val="4F2100"/>
                </a:buClr>
              </a:pPr>
              <a:endParaRPr lang="de-DE" sz="700" dirty="0">
                <a:solidFill>
                  <a:srgbClr val="000000"/>
                </a:solidFill>
                <a:latin typeface="Arial" charset="0"/>
              </a:endParaRPr>
            </a:p>
          </p:txBody>
        </p:sp>
        <p:sp>
          <p:nvSpPr>
            <p:cNvPr id="608462" name="Rectangle 206"/>
            <p:cNvSpPr>
              <a:spLocks noChangeArrowheads="1"/>
            </p:cNvSpPr>
            <p:nvPr/>
          </p:nvSpPr>
          <p:spPr bwMode="gray">
            <a:xfrm>
              <a:off x="2852" y="2818"/>
              <a:ext cx="17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grpSp>
      <p:grpSp>
        <p:nvGrpSpPr>
          <p:cNvPr id="9" name="Group 207"/>
          <p:cNvGrpSpPr>
            <a:grpSpLocks/>
          </p:cNvGrpSpPr>
          <p:nvPr>
            <p:custDataLst>
              <p:tags r:id="rId8"/>
            </p:custDataLst>
          </p:nvPr>
        </p:nvGrpSpPr>
        <p:grpSpPr bwMode="auto">
          <a:xfrm>
            <a:off x="6195893" y="1961513"/>
            <a:ext cx="2794224" cy="2364828"/>
            <a:chOff x="144" y="740"/>
            <a:chExt cx="3686" cy="3120"/>
          </a:xfrm>
        </p:grpSpPr>
        <p:sp>
          <p:nvSpPr>
            <p:cNvPr id="608464" name="Freeform 208"/>
            <p:cNvSpPr>
              <a:spLocks/>
            </p:cNvSpPr>
            <p:nvPr/>
          </p:nvSpPr>
          <p:spPr bwMode="gray">
            <a:xfrm>
              <a:off x="2637" y="972"/>
              <a:ext cx="477" cy="424"/>
            </a:xfrm>
            <a:custGeom>
              <a:avLst/>
              <a:gdLst/>
              <a:ahLst/>
              <a:cxnLst>
                <a:cxn ang="0">
                  <a:pos x="10" y="70"/>
                </a:cxn>
                <a:cxn ang="0">
                  <a:pos x="17" y="99"/>
                </a:cxn>
                <a:cxn ang="0">
                  <a:pos x="2" y="130"/>
                </a:cxn>
                <a:cxn ang="0">
                  <a:pos x="10" y="170"/>
                </a:cxn>
                <a:cxn ang="0">
                  <a:pos x="660" y="755"/>
                </a:cxn>
                <a:cxn ang="0">
                  <a:pos x="683" y="765"/>
                </a:cxn>
                <a:cxn ang="0">
                  <a:pos x="710" y="763"/>
                </a:cxn>
                <a:cxn ang="0">
                  <a:pos x="721" y="734"/>
                </a:cxn>
                <a:cxn ang="0">
                  <a:pos x="750" y="729"/>
                </a:cxn>
                <a:cxn ang="0">
                  <a:pos x="771" y="719"/>
                </a:cxn>
                <a:cxn ang="0">
                  <a:pos x="784" y="694"/>
                </a:cxn>
                <a:cxn ang="0">
                  <a:pos x="820" y="664"/>
                </a:cxn>
                <a:cxn ang="0">
                  <a:pos x="838" y="645"/>
                </a:cxn>
                <a:cxn ang="0">
                  <a:pos x="822" y="610"/>
                </a:cxn>
                <a:cxn ang="0">
                  <a:pos x="832" y="591"/>
                </a:cxn>
                <a:cxn ang="0">
                  <a:pos x="826" y="570"/>
                </a:cxn>
                <a:cxn ang="0">
                  <a:pos x="790" y="521"/>
                </a:cxn>
                <a:cxn ang="0">
                  <a:pos x="754" y="467"/>
                </a:cxn>
                <a:cxn ang="0">
                  <a:pos x="731" y="437"/>
                </a:cxn>
                <a:cxn ang="0">
                  <a:pos x="704" y="406"/>
                </a:cxn>
                <a:cxn ang="0">
                  <a:pos x="691" y="370"/>
                </a:cxn>
                <a:cxn ang="0">
                  <a:pos x="670" y="332"/>
                </a:cxn>
                <a:cxn ang="0">
                  <a:pos x="649" y="309"/>
                </a:cxn>
                <a:cxn ang="0">
                  <a:pos x="639" y="282"/>
                </a:cxn>
                <a:cxn ang="0">
                  <a:pos x="613" y="259"/>
                </a:cxn>
                <a:cxn ang="0">
                  <a:pos x="588" y="221"/>
                </a:cxn>
                <a:cxn ang="0">
                  <a:pos x="569" y="174"/>
                </a:cxn>
                <a:cxn ang="0">
                  <a:pos x="555" y="160"/>
                </a:cxn>
                <a:cxn ang="0">
                  <a:pos x="552" y="139"/>
                </a:cxn>
                <a:cxn ang="0">
                  <a:pos x="550" y="132"/>
                </a:cxn>
                <a:cxn ang="0">
                  <a:pos x="586" y="164"/>
                </a:cxn>
                <a:cxn ang="0">
                  <a:pos x="614" y="214"/>
                </a:cxn>
                <a:cxn ang="0">
                  <a:pos x="645" y="250"/>
                </a:cxn>
                <a:cxn ang="0">
                  <a:pos x="679" y="284"/>
                </a:cxn>
                <a:cxn ang="0">
                  <a:pos x="698" y="278"/>
                </a:cxn>
                <a:cxn ang="0">
                  <a:pos x="716" y="250"/>
                </a:cxn>
                <a:cxn ang="0">
                  <a:pos x="716" y="206"/>
                </a:cxn>
                <a:cxn ang="0">
                  <a:pos x="717" y="177"/>
                </a:cxn>
                <a:cxn ang="0">
                  <a:pos x="721" y="156"/>
                </a:cxn>
                <a:cxn ang="0">
                  <a:pos x="708" y="135"/>
                </a:cxn>
                <a:cxn ang="0">
                  <a:pos x="695" y="111"/>
                </a:cxn>
                <a:cxn ang="0">
                  <a:pos x="676" y="70"/>
                </a:cxn>
                <a:cxn ang="0">
                  <a:pos x="656" y="30"/>
                </a:cxn>
                <a:cxn ang="0">
                  <a:pos x="630" y="29"/>
                </a:cxn>
                <a:cxn ang="0">
                  <a:pos x="593" y="36"/>
                </a:cxn>
                <a:cxn ang="0">
                  <a:pos x="555" y="42"/>
                </a:cxn>
                <a:cxn ang="0">
                  <a:pos x="517" y="32"/>
                </a:cxn>
                <a:cxn ang="0">
                  <a:pos x="477" y="9"/>
                </a:cxn>
                <a:cxn ang="0">
                  <a:pos x="441" y="0"/>
                </a:cxn>
                <a:cxn ang="0">
                  <a:pos x="389" y="19"/>
                </a:cxn>
                <a:cxn ang="0">
                  <a:pos x="346" y="51"/>
                </a:cxn>
                <a:cxn ang="0">
                  <a:pos x="290" y="61"/>
                </a:cxn>
                <a:cxn ang="0">
                  <a:pos x="204" y="42"/>
                </a:cxn>
                <a:cxn ang="0">
                  <a:pos x="124" y="19"/>
                </a:cxn>
                <a:cxn ang="0">
                  <a:pos x="69" y="15"/>
                </a:cxn>
                <a:cxn ang="0">
                  <a:pos x="46" y="23"/>
                </a:cxn>
                <a:cxn ang="0">
                  <a:pos x="8" y="30"/>
                </a:cxn>
              </a:cxnLst>
              <a:rect l="0" t="0" r="r" b="b"/>
              <a:pathLst>
                <a:path w="843" h="771">
                  <a:moveTo>
                    <a:pt x="0" y="49"/>
                  </a:moveTo>
                  <a:lnTo>
                    <a:pt x="0" y="49"/>
                  </a:lnTo>
                  <a:lnTo>
                    <a:pt x="2" y="55"/>
                  </a:lnTo>
                  <a:lnTo>
                    <a:pt x="4" y="61"/>
                  </a:lnTo>
                  <a:lnTo>
                    <a:pt x="6" y="67"/>
                  </a:lnTo>
                  <a:lnTo>
                    <a:pt x="10" y="70"/>
                  </a:lnTo>
                  <a:lnTo>
                    <a:pt x="14" y="74"/>
                  </a:lnTo>
                  <a:lnTo>
                    <a:pt x="16" y="80"/>
                  </a:lnTo>
                  <a:lnTo>
                    <a:pt x="17" y="86"/>
                  </a:lnTo>
                  <a:lnTo>
                    <a:pt x="19" y="91"/>
                  </a:lnTo>
                  <a:lnTo>
                    <a:pt x="19" y="91"/>
                  </a:lnTo>
                  <a:lnTo>
                    <a:pt x="17" y="99"/>
                  </a:lnTo>
                  <a:lnTo>
                    <a:pt x="16" y="105"/>
                  </a:lnTo>
                  <a:lnTo>
                    <a:pt x="14" y="111"/>
                  </a:lnTo>
                  <a:lnTo>
                    <a:pt x="10" y="114"/>
                  </a:lnTo>
                  <a:lnTo>
                    <a:pt x="6" y="118"/>
                  </a:lnTo>
                  <a:lnTo>
                    <a:pt x="4" y="124"/>
                  </a:lnTo>
                  <a:lnTo>
                    <a:pt x="2" y="130"/>
                  </a:lnTo>
                  <a:lnTo>
                    <a:pt x="0" y="135"/>
                  </a:lnTo>
                  <a:lnTo>
                    <a:pt x="0" y="135"/>
                  </a:lnTo>
                  <a:lnTo>
                    <a:pt x="2" y="145"/>
                  </a:lnTo>
                  <a:lnTo>
                    <a:pt x="4" y="153"/>
                  </a:lnTo>
                  <a:lnTo>
                    <a:pt x="6" y="162"/>
                  </a:lnTo>
                  <a:lnTo>
                    <a:pt x="10" y="170"/>
                  </a:lnTo>
                  <a:lnTo>
                    <a:pt x="14" y="177"/>
                  </a:lnTo>
                  <a:lnTo>
                    <a:pt x="16" y="183"/>
                  </a:lnTo>
                  <a:lnTo>
                    <a:pt x="17" y="189"/>
                  </a:lnTo>
                  <a:lnTo>
                    <a:pt x="19" y="194"/>
                  </a:lnTo>
                  <a:lnTo>
                    <a:pt x="48" y="771"/>
                  </a:lnTo>
                  <a:lnTo>
                    <a:pt x="660" y="755"/>
                  </a:lnTo>
                  <a:lnTo>
                    <a:pt x="660" y="755"/>
                  </a:lnTo>
                  <a:lnTo>
                    <a:pt x="668" y="757"/>
                  </a:lnTo>
                  <a:lnTo>
                    <a:pt x="672" y="759"/>
                  </a:lnTo>
                  <a:lnTo>
                    <a:pt x="677" y="761"/>
                  </a:lnTo>
                  <a:lnTo>
                    <a:pt x="679" y="763"/>
                  </a:lnTo>
                  <a:lnTo>
                    <a:pt x="683" y="765"/>
                  </a:lnTo>
                  <a:lnTo>
                    <a:pt x="687" y="767"/>
                  </a:lnTo>
                  <a:lnTo>
                    <a:pt x="693" y="767"/>
                  </a:lnTo>
                  <a:lnTo>
                    <a:pt x="698" y="769"/>
                  </a:lnTo>
                  <a:lnTo>
                    <a:pt x="698" y="769"/>
                  </a:lnTo>
                  <a:lnTo>
                    <a:pt x="704" y="767"/>
                  </a:lnTo>
                  <a:lnTo>
                    <a:pt x="710" y="763"/>
                  </a:lnTo>
                  <a:lnTo>
                    <a:pt x="714" y="759"/>
                  </a:lnTo>
                  <a:lnTo>
                    <a:pt x="714" y="753"/>
                  </a:lnTo>
                  <a:lnTo>
                    <a:pt x="716" y="748"/>
                  </a:lnTo>
                  <a:lnTo>
                    <a:pt x="717" y="744"/>
                  </a:lnTo>
                  <a:lnTo>
                    <a:pt x="719" y="738"/>
                  </a:lnTo>
                  <a:lnTo>
                    <a:pt x="721" y="734"/>
                  </a:lnTo>
                  <a:lnTo>
                    <a:pt x="721" y="734"/>
                  </a:lnTo>
                  <a:lnTo>
                    <a:pt x="727" y="732"/>
                  </a:lnTo>
                  <a:lnTo>
                    <a:pt x="733" y="731"/>
                  </a:lnTo>
                  <a:lnTo>
                    <a:pt x="738" y="731"/>
                  </a:lnTo>
                  <a:lnTo>
                    <a:pt x="744" y="729"/>
                  </a:lnTo>
                  <a:lnTo>
                    <a:pt x="750" y="729"/>
                  </a:lnTo>
                  <a:lnTo>
                    <a:pt x="754" y="729"/>
                  </a:lnTo>
                  <a:lnTo>
                    <a:pt x="759" y="729"/>
                  </a:lnTo>
                  <a:lnTo>
                    <a:pt x="763" y="727"/>
                  </a:lnTo>
                  <a:lnTo>
                    <a:pt x="763" y="727"/>
                  </a:lnTo>
                  <a:lnTo>
                    <a:pt x="767" y="723"/>
                  </a:lnTo>
                  <a:lnTo>
                    <a:pt x="771" y="719"/>
                  </a:lnTo>
                  <a:lnTo>
                    <a:pt x="773" y="717"/>
                  </a:lnTo>
                  <a:lnTo>
                    <a:pt x="777" y="711"/>
                  </a:lnTo>
                  <a:lnTo>
                    <a:pt x="777" y="708"/>
                  </a:lnTo>
                  <a:lnTo>
                    <a:pt x="779" y="704"/>
                  </a:lnTo>
                  <a:lnTo>
                    <a:pt x="780" y="698"/>
                  </a:lnTo>
                  <a:lnTo>
                    <a:pt x="784" y="694"/>
                  </a:lnTo>
                  <a:lnTo>
                    <a:pt x="784" y="694"/>
                  </a:lnTo>
                  <a:lnTo>
                    <a:pt x="790" y="687"/>
                  </a:lnTo>
                  <a:lnTo>
                    <a:pt x="796" y="679"/>
                  </a:lnTo>
                  <a:lnTo>
                    <a:pt x="803" y="673"/>
                  </a:lnTo>
                  <a:lnTo>
                    <a:pt x="811" y="670"/>
                  </a:lnTo>
                  <a:lnTo>
                    <a:pt x="820" y="664"/>
                  </a:lnTo>
                  <a:lnTo>
                    <a:pt x="828" y="660"/>
                  </a:lnTo>
                  <a:lnTo>
                    <a:pt x="836" y="654"/>
                  </a:lnTo>
                  <a:lnTo>
                    <a:pt x="843" y="650"/>
                  </a:lnTo>
                  <a:lnTo>
                    <a:pt x="843" y="650"/>
                  </a:lnTo>
                  <a:lnTo>
                    <a:pt x="841" y="649"/>
                  </a:lnTo>
                  <a:lnTo>
                    <a:pt x="838" y="645"/>
                  </a:lnTo>
                  <a:lnTo>
                    <a:pt x="834" y="639"/>
                  </a:lnTo>
                  <a:lnTo>
                    <a:pt x="830" y="633"/>
                  </a:lnTo>
                  <a:lnTo>
                    <a:pt x="826" y="628"/>
                  </a:lnTo>
                  <a:lnTo>
                    <a:pt x="824" y="622"/>
                  </a:lnTo>
                  <a:lnTo>
                    <a:pt x="822" y="616"/>
                  </a:lnTo>
                  <a:lnTo>
                    <a:pt x="822" y="610"/>
                  </a:lnTo>
                  <a:lnTo>
                    <a:pt x="822" y="610"/>
                  </a:lnTo>
                  <a:lnTo>
                    <a:pt x="822" y="605"/>
                  </a:lnTo>
                  <a:lnTo>
                    <a:pt x="824" y="601"/>
                  </a:lnTo>
                  <a:lnTo>
                    <a:pt x="826" y="597"/>
                  </a:lnTo>
                  <a:lnTo>
                    <a:pt x="828" y="595"/>
                  </a:lnTo>
                  <a:lnTo>
                    <a:pt x="832" y="591"/>
                  </a:lnTo>
                  <a:lnTo>
                    <a:pt x="834" y="589"/>
                  </a:lnTo>
                  <a:lnTo>
                    <a:pt x="838" y="587"/>
                  </a:lnTo>
                  <a:lnTo>
                    <a:pt x="840" y="586"/>
                  </a:lnTo>
                  <a:lnTo>
                    <a:pt x="840" y="586"/>
                  </a:lnTo>
                  <a:lnTo>
                    <a:pt x="832" y="578"/>
                  </a:lnTo>
                  <a:lnTo>
                    <a:pt x="826" y="570"/>
                  </a:lnTo>
                  <a:lnTo>
                    <a:pt x="820" y="563"/>
                  </a:lnTo>
                  <a:lnTo>
                    <a:pt x="813" y="555"/>
                  </a:lnTo>
                  <a:lnTo>
                    <a:pt x="807" y="546"/>
                  </a:lnTo>
                  <a:lnTo>
                    <a:pt x="801" y="538"/>
                  </a:lnTo>
                  <a:lnTo>
                    <a:pt x="796" y="530"/>
                  </a:lnTo>
                  <a:lnTo>
                    <a:pt x="790" y="521"/>
                  </a:lnTo>
                  <a:lnTo>
                    <a:pt x="784" y="511"/>
                  </a:lnTo>
                  <a:lnTo>
                    <a:pt x="779" y="504"/>
                  </a:lnTo>
                  <a:lnTo>
                    <a:pt x="773" y="494"/>
                  </a:lnTo>
                  <a:lnTo>
                    <a:pt x="767" y="486"/>
                  </a:lnTo>
                  <a:lnTo>
                    <a:pt x="761" y="477"/>
                  </a:lnTo>
                  <a:lnTo>
                    <a:pt x="754" y="467"/>
                  </a:lnTo>
                  <a:lnTo>
                    <a:pt x="748" y="460"/>
                  </a:lnTo>
                  <a:lnTo>
                    <a:pt x="742" y="452"/>
                  </a:lnTo>
                  <a:lnTo>
                    <a:pt x="742" y="452"/>
                  </a:lnTo>
                  <a:lnTo>
                    <a:pt x="738" y="446"/>
                  </a:lnTo>
                  <a:lnTo>
                    <a:pt x="735" y="441"/>
                  </a:lnTo>
                  <a:lnTo>
                    <a:pt x="731" y="437"/>
                  </a:lnTo>
                  <a:lnTo>
                    <a:pt x="727" y="431"/>
                  </a:lnTo>
                  <a:lnTo>
                    <a:pt x="721" y="425"/>
                  </a:lnTo>
                  <a:lnTo>
                    <a:pt x="717" y="422"/>
                  </a:lnTo>
                  <a:lnTo>
                    <a:pt x="714" y="416"/>
                  </a:lnTo>
                  <a:lnTo>
                    <a:pt x="708" y="410"/>
                  </a:lnTo>
                  <a:lnTo>
                    <a:pt x="704" y="406"/>
                  </a:lnTo>
                  <a:lnTo>
                    <a:pt x="702" y="401"/>
                  </a:lnTo>
                  <a:lnTo>
                    <a:pt x="698" y="395"/>
                  </a:lnTo>
                  <a:lnTo>
                    <a:pt x="695" y="389"/>
                  </a:lnTo>
                  <a:lnTo>
                    <a:pt x="693" y="381"/>
                  </a:lnTo>
                  <a:lnTo>
                    <a:pt x="691" y="376"/>
                  </a:lnTo>
                  <a:lnTo>
                    <a:pt x="691" y="370"/>
                  </a:lnTo>
                  <a:lnTo>
                    <a:pt x="689" y="362"/>
                  </a:lnTo>
                  <a:lnTo>
                    <a:pt x="689" y="362"/>
                  </a:lnTo>
                  <a:lnTo>
                    <a:pt x="689" y="357"/>
                  </a:lnTo>
                  <a:lnTo>
                    <a:pt x="683" y="349"/>
                  </a:lnTo>
                  <a:lnTo>
                    <a:pt x="677" y="341"/>
                  </a:lnTo>
                  <a:lnTo>
                    <a:pt x="670" y="332"/>
                  </a:lnTo>
                  <a:lnTo>
                    <a:pt x="664" y="324"/>
                  </a:lnTo>
                  <a:lnTo>
                    <a:pt x="658" y="317"/>
                  </a:lnTo>
                  <a:lnTo>
                    <a:pt x="653" y="311"/>
                  </a:lnTo>
                  <a:lnTo>
                    <a:pt x="651" y="309"/>
                  </a:lnTo>
                  <a:lnTo>
                    <a:pt x="651" y="309"/>
                  </a:lnTo>
                  <a:lnTo>
                    <a:pt x="649" y="309"/>
                  </a:lnTo>
                  <a:lnTo>
                    <a:pt x="645" y="305"/>
                  </a:lnTo>
                  <a:lnTo>
                    <a:pt x="643" y="301"/>
                  </a:lnTo>
                  <a:lnTo>
                    <a:pt x="643" y="296"/>
                  </a:lnTo>
                  <a:lnTo>
                    <a:pt x="641" y="292"/>
                  </a:lnTo>
                  <a:lnTo>
                    <a:pt x="639" y="286"/>
                  </a:lnTo>
                  <a:lnTo>
                    <a:pt x="639" y="282"/>
                  </a:lnTo>
                  <a:lnTo>
                    <a:pt x="637" y="280"/>
                  </a:lnTo>
                  <a:lnTo>
                    <a:pt x="637" y="280"/>
                  </a:lnTo>
                  <a:lnTo>
                    <a:pt x="630" y="275"/>
                  </a:lnTo>
                  <a:lnTo>
                    <a:pt x="624" y="269"/>
                  </a:lnTo>
                  <a:lnTo>
                    <a:pt x="618" y="263"/>
                  </a:lnTo>
                  <a:lnTo>
                    <a:pt x="613" y="259"/>
                  </a:lnTo>
                  <a:lnTo>
                    <a:pt x="607" y="254"/>
                  </a:lnTo>
                  <a:lnTo>
                    <a:pt x="603" y="246"/>
                  </a:lnTo>
                  <a:lnTo>
                    <a:pt x="599" y="240"/>
                  </a:lnTo>
                  <a:lnTo>
                    <a:pt x="595" y="235"/>
                  </a:lnTo>
                  <a:lnTo>
                    <a:pt x="592" y="229"/>
                  </a:lnTo>
                  <a:lnTo>
                    <a:pt x="588" y="221"/>
                  </a:lnTo>
                  <a:lnTo>
                    <a:pt x="584" y="214"/>
                  </a:lnTo>
                  <a:lnTo>
                    <a:pt x="582" y="206"/>
                  </a:lnTo>
                  <a:lnTo>
                    <a:pt x="578" y="198"/>
                  </a:lnTo>
                  <a:lnTo>
                    <a:pt x="574" y="191"/>
                  </a:lnTo>
                  <a:lnTo>
                    <a:pt x="571" y="183"/>
                  </a:lnTo>
                  <a:lnTo>
                    <a:pt x="569" y="174"/>
                  </a:lnTo>
                  <a:lnTo>
                    <a:pt x="569" y="174"/>
                  </a:lnTo>
                  <a:lnTo>
                    <a:pt x="567" y="170"/>
                  </a:lnTo>
                  <a:lnTo>
                    <a:pt x="563" y="168"/>
                  </a:lnTo>
                  <a:lnTo>
                    <a:pt x="561" y="166"/>
                  </a:lnTo>
                  <a:lnTo>
                    <a:pt x="557" y="162"/>
                  </a:lnTo>
                  <a:lnTo>
                    <a:pt x="555" y="160"/>
                  </a:lnTo>
                  <a:lnTo>
                    <a:pt x="553" y="156"/>
                  </a:lnTo>
                  <a:lnTo>
                    <a:pt x="552" y="153"/>
                  </a:lnTo>
                  <a:lnTo>
                    <a:pt x="550" y="147"/>
                  </a:lnTo>
                  <a:lnTo>
                    <a:pt x="550" y="147"/>
                  </a:lnTo>
                  <a:lnTo>
                    <a:pt x="550" y="141"/>
                  </a:lnTo>
                  <a:lnTo>
                    <a:pt x="552" y="139"/>
                  </a:lnTo>
                  <a:lnTo>
                    <a:pt x="552" y="137"/>
                  </a:lnTo>
                  <a:lnTo>
                    <a:pt x="552" y="137"/>
                  </a:lnTo>
                  <a:lnTo>
                    <a:pt x="553" y="137"/>
                  </a:lnTo>
                  <a:lnTo>
                    <a:pt x="553" y="137"/>
                  </a:lnTo>
                  <a:lnTo>
                    <a:pt x="552" y="135"/>
                  </a:lnTo>
                  <a:lnTo>
                    <a:pt x="550" y="132"/>
                  </a:lnTo>
                  <a:lnTo>
                    <a:pt x="550" y="132"/>
                  </a:lnTo>
                  <a:lnTo>
                    <a:pt x="559" y="137"/>
                  </a:lnTo>
                  <a:lnTo>
                    <a:pt x="567" y="143"/>
                  </a:lnTo>
                  <a:lnTo>
                    <a:pt x="574" y="151"/>
                  </a:lnTo>
                  <a:lnTo>
                    <a:pt x="580" y="156"/>
                  </a:lnTo>
                  <a:lnTo>
                    <a:pt x="586" y="164"/>
                  </a:lnTo>
                  <a:lnTo>
                    <a:pt x="592" y="172"/>
                  </a:lnTo>
                  <a:lnTo>
                    <a:pt x="597" y="179"/>
                  </a:lnTo>
                  <a:lnTo>
                    <a:pt x="601" y="189"/>
                  </a:lnTo>
                  <a:lnTo>
                    <a:pt x="605" y="196"/>
                  </a:lnTo>
                  <a:lnTo>
                    <a:pt x="611" y="206"/>
                  </a:lnTo>
                  <a:lnTo>
                    <a:pt x="614" y="214"/>
                  </a:lnTo>
                  <a:lnTo>
                    <a:pt x="620" y="221"/>
                  </a:lnTo>
                  <a:lnTo>
                    <a:pt x="624" y="229"/>
                  </a:lnTo>
                  <a:lnTo>
                    <a:pt x="632" y="236"/>
                  </a:lnTo>
                  <a:lnTo>
                    <a:pt x="637" y="244"/>
                  </a:lnTo>
                  <a:lnTo>
                    <a:pt x="645" y="250"/>
                  </a:lnTo>
                  <a:lnTo>
                    <a:pt x="645" y="250"/>
                  </a:lnTo>
                  <a:lnTo>
                    <a:pt x="649" y="256"/>
                  </a:lnTo>
                  <a:lnTo>
                    <a:pt x="655" y="261"/>
                  </a:lnTo>
                  <a:lnTo>
                    <a:pt x="660" y="267"/>
                  </a:lnTo>
                  <a:lnTo>
                    <a:pt x="666" y="275"/>
                  </a:lnTo>
                  <a:lnTo>
                    <a:pt x="674" y="280"/>
                  </a:lnTo>
                  <a:lnTo>
                    <a:pt x="679" y="284"/>
                  </a:lnTo>
                  <a:lnTo>
                    <a:pt x="685" y="288"/>
                  </a:lnTo>
                  <a:lnTo>
                    <a:pt x="689" y="290"/>
                  </a:lnTo>
                  <a:lnTo>
                    <a:pt x="689" y="290"/>
                  </a:lnTo>
                  <a:lnTo>
                    <a:pt x="693" y="288"/>
                  </a:lnTo>
                  <a:lnTo>
                    <a:pt x="695" y="284"/>
                  </a:lnTo>
                  <a:lnTo>
                    <a:pt x="698" y="278"/>
                  </a:lnTo>
                  <a:lnTo>
                    <a:pt x="704" y="273"/>
                  </a:lnTo>
                  <a:lnTo>
                    <a:pt x="708" y="265"/>
                  </a:lnTo>
                  <a:lnTo>
                    <a:pt x="712" y="259"/>
                  </a:lnTo>
                  <a:lnTo>
                    <a:pt x="716" y="254"/>
                  </a:lnTo>
                  <a:lnTo>
                    <a:pt x="716" y="250"/>
                  </a:lnTo>
                  <a:lnTo>
                    <a:pt x="716" y="250"/>
                  </a:lnTo>
                  <a:lnTo>
                    <a:pt x="716" y="242"/>
                  </a:lnTo>
                  <a:lnTo>
                    <a:pt x="716" y="235"/>
                  </a:lnTo>
                  <a:lnTo>
                    <a:pt x="716" y="227"/>
                  </a:lnTo>
                  <a:lnTo>
                    <a:pt x="716" y="219"/>
                  </a:lnTo>
                  <a:lnTo>
                    <a:pt x="716" y="212"/>
                  </a:lnTo>
                  <a:lnTo>
                    <a:pt x="716" y="206"/>
                  </a:lnTo>
                  <a:lnTo>
                    <a:pt x="717" y="196"/>
                  </a:lnTo>
                  <a:lnTo>
                    <a:pt x="717" y="189"/>
                  </a:lnTo>
                  <a:lnTo>
                    <a:pt x="717" y="189"/>
                  </a:lnTo>
                  <a:lnTo>
                    <a:pt x="717" y="185"/>
                  </a:lnTo>
                  <a:lnTo>
                    <a:pt x="717" y="181"/>
                  </a:lnTo>
                  <a:lnTo>
                    <a:pt x="717" y="177"/>
                  </a:lnTo>
                  <a:lnTo>
                    <a:pt x="719" y="174"/>
                  </a:lnTo>
                  <a:lnTo>
                    <a:pt x="719" y="168"/>
                  </a:lnTo>
                  <a:lnTo>
                    <a:pt x="721" y="164"/>
                  </a:lnTo>
                  <a:lnTo>
                    <a:pt x="721" y="160"/>
                  </a:lnTo>
                  <a:lnTo>
                    <a:pt x="721" y="156"/>
                  </a:lnTo>
                  <a:lnTo>
                    <a:pt x="721" y="156"/>
                  </a:lnTo>
                  <a:lnTo>
                    <a:pt x="721" y="153"/>
                  </a:lnTo>
                  <a:lnTo>
                    <a:pt x="719" y="149"/>
                  </a:lnTo>
                  <a:lnTo>
                    <a:pt x="716" y="145"/>
                  </a:lnTo>
                  <a:lnTo>
                    <a:pt x="714" y="141"/>
                  </a:lnTo>
                  <a:lnTo>
                    <a:pt x="710" y="137"/>
                  </a:lnTo>
                  <a:lnTo>
                    <a:pt x="708" y="135"/>
                  </a:lnTo>
                  <a:lnTo>
                    <a:pt x="704" y="132"/>
                  </a:lnTo>
                  <a:lnTo>
                    <a:pt x="704" y="130"/>
                  </a:lnTo>
                  <a:lnTo>
                    <a:pt x="704" y="130"/>
                  </a:lnTo>
                  <a:lnTo>
                    <a:pt x="700" y="124"/>
                  </a:lnTo>
                  <a:lnTo>
                    <a:pt x="698" y="116"/>
                  </a:lnTo>
                  <a:lnTo>
                    <a:pt x="695" y="111"/>
                  </a:lnTo>
                  <a:lnTo>
                    <a:pt x="693" y="103"/>
                  </a:lnTo>
                  <a:lnTo>
                    <a:pt x="689" y="97"/>
                  </a:lnTo>
                  <a:lnTo>
                    <a:pt x="685" y="91"/>
                  </a:lnTo>
                  <a:lnTo>
                    <a:pt x="683" y="84"/>
                  </a:lnTo>
                  <a:lnTo>
                    <a:pt x="679" y="78"/>
                  </a:lnTo>
                  <a:lnTo>
                    <a:pt x="676" y="70"/>
                  </a:lnTo>
                  <a:lnTo>
                    <a:pt x="672" y="65"/>
                  </a:lnTo>
                  <a:lnTo>
                    <a:pt x="670" y="57"/>
                  </a:lnTo>
                  <a:lnTo>
                    <a:pt x="666" y="51"/>
                  </a:lnTo>
                  <a:lnTo>
                    <a:pt x="662" y="44"/>
                  </a:lnTo>
                  <a:lnTo>
                    <a:pt x="660" y="38"/>
                  </a:lnTo>
                  <a:lnTo>
                    <a:pt x="656" y="30"/>
                  </a:lnTo>
                  <a:lnTo>
                    <a:pt x="655" y="23"/>
                  </a:lnTo>
                  <a:lnTo>
                    <a:pt x="655" y="23"/>
                  </a:lnTo>
                  <a:lnTo>
                    <a:pt x="649" y="25"/>
                  </a:lnTo>
                  <a:lnTo>
                    <a:pt x="641" y="25"/>
                  </a:lnTo>
                  <a:lnTo>
                    <a:pt x="635" y="27"/>
                  </a:lnTo>
                  <a:lnTo>
                    <a:pt x="630" y="29"/>
                  </a:lnTo>
                  <a:lnTo>
                    <a:pt x="624" y="29"/>
                  </a:lnTo>
                  <a:lnTo>
                    <a:pt x="618" y="30"/>
                  </a:lnTo>
                  <a:lnTo>
                    <a:pt x="613" y="32"/>
                  </a:lnTo>
                  <a:lnTo>
                    <a:pt x="607" y="34"/>
                  </a:lnTo>
                  <a:lnTo>
                    <a:pt x="599" y="34"/>
                  </a:lnTo>
                  <a:lnTo>
                    <a:pt x="593" y="36"/>
                  </a:lnTo>
                  <a:lnTo>
                    <a:pt x="588" y="38"/>
                  </a:lnTo>
                  <a:lnTo>
                    <a:pt x="582" y="40"/>
                  </a:lnTo>
                  <a:lnTo>
                    <a:pt x="576" y="40"/>
                  </a:lnTo>
                  <a:lnTo>
                    <a:pt x="569" y="42"/>
                  </a:lnTo>
                  <a:lnTo>
                    <a:pt x="563" y="42"/>
                  </a:lnTo>
                  <a:lnTo>
                    <a:pt x="555" y="42"/>
                  </a:lnTo>
                  <a:lnTo>
                    <a:pt x="555" y="42"/>
                  </a:lnTo>
                  <a:lnTo>
                    <a:pt x="548" y="42"/>
                  </a:lnTo>
                  <a:lnTo>
                    <a:pt x="540" y="40"/>
                  </a:lnTo>
                  <a:lnTo>
                    <a:pt x="532" y="38"/>
                  </a:lnTo>
                  <a:lnTo>
                    <a:pt x="525" y="34"/>
                  </a:lnTo>
                  <a:lnTo>
                    <a:pt x="517" y="32"/>
                  </a:lnTo>
                  <a:lnTo>
                    <a:pt x="510" y="29"/>
                  </a:lnTo>
                  <a:lnTo>
                    <a:pt x="504" y="25"/>
                  </a:lnTo>
                  <a:lnTo>
                    <a:pt x="496" y="21"/>
                  </a:lnTo>
                  <a:lnTo>
                    <a:pt x="490" y="17"/>
                  </a:lnTo>
                  <a:lnTo>
                    <a:pt x="485" y="13"/>
                  </a:lnTo>
                  <a:lnTo>
                    <a:pt x="477" y="9"/>
                  </a:lnTo>
                  <a:lnTo>
                    <a:pt x="471" y="8"/>
                  </a:lnTo>
                  <a:lnTo>
                    <a:pt x="464" y="4"/>
                  </a:lnTo>
                  <a:lnTo>
                    <a:pt x="456" y="2"/>
                  </a:lnTo>
                  <a:lnTo>
                    <a:pt x="450" y="0"/>
                  </a:lnTo>
                  <a:lnTo>
                    <a:pt x="441" y="0"/>
                  </a:lnTo>
                  <a:lnTo>
                    <a:pt x="441" y="0"/>
                  </a:lnTo>
                  <a:lnTo>
                    <a:pt x="431" y="0"/>
                  </a:lnTo>
                  <a:lnTo>
                    <a:pt x="422" y="2"/>
                  </a:lnTo>
                  <a:lnTo>
                    <a:pt x="412" y="6"/>
                  </a:lnTo>
                  <a:lnTo>
                    <a:pt x="405" y="9"/>
                  </a:lnTo>
                  <a:lnTo>
                    <a:pt x="397" y="15"/>
                  </a:lnTo>
                  <a:lnTo>
                    <a:pt x="389" y="19"/>
                  </a:lnTo>
                  <a:lnTo>
                    <a:pt x="382" y="25"/>
                  </a:lnTo>
                  <a:lnTo>
                    <a:pt x="376" y="30"/>
                  </a:lnTo>
                  <a:lnTo>
                    <a:pt x="368" y="36"/>
                  </a:lnTo>
                  <a:lnTo>
                    <a:pt x="361" y="42"/>
                  </a:lnTo>
                  <a:lnTo>
                    <a:pt x="353" y="48"/>
                  </a:lnTo>
                  <a:lnTo>
                    <a:pt x="346" y="51"/>
                  </a:lnTo>
                  <a:lnTo>
                    <a:pt x="336" y="55"/>
                  </a:lnTo>
                  <a:lnTo>
                    <a:pt x="328" y="59"/>
                  </a:lnTo>
                  <a:lnTo>
                    <a:pt x="319" y="61"/>
                  </a:lnTo>
                  <a:lnTo>
                    <a:pt x="307" y="61"/>
                  </a:lnTo>
                  <a:lnTo>
                    <a:pt x="307" y="61"/>
                  </a:lnTo>
                  <a:lnTo>
                    <a:pt x="290" y="61"/>
                  </a:lnTo>
                  <a:lnTo>
                    <a:pt x="275" y="59"/>
                  </a:lnTo>
                  <a:lnTo>
                    <a:pt x="260" y="57"/>
                  </a:lnTo>
                  <a:lnTo>
                    <a:pt x="244" y="53"/>
                  </a:lnTo>
                  <a:lnTo>
                    <a:pt x="231" y="51"/>
                  </a:lnTo>
                  <a:lnTo>
                    <a:pt x="218" y="48"/>
                  </a:lnTo>
                  <a:lnTo>
                    <a:pt x="204" y="42"/>
                  </a:lnTo>
                  <a:lnTo>
                    <a:pt x="191" y="38"/>
                  </a:lnTo>
                  <a:lnTo>
                    <a:pt x="178" y="34"/>
                  </a:lnTo>
                  <a:lnTo>
                    <a:pt x="166" y="29"/>
                  </a:lnTo>
                  <a:lnTo>
                    <a:pt x="153" y="25"/>
                  </a:lnTo>
                  <a:lnTo>
                    <a:pt x="139" y="21"/>
                  </a:lnTo>
                  <a:lnTo>
                    <a:pt x="124" y="19"/>
                  </a:lnTo>
                  <a:lnTo>
                    <a:pt x="111" y="17"/>
                  </a:lnTo>
                  <a:lnTo>
                    <a:pt x="94" y="15"/>
                  </a:lnTo>
                  <a:lnTo>
                    <a:pt x="78" y="13"/>
                  </a:lnTo>
                  <a:lnTo>
                    <a:pt x="78" y="13"/>
                  </a:lnTo>
                  <a:lnTo>
                    <a:pt x="73" y="15"/>
                  </a:lnTo>
                  <a:lnTo>
                    <a:pt x="69" y="15"/>
                  </a:lnTo>
                  <a:lnTo>
                    <a:pt x="65" y="17"/>
                  </a:lnTo>
                  <a:lnTo>
                    <a:pt x="61" y="19"/>
                  </a:lnTo>
                  <a:lnTo>
                    <a:pt x="57" y="21"/>
                  </a:lnTo>
                  <a:lnTo>
                    <a:pt x="54" y="23"/>
                  </a:lnTo>
                  <a:lnTo>
                    <a:pt x="50" y="23"/>
                  </a:lnTo>
                  <a:lnTo>
                    <a:pt x="46" y="23"/>
                  </a:lnTo>
                  <a:lnTo>
                    <a:pt x="46" y="23"/>
                  </a:lnTo>
                  <a:lnTo>
                    <a:pt x="35" y="23"/>
                  </a:lnTo>
                  <a:lnTo>
                    <a:pt x="27" y="25"/>
                  </a:lnTo>
                  <a:lnTo>
                    <a:pt x="17" y="25"/>
                  </a:lnTo>
                  <a:lnTo>
                    <a:pt x="12" y="27"/>
                  </a:lnTo>
                  <a:lnTo>
                    <a:pt x="8" y="30"/>
                  </a:lnTo>
                  <a:lnTo>
                    <a:pt x="4" y="34"/>
                  </a:lnTo>
                  <a:lnTo>
                    <a:pt x="2" y="42"/>
                  </a:lnTo>
                  <a:lnTo>
                    <a:pt x="0" y="49"/>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65" name="Freeform 209"/>
            <p:cNvSpPr>
              <a:spLocks/>
            </p:cNvSpPr>
            <p:nvPr/>
          </p:nvSpPr>
          <p:spPr bwMode="gray">
            <a:xfrm>
              <a:off x="3420" y="1779"/>
              <a:ext cx="73" cy="79"/>
            </a:xfrm>
            <a:custGeom>
              <a:avLst/>
              <a:gdLst/>
              <a:ahLst/>
              <a:cxnLst>
                <a:cxn ang="0">
                  <a:pos x="103" y="130"/>
                </a:cxn>
                <a:cxn ang="0">
                  <a:pos x="101" y="126"/>
                </a:cxn>
                <a:cxn ang="0">
                  <a:pos x="97" y="122"/>
                </a:cxn>
                <a:cxn ang="0">
                  <a:pos x="94" y="120"/>
                </a:cxn>
                <a:cxn ang="0">
                  <a:pos x="88" y="118"/>
                </a:cxn>
                <a:cxn ang="0">
                  <a:pos x="82" y="120"/>
                </a:cxn>
                <a:cxn ang="0">
                  <a:pos x="69" y="126"/>
                </a:cxn>
                <a:cxn ang="0">
                  <a:pos x="52" y="133"/>
                </a:cxn>
                <a:cxn ang="0">
                  <a:pos x="35" y="139"/>
                </a:cxn>
                <a:cxn ang="0">
                  <a:pos x="0" y="143"/>
                </a:cxn>
                <a:cxn ang="0">
                  <a:pos x="2" y="137"/>
                </a:cxn>
                <a:cxn ang="0">
                  <a:pos x="4" y="122"/>
                </a:cxn>
                <a:cxn ang="0">
                  <a:pos x="2" y="107"/>
                </a:cxn>
                <a:cxn ang="0">
                  <a:pos x="0" y="90"/>
                </a:cxn>
                <a:cxn ang="0">
                  <a:pos x="0" y="82"/>
                </a:cxn>
                <a:cxn ang="0">
                  <a:pos x="2" y="69"/>
                </a:cxn>
                <a:cxn ang="0">
                  <a:pos x="10" y="55"/>
                </a:cxn>
                <a:cxn ang="0">
                  <a:pos x="19" y="44"/>
                </a:cxn>
                <a:cxn ang="0">
                  <a:pos x="33" y="32"/>
                </a:cxn>
                <a:cxn ang="0">
                  <a:pos x="46" y="21"/>
                </a:cxn>
                <a:cxn ang="0">
                  <a:pos x="61" y="13"/>
                </a:cxn>
                <a:cxn ang="0">
                  <a:pos x="75" y="6"/>
                </a:cxn>
                <a:cxn ang="0">
                  <a:pos x="86" y="0"/>
                </a:cxn>
                <a:cxn ang="0">
                  <a:pos x="94" y="0"/>
                </a:cxn>
                <a:cxn ang="0">
                  <a:pos x="107" y="9"/>
                </a:cxn>
                <a:cxn ang="0">
                  <a:pos x="118" y="21"/>
                </a:cxn>
                <a:cxn ang="0">
                  <a:pos x="126" y="34"/>
                </a:cxn>
                <a:cxn ang="0">
                  <a:pos x="128" y="42"/>
                </a:cxn>
                <a:cxn ang="0">
                  <a:pos x="120" y="53"/>
                </a:cxn>
                <a:cxn ang="0">
                  <a:pos x="103" y="67"/>
                </a:cxn>
                <a:cxn ang="0">
                  <a:pos x="84" y="82"/>
                </a:cxn>
                <a:cxn ang="0">
                  <a:pos x="71" y="92"/>
                </a:cxn>
                <a:cxn ang="0">
                  <a:pos x="77" y="92"/>
                </a:cxn>
                <a:cxn ang="0">
                  <a:pos x="90" y="93"/>
                </a:cxn>
                <a:cxn ang="0">
                  <a:pos x="103" y="95"/>
                </a:cxn>
                <a:cxn ang="0">
                  <a:pos x="115" y="97"/>
                </a:cxn>
                <a:cxn ang="0">
                  <a:pos x="118" y="97"/>
                </a:cxn>
                <a:cxn ang="0">
                  <a:pos x="117" y="107"/>
                </a:cxn>
                <a:cxn ang="0">
                  <a:pos x="113" y="113"/>
                </a:cxn>
                <a:cxn ang="0">
                  <a:pos x="107" y="118"/>
                </a:cxn>
                <a:cxn ang="0">
                  <a:pos x="101" y="122"/>
                </a:cxn>
                <a:cxn ang="0">
                  <a:pos x="103" y="130"/>
                </a:cxn>
              </a:cxnLst>
              <a:rect l="0" t="0" r="r" b="b"/>
              <a:pathLst>
                <a:path w="128" h="143">
                  <a:moveTo>
                    <a:pt x="103" y="130"/>
                  </a:moveTo>
                  <a:lnTo>
                    <a:pt x="103" y="130"/>
                  </a:lnTo>
                  <a:lnTo>
                    <a:pt x="103" y="128"/>
                  </a:lnTo>
                  <a:lnTo>
                    <a:pt x="101" y="126"/>
                  </a:lnTo>
                  <a:lnTo>
                    <a:pt x="99" y="124"/>
                  </a:lnTo>
                  <a:lnTo>
                    <a:pt x="97" y="122"/>
                  </a:lnTo>
                  <a:lnTo>
                    <a:pt x="96" y="122"/>
                  </a:lnTo>
                  <a:lnTo>
                    <a:pt x="94" y="120"/>
                  </a:lnTo>
                  <a:lnTo>
                    <a:pt x="90" y="118"/>
                  </a:lnTo>
                  <a:lnTo>
                    <a:pt x="88" y="118"/>
                  </a:lnTo>
                  <a:lnTo>
                    <a:pt x="88" y="118"/>
                  </a:lnTo>
                  <a:lnTo>
                    <a:pt x="82" y="120"/>
                  </a:lnTo>
                  <a:lnTo>
                    <a:pt x="77" y="122"/>
                  </a:lnTo>
                  <a:lnTo>
                    <a:pt x="69" y="126"/>
                  </a:lnTo>
                  <a:lnTo>
                    <a:pt x="61" y="128"/>
                  </a:lnTo>
                  <a:lnTo>
                    <a:pt x="52" y="133"/>
                  </a:lnTo>
                  <a:lnTo>
                    <a:pt x="42" y="137"/>
                  </a:lnTo>
                  <a:lnTo>
                    <a:pt x="35" y="139"/>
                  </a:lnTo>
                  <a:lnTo>
                    <a:pt x="27" y="143"/>
                  </a:lnTo>
                  <a:lnTo>
                    <a:pt x="0" y="143"/>
                  </a:lnTo>
                  <a:lnTo>
                    <a:pt x="0" y="143"/>
                  </a:lnTo>
                  <a:lnTo>
                    <a:pt x="2" y="137"/>
                  </a:lnTo>
                  <a:lnTo>
                    <a:pt x="4" y="130"/>
                  </a:lnTo>
                  <a:lnTo>
                    <a:pt x="4" y="122"/>
                  </a:lnTo>
                  <a:lnTo>
                    <a:pt x="4" y="114"/>
                  </a:lnTo>
                  <a:lnTo>
                    <a:pt x="2" y="107"/>
                  </a:lnTo>
                  <a:lnTo>
                    <a:pt x="2" y="97"/>
                  </a:lnTo>
                  <a:lnTo>
                    <a:pt x="0" y="90"/>
                  </a:lnTo>
                  <a:lnTo>
                    <a:pt x="0" y="82"/>
                  </a:lnTo>
                  <a:lnTo>
                    <a:pt x="0" y="82"/>
                  </a:lnTo>
                  <a:lnTo>
                    <a:pt x="0" y="74"/>
                  </a:lnTo>
                  <a:lnTo>
                    <a:pt x="2" y="69"/>
                  </a:lnTo>
                  <a:lnTo>
                    <a:pt x="6" y="63"/>
                  </a:lnTo>
                  <a:lnTo>
                    <a:pt x="10" y="55"/>
                  </a:lnTo>
                  <a:lnTo>
                    <a:pt x="14" y="50"/>
                  </a:lnTo>
                  <a:lnTo>
                    <a:pt x="19" y="44"/>
                  </a:lnTo>
                  <a:lnTo>
                    <a:pt x="25" y="38"/>
                  </a:lnTo>
                  <a:lnTo>
                    <a:pt x="33" y="32"/>
                  </a:lnTo>
                  <a:lnTo>
                    <a:pt x="38" y="27"/>
                  </a:lnTo>
                  <a:lnTo>
                    <a:pt x="46" y="21"/>
                  </a:lnTo>
                  <a:lnTo>
                    <a:pt x="54" y="17"/>
                  </a:lnTo>
                  <a:lnTo>
                    <a:pt x="61" y="13"/>
                  </a:lnTo>
                  <a:lnTo>
                    <a:pt x="67" y="8"/>
                  </a:lnTo>
                  <a:lnTo>
                    <a:pt x="75" y="6"/>
                  </a:lnTo>
                  <a:lnTo>
                    <a:pt x="80" y="2"/>
                  </a:lnTo>
                  <a:lnTo>
                    <a:pt x="86" y="0"/>
                  </a:lnTo>
                  <a:lnTo>
                    <a:pt x="86" y="0"/>
                  </a:lnTo>
                  <a:lnTo>
                    <a:pt x="94" y="0"/>
                  </a:lnTo>
                  <a:lnTo>
                    <a:pt x="101" y="4"/>
                  </a:lnTo>
                  <a:lnTo>
                    <a:pt x="107" y="9"/>
                  </a:lnTo>
                  <a:lnTo>
                    <a:pt x="115" y="13"/>
                  </a:lnTo>
                  <a:lnTo>
                    <a:pt x="118" y="21"/>
                  </a:lnTo>
                  <a:lnTo>
                    <a:pt x="124" y="27"/>
                  </a:lnTo>
                  <a:lnTo>
                    <a:pt x="126" y="34"/>
                  </a:lnTo>
                  <a:lnTo>
                    <a:pt x="128" y="42"/>
                  </a:lnTo>
                  <a:lnTo>
                    <a:pt x="128" y="42"/>
                  </a:lnTo>
                  <a:lnTo>
                    <a:pt x="126" y="48"/>
                  </a:lnTo>
                  <a:lnTo>
                    <a:pt x="120" y="53"/>
                  </a:lnTo>
                  <a:lnTo>
                    <a:pt x="113" y="59"/>
                  </a:lnTo>
                  <a:lnTo>
                    <a:pt x="103" y="67"/>
                  </a:lnTo>
                  <a:lnTo>
                    <a:pt x="94" y="74"/>
                  </a:lnTo>
                  <a:lnTo>
                    <a:pt x="84" y="82"/>
                  </a:lnTo>
                  <a:lnTo>
                    <a:pt x="77" y="88"/>
                  </a:lnTo>
                  <a:lnTo>
                    <a:pt x="71" y="92"/>
                  </a:lnTo>
                  <a:lnTo>
                    <a:pt x="71" y="92"/>
                  </a:lnTo>
                  <a:lnTo>
                    <a:pt x="77" y="92"/>
                  </a:lnTo>
                  <a:lnTo>
                    <a:pt x="84" y="93"/>
                  </a:lnTo>
                  <a:lnTo>
                    <a:pt x="90" y="93"/>
                  </a:lnTo>
                  <a:lnTo>
                    <a:pt x="97" y="95"/>
                  </a:lnTo>
                  <a:lnTo>
                    <a:pt x="103" y="95"/>
                  </a:lnTo>
                  <a:lnTo>
                    <a:pt x="109" y="97"/>
                  </a:lnTo>
                  <a:lnTo>
                    <a:pt x="115" y="97"/>
                  </a:lnTo>
                  <a:lnTo>
                    <a:pt x="118" y="97"/>
                  </a:lnTo>
                  <a:lnTo>
                    <a:pt x="118" y="97"/>
                  </a:lnTo>
                  <a:lnTo>
                    <a:pt x="117" y="103"/>
                  </a:lnTo>
                  <a:lnTo>
                    <a:pt x="117" y="107"/>
                  </a:lnTo>
                  <a:lnTo>
                    <a:pt x="115" y="111"/>
                  </a:lnTo>
                  <a:lnTo>
                    <a:pt x="113" y="113"/>
                  </a:lnTo>
                  <a:lnTo>
                    <a:pt x="111" y="116"/>
                  </a:lnTo>
                  <a:lnTo>
                    <a:pt x="107" y="118"/>
                  </a:lnTo>
                  <a:lnTo>
                    <a:pt x="105" y="120"/>
                  </a:lnTo>
                  <a:lnTo>
                    <a:pt x="101" y="122"/>
                  </a:lnTo>
                  <a:lnTo>
                    <a:pt x="103" y="122"/>
                  </a:lnTo>
                  <a:lnTo>
                    <a:pt x="103" y="13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66" name="Freeform 210"/>
            <p:cNvSpPr>
              <a:spLocks/>
            </p:cNvSpPr>
            <p:nvPr/>
          </p:nvSpPr>
          <p:spPr bwMode="gray">
            <a:xfrm>
              <a:off x="3405" y="1788"/>
              <a:ext cx="425" cy="637"/>
            </a:xfrm>
            <a:custGeom>
              <a:avLst/>
              <a:gdLst/>
              <a:ahLst/>
              <a:cxnLst>
                <a:cxn ang="0">
                  <a:pos x="54" y="723"/>
                </a:cxn>
                <a:cxn ang="0">
                  <a:pos x="29" y="763"/>
                </a:cxn>
                <a:cxn ang="0">
                  <a:pos x="0" y="788"/>
                </a:cxn>
                <a:cxn ang="0">
                  <a:pos x="60" y="1147"/>
                </a:cxn>
                <a:cxn ang="0">
                  <a:pos x="81" y="1122"/>
                </a:cxn>
                <a:cxn ang="0">
                  <a:pos x="104" y="1080"/>
                </a:cxn>
                <a:cxn ang="0">
                  <a:pos x="138" y="1048"/>
                </a:cxn>
                <a:cxn ang="0">
                  <a:pos x="168" y="1013"/>
                </a:cxn>
                <a:cxn ang="0">
                  <a:pos x="218" y="962"/>
                </a:cxn>
                <a:cxn ang="0">
                  <a:pos x="271" y="914"/>
                </a:cxn>
                <a:cxn ang="0">
                  <a:pos x="329" y="866"/>
                </a:cxn>
                <a:cxn ang="0">
                  <a:pos x="384" y="819"/>
                </a:cxn>
                <a:cxn ang="0">
                  <a:pos x="434" y="767"/>
                </a:cxn>
                <a:cxn ang="0">
                  <a:pos x="472" y="727"/>
                </a:cxn>
                <a:cxn ang="0">
                  <a:pos x="508" y="685"/>
                </a:cxn>
                <a:cxn ang="0">
                  <a:pos x="550" y="622"/>
                </a:cxn>
                <a:cxn ang="0">
                  <a:pos x="590" y="555"/>
                </a:cxn>
                <a:cxn ang="0">
                  <a:pos x="607" y="508"/>
                </a:cxn>
                <a:cxn ang="0">
                  <a:pos x="619" y="468"/>
                </a:cxn>
                <a:cxn ang="0">
                  <a:pos x="632" y="429"/>
                </a:cxn>
                <a:cxn ang="0">
                  <a:pos x="651" y="389"/>
                </a:cxn>
                <a:cxn ang="0">
                  <a:pos x="680" y="334"/>
                </a:cxn>
                <a:cxn ang="0">
                  <a:pos x="704" y="283"/>
                </a:cxn>
                <a:cxn ang="0">
                  <a:pos x="718" y="250"/>
                </a:cxn>
                <a:cxn ang="0">
                  <a:pos x="729" y="218"/>
                </a:cxn>
                <a:cxn ang="0">
                  <a:pos x="731" y="174"/>
                </a:cxn>
                <a:cxn ang="0">
                  <a:pos x="737" y="138"/>
                </a:cxn>
                <a:cxn ang="0">
                  <a:pos x="750" y="122"/>
                </a:cxn>
                <a:cxn ang="0">
                  <a:pos x="744" y="88"/>
                </a:cxn>
                <a:cxn ang="0">
                  <a:pos x="741" y="54"/>
                </a:cxn>
                <a:cxn ang="0">
                  <a:pos x="743" y="31"/>
                </a:cxn>
                <a:cxn ang="0">
                  <a:pos x="750" y="0"/>
                </a:cxn>
                <a:cxn ang="0">
                  <a:pos x="737" y="0"/>
                </a:cxn>
                <a:cxn ang="0">
                  <a:pos x="710" y="4"/>
                </a:cxn>
                <a:cxn ang="0">
                  <a:pos x="687" y="25"/>
                </a:cxn>
                <a:cxn ang="0">
                  <a:pos x="664" y="46"/>
                </a:cxn>
                <a:cxn ang="0">
                  <a:pos x="611" y="59"/>
                </a:cxn>
                <a:cxn ang="0">
                  <a:pos x="540" y="67"/>
                </a:cxn>
                <a:cxn ang="0">
                  <a:pos x="464" y="84"/>
                </a:cxn>
                <a:cxn ang="0">
                  <a:pos x="441" y="98"/>
                </a:cxn>
                <a:cxn ang="0">
                  <a:pos x="414" y="118"/>
                </a:cxn>
                <a:cxn ang="0">
                  <a:pos x="386" y="128"/>
                </a:cxn>
                <a:cxn ang="0">
                  <a:pos x="355" y="120"/>
                </a:cxn>
                <a:cxn ang="0">
                  <a:pos x="325" y="122"/>
                </a:cxn>
                <a:cxn ang="0">
                  <a:pos x="294" y="145"/>
                </a:cxn>
                <a:cxn ang="0">
                  <a:pos x="254" y="162"/>
                </a:cxn>
                <a:cxn ang="0">
                  <a:pos x="212" y="153"/>
                </a:cxn>
                <a:cxn ang="0">
                  <a:pos x="176" y="118"/>
                </a:cxn>
                <a:cxn ang="0">
                  <a:pos x="145" y="82"/>
                </a:cxn>
                <a:cxn ang="0">
                  <a:pos x="138" y="101"/>
                </a:cxn>
                <a:cxn ang="0">
                  <a:pos x="119" y="117"/>
                </a:cxn>
                <a:cxn ang="0">
                  <a:pos x="98" y="155"/>
                </a:cxn>
                <a:cxn ang="0">
                  <a:pos x="117" y="174"/>
                </a:cxn>
                <a:cxn ang="0">
                  <a:pos x="136" y="199"/>
                </a:cxn>
                <a:cxn ang="0">
                  <a:pos x="165" y="241"/>
                </a:cxn>
                <a:cxn ang="0">
                  <a:pos x="201" y="273"/>
                </a:cxn>
                <a:cxn ang="0">
                  <a:pos x="304" y="611"/>
                </a:cxn>
                <a:cxn ang="0">
                  <a:pos x="184" y="635"/>
                </a:cxn>
                <a:cxn ang="0">
                  <a:pos x="130" y="670"/>
                </a:cxn>
                <a:cxn ang="0">
                  <a:pos x="69" y="693"/>
                </a:cxn>
              </a:cxnLst>
              <a:rect l="0" t="0" r="r" b="b"/>
              <a:pathLst>
                <a:path w="750" h="1160">
                  <a:moveTo>
                    <a:pt x="60" y="695"/>
                  </a:moveTo>
                  <a:lnTo>
                    <a:pt x="60" y="695"/>
                  </a:lnTo>
                  <a:lnTo>
                    <a:pt x="60" y="702"/>
                  </a:lnTo>
                  <a:lnTo>
                    <a:pt x="58" y="708"/>
                  </a:lnTo>
                  <a:lnTo>
                    <a:pt x="58" y="716"/>
                  </a:lnTo>
                  <a:lnTo>
                    <a:pt x="54" y="723"/>
                  </a:lnTo>
                  <a:lnTo>
                    <a:pt x="52" y="729"/>
                  </a:lnTo>
                  <a:lnTo>
                    <a:pt x="48" y="737"/>
                  </a:lnTo>
                  <a:lnTo>
                    <a:pt x="44" y="744"/>
                  </a:lnTo>
                  <a:lnTo>
                    <a:pt x="39" y="750"/>
                  </a:lnTo>
                  <a:lnTo>
                    <a:pt x="35" y="758"/>
                  </a:lnTo>
                  <a:lnTo>
                    <a:pt x="29" y="763"/>
                  </a:lnTo>
                  <a:lnTo>
                    <a:pt x="25" y="769"/>
                  </a:lnTo>
                  <a:lnTo>
                    <a:pt x="20" y="773"/>
                  </a:lnTo>
                  <a:lnTo>
                    <a:pt x="16" y="779"/>
                  </a:lnTo>
                  <a:lnTo>
                    <a:pt x="10" y="782"/>
                  </a:lnTo>
                  <a:lnTo>
                    <a:pt x="6" y="786"/>
                  </a:lnTo>
                  <a:lnTo>
                    <a:pt x="0" y="788"/>
                  </a:lnTo>
                  <a:lnTo>
                    <a:pt x="0" y="1090"/>
                  </a:lnTo>
                  <a:lnTo>
                    <a:pt x="50" y="1160"/>
                  </a:lnTo>
                  <a:lnTo>
                    <a:pt x="50" y="1160"/>
                  </a:lnTo>
                  <a:lnTo>
                    <a:pt x="54" y="1156"/>
                  </a:lnTo>
                  <a:lnTo>
                    <a:pt x="58" y="1151"/>
                  </a:lnTo>
                  <a:lnTo>
                    <a:pt x="60" y="1147"/>
                  </a:lnTo>
                  <a:lnTo>
                    <a:pt x="63" y="1143"/>
                  </a:lnTo>
                  <a:lnTo>
                    <a:pt x="67" y="1137"/>
                  </a:lnTo>
                  <a:lnTo>
                    <a:pt x="73" y="1133"/>
                  </a:lnTo>
                  <a:lnTo>
                    <a:pt x="77" y="1128"/>
                  </a:lnTo>
                  <a:lnTo>
                    <a:pt x="81" y="1122"/>
                  </a:lnTo>
                  <a:lnTo>
                    <a:pt x="81" y="1122"/>
                  </a:lnTo>
                  <a:lnTo>
                    <a:pt x="83" y="1114"/>
                  </a:lnTo>
                  <a:lnTo>
                    <a:pt x="86" y="1107"/>
                  </a:lnTo>
                  <a:lnTo>
                    <a:pt x="90" y="1099"/>
                  </a:lnTo>
                  <a:lnTo>
                    <a:pt x="94" y="1091"/>
                  </a:lnTo>
                  <a:lnTo>
                    <a:pt x="100" y="1086"/>
                  </a:lnTo>
                  <a:lnTo>
                    <a:pt x="104" y="1080"/>
                  </a:lnTo>
                  <a:lnTo>
                    <a:pt x="109" y="1074"/>
                  </a:lnTo>
                  <a:lnTo>
                    <a:pt x="115" y="1069"/>
                  </a:lnTo>
                  <a:lnTo>
                    <a:pt x="119" y="1063"/>
                  </a:lnTo>
                  <a:lnTo>
                    <a:pt x="126" y="1059"/>
                  </a:lnTo>
                  <a:lnTo>
                    <a:pt x="132" y="1053"/>
                  </a:lnTo>
                  <a:lnTo>
                    <a:pt x="138" y="1048"/>
                  </a:lnTo>
                  <a:lnTo>
                    <a:pt x="144" y="1042"/>
                  </a:lnTo>
                  <a:lnTo>
                    <a:pt x="149" y="1036"/>
                  </a:lnTo>
                  <a:lnTo>
                    <a:pt x="155" y="1030"/>
                  </a:lnTo>
                  <a:lnTo>
                    <a:pt x="161" y="1023"/>
                  </a:lnTo>
                  <a:lnTo>
                    <a:pt x="161" y="1023"/>
                  </a:lnTo>
                  <a:lnTo>
                    <a:pt x="168" y="1013"/>
                  </a:lnTo>
                  <a:lnTo>
                    <a:pt x="176" y="1004"/>
                  </a:lnTo>
                  <a:lnTo>
                    <a:pt x="184" y="996"/>
                  </a:lnTo>
                  <a:lnTo>
                    <a:pt x="191" y="987"/>
                  </a:lnTo>
                  <a:lnTo>
                    <a:pt x="201" y="979"/>
                  </a:lnTo>
                  <a:lnTo>
                    <a:pt x="208" y="969"/>
                  </a:lnTo>
                  <a:lnTo>
                    <a:pt x="218" y="962"/>
                  </a:lnTo>
                  <a:lnTo>
                    <a:pt x="226" y="954"/>
                  </a:lnTo>
                  <a:lnTo>
                    <a:pt x="235" y="945"/>
                  </a:lnTo>
                  <a:lnTo>
                    <a:pt x="245" y="937"/>
                  </a:lnTo>
                  <a:lnTo>
                    <a:pt x="254" y="929"/>
                  </a:lnTo>
                  <a:lnTo>
                    <a:pt x="262" y="922"/>
                  </a:lnTo>
                  <a:lnTo>
                    <a:pt x="271" y="914"/>
                  </a:lnTo>
                  <a:lnTo>
                    <a:pt x="281" y="906"/>
                  </a:lnTo>
                  <a:lnTo>
                    <a:pt x="290" y="899"/>
                  </a:lnTo>
                  <a:lnTo>
                    <a:pt x="300" y="891"/>
                  </a:lnTo>
                  <a:lnTo>
                    <a:pt x="310" y="883"/>
                  </a:lnTo>
                  <a:lnTo>
                    <a:pt x="319" y="876"/>
                  </a:lnTo>
                  <a:lnTo>
                    <a:pt x="329" y="866"/>
                  </a:lnTo>
                  <a:lnTo>
                    <a:pt x="338" y="859"/>
                  </a:lnTo>
                  <a:lnTo>
                    <a:pt x="346" y="851"/>
                  </a:lnTo>
                  <a:lnTo>
                    <a:pt x="355" y="843"/>
                  </a:lnTo>
                  <a:lnTo>
                    <a:pt x="365" y="836"/>
                  </a:lnTo>
                  <a:lnTo>
                    <a:pt x="374" y="826"/>
                  </a:lnTo>
                  <a:lnTo>
                    <a:pt x="384" y="819"/>
                  </a:lnTo>
                  <a:lnTo>
                    <a:pt x="392" y="811"/>
                  </a:lnTo>
                  <a:lnTo>
                    <a:pt x="401" y="801"/>
                  </a:lnTo>
                  <a:lnTo>
                    <a:pt x="409" y="794"/>
                  </a:lnTo>
                  <a:lnTo>
                    <a:pt x="416" y="784"/>
                  </a:lnTo>
                  <a:lnTo>
                    <a:pt x="426" y="775"/>
                  </a:lnTo>
                  <a:lnTo>
                    <a:pt x="434" y="767"/>
                  </a:lnTo>
                  <a:lnTo>
                    <a:pt x="441" y="758"/>
                  </a:lnTo>
                  <a:lnTo>
                    <a:pt x="441" y="758"/>
                  </a:lnTo>
                  <a:lnTo>
                    <a:pt x="449" y="748"/>
                  </a:lnTo>
                  <a:lnTo>
                    <a:pt x="456" y="740"/>
                  </a:lnTo>
                  <a:lnTo>
                    <a:pt x="464" y="735"/>
                  </a:lnTo>
                  <a:lnTo>
                    <a:pt x="472" y="727"/>
                  </a:lnTo>
                  <a:lnTo>
                    <a:pt x="481" y="719"/>
                  </a:lnTo>
                  <a:lnTo>
                    <a:pt x="489" y="712"/>
                  </a:lnTo>
                  <a:lnTo>
                    <a:pt x="496" y="704"/>
                  </a:lnTo>
                  <a:lnTo>
                    <a:pt x="502" y="695"/>
                  </a:lnTo>
                  <a:lnTo>
                    <a:pt x="502" y="695"/>
                  </a:lnTo>
                  <a:lnTo>
                    <a:pt x="508" y="685"/>
                  </a:lnTo>
                  <a:lnTo>
                    <a:pt x="514" y="676"/>
                  </a:lnTo>
                  <a:lnTo>
                    <a:pt x="521" y="664"/>
                  </a:lnTo>
                  <a:lnTo>
                    <a:pt x="529" y="655"/>
                  </a:lnTo>
                  <a:lnTo>
                    <a:pt x="535" y="643"/>
                  </a:lnTo>
                  <a:lnTo>
                    <a:pt x="542" y="634"/>
                  </a:lnTo>
                  <a:lnTo>
                    <a:pt x="550" y="622"/>
                  </a:lnTo>
                  <a:lnTo>
                    <a:pt x="557" y="611"/>
                  </a:lnTo>
                  <a:lnTo>
                    <a:pt x="565" y="599"/>
                  </a:lnTo>
                  <a:lnTo>
                    <a:pt x="571" y="588"/>
                  </a:lnTo>
                  <a:lnTo>
                    <a:pt x="578" y="576"/>
                  </a:lnTo>
                  <a:lnTo>
                    <a:pt x="584" y="567"/>
                  </a:lnTo>
                  <a:lnTo>
                    <a:pt x="590" y="555"/>
                  </a:lnTo>
                  <a:lnTo>
                    <a:pt x="596" y="544"/>
                  </a:lnTo>
                  <a:lnTo>
                    <a:pt x="599" y="534"/>
                  </a:lnTo>
                  <a:lnTo>
                    <a:pt x="603" y="523"/>
                  </a:lnTo>
                  <a:lnTo>
                    <a:pt x="603" y="523"/>
                  </a:lnTo>
                  <a:lnTo>
                    <a:pt x="605" y="515"/>
                  </a:lnTo>
                  <a:lnTo>
                    <a:pt x="607" y="508"/>
                  </a:lnTo>
                  <a:lnTo>
                    <a:pt x="611" y="500"/>
                  </a:lnTo>
                  <a:lnTo>
                    <a:pt x="613" y="492"/>
                  </a:lnTo>
                  <a:lnTo>
                    <a:pt x="613" y="487"/>
                  </a:lnTo>
                  <a:lnTo>
                    <a:pt x="615" y="481"/>
                  </a:lnTo>
                  <a:lnTo>
                    <a:pt x="617" y="473"/>
                  </a:lnTo>
                  <a:lnTo>
                    <a:pt x="619" y="468"/>
                  </a:lnTo>
                  <a:lnTo>
                    <a:pt x="620" y="462"/>
                  </a:lnTo>
                  <a:lnTo>
                    <a:pt x="622" y="456"/>
                  </a:lnTo>
                  <a:lnTo>
                    <a:pt x="624" y="449"/>
                  </a:lnTo>
                  <a:lnTo>
                    <a:pt x="626" y="443"/>
                  </a:lnTo>
                  <a:lnTo>
                    <a:pt x="630" y="435"/>
                  </a:lnTo>
                  <a:lnTo>
                    <a:pt x="632" y="429"/>
                  </a:lnTo>
                  <a:lnTo>
                    <a:pt x="636" y="422"/>
                  </a:lnTo>
                  <a:lnTo>
                    <a:pt x="640" y="414"/>
                  </a:lnTo>
                  <a:lnTo>
                    <a:pt x="640" y="414"/>
                  </a:lnTo>
                  <a:lnTo>
                    <a:pt x="643" y="407"/>
                  </a:lnTo>
                  <a:lnTo>
                    <a:pt x="647" y="399"/>
                  </a:lnTo>
                  <a:lnTo>
                    <a:pt x="651" y="389"/>
                  </a:lnTo>
                  <a:lnTo>
                    <a:pt x="655" y="382"/>
                  </a:lnTo>
                  <a:lnTo>
                    <a:pt x="661" y="372"/>
                  </a:lnTo>
                  <a:lnTo>
                    <a:pt x="664" y="363"/>
                  </a:lnTo>
                  <a:lnTo>
                    <a:pt x="670" y="353"/>
                  </a:lnTo>
                  <a:lnTo>
                    <a:pt x="674" y="344"/>
                  </a:lnTo>
                  <a:lnTo>
                    <a:pt x="680" y="334"/>
                  </a:lnTo>
                  <a:lnTo>
                    <a:pt x="683" y="325"/>
                  </a:lnTo>
                  <a:lnTo>
                    <a:pt x="687" y="315"/>
                  </a:lnTo>
                  <a:lnTo>
                    <a:pt x="693" y="305"/>
                  </a:lnTo>
                  <a:lnTo>
                    <a:pt x="697" y="298"/>
                  </a:lnTo>
                  <a:lnTo>
                    <a:pt x="701" y="290"/>
                  </a:lnTo>
                  <a:lnTo>
                    <a:pt x="704" y="283"/>
                  </a:lnTo>
                  <a:lnTo>
                    <a:pt x="706" y="275"/>
                  </a:lnTo>
                  <a:lnTo>
                    <a:pt x="706" y="275"/>
                  </a:lnTo>
                  <a:lnTo>
                    <a:pt x="708" y="269"/>
                  </a:lnTo>
                  <a:lnTo>
                    <a:pt x="712" y="262"/>
                  </a:lnTo>
                  <a:lnTo>
                    <a:pt x="714" y="256"/>
                  </a:lnTo>
                  <a:lnTo>
                    <a:pt x="718" y="250"/>
                  </a:lnTo>
                  <a:lnTo>
                    <a:pt x="720" y="244"/>
                  </a:lnTo>
                  <a:lnTo>
                    <a:pt x="723" y="239"/>
                  </a:lnTo>
                  <a:lnTo>
                    <a:pt x="725" y="231"/>
                  </a:lnTo>
                  <a:lnTo>
                    <a:pt x="727" y="225"/>
                  </a:lnTo>
                  <a:lnTo>
                    <a:pt x="727" y="225"/>
                  </a:lnTo>
                  <a:lnTo>
                    <a:pt x="729" y="218"/>
                  </a:lnTo>
                  <a:lnTo>
                    <a:pt x="731" y="210"/>
                  </a:lnTo>
                  <a:lnTo>
                    <a:pt x="731" y="202"/>
                  </a:lnTo>
                  <a:lnTo>
                    <a:pt x="731" y="195"/>
                  </a:lnTo>
                  <a:lnTo>
                    <a:pt x="731" y="187"/>
                  </a:lnTo>
                  <a:lnTo>
                    <a:pt x="731" y="180"/>
                  </a:lnTo>
                  <a:lnTo>
                    <a:pt x="731" y="174"/>
                  </a:lnTo>
                  <a:lnTo>
                    <a:pt x="731" y="166"/>
                  </a:lnTo>
                  <a:lnTo>
                    <a:pt x="731" y="160"/>
                  </a:lnTo>
                  <a:lnTo>
                    <a:pt x="731" y="155"/>
                  </a:lnTo>
                  <a:lnTo>
                    <a:pt x="733" y="149"/>
                  </a:lnTo>
                  <a:lnTo>
                    <a:pt x="735" y="143"/>
                  </a:lnTo>
                  <a:lnTo>
                    <a:pt x="737" y="138"/>
                  </a:lnTo>
                  <a:lnTo>
                    <a:pt x="741" y="134"/>
                  </a:lnTo>
                  <a:lnTo>
                    <a:pt x="744" y="128"/>
                  </a:lnTo>
                  <a:lnTo>
                    <a:pt x="750" y="124"/>
                  </a:lnTo>
                  <a:lnTo>
                    <a:pt x="750" y="124"/>
                  </a:lnTo>
                  <a:lnTo>
                    <a:pt x="750" y="124"/>
                  </a:lnTo>
                  <a:lnTo>
                    <a:pt x="750" y="122"/>
                  </a:lnTo>
                  <a:lnTo>
                    <a:pt x="750" y="118"/>
                  </a:lnTo>
                  <a:lnTo>
                    <a:pt x="750" y="113"/>
                  </a:lnTo>
                  <a:lnTo>
                    <a:pt x="748" y="109"/>
                  </a:lnTo>
                  <a:lnTo>
                    <a:pt x="746" y="101"/>
                  </a:lnTo>
                  <a:lnTo>
                    <a:pt x="746" y="96"/>
                  </a:lnTo>
                  <a:lnTo>
                    <a:pt x="744" y="88"/>
                  </a:lnTo>
                  <a:lnTo>
                    <a:pt x="744" y="82"/>
                  </a:lnTo>
                  <a:lnTo>
                    <a:pt x="743" y="75"/>
                  </a:lnTo>
                  <a:lnTo>
                    <a:pt x="743" y="69"/>
                  </a:lnTo>
                  <a:lnTo>
                    <a:pt x="741" y="63"/>
                  </a:lnTo>
                  <a:lnTo>
                    <a:pt x="741" y="57"/>
                  </a:lnTo>
                  <a:lnTo>
                    <a:pt x="741" y="54"/>
                  </a:lnTo>
                  <a:lnTo>
                    <a:pt x="739" y="50"/>
                  </a:lnTo>
                  <a:lnTo>
                    <a:pt x="739" y="48"/>
                  </a:lnTo>
                  <a:lnTo>
                    <a:pt x="739" y="48"/>
                  </a:lnTo>
                  <a:lnTo>
                    <a:pt x="741" y="42"/>
                  </a:lnTo>
                  <a:lnTo>
                    <a:pt x="741" y="35"/>
                  </a:lnTo>
                  <a:lnTo>
                    <a:pt x="743" y="31"/>
                  </a:lnTo>
                  <a:lnTo>
                    <a:pt x="744" y="25"/>
                  </a:lnTo>
                  <a:lnTo>
                    <a:pt x="746" y="21"/>
                  </a:lnTo>
                  <a:lnTo>
                    <a:pt x="748" y="15"/>
                  </a:lnTo>
                  <a:lnTo>
                    <a:pt x="750" y="10"/>
                  </a:lnTo>
                  <a:lnTo>
                    <a:pt x="750" y="0"/>
                  </a:lnTo>
                  <a:lnTo>
                    <a:pt x="750" y="0"/>
                  </a:lnTo>
                  <a:lnTo>
                    <a:pt x="748" y="2"/>
                  </a:lnTo>
                  <a:lnTo>
                    <a:pt x="746" y="2"/>
                  </a:lnTo>
                  <a:lnTo>
                    <a:pt x="744" y="2"/>
                  </a:lnTo>
                  <a:lnTo>
                    <a:pt x="743" y="2"/>
                  </a:lnTo>
                  <a:lnTo>
                    <a:pt x="741" y="2"/>
                  </a:lnTo>
                  <a:lnTo>
                    <a:pt x="737" y="0"/>
                  </a:lnTo>
                  <a:lnTo>
                    <a:pt x="733" y="0"/>
                  </a:lnTo>
                  <a:lnTo>
                    <a:pt x="727" y="0"/>
                  </a:lnTo>
                  <a:lnTo>
                    <a:pt x="727" y="0"/>
                  </a:lnTo>
                  <a:lnTo>
                    <a:pt x="722" y="0"/>
                  </a:lnTo>
                  <a:lnTo>
                    <a:pt x="716" y="2"/>
                  </a:lnTo>
                  <a:lnTo>
                    <a:pt x="710" y="4"/>
                  </a:lnTo>
                  <a:lnTo>
                    <a:pt x="706" y="8"/>
                  </a:lnTo>
                  <a:lnTo>
                    <a:pt x="702" y="10"/>
                  </a:lnTo>
                  <a:lnTo>
                    <a:pt x="699" y="14"/>
                  </a:lnTo>
                  <a:lnTo>
                    <a:pt x="695" y="17"/>
                  </a:lnTo>
                  <a:lnTo>
                    <a:pt x="691" y="21"/>
                  </a:lnTo>
                  <a:lnTo>
                    <a:pt x="687" y="25"/>
                  </a:lnTo>
                  <a:lnTo>
                    <a:pt x="683" y="29"/>
                  </a:lnTo>
                  <a:lnTo>
                    <a:pt x="681" y="33"/>
                  </a:lnTo>
                  <a:lnTo>
                    <a:pt x="678" y="36"/>
                  </a:lnTo>
                  <a:lnTo>
                    <a:pt x="674" y="40"/>
                  </a:lnTo>
                  <a:lnTo>
                    <a:pt x="668" y="44"/>
                  </a:lnTo>
                  <a:lnTo>
                    <a:pt x="664" y="46"/>
                  </a:lnTo>
                  <a:lnTo>
                    <a:pt x="659" y="48"/>
                  </a:lnTo>
                  <a:lnTo>
                    <a:pt x="659" y="48"/>
                  </a:lnTo>
                  <a:lnTo>
                    <a:pt x="647" y="52"/>
                  </a:lnTo>
                  <a:lnTo>
                    <a:pt x="634" y="56"/>
                  </a:lnTo>
                  <a:lnTo>
                    <a:pt x="622" y="57"/>
                  </a:lnTo>
                  <a:lnTo>
                    <a:pt x="611" y="59"/>
                  </a:lnTo>
                  <a:lnTo>
                    <a:pt x="599" y="61"/>
                  </a:lnTo>
                  <a:lnTo>
                    <a:pt x="588" y="63"/>
                  </a:lnTo>
                  <a:lnTo>
                    <a:pt x="577" y="63"/>
                  </a:lnTo>
                  <a:lnTo>
                    <a:pt x="563" y="65"/>
                  </a:lnTo>
                  <a:lnTo>
                    <a:pt x="552" y="67"/>
                  </a:lnTo>
                  <a:lnTo>
                    <a:pt x="540" y="67"/>
                  </a:lnTo>
                  <a:lnTo>
                    <a:pt x="529" y="69"/>
                  </a:lnTo>
                  <a:lnTo>
                    <a:pt x="516" y="71"/>
                  </a:lnTo>
                  <a:lnTo>
                    <a:pt x="504" y="73"/>
                  </a:lnTo>
                  <a:lnTo>
                    <a:pt x="491" y="77"/>
                  </a:lnTo>
                  <a:lnTo>
                    <a:pt x="477" y="78"/>
                  </a:lnTo>
                  <a:lnTo>
                    <a:pt x="464" y="84"/>
                  </a:lnTo>
                  <a:lnTo>
                    <a:pt x="464" y="84"/>
                  </a:lnTo>
                  <a:lnTo>
                    <a:pt x="458" y="86"/>
                  </a:lnTo>
                  <a:lnTo>
                    <a:pt x="454" y="88"/>
                  </a:lnTo>
                  <a:lnTo>
                    <a:pt x="449" y="92"/>
                  </a:lnTo>
                  <a:lnTo>
                    <a:pt x="445" y="94"/>
                  </a:lnTo>
                  <a:lnTo>
                    <a:pt x="441" y="98"/>
                  </a:lnTo>
                  <a:lnTo>
                    <a:pt x="437" y="101"/>
                  </a:lnTo>
                  <a:lnTo>
                    <a:pt x="434" y="105"/>
                  </a:lnTo>
                  <a:lnTo>
                    <a:pt x="428" y="109"/>
                  </a:lnTo>
                  <a:lnTo>
                    <a:pt x="424" y="113"/>
                  </a:lnTo>
                  <a:lnTo>
                    <a:pt x="420" y="117"/>
                  </a:lnTo>
                  <a:lnTo>
                    <a:pt x="414" y="118"/>
                  </a:lnTo>
                  <a:lnTo>
                    <a:pt x="411" y="122"/>
                  </a:lnTo>
                  <a:lnTo>
                    <a:pt x="405" y="124"/>
                  </a:lnTo>
                  <a:lnTo>
                    <a:pt x="399" y="126"/>
                  </a:lnTo>
                  <a:lnTo>
                    <a:pt x="392" y="126"/>
                  </a:lnTo>
                  <a:lnTo>
                    <a:pt x="386" y="128"/>
                  </a:lnTo>
                  <a:lnTo>
                    <a:pt x="386" y="128"/>
                  </a:lnTo>
                  <a:lnTo>
                    <a:pt x="380" y="126"/>
                  </a:lnTo>
                  <a:lnTo>
                    <a:pt x="374" y="126"/>
                  </a:lnTo>
                  <a:lnTo>
                    <a:pt x="371" y="124"/>
                  </a:lnTo>
                  <a:lnTo>
                    <a:pt x="365" y="122"/>
                  </a:lnTo>
                  <a:lnTo>
                    <a:pt x="361" y="122"/>
                  </a:lnTo>
                  <a:lnTo>
                    <a:pt x="355" y="120"/>
                  </a:lnTo>
                  <a:lnTo>
                    <a:pt x="351" y="118"/>
                  </a:lnTo>
                  <a:lnTo>
                    <a:pt x="346" y="118"/>
                  </a:lnTo>
                  <a:lnTo>
                    <a:pt x="346" y="118"/>
                  </a:lnTo>
                  <a:lnTo>
                    <a:pt x="338" y="118"/>
                  </a:lnTo>
                  <a:lnTo>
                    <a:pt x="332" y="120"/>
                  </a:lnTo>
                  <a:lnTo>
                    <a:pt x="325" y="122"/>
                  </a:lnTo>
                  <a:lnTo>
                    <a:pt x="319" y="126"/>
                  </a:lnTo>
                  <a:lnTo>
                    <a:pt x="315" y="130"/>
                  </a:lnTo>
                  <a:lnTo>
                    <a:pt x="310" y="134"/>
                  </a:lnTo>
                  <a:lnTo>
                    <a:pt x="304" y="138"/>
                  </a:lnTo>
                  <a:lnTo>
                    <a:pt x="300" y="141"/>
                  </a:lnTo>
                  <a:lnTo>
                    <a:pt x="294" y="145"/>
                  </a:lnTo>
                  <a:lnTo>
                    <a:pt x="289" y="149"/>
                  </a:lnTo>
                  <a:lnTo>
                    <a:pt x="283" y="153"/>
                  </a:lnTo>
                  <a:lnTo>
                    <a:pt x="277" y="157"/>
                  </a:lnTo>
                  <a:lnTo>
                    <a:pt x="269" y="159"/>
                  </a:lnTo>
                  <a:lnTo>
                    <a:pt x="262" y="160"/>
                  </a:lnTo>
                  <a:lnTo>
                    <a:pt x="254" y="162"/>
                  </a:lnTo>
                  <a:lnTo>
                    <a:pt x="245" y="162"/>
                  </a:lnTo>
                  <a:lnTo>
                    <a:pt x="245" y="162"/>
                  </a:lnTo>
                  <a:lnTo>
                    <a:pt x="237" y="162"/>
                  </a:lnTo>
                  <a:lnTo>
                    <a:pt x="227" y="160"/>
                  </a:lnTo>
                  <a:lnTo>
                    <a:pt x="220" y="157"/>
                  </a:lnTo>
                  <a:lnTo>
                    <a:pt x="212" y="153"/>
                  </a:lnTo>
                  <a:lnTo>
                    <a:pt x="207" y="149"/>
                  </a:lnTo>
                  <a:lnTo>
                    <a:pt x="199" y="143"/>
                  </a:lnTo>
                  <a:lnTo>
                    <a:pt x="193" y="138"/>
                  </a:lnTo>
                  <a:lnTo>
                    <a:pt x="187" y="132"/>
                  </a:lnTo>
                  <a:lnTo>
                    <a:pt x="180" y="126"/>
                  </a:lnTo>
                  <a:lnTo>
                    <a:pt x="176" y="118"/>
                  </a:lnTo>
                  <a:lnTo>
                    <a:pt x="168" y="111"/>
                  </a:lnTo>
                  <a:lnTo>
                    <a:pt x="165" y="105"/>
                  </a:lnTo>
                  <a:lnTo>
                    <a:pt x="159" y="99"/>
                  </a:lnTo>
                  <a:lnTo>
                    <a:pt x="155" y="94"/>
                  </a:lnTo>
                  <a:lnTo>
                    <a:pt x="149" y="88"/>
                  </a:lnTo>
                  <a:lnTo>
                    <a:pt x="145" y="82"/>
                  </a:lnTo>
                  <a:lnTo>
                    <a:pt x="145" y="82"/>
                  </a:lnTo>
                  <a:lnTo>
                    <a:pt x="144" y="88"/>
                  </a:lnTo>
                  <a:lnTo>
                    <a:pt x="144" y="92"/>
                  </a:lnTo>
                  <a:lnTo>
                    <a:pt x="142" y="96"/>
                  </a:lnTo>
                  <a:lnTo>
                    <a:pt x="140" y="98"/>
                  </a:lnTo>
                  <a:lnTo>
                    <a:pt x="138" y="101"/>
                  </a:lnTo>
                  <a:lnTo>
                    <a:pt x="134" y="103"/>
                  </a:lnTo>
                  <a:lnTo>
                    <a:pt x="132" y="105"/>
                  </a:lnTo>
                  <a:lnTo>
                    <a:pt x="128" y="107"/>
                  </a:lnTo>
                  <a:lnTo>
                    <a:pt x="128" y="107"/>
                  </a:lnTo>
                  <a:lnTo>
                    <a:pt x="123" y="111"/>
                  </a:lnTo>
                  <a:lnTo>
                    <a:pt x="119" y="117"/>
                  </a:lnTo>
                  <a:lnTo>
                    <a:pt x="113" y="122"/>
                  </a:lnTo>
                  <a:lnTo>
                    <a:pt x="109" y="130"/>
                  </a:lnTo>
                  <a:lnTo>
                    <a:pt x="105" y="138"/>
                  </a:lnTo>
                  <a:lnTo>
                    <a:pt x="102" y="143"/>
                  </a:lnTo>
                  <a:lnTo>
                    <a:pt x="98" y="149"/>
                  </a:lnTo>
                  <a:lnTo>
                    <a:pt x="98" y="155"/>
                  </a:lnTo>
                  <a:lnTo>
                    <a:pt x="98" y="155"/>
                  </a:lnTo>
                  <a:lnTo>
                    <a:pt x="100" y="157"/>
                  </a:lnTo>
                  <a:lnTo>
                    <a:pt x="102" y="159"/>
                  </a:lnTo>
                  <a:lnTo>
                    <a:pt x="105" y="162"/>
                  </a:lnTo>
                  <a:lnTo>
                    <a:pt x="111" y="168"/>
                  </a:lnTo>
                  <a:lnTo>
                    <a:pt x="117" y="174"/>
                  </a:lnTo>
                  <a:lnTo>
                    <a:pt x="121" y="178"/>
                  </a:lnTo>
                  <a:lnTo>
                    <a:pt x="123" y="181"/>
                  </a:lnTo>
                  <a:lnTo>
                    <a:pt x="124" y="183"/>
                  </a:lnTo>
                  <a:lnTo>
                    <a:pt x="124" y="183"/>
                  </a:lnTo>
                  <a:lnTo>
                    <a:pt x="130" y="191"/>
                  </a:lnTo>
                  <a:lnTo>
                    <a:pt x="136" y="199"/>
                  </a:lnTo>
                  <a:lnTo>
                    <a:pt x="140" y="206"/>
                  </a:lnTo>
                  <a:lnTo>
                    <a:pt x="145" y="214"/>
                  </a:lnTo>
                  <a:lnTo>
                    <a:pt x="149" y="222"/>
                  </a:lnTo>
                  <a:lnTo>
                    <a:pt x="155" y="227"/>
                  </a:lnTo>
                  <a:lnTo>
                    <a:pt x="159" y="235"/>
                  </a:lnTo>
                  <a:lnTo>
                    <a:pt x="165" y="241"/>
                  </a:lnTo>
                  <a:lnTo>
                    <a:pt x="168" y="246"/>
                  </a:lnTo>
                  <a:lnTo>
                    <a:pt x="174" y="254"/>
                  </a:lnTo>
                  <a:lnTo>
                    <a:pt x="180" y="260"/>
                  </a:lnTo>
                  <a:lnTo>
                    <a:pt x="187" y="263"/>
                  </a:lnTo>
                  <a:lnTo>
                    <a:pt x="193" y="269"/>
                  </a:lnTo>
                  <a:lnTo>
                    <a:pt x="201" y="273"/>
                  </a:lnTo>
                  <a:lnTo>
                    <a:pt x="208" y="277"/>
                  </a:lnTo>
                  <a:lnTo>
                    <a:pt x="216" y="281"/>
                  </a:lnTo>
                  <a:lnTo>
                    <a:pt x="435" y="349"/>
                  </a:lnTo>
                  <a:lnTo>
                    <a:pt x="521" y="349"/>
                  </a:lnTo>
                  <a:lnTo>
                    <a:pt x="521" y="346"/>
                  </a:lnTo>
                  <a:lnTo>
                    <a:pt x="304" y="611"/>
                  </a:lnTo>
                  <a:lnTo>
                    <a:pt x="210" y="611"/>
                  </a:lnTo>
                  <a:lnTo>
                    <a:pt x="210" y="611"/>
                  </a:lnTo>
                  <a:lnTo>
                    <a:pt x="205" y="618"/>
                  </a:lnTo>
                  <a:lnTo>
                    <a:pt x="197" y="624"/>
                  </a:lnTo>
                  <a:lnTo>
                    <a:pt x="191" y="630"/>
                  </a:lnTo>
                  <a:lnTo>
                    <a:pt x="184" y="635"/>
                  </a:lnTo>
                  <a:lnTo>
                    <a:pt x="176" y="643"/>
                  </a:lnTo>
                  <a:lnTo>
                    <a:pt x="166" y="649"/>
                  </a:lnTo>
                  <a:lnTo>
                    <a:pt x="159" y="655"/>
                  </a:lnTo>
                  <a:lnTo>
                    <a:pt x="149" y="660"/>
                  </a:lnTo>
                  <a:lnTo>
                    <a:pt x="140" y="664"/>
                  </a:lnTo>
                  <a:lnTo>
                    <a:pt x="130" y="670"/>
                  </a:lnTo>
                  <a:lnTo>
                    <a:pt x="121" y="676"/>
                  </a:lnTo>
                  <a:lnTo>
                    <a:pt x="111" y="679"/>
                  </a:lnTo>
                  <a:lnTo>
                    <a:pt x="102" y="683"/>
                  </a:lnTo>
                  <a:lnTo>
                    <a:pt x="90" y="687"/>
                  </a:lnTo>
                  <a:lnTo>
                    <a:pt x="81" y="691"/>
                  </a:lnTo>
                  <a:lnTo>
                    <a:pt x="69" y="693"/>
                  </a:lnTo>
                  <a:lnTo>
                    <a:pt x="60" y="695"/>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67" name="Freeform 211"/>
            <p:cNvSpPr>
              <a:spLocks/>
            </p:cNvSpPr>
            <p:nvPr/>
          </p:nvSpPr>
          <p:spPr bwMode="gray">
            <a:xfrm>
              <a:off x="3094" y="2139"/>
              <a:ext cx="344" cy="424"/>
            </a:xfrm>
            <a:custGeom>
              <a:avLst/>
              <a:gdLst/>
              <a:ahLst/>
              <a:cxnLst>
                <a:cxn ang="0">
                  <a:pos x="4" y="471"/>
                </a:cxn>
                <a:cxn ang="0">
                  <a:pos x="10" y="447"/>
                </a:cxn>
                <a:cxn ang="0">
                  <a:pos x="21" y="431"/>
                </a:cxn>
                <a:cxn ang="0">
                  <a:pos x="42" y="428"/>
                </a:cxn>
                <a:cxn ang="0">
                  <a:pos x="63" y="416"/>
                </a:cxn>
                <a:cxn ang="0">
                  <a:pos x="46" y="410"/>
                </a:cxn>
                <a:cxn ang="0">
                  <a:pos x="13" y="410"/>
                </a:cxn>
                <a:cxn ang="0">
                  <a:pos x="2" y="401"/>
                </a:cxn>
                <a:cxn ang="0">
                  <a:pos x="4" y="387"/>
                </a:cxn>
                <a:cxn ang="0">
                  <a:pos x="10" y="368"/>
                </a:cxn>
                <a:cxn ang="0">
                  <a:pos x="33" y="334"/>
                </a:cxn>
                <a:cxn ang="0">
                  <a:pos x="57" y="304"/>
                </a:cxn>
                <a:cxn ang="0">
                  <a:pos x="78" y="269"/>
                </a:cxn>
                <a:cxn ang="0">
                  <a:pos x="84" y="237"/>
                </a:cxn>
                <a:cxn ang="0">
                  <a:pos x="75" y="181"/>
                </a:cxn>
                <a:cxn ang="0">
                  <a:pos x="54" y="132"/>
                </a:cxn>
                <a:cxn ang="0">
                  <a:pos x="27" y="88"/>
                </a:cxn>
                <a:cxn ang="0">
                  <a:pos x="4" y="44"/>
                </a:cxn>
                <a:cxn ang="0">
                  <a:pos x="15" y="33"/>
                </a:cxn>
                <a:cxn ang="0">
                  <a:pos x="25" y="19"/>
                </a:cxn>
                <a:cxn ang="0">
                  <a:pos x="139" y="0"/>
                </a:cxn>
                <a:cxn ang="0">
                  <a:pos x="141" y="8"/>
                </a:cxn>
                <a:cxn ang="0">
                  <a:pos x="145" y="17"/>
                </a:cxn>
                <a:cxn ang="0">
                  <a:pos x="170" y="27"/>
                </a:cxn>
                <a:cxn ang="0">
                  <a:pos x="212" y="42"/>
                </a:cxn>
                <a:cxn ang="0">
                  <a:pos x="250" y="56"/>
                </a:cxn>
                <a:cxn ang="0">
                  <a:pos x="288" y="77"/>
                </a:cxn>
                <a:cxn ang="0">
                  <a:pos x="366" y="92"/>
                </a:cxn>
                <a:cxn ang="0">
                  <a:pos x="391" y="101"/>
                </a:cxn>
                <a:cxn ang="0">
                  <a:pos x="422" y="107"/>
                </a:cxn>
                <a:cxn ang="0">
                  <a:pos x="441" y="99"/>
                </a:cxn>
                <a:cxn ang="0">
                  <a:pos x="464" y="78"/>
                </a:cxn>
                <a:cxn ang="0">
                  <a:pos x="487" y="52"/>
                </a:cxn>
                <a:cxn ang="0">
                  <a:pos x="513" y="36"/>
                </a:cxn>
                <a:cxn ang="0">
                  <a:pos x="536" y="40"/>
                </a:cxn>
                <a:cxn ang="0">
                  <a:pos x="553" y="56"/>
                </a:cxn>
                <a:cxn ang="0">
                  <a:pos x="572" y="59"/>
                </a:cxn>
                <a:cxn ang="0">
                  <a:pos x="593" y="57"/>
                </a:cxn>
                <a:cxn ang="0">
                  <a:pos x="609" y="54"/>
                </a:cxn>
                <a:cxn ang="0">
                  <a:pos x="603" y="82"/>
                </a:cxn>
                <a:cxn ang="0">
                  <a:pos x="588" y="109"/>
                </a:cxn>
                <a:cxn ang="0">
                  <a:pos x="569" y="132"/>
                </a:cxn>
                <a:cxn ang="0">
                  <a:pos x="549" y="147"/>
                </a:cxn>
                <a:cxn ang="0">
                  <a:pos x="597" y="523"/>
                </a:cxn>
                <a:cxn ang="0">
                  <a:pos x="586" y="540"/>
                </a:cxn>
                <a:cxn ang="0">
                  <a:pos x="567" y="561"/>
                </a:cxn>
                <a:cxn ang="0">
                  <a:pos x="548" y="580"/>
                </a:cxn>
                <a:cxn ang="0">
                  <a:pos x="538" y="588"/>
                </a:cxn>
                <a:cxn ang="0">
                  <a:pos x="509" y="605"/>
                </a:cxn>
                <a:cxn ang="0">
                  <a:pos x="490" y="637"/>
                </a:cxn>
                <a:cxn ang="0">
                  <a:pos x="485" y="664"/>
                </a:cxn>
                <a:cxn ang="0">
                  <a:pos x="466" y="702"/>
                </a:cxn>
                <a:cxn ang="0">
                  <a:pos x="441" y="739"/>
                </a:cxn>
                <a:cxn ang="0">
                  <a:pos x="416" y="767"/>
                </a:cxn>
                <a:cxn ang="0">
                  <a:pos x="288" y="672"/>
                </a:cxn>
                <a:cxn ang="0">
                  <a:pos x="292" y="655"/>
                </a:cxn>
                <a:cxn ang="0">
                  <a:pos x="6" y="479"/>
                </a:cxn>
              </a:cxnLst>
              <a:rect l="0" t="0" r="r" b="b"/>
              <a:pathLst>
                <a:path w="609" h="771">
                  <a:moveTo>
                    <a:pt x="6" y="479"/>
                  </a:moveTo>
                  <a:lnTo>
                    <a:pt x="0" y="475"/>
                  </a:lnTo>
                  <a:lnTo>
                    <a:pt x="0" y="475"/>
                  </a:lnTo>
                  <a:lnTo>
                    <a:pt x="4" y="471"/>
                  </a:lnTo>
                  <a:lnTo>
                    <a:pt x="6" y="468"/>
                  </a:lnTo>
                  <a:lnTo>
                    <a:pt x="8" y="460"/>
                  </a:lnTo>
                  <a:lnTo>
                    <a:pt x="8" y="454"/>
                  </a:lnTo>
                  <a:lnTo>
                    <a:pt x="10" y="447"/>
                  </a:lnTo>
                  <a:lnTo>
                    <a:pt x="12" y="441"/>
                  </a:lnTo>
                  <a:lnTo>
                    <a:pt x="15" y="435"/>
                  </a:lnTo>
                  <a:lnTo>
                    <a:pt x="21" y="431"/>
                  </a:lnTo>
                  <a:lnTo>
                    <a:pt x="21" y="431"/>
                  </a:lnTo>
                  <a:lnTo>
                    <a:pt x="27" y="429"/>
                  </a:lnTo>
                  <a:lnTo>
                    <a:pt x="33" y="428"/>
                  </a:lnTo>
                  <a:lnTo>
                    <a:pt x="38" y="428"/>
                  </a:lnTo>
                  <a:lnTo>
                    <a:pt x="42" y="428"/>
                  </a:lnTo>
                  <a:lnTo>
                    <a:pt x="48" y="426"/>
                  </a:lnTo>
                  <a:lnTo>
                    <a:pt x="54" y="426"/>
                  </a:lnTo>
                  <a:lnTo>
                    <a:pt x="57" y="422"/>
                  </a:lnTo>
                  <a:lnTo>
                    <a:pt x="63" y="416"/>
                  </a:lnTo>
                  <a:lnTo>
                    <a:pt x="63" y="416"/>
                  </a:lnTo>
                  <a:lnTo>
                    <a:pt x="57" y="412"/>
                  </a:lnTo>
                  <a:lnTo>
                    <a:pt x="52" y="410"/>
                  </a:lnTo>
                  <a:lnTo>
                    <a:pt x="46" y="410"/>
                  </a:lnTo>
                  <a:lnTo>
                    <a:pt x="38" y="412"/>
                  </a:lnTo>
                  <a:lnTo>
                    <a:pt x="31" y="412"/>
                  </a:lnTo>
                  <a:lnTo>
                    <a:pt x="23" y="412"/>
                  </a:lnTo>
                  <a:lnTo>
                    <a:pt x="13" y="410"/>
                  </a:lnTo>
                  <a:lnTo>
                    <a:pt x="2" y="408"/>
                  </a:lnTo>
                  <a:lnTo>
                    <a:pt x="2" y="408"/>
                  </a:lnTo>
                  <a:lnTo>
                    <a:pt x="2" y="405"/>
                  </a:lnTo>
                  <a:lnTo>
                    <a:pt x="2" y="401"/>
                  </a:lnTo>
                  <a:lnTo>
                    <a:pt x="4" y="397"/>
                  </a:lnTo>
                  <a:lnTo>
                    <a:pt x="4" y="393"/>
                  </a:lnTo>
                  <a:lnTo>
                    <a:pt x="4" y="391"/>
                  </a:lnTo>
                  <a:lnTo>
                    <a:pt x="4" y="387"/>
                  </a:lnTo>
                  <a:lnTo>
                    <a:pt x="6" y="382"/>
                  </a:lnTo>
                  <a:lnTo>
                    <a:pt x="6" y="378"/>
                  </a:lnTo>
                  <a:lnTo>
                    <a:pt x="6" y="378"/>
                  </a:lnTo>
                  <a:lnTo>
                    <a:pt x="10" y="368"/>
                  </a:lnTo>
                  <a:lnTo>
                    <a:pt x="15" y="359"/>
                  </a:lnTo>
                  <a:lnTo>
                    <a:pt x="21" y="349"/>
                  </a:lnTo>
                  <a:lnTo>
                    <a:pt x="27" y="342"/>
                  </a:lnTo>
                  <a:lnTo>
                    <a:pt x="33" y="334"/>
                  </a:lnTo>
                  <a:lnTo>
                    <a:pt x="38" y="326"/>
                  </a:lnTo>
                  <a:lnTo>
                    <a:pt x="46" y="319"/>
                  </a:lnTo>
                  <a:lnTo>
                    <a:pt x="52" y="311"/>
                  </a:lnTo>
                  <a:lnTo>
                    <a:pt x="57" y="304"/>
                  </a:lnTo>
                  <a:lnTo>
                    <a:pt x="63" y="296"/>
                  </a:lnTo>
                  <a:lnTo>
                    <a:pt x="69" y="286"/>
                  </a:lnTo>
                  <a:lnTo>
                    <a:pt x="75" y="279"/>
                  </a:lnTo>
                  <a:lnTo>
                    <a:pt x="78" y="269"/>
                  </a:lnTo>
                  <a:lnTo>
                    <a:pt x="80" y="260"/>
                  </a:lnTo>
                  <a:lnTo>
                    <a:pt x="82" y="248"/>
                  </a:lnTo>
                  <a:lnTo>
                    <a:pt x="84" y="237"/>
                  </a:lnTo>
                  <a:lnTo>
                    <a:pt x="84" y="237"/>
                  </a:lnTo>
                  <a:lnTo>
                    <a:pt x="82" y="222"/>
                  </a:lnTo>
                  <a:lnTo>
                    <a:pt x="80" y="208"/>
                  </a:lnTo>
                  <a:lnTo>
                    <a:pt x="78" y="195"/>
                  </a:lnTo>
                  <a:lnTo>
                    <a:pt x="75" y="181"/>
                  </a:lnTo>
                  <a:lnTo>
                    <a:pt x="71" y="170"/>
                  </a:lnTo>
                  <a:lnTo>
                    <a:pt x="65" y="157"/>
                  </a:lnTo>
                  <a:lnTo>
                    <a:pt x="59" y="145"/>
                  </a:lnTo>
                  <a:lnTo>
                    <a:pt x="54" y="132"/>
                  </a:lnTo>
                  <a:lnTo>
                    <a:pt x="46" y="120"/>
                  </a:lnTo>
                  <a:lnTo>
                    <a:pt x="40" y="109"/>
                  </a:lnTo>
                  <a:lnTo>
                    <a:pt x="33" y="98"/>
                  </a:lnTo>
                  <a:lnTo>
                    <a:pt x="27" y="88"/>
                  </a:lnTo>
                  <a:lnTo>
                    <a:pt x="19" y="77"/>
                  </a:lnTo>
                  <a:lnTo>
                    <a:pt x="13" y="65"/>
                  </a:lnTo>
                  <a:lnTo>
                    <a:pt x="10" y="56"/>
                  </a:lnTo>
                  <a:lnTo>
                    <a:pt x="4" y="44"/>
                  </a:lnTo>
                  <a:lnTo>
                    <a:pt x="4" y="44"/>
                  </a:lnTo>
                  <a:lnTo>
                    <a:pt x="8" y="40"/>
                  </a:lnTo>
                  <a:lnTo>
                    <a:pt x="12" y="36"/>
                  </a:lnTo>
                  <a:lnTo>
                    <a:pt x="15" y="33"/>
                  </a:lnTo>
                  <a:lnTo>
                    <a:pt x="17" y="29"/>
                  </a:lnTo>
                  <a:lnTo>
                    <a:pt x="21" y="27"/>
                  </a:lnTo>
                  <a:lnTo>
                    <a:pt x="23" y="23"/>
                  </a:lnTo>
                  <a:lnTo>
                    <a:pt x="25" y="19"/>
                  </a:lnTo>
                  <a:lnTo>
                    <a:pt x="27" y="17"/>
                  </a:lnTo>
                  <a:lnTo>
                    <a:pt x="145" y="17"/>
                  </a:lnTo>
                  <a:lnTo>
                    <a:pt x="139" y="0"/>
                  </a:lnTo>
                  <a:lnTo>
                    <a:pt x="139" y="0"/>
                  </a:lnTo>
                  <a:lnTo>
                    <a:pt x="139" y="0"/>
                  </a:lnTo>
                  <a:lnTo>
                    <a:pt x="139" y="2"/>
                  </a:lnTo>
                  <a:lnTo>
                    <a:pt x="139" y="4"/>
                  </a:lnTo>
                  <a:lnTo>
                    <a:pt x="141" y="8"/>
                  </a:lnTo>
                  <a:lnTo>
                    <a:pt x="141" y="10"/>
                  </a:lnTo>
                  <a:lnTo>
                    <a:pt x="143" y="12"/>
                  </a:lnTo>
                  <a:lnTo>
                    <a:pt x="143" y="14"/>
                  </a:lnTo>
                  <a:lnTo>
                    <a:pt x="145" y="17"/>
                  </a:lnTo>
                  <a:lnTo>
                    <a:pt x="145" y="17"/>
                  </a:lnTo>
                  <a:lnTo>
                    <a:pt x="145" y="17"/>
                  </a:lnTo>
                  <a:lnTo>
                    <a:pt x="158" y="23"/>
                  </a:lnTo>
                  <a:lnTo>
                    <a:pt x="170" y="27"/>
                  </a:lnTo>
                  <a:lnTo>
                    <a:pt x="181" y="31"/>
                  </a:lnTo>
                  <a:lnTo>
                    <a:pt x="193" y="35"/>
                  </a:lnTo>
                  <a:lnTo>
                    <a:pt x="202" y="38"/>
                  </a:lnTo>
                  <a:lnTo>
                    <a:pt x="212" y="42"/>
                  </a:lnTo>
                  <a:lnTo>
                    <a:pt x="221" y="44"/>
                  </a:lnTo>
                  <a:lnTo>
                    <a:pt x="231" y="48"/>
                  </a:lnTo>
                  <a:lnTo>
                    <a:pt x="240" y="52"/>
                  </a:lnTo>
                  <a:lnTo>
                    <a:pt x="250" y="56"/>
                  </a:lnTo>
                  <a:lnTo>
                    <a:pt x="260" y="59"/>
                  </a:lnTo>
                  <a:lnTo>
                    <a:pt x="269" y="65"/>
                  </a:lnTo>
                  <a:lnTo>
                    <a:pt x="279" y="71"/>
                  </a:lnTo>
                  <a:lnTo>
                    <a:pt x="288" y="77"/>
                  </a:lnTo>
                  <a:lnTo>
                    <a:pt x="298" y="84"/>
                  </a:lnTo>
                  <a:lnTo>
                    <a:pt x="307" y="92"/>
                  </a:lnTo>
                  <a:lnTo>
                    <a:pt x="366" y="92"/>
                  </a:lnTo>
                  <a:lnTo>
                    <a:pt x="366" y="92"/>
                  </a:lnTo>
                  <a:lnTo>
                    <a:pt x="372" y="96"/>
                  </a:lnTo>
                  <a:lnTo>
                    <a:pt x="378" y="98"/>
                  </a:lnTo>
                  <a:lnTo>
                    <a:pt x="384" y="99"/>
                  </a:lnTo>
                  <a:lnTo>
                    <a:pt x="391" y="101"/>
                  </a:lnTo>
                  <a:lnTo>
                    <a:pt x="399" y="103"/>
                  </a:lnTo>
                  <a:lnTo>
                    <a:pt x="408" y="105"/>
                  </a:lnTo>
                  <a:lnTo>
                    <a:pt x="414" y="105"/>
                  </a:lnTo>
                  <a:lnTo>
                    <a:pt x="422" y="107"/>
                  </a:lnTo>
                  <a:lnTo>
                    <a:pt x="422" y="107"/>
                  </a:lnTo>
                  <a:lnTo>
                    <a:pt x="429" y="105"/>
                  </a:lnTo>
                  <a:lnTo>
                    <a:pt x="435" y="103"/>
                  </a:lnTo>
                  <a:lnTo>
                    <a:pt x="441" y="99"/>
                  </a:lnTo>
                  <a:lnTo>
                    <a:pt x="448" y="96"/>
                  </a:lnTo>
                  <a:lnTo>
                    <a:pt x="452" y="90"/>
                  </a:lnTo>
                  <a:lnTo>
                    <a:pt x="458" y="84"/>
                  </a:lnTo>
                  <a:lnTo>
                    <a:pt x="464" y="78"/>
                  </a:lnTo>
                  <a:lnTo>
                    <a:pt x="469" y="71"/>
                  </a:lnTo>
                  <a:lnTo>
                    <a:pt x="475" y="65"/>
                  </a:lnTo>
                  <a:lnTo>
                    <a:pt x="481" y="57"/>
                  </a:lnTo>
                  <a:lnTo>
                    <a:pt x="487" y="52"/>
                  </a:lnTo>
                  <a:lnTo>
                    <a:pt x="492" y="48"/>
                  </a:lnTo>
                  <a:lnTo>
                    <a:pt x="500" y="42"/>
                  </a:lnTo>
                  <a:lnTo>
                    <a:pt x="508" y="38"/>
                  </a:lnTo>
                  <a:lnTo>
                    <a:pt x="513" y="36"/>
                  </a:lnTo>
                  <a:lnTo>
                    <a:pt x="523" y="36"/>
                  </a:lnTo>
                  <a:lnTo>
                    <a:pt x="523" y="36"/>
                  </a:lnTo>
                  <a:lnTo>
                    <a:pt x="530" y="36"/>
                  </a:lnTo>
                  <a:lnTo>
                    <a:pt x="536" y="40"/>
                  </a:lnTo>
                  <a:lnTo>
                    <a:pt x="540" y="44"/>
                  </a:lnTo>
                  <a:lnTo>
                    <a:pt x="544" y="48"/>
                  </a:lnTo>
                  <a:lnTo>
                    <a:pt x="548" y="52"/>
                  </a:lnTo>
                  <a:lnTo>
                    <a:pt x="553" y="56"/>
                  </a:lnTo>
                  <a:lnTo>
                    <a:pt x="559" y="57"/>
                  </a:lnTo>
                  <a:lnTo>
                    <a:pt x="569" y="59"/>
                  </a:lnTo>
                  <a:lnTo>
                    <a:pt x="569" y="59"/>
                  </a:lnTo>
                  <a:lnTo>
                    <a:pt x="572" y="59"/>
                  </a:lnTo>
                  <a:lnTo>
                    <a:pt x="578" y="59"/>
                  </a:lnTo>
                  <a:lnTo>
                    <a:pt x="584" y="57"/>
                  </a:lnTo>
                  <a:lnTo>
                    <a:pt x="590" y="57"/>
                  </a:lnTo>
                  <a:lnTo>
                    <a:pt x="593" y="57"/>
                  </a:lnTo>
                  <a:lnTo>
                    <a:pt x="599" y="57"/>
                  </a:lnTo>
                  <a:lnTo>
                    <a:pt x="605" y="56"/>
                  </a:lnTo>
                  <a:lnTo>
                    <a:pt x="609" y="54"/>
                  </a:lnTo>
                  <a:lnTo>
                    <a:pt x="609" y="54"/>
                  </a:lnTo>
                  <a:lnTo>
                    <a:pt x="609" y="61"/>
                  </a:lnTo>
                  <a:lnTo>
                    <a:pt x="607" y="67"/>
                  </a:lnTo>
                  <a:lnTo>
                    <a:pt x="607" y="75"/>
                  </a:lnTo>
                  <a:lnTo>
                    <a:pt x="603" y="82"/>
                  </a:lnTo>
                  <a:lnTo>
                    <a:pt x="601" y="88"/>
                  </a:lnTo>
                  <a:lnTo>
                    <a:pt x="597" y="96"/>
                  </a:lnTo>
                  <a:lnTo>
                    <a:pt x="593" y="103"/>
                  </a:lnTo>
                  <a:lnTo>
                    <a:pt x="588" y="109"/>
                  </a:lnTo>
                  <a:lnTo>
                    <a:pt x="584" y="117"/>
                  </a:lnTo>
                  <a:lnTo>
                    <a:pt x="578" y="122"/>
                  </a:lnTo>
                  <a:lnTo>
                    <a:pt x="574" y="128"/>
                  </a:lnTo>
                  <a:lnTo>
                    <a:pt x="569" y="132"/>
                  </a:lnTo>
                  <a:lnTo>
                    <a:pt x="565" y="138"/>
                  </a:lnTo>
                  <a:lnTo>
                    <a:pt x="559" y="141"/>
                  </a:lnTo>
                  <a:lnTo>
                    <a:pt x="555" y="145"/>
                  </a:lnTo>
                  <a:lnTo>
                    <a:pt x="549" y="147"/>
                  </a:lnTo>
                  <a:lnTo>
                    <a:pt x="549" y="449"/>
                  </a:lnTo>
                  <a:lnTo>
                    <a:pt x="599" y="519"/>
                  </a:lnTo>
                  <a:lnTo>
                    <a:pt x="599" y="519"/>
                  </a:lnTo>
                  <a:lnTo>
                    <a:pt x="597" y="523"/>
                  </a:lnTo>
                  <a:lnTo>
                    <a:pt x="595" y="527"/>
                  </a:lnTo>
                  <a:lnTo>
                    <a:pt x="593" y="531"/>
                  </a:lnTo>
                  <a:lnTo>
                    <a:pt x="590" y="534"/>
                  </a:lnTo>
                  <a:lnTo>
                    <a:pt x="586" y="540"/>
                  </a:lnTo>
                  <a:lnTo>
                    <a:pt x="582" y="546"/>
                  </a:lnTo>
                  <a:lnTo>
                    <a:pt x="576" y="550"/>
                  </a:lnTo>
                  <a:lnTo>
                    <a:pt x="572" y="555"/>
                  </a:lnTo>
                  <a:lnTo>
                    <a:pt x="567" y="561"/>
                  </a:lnTo>
                  <a:lnTo>
                    <a:pt x="563" y="565"/>
                  </a:lnTo>
                  <a:lnTo>
                    <a:pt x="557" y="571"/>
                  </a:lnTo>
                  <a:lnTo>
                    <a:pt x="553" y="574"/>
                  </a:lnTo>
                  <a:lnTo>
                    <a:pt x="548" y="580"/>
                  </a:lnTo>
                  <a:lnTo>
                    <a:pt x="544" y="584"/>
                  </a:lnTo>
                  <a:lnTo>
                    <a:pt x="542" y="586"/>
                  </a:lnTo>
                  <a:lnTo>
                    <a:pt x="538" y="588"/>
                  </a:lnTo>
                  <a:lnTo>
                    <a:pt x="538" y="588"/>
                  </a:lnTo>
                  <a:lnTo>
                    <a:pt x="532" y="594"/>
                  </a:lnTo>
                  <a:lnTo>
                    <a:pt x="525" y="597"/>
                  </a:lnTo>
                  <a:lnTo>
                    <a:pt x="517" y="601"/>
                  </a:lnTo>
                  <a:lnTo>
                    <a:pt x="509" y="605"/>
                  </a:lnTo>
                  <a:lnTo>
                    <a:pt x="504" y="613"/>
                  </a:lnTo>
                  <a:lnTo>
                    <a:pt x="498" y="618"/>
                  </a:lnTo>
                  <a:lnTo>
                    <a:pt x="494" y="628"/>
                  </a:lnTo>
                  <a:lnTo>
                    <a:pt x="490" y="637"/>
                  </a:lnTo>
                  <a:lnTo>
                    <a:pt x="490" y="637"/>
                  </a:lnTo>
                  <a:lnTo>
                    <a:pt x="488" y="647"/>
                  </a:lnTo>
                  <a:lnTo>
                    <a:pt x="487" y="655"/>
                  </a:lnTo>
                  <a:lnTo>
                    <a:pt x="485" y="664"/>
                  </a:lnTo>
                  <a:lnTo>
                    <a:pt x="481" y="674"/>
                  </a:lnTo>
                  <a:lnTo>
                    <a:pt x="475" y="683"/>
                  </a:lnTo>
                  <a:lnTo>
                    <a:pt x="471" y="693"/>
                  </a:lnTo>
                  <a:lnTo>
                    <a:pt x="466" y="702"/>
                  </a:lnTo>
                  <a:lnTo>
                    <a:pt x="460" y="712"/>
                  </a:lnTo>
                  <a:lnTo>
                    <a:pt x="454" y="721"/>
                  </a:lnTo>
                  <a:lnTo>
                    <a:pt x="448" y="729"/>
                  </a:lnTo>
                  <a:lnTo>
                    <a:pt x="441" y="739"/>
                  </a:lnTo>
                  <a:lnTo>
                    <a:pt x="435" y="746"/>
                  </a:lnTo>
                  <a:lnTo>
                    <a:pt x="429" y="754"/>
                  </a:lnTo>
                  <a:lnTo>
                    <a:pt x="422" y="759"/>
                  </a:lnTo>
                  <a:lnTo>
                    <a:pt x="416" y="767"/>
                  </a:lnTo>
                  <a:lnTo>
                    <a:pt x="410" y="771"/>
                  </a:lnTo>
                  <a:lnTo>
                    <a:pt x="286" y="677"/>
                  </a:lnTo>
                  <a:lnTo>
                    <a:pt x="286" y="677"/>
                  </a:lnTo>
                  <a:lnTo>
                    <a:pt x="288" y="672"/>
                  </a:lnTo>
                  <a:lnTo>
                    <a:pt x="290" y="668"/>
                  </a:lnTo>
                  <a:lnTo>
                    <a:pt x="290" y="664"/>
                  </a:lnTo>
                  <a:lnTo>
                    <a:pt x="292" y="658"/>
                  </a:lnTo>
                  <a:lnTo>
                    <a:pt x="292" y="655"/>
                  </a:lnTo>
                  <a:lnTo>
                    <a:pt x="294" y="651"/>
                  </a:lnTo>
                  <a:lnTo>
                    <a:pt x="296" y="647"/>
                  </a:lnTo>
                  <a:lnTo>
                    <a:pt x="296" y="641"/>
                  </a:lnTo>
                  <a:lnTo>
                    <a:pt x="6" y="479"/>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68" name="Freeform 212"/>
            <p:cNvSpPr>
              <a:spLocks/>
            </p:cNvSpPr>
            <p:nvPr/>
          </p:nvSpPr>
          <p:spPr bwMode="gray">
            <a:xfrm>
              <a:off x="2862" y="2411"/>
              <a:ext cx="93" cy="75"/>
            </a:xfrm>
            <a:custGeom>
              <a:avLst/>
              <a:gdLst/>
              <a:ahLst/>
              <a:cxnLst>
                <a:cxn ang="0">
                  <a:pos x="124" y="100"/>
                </a:cxn>
                <a:cxn ang="0">
                  <a:pos x="126" y="100"/>
                </a:cxn>
                <a:cxn ang="0">
                  <a:pos x="132" y="100"/>
                </a:cxn>
                <a:cxn ang="0">
                  <a:pos x="137" y="100"/>
                </a:cxn>
                <a:cxn ang="0">
                  <a:pos x="145" y="100"/>
                </a:cxn>
                <a:cxn ang="0">
                  <a:pos x="151" y="100"/>
                </a:cxn>
                <a:cxn ang="0">
                  <a:pos x="156" y="96"/>
                </a:cxn>
                <a:cxn ang="0">
                  <a:pos x="162" y="88"/>
                </a:cxn>
                <a:cxn ang="0">
                  <a:pos x="164" y="77"/>
                </a:cxn>
                <a:cxn ang="0">
                  <a:pos x="164" y="71"/>
                </a:cxn>
                <a:cxn ang="0">
                  <a:pos x="162" y="65"/>
                </a:cxn>
                <a:cxn ang="0">
                  <a:pos x="158" y="61"/>
                </a:cxn>
                <a:cxn ang="0">
                  <a:pos x="155" y="56"/>
                </a:cxn>
                <a:cxn ang="0">
                  <a:pos x="153" y="48"/>
                </a:cxn>
                <a:cxn ang="0">
                  <a:pos x="153" y="40"/>
                </a:cxn>
                <a:cxn ang="0">
                  <a:pos x="147" y="27"/>
                </a:cxn>
                <a:cxn ang="0">
                  <a:pos x="139" y="17"/>
                </a:cxn>
                <a:cxn ang="0">
                  <a:pos x="132" y="6"/>
                </a:cxn>
                <a:cxn ang="0">
                  <a:pos x="128" y="0"/>
                </a:cxn>
                <a:cxn ang="0">
                  <a:pos x="116" y="6"/>
                </a:cxn>
                <a:cxn ang="0">
                  <a:pos x="109" y="14"/>
                </a:cxn>
                <a:cxn ang="0">
                  <a:pos x="99" y="19"/>
                </a:cxn>
                <a:cxn ang="0">
                  <a:pos x="86" y="23"/>
                </a:cxn>
                <a:cxn ang="0">
                  <a:pos x="84" y="23"/>
                </a:cxn>
                <a:cxn ang="0">
                  <a:pos x="78" y="17"/>
                </a:cxn>
                <a:cxn ang="0">
                  <a:pos x="74" y="17"/>
                </a:cxn>
                <a:cxn ang="0">
                  <a:pos x="57" y="21"/>
                </a:cxn>
                <a:cxn ang="0">
                  <a:pos x="42" y="33"/>
                </a:cxn>
                <a:cxn ang="0">
                  <a:pos x="29" y="46"/>
                </a:cxn>
                <a:cxn ang="0">
                  <a:pos x="25" y="61"/>
                </a:cxn>
                <a:cxn ang="0">
                  <a:pos x="25" y="65"/>
                </a:cxn>
                <a:cxn ang="0">
                  <a:pos x="27" y="71"/>
                </a:cxn>
                <a:cxn ang="0">
                  <a:pos x="27" y="77"/>
                </a:cxn>
                <a:cxn ang="0">
                  <a:pos x="25" y="82"/>
                </a:cxn>
                <a:cxn ang="0">
                  <a:pos x="23" y="84"/>
                </a:cxn>
                <a:cxn ang="0">
                  <a:pos x="15" y="88"/>
                </a:cxn>
                <a:cxn ang="0">
                  <a:pos x="8" y="92"/>
                </a:cxn>
                <a:cxn ang="0">
                  <a:pos x="4" y="100"/>
                </a:cxn>
                <a:cxn ang="0">
                  <a:pos x="0" y="111"/>
                </a:cxn>
                <a:cxn ang="0">
                  <a:pos x="2" y="115"/>
                </a:cxn>
                <a:cxn ang="0">
                  <a:pos x="4" y="121"/>
                </a:cxn>
                <a:cxn ang="0">
                  <a:pos x="6" y="124"/>
                </a:cxn>
                <a:cxn ang="0">
                  <a:pos x="10" y="130"/>
                </a:cxn>
                <a:cxn ang="0">
                  <a:pos x="11" y="132"/>
                </a:cxn>
                <a:cxn ang="0">
                  <a:pos x="11" y="130"/>
                </a:cxn>
                <a:cxn ang="0">
                  <a:pos x="13" y="126"/>
                </a:cxn>
                <a:cxn ang="0">
                  <a:pos x="17" y="122"/>
                </a:cxn>
                <a:cxn ang="0">
                  <a:pos x="23" y="121"/>
                </a:cxn>
                <a:cxn ang="0">
                  <a:pos x="25" y="121"/>
                </a:cxn>
                <a:cxn ang="0">
                  <a:pos x="34" y="122"/>
                </a:cxn>
                <a:cxn ang="0">
                  <a:pos x="40" y="128"/>
                </a:cxn>
                <a:cxn ang="0">
                  <a:pos x="48" y="134"/>
                </a:cxn>
                <a:cxn ang="0">
                  <a:pos x="57" y="136"/>
                </a:cxn>
                <a:cxn ang="0">
                  <a:pos x="69" y="136"/>
                </a:cxn>
                <a:cxn ang="0">
                  <a:pos x="84" y="124"/>
                </a:cxn>
                <a:cxn ang="0">
                  <a:pos x="93" y="109"/>
                </a:cxn>
                <a:cxn ang="0">
                  <a:pos x="107" y="98"/>
                </a:cxn>
                <a:cxn ang="0">
                  <a:pos x="118" y="96"/>
                </a:cxn>
                <a:cxn ang="0">
                  <a:pos x="124" y="98"/>
                </a:cxn>
                <a:cxn ang="0">
                  <a:pos x="128" y="100"/>
                </a:cxn>
              </a:cxnLst>
              <a:rect l="0" t="0" r="r" b="b"/>
              <a:pathLst>
                <a:path w="164" h="136">
                  <a:moveTo>
                    <a:pt x="124" y="100"/>
                  </a:moveTo>
                  <a:lnTo>
                    <a:pt x="124" y="100"/>
                  </a:lnTo>
                  <a:lnTo>
                    <a:pt x="126" y="100"/>
                  </a:lnTo>
                  <a:lnTo>
                    <a:pt x="126" y="100"/>
                  </a:lnTo>
                  <a:lnTo>
                    <a:pt x="128" y="100"/>
                  </a:lnTo>
                  <a:lnTo>
                    <a:pt x="132" y="100"/>
                  </a:lnTo>
                  <a:lnTo>
                    <a:pt x="134" y="100"/>
                  </a:lnTo>
                  <a:lnTo>
                    <a:pt x="137" y="100"/>
                  </a:lnTo>
                  <a:lnTo>
                    <a:pt x="141" y="100"/>
                  </a:lnTo>
                  <a:lnTo>
                    <a:pt x="145" y="100"/>
                  </a:lnTo>
                  <a:lnTo>
                    <a:pt x="145" y="100"/>
                  </a:lnTo>
                  <a:lnTo>
                    <a:pt x="151" y="100"/>
                  </a:lnTo>
                  <a:lnTo>
                    <a:pt x="155" y="98"/>
                  </a:lnTo>
                  <a:lnTo>
                    <a:pt x="156" y="96"/>
                  </a:lnTo>
                  <a:lnTo>
                    <a:pt x="160" y="92"/>
                  </a:lnTo>
                  <a:lnTo>
                    <a:pt x="162" y="88"/>
                  </a:lnTo>
                  <a:lnTo>
                    <a:pt x="162" y="84"/>
                  </a:lnTo>
                  <a:lnTo>
                    <a:pt x="164" y="77"/>
                  </a:lnTo>
                  <a:lnTo>
                    <a:pt x="164" y="71"/>
                  </a:lnTo>
                  <a:lnTo>
                    <a:pt x="164" y="71"/>
                  </a:lnTo>
                  <a:lnTo>
                    <a:pt x="164" y="69"/>
                  </a:lnTo>
                  <a:lnTo>
                    <a:pt x="162" y="65"/>
                  </a:lnTo>
                  <a:lnTo>
                    <a:pt x="160" y="63"/>
                  </a:lnTo>
                  <a:lnTo>
                    <a:pt x="158" y="61"/>
                  </a:lnTo>
                  <a:lnTo>
                    <a:pt x="156" y="59"/>
                  </a:lnTo>
                  <a:lnTo>
                    <a:pt x="155" y="56"/>
                  </a:lnTo>
                  <a:lnTo>
                    <a:pt x="155" y="52"/>
                  </a:lnTo>
                  <a:lnTo>
                    <a:pt x="153" y="48"/>
                  </a:lnTo>
                  <a:lnTo>
                    <a:pt x="153" y="48"/>
                  </a:lnTo>
                  <a:lnTo>
                    <a:pt x="153" y="40"/>
                  </a:lnTo>
                  <a:lnTo>
                    <a:pt x="151" y="33"/>
                  </a:lnTo>
                  <a:lnTo>
                    <a:pt x="147" y="27"/>
                  </a:lnTo>
                  <a:lnTo>
                    <a:pt x="143" y="21"/>
                  </a:lnTo>
                  <a:lnTo>
                    <a:pt x="139" y="17"/>
                  </a:lnTo>
                  <a:lnTo>
                    <a:pt x="135" y="12"/>
                  </a:lnTo>
                  <a:lnTo>
                    <a:pt x="132" y="6"/>
                  </a:lnTo>
                  <a:lnTo>
                    <a:pt x="128" y="0"/>
                  </a:lnTo>
                  <a:lnTo>
                    <a:pt x="128" y="0"/>
                  </a:lnTo>
                  <a:lnTo>
                    <a:pt x="122" y="2"/>
                  </a:lnTo>
                  <a:lnTo>
                    <a:pt x="116" y="6"/>
                  </a:lnTo>
                  <a:lnTo>
                    <a:pt x="113" y="8"/>
                  </a:lnTo>
                  <a:lnTo>
                    <a:pt x="109" y="14"/>
                  </a:lnTo>
                  <a:lnTo>
                    <a:pt x="103" y="17"/>
                  </a:lnTo>
                  <a:lnTo>
                    <a:pt x="99" y="19"/>
                  </a:lnTo>
                  <a:lnTo>
                    <a:pt x="93" y="23"/>
                  </a:lnTo>
                  <a:lnTo>
                    <a:pt x="86" y="23"/>
                  </a:lnTo>
                  <a:lnTo>
                    <a:pt x="86" y="23"/>
                  </a:lnTo>
                  <a:lnTo>
                    <a:pt x="84" y="23"/>
                  </a:lnTo>
                  <a:lnTo>
                    <a:pt x="82" y="21"/>
                  </a:lnTo>
                  <a:lnTo>
                    <a:pt x="78" y="17"/>
                  </a:lnTo>
                  <a:lnTo>
                    <a:pt x="74" y="17"/>
                  </a:lnTo>
                  <a:lnTo>
                    <a:pt x="74" y="17"/>
                  </a:lnTo>
                  <a:lnTo>
                    <a:pt x="67" y="19"/>
                  </a:lnTo>
                  <a:lnTo>
                    <a:pt x="57" y="21"/>
                  </a:lnTo>
                  <a:lnTo>
                    <a:pt x="50" y="27"/>
                  </a:lnTo>
                  <a:lnTo>
                    <a:pt x="42" y="33"/>
                  </a:lnTo>
                  <a:lnTo>
                    <a:pt x="34" y="38"/>
                  </a:lnTo>
                  <a:lnTo>
                    <a:pt x="29" y="46"/>
                  </a:lnTo>
                  <a:lnTo>
                    <a:pt x="25" y="54"/>
                  </a:lnTo>
                  <a:lnTo>
                    <a:pt x="25" y="61"/>
                  </a:lnTo>
                  <a:lnTo>
                    <a:pt x="25" y="61"/>
                  </a:lnTo>
                  <a:lnTo>
                    <a:pt x="25" y="65"/>
                  </a:lnTo>
                  <a:lnTo>
                    <a:pt x="25" y="67"/>
                  </a:lnTo>
                  <a:lnTo>
                    <a:pt x="27" y="71"/>
                  </a:lnTo>
                  <a:lnTo>
                    <a:pt x="27" y="75"/>
                  </a:lnTo>
                  <a:lnTo>
                    <a:pt x="27" y="77"/>
                  </a:lnTo>
                  <a:lnTo>
                    <a:pt x="27" y="80"/>
                  </a:lnTo>
                  <a:lnTo>
                    <a:pt x="25" y="82"/>
                  </a:lnTo>
                  <a:lnTo>
                    <a:pt x="23" y="84"/>
                  </a:lnTo>
                  <a:lnTo>
                    <a:pt x="23" y="84"/>
                  </a:lnTo>
                  <a:lnTo>
                    <a:pt x="19" y="86"/>
                  </a:lnTo>
                  <a:lnTo>
                    <a:pt x="15" y="88"/>
                  </a:lnTo>
                  <a:lnTo>
                    <a:pt x="11" y="90"/>
                  </a:lnTo>
                  <a:lnTo>
                    <a:pt x="8" y="92"/>
                  </a:lnTo>
                  <a:lnTo>
                    <a:pt x="6" y="96"/>
                  </a:lnTo>
                  <a:lnTo>
                    <a:pt x="4" y="100"/>
                  </a:lnTo>
                  <a:lnTo>
                    <a:pt x="2" y="105"/>
                  </a:lnTo>
                  <a:lnTo>
                    <a:pt x="0" y="111"/>
                  </a:lnTo>
                  <a:lnTo>
                    <a:pt x="0" y="111"/>
                  </a:lnTo>
                  <a:lnTo>
                    <a:pt x="2" y="115"/>
                  </a:lnTo>
                  <a:lnTo>
                    <a:pt x="2" y="117"/>
                  </a:lnTo>
                  <a:lnTo>
                    <a:pt x="4" y="121"/>
                  </a:lnTo>
                  <a:lnTo>
                    <a:pt x="4" y="122"/>
                  </a:lnTo>
                  <a:lnTo>
                    <a:pt x="6" y="124"/>
                  </a:lnTo>
                  <a:lnTo>
                    <a:pt x="8" y="128"/>
                  </a:lnTo>
                  <a:lnTo>
                    <a:pt x="10" y="130"/>
                  </a:lnTo>
                  <a:lnTo>
                    <a:pt x="11" y="132"/>
                  </a:lnTo>
                  <a:lnTo>
                    <a:pt x="11" y="132"/>
                  </a:lnTo>
                  <a:lnTo>
                    <a:pt x="11" y="132"/>
                  </a:lnTo>
                  <a:lnTo>
                    <a:pt x="11" y="130"/>
                  </a:lnTo>
                  <a:lnTo>
                    <a:pt x="13" y="128"/>
                  </a:lnTo>
                  <a:lnTo>
                    <a:pt x="13" y="126"/>
                  </a:lnTo>
                  <a:lnTo>
                    <a:pt x="15" y="124"/>
                  </a:lnTo>
                  <a:lnTo>
                    <a:pt x="17" y="122"/>
                  </a:lnTo>
                  <a:lnTo>
                    <a:pt x="19" y="121"/>
                  </a:lnTo>
                  <a:lnTo>
                    <a:pt x="23" y="121"/>
                  </a:lnTo>
                  <a:lnTo>
                    <a:pt x="25" y="121"/>
                  </a:lnTo>
                  <a:lnTo>
                    <a:pt x="25" y="121"/>
                  </a:lnTo>
                  <a:lnTo>
                    <a:pt x="29" y="121"/>
                  </a:lnTo>
                  <a:lnTo>
                    <a:pt x="34" y="122"/>
                  </a:lnTo>
                  <a:lnTo>
                    <a:pt x="38" y="126"/>
                  </a:lnTo>
                  <a:lnTo>
                    <a:pt x="40" y="128"/>
                  </a:lnTo>
                  <a:lnTo>
                    <a:pt x="44" y="132"/>
                  </a:lnTo>
                  <a:lnTo>
                    <a:pt x="48" y="134"/>
                  </a:lnTo>
                  <a:lnTo>
                    <a:pt x="53" y="136"/>
                  </a:lnTo>
                  <a:lnTo>
                    <a:pt x="57" y="136"/>
                  </a:lnTo>
                  <a:lnTo>
                    <a:pt x="57" y="136"/>
                  </a:lnTo>
                  <a:lnTo>
                    <a:pt x="69" y="136"/>
                  </a:lnTo>
                  <a:lnTo>
                    <a:pt x="78" y="130"/>
                  </a:lnTo>
                  <a:lnTo>
                    <a:pt x="84" y="124"/>
                  </a:lnTo>
                  <a:lnTo>
                    <a:pt x="88" y="117"/>
                  </a:lnTo>
                  <a:lnTo>
                    <a:pt x="93" y="109"/>
                  </a:lnTo>
                  <a:lnTo>
                    <a:pt x="99" y="103"/>
                  </a:lnTo>
                  <a:lnTo>
                    <a:pt x="107" y="98"/>
                  </a:lnTo>
                  <a:lnTo>
                    <a:pt x="118" y="96"/>
                  </a:lnTo>
                  <a:lnTo>
                    <a:pt x="118" y="96"/>
                  </a:lnTo>
                  <a:lnTo>
                    <a:pt x="122" y="96"/>
                  </a:lnTo>
                  <a:lnTo>
                    <a:pt x="124" y="98"/>
                  </a:lnTo>
                  <a:lnTo>
                    <a:pt x="126" y="98"/>
                  </a:lnTo>
                  <a:lnTo>
                    <a:pt x="128" y="100"/>
                  </a:lnTo>
                  <a:lnTo>
                    <a:pt x="124" y="10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69" name="Freeform 213"/>
            <p:cNvSpPr>
              <a:spLocks/>
            </p:cNvSpPr>
            <p:nvPr/>
          </p:nvSpPr>
          <p:spPr bwMode="gray">
            <a:xfrm>
              <a:off x="2897" y="2400"/>
              <a:ext cx="468" cy="466"/>
            </a:xfrm>
            <a:custGeom>
              <a:avLst/>
              <a:gdLst/>
              <a:ahLst/>
              <a:cxnLst>
                <a:cxn ang="0">
                  <a:pos x="641" y="178"/>
                </a:cxn>
                <a:cxn ang="0">
                  <a:pos x="341" y="14"/>
                </a:cxn>
                <a:cxn ang="0">
                  <a:pos x="320" y="52"/>
                </a:cxn>
                <a:cxn ang="0">
                  <a:pos x="294" y="82"/>
                </a:cxn>
                <a:cxn ang="0">
                  <a:pos x="319" y="113"/>
                </a:cxn>
                <a:cxn ang="0">
                  <a:pos x="292" y="126"/>
                </a:cxn>
                <a:cxn ang="0">
                  <a:pos x="277" y="119"/>
                </a:cxn>
                <a:cxn ang="0">
                  <a:pos x="256" y="130"/>
                </a:cxn>
                <a:cxn ang="0">
                  <a:pos x="217" y="113"/>
                </a:cxn>
                <a:cxn ang="0">
                  <a:pos x="185" y="134"/>
                </a:cxn>
                <a:cxn ang="0">
                  <a:pos x="179" y="126"/>
                </a:cxn>
                <a:cxn ang="0">
                  <a:pos x="179" y="107"/>
                </a:cxn>
                <a:cxn ang="0">
                  <a:pos x="168" y="86"/>
                </a:cxn>
                <a:cxn ang="0">
                  <a:pos x="183" y="38"/>
                </a:cxn>
                <a:cxn ang="0">
                  <a:pos x="181" y="10"/>
                </a:cxn>
                <a:cxn ang="0">
                  <a:pos x="65" y="21"/>
                </a:cxn>
                <a:cxn ang="0">
                  <a:pos x="90" y="69"/>
                </a:cxn>
                <a:cxn ang="0">
                  <a:pos x="101" y="92"/>
                </a:cxn>
                <a:cxn ang="0">
                  <a:pos x="82" y="121"/>
                </a:cxn>
                <a:cxn ang="0">
                  <a:pos x="61" y="121"/>
                </a:cxn>
                <a:cxn ang="0">
                  <a:pos x="84" y="168"/>
                </a:cxn>
                <a:cxn ang="0">
                  <a:pos x="93" y="174"/>
                </a:cxn>
                <a:cxn ang="0">
                  <a:pos x="69" y="214"/>
                </a:cxn>
                <a:cxn ang="0">
                  <a:pos x="30" y="275"/>
                </a:cxn>
                <a:cxn ang="0">
                  <a:pos x="0" y="286"/>
                </a:cxn>
                <a:cxn ang="0">
                  <a:pos x="11" y="332"/>
                </a:cxn>
                <a:cxn ang="0">
                  <a:pos x="27" y="388"/>
                </a:cxn>
                <a:cxn ang="0">
                  <a:pos x="11" y="424"/>
                </a:cxn>
                <a:cxn ang="0">
                  <a:pos x="48" y="454"/>
                </a:cxn>
                <a:cxn ang="0">
                  <a:pos x="76" y="517"/>
                </a:cxn>
                <a:cxn ang="0">
                  <a:pos x="103" y="582"/>
                </a:cxn>
                <a:cxn ang="0">
                  <a:pos x="126" y="624"/>
                </a:cxn>
                <a:cxn ang="0">
                  <a:pos x="141" y="622"/>
                </a:cxn>
                <a:cxn ang="0">
                  <a:pos x="162" y="639"/>
                </a:cxn>
                <a:cxn ang="0">
                  <a:pos x="219" y="660"/>
                </a:cxn>
                <a:cxn ang="0">
                  <a:pos x="278" y="689"/>
                </a:cxn>
                <a:cxn ang="0">
                  <a:pos x="334" y="691"/>
                </a:cxn>
                <a:cxn ang="0">
                  <a:pos x="370" y="725"/>
                </a:cxn>
                <a:cxn ang="0">
                  <a:pos x="385" y="805"/>
                </a:cxn>
                <a:cxn ang="0">
                  <a:pos x="391" y="836"/>
                </a:cxn>
                <a:cxn ang="0">
                  <a:pos x="420" y="842"/>
                </a:cxn>
                <a:cxn ang="0">
                  <a:pos x="462" y="828"/>
                </a:cxn>
                <a:cxn ang="0">
                  <a:pos x="494" y="836"/>
                </a:cxn>
                <a:cxn ang="0">
                  <a:pos x="540" y="847"/>
                </a:cxn>
                <a:cxn ang="0">
                  <a:pos x="595" y="842"/>
                </a:cxn>
                <a:cxn ang="0">
                  <a:pos x="641" y="819"/>
                </a:cxn>
                <a:cxn ang="0">
                  <a:pos x="675" y="817"/>
                </a:cxn>
                <a:cxn ang="0">
                  <a:pos x="742" y="803"/>
                </a:cxn>
                <a:cxn ang="0">
                  <a:pos x="822" y="750"/>
                </a:cxn>
                <a:cxn ang="0">
                  <a:pos x="795" y="721"/>
                </a:cxn>
                <a:cxn ang="0">
                  <a:pos x="782" y="670"/>
                </a:cxn>
                <a:cxn ang="0">
                  <a:pos x="761" y="605"/>
                </a:cxn>
                <a:cxn ang="0">
                  <a:pos x="771" y="565"/>
                </a:cxn>
                <a:cxn ang="0">
                  <a:pos x="761" y="531"/>
                </a:cxn>
                <a:cxn ang="0">
                  <a:pos x="782" y="493"/>
                </a:cxn>
                <a:cxn ang="0">
                  <a:pos x="782" y="479"/>
                </a:cxn>
                <a:cxn ang="0">
                  <a:pos x="750" y="451"/>
                </a:cxn>
                <a:cxn ang="0">
                  <a:pos x="727" y="410"/>
                </a:cxn>
                <a:cxn ang="0">
                  <a:pos x="746" y="348"/>
                </a:cxn>
              </a:cxnLst>
              <a:rect l="0" t="0" r="r" b="b"/>
              <a:pathLst>
                <a:path w="826" h="849">
                  <a:moveTo>
                    <a:pt x="757" y="298"/>
                  </a:moveTo>
                  <a:lnTo>
                    <a:pt x="633" y="204"/>
                  </a:lnTo>
                  <a:lnTo>
                    <a:pt x="633" y="204"/>
                  </a:lnTo>
                  <a:lnTo>
                    <a:pt x="635" y="199"/>
                  </a:lnTo>
                  <a:lnTo>
                    <a:pt x="637" y="195"/>
                  </a:lnTo>
                  <a:lnTo>
                    <a:pt x="637" y="191"/>
                  </a:lnTo>
                  <a:lnTo>
                    <a:pt x="639" y="185"/>
                  </a:lnTo>
                  <a:lnTo>
                    <a:pt x="639" y="182"/>
                  </a:lnTo>
                  <a:lnTo>
                    <a:pt x="641" y="178"/>
                  </a:lnTo>
                  <a:lnTo>
                    <a:pt x="643" y="174"/>
                  </a:lnTo>
                  <a:lnTo>
                    <a:pt x="643" y="168"/>
                  </a:lnTo>
                  <a:lnTo>
                    <a:pt x="353" y="6"/>
                  </a:lnTo>
                  <a:lnTo>
                    <a:pt x="353" y="6"/>
                  </a:lnTo>
                  <a:lnTo>
                    <a:pt x="349" y="0"/>
                  </a:lnTo>
                  <a:lnTo>
                    <a:pt x="349" y="0"/>
                  </a:lnTo>
                  <a:lnTo>
                    <a:pt x="347" y="4"/>
                  </a:lnTo>
                  <a:lnTo>
                    <a:pt x="343" y="10"/>
                  </a:lnTo>
                  <a:lnTo>
                    <a:pt x="341" y="14"/>
                  </a:lnTo>
                  <a:lnTo>
                    <a:pt x="338" y="18"/>
                  </a:lnTo>
                  <a:lnTo>
                    <a:pt x="336" y="23"/>
                  </a:lnTo>
                  <a:lnTo>
                    <a:pt x="334" y="27"/>
                  </a:lnTo>
                  <a:lnTo>
                    <a:pt x="332" y="31"/>
                  </a:lnTo>
                  <a:lnTo>
                    <a:pt x="328" y="35"/>
                  </a:lnTo>
                  <a:lnTo>
                    <a:pt x="326" y="38"/>
                  </a:lnTo>
                  <a:lnTo>
                    <a:pt x="324" y="42"/>
                  </a:lnTo>
                  <a:lnTo>
                    <a:pt x="322" y="48"/>
                  </a:lnTo>
                  <a:lnTo>
                    <a:pt x="320" y="52"/>
                  </a:lnTo>
                  <a:lnTo>
                    <a:pt x="319" y="56"/>
                  </a:lnTo>
                  <a:lnTo>
                    <a:pt x="317" y="59"/>
                  </a:lnTo>
                  <a:lnTo>
                    <a:pt x="315" y="63"/>
                  </a:lnTo>
                  <a:lnTo>
                    <a:pt x="313" y="67"/>
                  </a:lnTo>
                  <a:lnTo>
                    <a:pt x="313" y="67"/>
                  </a:lnTo>
                  <a:lnTo>
                    <a:pt x="309" y="73"/>
                  </a:lnTo>
                  <a:lnTo>
                    <a:pt x="305" y="77"/>
                  </a:lnTo>
                  <a:lnTo>
                    <a:pt x="299" y="79"/>
                  </a:lnTo>
                  <a:lnTo>
                    <a:pt x="294" y="82"/>
                  </a:lnTo>
                  <a:lnTo>
                    <a:pt x="290" y="84"/>
                  </a:lnTo>
                  <a:lnTo>
                    <a:pt x="286" y="86"/>
                  </a:lnTo>
                  <a:lnTo>
                    <a:pt x="282" y="92"/>
                  </a:lnTo>
                  <a:lnTo>
                    <a:pt x="278" y="96"/>
                  </a:lnTo>
                  <a:lnTo>
                    <a:pt x="326" y="96"/>
                  </a:lnTo>
                  <a:lnTo>
                    <a:pt x="326" y="96"/>
                  </a:lnTo>
                  <a:lnTo>
                    <a:pt x="324" y="101"/>
                  </a:lnTo>
                  <a:lnTo>
                    <a:pt x="322" y="107"/>
                  </a:lnTo>
                  <a:lnTo>
                    <a:pt x="319" y="113"/>
                  </a:lnTo>
                  <a:lnTo>
                    <a:pt x="315" y="117"/>
                  </a:lnTo>
                  <a:lnTo>
                    <a:pt x="311" y="121"/>
                  </a:lnTo>
                  <a:lnTo>
                    <a:pt x="307" y="124"/>
                  </a:lnTo>
                  <a:lnTo>
                    <a:pt x="303" y="128"/>
                  </a:lnTo>
                  <a:lnTo>
                    <a:pt x="301" y="132"/>
                  </a:lnTo>
                  <a:lnTo>
                    <a:pt x="301" y="132"/>
                  </a:lnTo>
                  <a:lnTo>
                    <a:pt x="298" y="130"/>
                  </a:lnTo>
                  <a:lnTo>
                    <a:pt x="294" y="128"/>
                  </a:lnTo>
                  <a:lnTo>
                    <a:pt x="292" y="126"/>
                  </a:lnTo>
                  <a:lnTo>
                    <a:pt x="292" y="124"/>
                  </a:lnTo>
                  <a:lnTo>
                    <a:pt x="292" y="124"/>
                  </a:lnTo>
                  <a:lnTo>
                    <a:pt x="288" y="122"/>
                  </a:lnTo>
                  <a:lnTo>
                    <a:pt x="286" y="122"/>
                  </a:lnTo>
                  <a:lnTo>
                    <a:pt x="284" y="122"/>
                  </a:lnTo>
                  <a:lnTo>
                    <a:pt x="282" y="121"/>
                  </a:lnTo>
                  <a:lnTo>
                    <a:pt x="280" y="121"/>
                  </a:lnTo>
                  <a:lnTo>
                    <a:pt x="278" y="119"/>
                  </a:lnTo>
                  <a:lnTo>
                    <a:pt x="277" y="119"/>
                  </a:lnTo>
                  <a:lnTo>
                    <a:pt x="273" y="117"/>
                  </a:lnTo>
                  <a:lnTo>
                    <a:pt x="273" y="117"/>
                  </a:lnTo>
                  <a:lnTo>
                    <a:pt x="269" y="119"/>
                  </a:lnTo>
                  <a:lnTo>
                    <a:pt x="265" y="121"/>
                  </a:lnTo>
                  <a:lnTo>
                    <a:pt x="263" y="121"/>
                  </a:lnTo>
                  <a:lnTo>
                    <a:pt x="261" y="122"/>
                  </a:lnTo>
                  <a:lnTo>
                    <a:pt x="259" y="126"/>
                  </a:lnTo>
                  <a:lnTo>
                    <a:pt x="257" y="128"/>
                  </a:lnTo>
                  <a:lnTo>
                    <a:pt x="256" y="130"/>
                  </a:lnTo>
                  <a:lnTo>
                    <a:pt x="254" y="130"/>
                  </a:lnTo>
                  <a:lnTo>
                    <a:pt x="254" y="130"/>
                  </a:lnTo>
                  <a:lnTo>
                    <a:pt x="250" y="128"/>
                  </a:lnTo>
                  <a:lnTo>
                    <a:pt x="244" y="126"/>
                  </a:lnTo>
                  <a:lnTo>
                    <a:pt x="240" y="124"/>
                  </a:lnTo>
                  <a:lnTo>
                    <a:pt x="235" y="121"/>
                  </a:lnTo>
                  <a:lnTo>
                    <a:pt x="229" y="117"/>
                  </a:lnTo>
                  <a:lnTo>
                    <a:pt x="223" y="115"/>
                  </a:lnTo>
                  <a:lnTo>
                    <a:pt x="217" y="113"/>
                  </a:lnTo>
                  <a:lnTo>
                    <a:pt x="214" y="111"/>
                  </a:lnTo>
                  <a:lnTo>
                    <a:pt x="214" y="111"/>
                  </a:lnTo>
                  <a:lnTo>
                    <a:pt x="208" y="113"/>
                  </a:lnTo>
                  <a:lnTo>
                    <a:pt x="204" y="115"/>
                  </a:lnTo>
                  <a:lnTo>
                    <a:pt x="198" y="117"/>
                  </a:lnTo>
                  <a:lnTo>
                    <a:pt x="195" y="121"/>
                  </a:lnTo>
                  <a:lnTo>
                    <a:pt x="193" y="126"/>
                  </a:lnTo>
                  <a:lnTo>
                    <a:pt x="189" y="130"/>
                  </a:lnTo>
                  <a:lnTo>
                    <a:pt x="185" y="134"/>
                  </a:lnTo>
                  <a:lnTo>
                    <a:pt x="183" y="138"/>
                  </a:lnTo>
                  <a:lnTo>
                    <a:pt x="183" y="138"/>
                  </a:lnTo>
                  <a:lnTo>
                    <a:pt x="181" y="138"/>
                  </a:lnTo>
                  <a:lnTo>
                    <a:pt x="179" y="136"/>
                  </a:lnTo>
                  <a:lnTo>
                    <a:pt x="177" y="134"/>
                  </a:lnTo>
                  <a:lnTo>
                    <a:pt x="177" y="132"/>
                  </a:lnTo>
                  <a:lnTo>
                    <a:pt x="177" y="132"/>
                  </a:lnTo>
                  <a:lnTo>
                    <a:pt x="177" y="130"/>
                  </a:lnTo>
                  <a:lnTo>
                    <a:pt x="179" y="126"/>
                  </a:lnTo>
                  <a:lnTo>
                    <a:pt x="179" y="124"/>
                  </a:lnTo>
                  <a:lnTo>
                    <a:pt x="181" y="122"/>
                  </a:lnTo>
                  <a:lnTo>
                    <a:pt x="181" y="121"/>
                  </a:lnTo>
                  <a:lnTo>
                    <a:pt x="183" y="117"/>
                  </a:lnTo>
                  <a:lnTo>
                    <a:pt x="183" y="115"/>
                  </a:lnTo>
                  <a:lnTo>
                    <a:pt x="183" y="111"/>
                  </a:lnTo>
                  <a:lnTo>
                    <a:pt x="183" y="111"/>
                  </a:lnTo>
                  <a:lnTo>
                    <a:pt x="183" y="107"/>
                  </a:lnTo>
                  <a:lnTo>
                    <a:pt x="179" y="107"/>
                  </a:lnTo>
                  <a:lnTo>
                    <a:pt x="175" y="105"/>
                  </a:lnTo>
                  <a:lnTo>
                    <a:pt x="172" y="105"/>
                  </a:lnTo>
                  <a:lnTo>
                    <a:pt x="172" y="105"/>
                  </a:lnTo>
                  <a:lnTo>
                    <a:pt x="172" y="103"/>
                  </a:lnTo>
                  <a:lnTo>
                    <a:pt x="170" y="101"/>
                  </a:lnTo>
                  <a:lnTo>
                    <a:pt x="170" y="98"/>
                  </a:lnTo>
                  <a:lnTo>
                    <a:pt x="170" y="94"/>
                  </a:lnTo>
                  <a:lnTo>
                    <a:pt x="168" y="88"/>
                  </a:lnTo>
                  <a:lnTo>
                    <a:pt x="168" y="86"/>
                  </a:lnTo>
                  <a:lnTo>
                    <a:pt x="168" y="82"/>
                  </a:lnTo>
                  <a:lnTo>
                    <a:pt x="168" y="80"/>
                  </a:lnTo>
                  <a:lnTo>
                    <a:pt x="168" y="80"/>
                  </a:lnTo>
                  <a:lnTo>
                    <a:pt x="170" y="71"/>
                  </a:lnTo>
                  <a:lnTo>
                    <a:pt x="170" y="63"/>
                  </a:lnTo>
                  <a:lnTo>
                    <a:pt x="174" y="58"/>
                  </a:lnTo>
                  <a:lnTo>
                    <a:pt x="177" y="52"/>
                  </a:lnTo>
                  <a:lnTo>
                    <a:pt x="179" y="46"/>
                  </a:lnTo>
                  <a:lnTo>
                    <a:pt x="183" y="38"/>
                  </a:lnTo>
                  <a:lnTo>
                    <a:pt x="183" y="31"/>
                  </a:lnTo>
                  <a:lnTo>
                    <a:pt x="185" y="23"/>
                  </a:lnTo>
                  <a:lnTo>
                    <a:pt x="185" y="23"/>
                  </a:lnTo>
                  <a:lnTo>
                    <a:pt x="185" y="19"/>
                  </a:lnTo>
                  <a:lnTo>
                    <a:pt x="185" y="18"/>
                  </a:lnTo>
                  <a:lnTo>
                    <a:pt x="183" y="14"/>
                  </a:lnTo>
                  <a:lnTo>
                    <a:pt x="183" y="12"/>
                  </a:lnTo>
                  <a:lnTo>
                    <a:pt x="181" y="12"/>
                  </a:lnTo>
                  <a:lnTo>
                    <a:pt x="181" y="10"/>
                  </a:lnTo>
                  <a:lnTo>
                    <a:pt x="179" y="8"/>
                  </a:lnTo>
                  <a:lnTo>
                    <a:pt x="179" y="6"/>
                  </a:lnTo>
                  <a:lnTo>
                    <a:pt x="74" y="8"/>
                  </a:lnTo>
                  <a:lnTo>
                    <a:pt x="74" y="8"/>
                  </a:lnTo>
                  <a:lnTo>
                    <a:pt x="71" y="12"/>
                  </a:lnTo>
                  <a:lnTo>
                    <a:pt x="69" y="14"/>
                  </a:lnTo>
                  <a:lnTo>
                    <a:pt x="67" y="16"/>
                  </a:lnTo>
                  <a:lnTo>
                    <a:pt x="67" y="19"/>
                  </a:lnTo>
                  <a:lnTo>
                    <a:pt x="65" y="21"/>
                  </a:lnTo>
                  <a:lnTo>
                    <a:pt x="65" y="21"/>
                  </a:lnTo>
                  <a:lnTo>
                    <a:pt x="69" y="27"/>
                  </a:lnTo>
                  <a:lnTo>
                    <a:pt x="72" y="33"/>
                  </a:lnTo>
                  <a:lnTo>
                    <a:pt x="76" y="38"/>
                  </a:lnTo>
                  <a:lnTo>
                    <a:pt x="80" y="42"/>
                  </a:lnTo>
                  <a:lnTo>
                    <a:pt x="84" y="48"/>
                  </a:lnTo>
                  <a:lnTo>
                    <a:pt x="88" y="54"/>
                  </a:lnTo>
                  <a:lnTo>
                    <a:pt x="90" y="61"/>
                  </a:lnTo>
                  <a:lnTo>
                    <a:pt x="90" y="69"/>
                  </a:lnTo>
                  <a:lnTo>
                    <a:pt x="90" y="69"/>
                  </a:lnTo>
                  <a:lnTo>
                    <a:pt x="92" y="73"/>
                  </a:lnTo>
                  <a:lnTo>
                    <a:pt x="92" y="77"/>
                  </a:lnTo>
                  <a:lnTo>
                    <a:pt x="93" y="80"/>
                  </a:lnTo>
                  <a:lnTo>
                    <a:pt x="95" y="82"/>
                  </a:lnTo>
                  <a:lnTo>
                    <a:pt x="97" y="84"/>
                  </a:lnTo>
                  <a:lnTo>
                    <a:pt x="99" y="86"/>
                  </a:lnTo>
                  <a:lnTo>
                    <a:pt x="101" y="90"/>
                  </a:lnTo>
                  <a:lnTo>
                    <a:pt x="101" y="92"/>
                  </a:lnTo>
                  <a:lnTo>
                    <a:pt x="101" y="92"/>
                  </a:lnTo>
                  <a:lnTo>
                    <a:pt x="101" y="98"/>
                  </a:lnTo>
                  <a:lnTo>
                    <a:pt x="99" y="105"/>
                  </a:lnTo>
                  <a:lnTo>
                    <a:pt x="99" y="109"/>
                  </a:lnTo>
                  <a:lnTo>
                    <a:pt x="97" y="113"/>
                  </a:lnTo>
                  <a:lnTo>
                    <a:pt x="93" y="117"/>
                  </a:lnTo>
                  <a:lnTo>
                    <a:pt x="92" y="119"/>
                  </a:lnTo>
                  <a:lnTo>
                    <a:pt x="88" y="121"/>
                  </a:lnTo>
                  <a:lnTo>
                    <a:pt x="82" y="121"/>
                  </a:lnTo>
                  <a:lnTo>
                    <a:pt x="82" y="121"/>
                  </a:lnTo>
                  <a:lnTo>
                    <a:pt x="78" y="121"/>
                  </a:lnTo>
                  <a:lnTo>
                    <a:pt x="74" y="121"/>
                  </a:lnTo>
                  <a:lnTo>
                    <a:pt x="71" y="121"/>
                  </a:lnTo>
                  <a:lnTo>
                    <a:pt x="69" y="121"/>
                  </a:lnTo>
                  <a:lnTo>
                    <a:pt x="65" y="121"/>
                  </a:lnTo>
                  <a:lnTo>
                    <a:pt x="63" y="121"/>
                  </a:lnTo>
                  <a:lnTo>
                    <a:pt x="63" y="121"/>
                  </a:lnTo>
                  <a:lnTo>
                    <a:pt x="61" y="121"/>
                  </a:lnTo>
                  <a:lnTo>
                    <a:pt x="65" y="121"/>
                  </a:lnTo>
                  <a:lnTo>
                    <a:pt x="65" y="121"/>
                  </a:lnTo>
                  <a:lnTo>
                    <a:pt x="71" y="124"/>
                  </a:lnTo>
                  <a:lnTo>
                    <a:pt x="72" y="132"/>
                  </a:lnTo>
                  <a:lnTo>
                    <a:pt x="72" y="140"/>
                  </a:lnTo>
                  <a:lnTo>
                    <a:pt x="72" y="149"/>
                  </a:lnTo>
                  <a:lnTo>
                    <a:pt x="74" y="157"/>
                  </a:lnTo>
                  <a:lnTo>
                    <a:pt x="78" y="164"/>
                  </a:lnTo>
                  <a:lnTo>
                    <a:pt x="84" y="168"/>
                  </a:lnTo>
                  <a:lnTo>
                    <a:pt x="95" y="170"/>
                  </a:lnTo>
                  <a:lnTo>
                    <a:pt x="95" y="170"/>
                  </a:lnTo>
                  <a:lnTo>
                    <a:pt x="95" y="170"/>
                  </a:lnTo>
                  <a:lnTo>
                    <a:pt x="95" y="172"/>
                  </a:lnTo>
                  <a:lnTo>
                    <a:pt x="95" y="174"/>
                  </a:lnTo>
                  <a:lnTo>
                    <a:pt x="95" y="176"/>
                  </a:lnTo>
                  <a:lnTo>
                    <a:pt x="92" y="170"/>
                  </a:lnTo>
                  <a:lnTo>
                    <a:pt x="92" y="170"/>
                  </a:lnTo>
                  <a:lnTo>
                    <a:pt x="93" y="174"/>
                  </a:lnTo>
                  <a:lnTo>
                    <a:pt x="93" y="176"/>
                  </a:lnTo>
                  <a:lnTo>
                    <a:pt x="95" y="178"/>
                  </a:lnTo>
                  <a:lnTo>
                    <a:pt x="95" y="180"/>
                  </a:lnTo>
                  <a:lnTo>
                    <a:pt x="95" y="180"/>
                  </a:lnTo>
                  <a:lnTo>
                    <a:pt x="95" y="187"/>
                  </a:lnTo>
                  <a:lnTo>
                    <a:pt x="90" y="195"/>
                  </a:lnTo>
                  <a:lnTo>
                    <a:pt x="84" y="201"/>
                  </a:lnTo>
                  <a:lnTo>
                    <a:pt x="76" y="208"/>
                  </a:lnTo>
                  <a:lnTo>
                    <a:pt x="69" y="214"/>
                  </a:lnTo>
                  <a:lnTo>
                    <a:pt x="61" y="222"/>
                  </a:lnTo>
                  <a:lnTo>
                    <a:pt x="55" y="229"/>
                  </a:lnTo>
                  <a:lnTo>
                    <a:pt x="51" y="235"/>
                  </a:lnTo>
                  <a:lnTo>
                    <a:pt x="51" y="235"/>
                  </a:lnTo>
                  <a:lnTo>
                    <a:pt x="50" y="243"/>
                  </a:lnTo>
                  <a:lnTo>
                    <a:pt x="46" y="250"/>
                  </a:lnTo>
                  <a:lnTo>
                    <a:pt x="42" y="258"/>
                  </a:lnTo>
                  <a:lnTo>
                    <a:pt x="36" y="267"/>
                  </a:lnTo>
                  <a:lnTo>
                    <a:pt x="30" y="275"/>
                  </a:lnTo>
                  <a:lnTo>
                    <a:pt x="25" y="281"/>
                  </a:lnTo>
                  <a:lnTo>
                    <a:pt x="17" y="285"/>
                  </a:lnTo>
                  <a:lnTo>
                    <a:pt x="9" y="286"/>
                  </a:lnTo>
                  <a:lnTo>
                    <a:pt x="9" y="286"/>
                  </a:lnTo>
                  <a:lnTo>
                    <a:pt x="6" y="286"/>
                  </a:lnTo>
                  <a:lnTo>
                    <a:pt x="4" y="286"/>
                  </a:lnTo>
                  <a:lnTo>
                    <a:pt x="2" y="286"/>
                  </a:lnTo>
                  <a:lnTo>
                    <a:pt x="0" y="286"/>
                  </a:lnTo>
                  <a:lnTo>
                    <a:pt x="0" y="286"/>
                  </a:lnTo>
                  <a:lnTo>
                    <a:pt x="2" y="292"/>
                  </a:lnTo>
                  <a:lnTo>
                    <a:pt x="4" y="298"/>
                  </a:lnTo>
                  <a:lnTo>
                    <a:pt x="6" y="304"/>
                  </a:lnTo>
                  <a:lnTo>
                    <a:pt x="6" y="311"/>
                  </a:lnTo>
                  <a:lnTo>
                    <a:pt x="8" y="317"/>
                  </a:lnTo>
                  <a:lnTo>
                    <a:pt x="9" y="323"/>
                  </a:lnTo>
                  <a:lnTo>
                    <a:pt x="11" y="328"/>
                  </a:lnTo>
                  <a:lnTo>
                    <a:pt x="11" y="332"/>
                  </a:lnTo>
                  <a:lnTo>
                    <a:pt x="11" y="332"/>
                  </a:lnTo>
                  <a:lnTo>
                    <a:pt x="15" y="344"/>
                  </a:lnTo>
                  <a:lnTo>
                    <a:pt x="15" y="353"/>
                  </a:lnTo>
                  <a:lnTo>
                    <a:pt x="15" y="361"/>
                  </a:lnTo>
                  <a:lnTo>
                    <a:pt x="13" y="367"/>
                  </a:lnTo>
                  <a:lnTo>
                    <a:pt x="15" y="372"/>
                  </a:lnTo>
                  <a:lnTo>
                    <a:pt x="15" y="378"/>
                  </a:lnTo>
                  <a:lnTo>
                    <a:pt x="19" y="382"/>
                  </a:lnTo>
                  <a:lnTo>
                    <a:pt x="27" y="388"/>
                  </a:lnTo>
                  <a:lnTo>
                    <a:pt x="27" y="388"/>
                  </a:lnTo>
                  <a:lnTo>
                    <a:pt x="25" y="393"/>
                  </a:lnTo>
                  <a:lnTo>
                    <a:pt x="23" y="399"/>
                  </a:lnTo>
                  <a:lnTo>
                    <a:pt x="21" y="403"/>
                  </a:lnTo>
                  <a:lnTo>
                    <a:pt x="17" y="407"/>
                  </a:lnTo>
                  <a:lnTo>
                    <a:pt x="15" y="410"/>
                  </a:lnTo>
                  <a:lnTo>
                    <a:pt x="13" y="414"/>
                  </a:lnTo>
                  <a:lnTo>
                    <a:pt x="11" y="418"/>
                  </a:lnTo>
                  <a:lnTo>
                    <a:pt x="11" y="424"/>
                  </a:lnTo>
                  <a:lnTo>
                    <a:pt x="11" y="424"/>
                  </a:lnTo>
                  <a:lnTo>
                    <a:pt x="11" y="430"/>
                  </a:lnTo>
                  <a:lnTo>
                    <a:pt x="15" y="435"/>
                  </a:lnTo>
                  <a:lnTo>
                    <a:pt x="21" y="439"/>
                  </a:lnTo>
                  <a:lnTo>
                    <a:pt x="27" y="443"/>
                  </a:lnTo>
                  <a:lnTo>
                    <a:pt x="32" y="447"/>
                  </a:lnTo>
                  <a:lnTo>
                    <a:pt x="40" y="449"/>
                  </a:lnTo>
                  <a:lnTo>
                    <a:pt x="44" y="452"/>
                  </a:lnTo>
                  <a:lnTo>
                    <a:pt x="48" y="454"/>
                  </a:lnTo>
                  <a:lnTo>
                    <a:pt x="48" y="454"/>
                  </a:lnTo>
                  <a:lnTo>
                    <a:pt x="55" y="462"/>
                  </a:lnTo>
                  <a:lnTo>
                    <a:pt x="59" y="470"/>
                  </a:lnTo>
                  <a:lnTo>
                    <a:pt x="63" y="477"/>
                  </a:lnTo>
                  <a:lnTo>
                    <a:pt x="67" y="485"/>
                  </a:lnTo>
                  <a:lnTo>
                    <a:pt x="69" y="493"/>
                  </a:lnTo>
                  <a:lnTo>
                    <a:pt x="71" y="500"/>
                  </a:lnTo>
                  <a:lnTo>
                    <a:pt x="74" y="508"/>
                  </a:lnTo>
                  <a:lnTo>
                    <a:pt x="76" y="517"/>
                  </a:lnTo>
                  <a:lnTo>
                    <a:pt x="76" y="517"/>
                  </a:lnTo>
                  <a:lnTo>
                    <a:pt x="82" y="525"/>
                  </a:lnTo>
                  <a:lnTo>
                    <a:pt x="84" y="535"/>
                  </a:lnTo>
                  <a:lnTo>
                    <a:pt x="88" y="542"/>
                  </a:lnTo>
                  <a:lnTo>
                    <a:pt x="92" y="550"/>
                  </a:lnTo>
                  <a:lnTo>
                    <a:pt x="93" y="557"/>
                  </a:lnTo>
                  <a:lnTo>
                    <a:pt x="95" y="565"/>
                  </a:lnTo>
                  <a:lnTo>
                    <a:pt x="99" y="575"/>
                  </a:lnTo>
                  <a:lnTo>
                    <a:pt x="103" y="582"/>
                  </a:lnTo>
                  <a:lnTo>
                    <a:pt x="103" y="582"/>
                  </a:lnTo>
                  <a:lnTo>
                    <a:pt x="107" y="588"/>
                  </a:lnTo>
                  <a:lnTo>
                    <a:pt x="111" y="594"/>
                  </a:lnTo>
                  <a:lnTo>
                    <a:pt x="114" y="597"/>
                  </a:lnTo>
                  <a:lnTo>
                    <a:pt x="118" y="603"/>
                  </a:lnTo>
                  <a:lnTo>
                    <a:pt x="122" y="607"/>
                  </a:lnTo>
                  <a:lnTo>
                    <a:pt x="124" y="613"/>
                  </a:lnTo>
                  <a:lnTo>
                    <a:pt x="126" y="617"/>
                  </a:lnTo>
                  <a:lnTo>
                    <a:pt x="126" y="624"/>
                  </a:lnTo>
                  <a:lnTo>
                    <a:pt x="126" y="624"/>
                  </a:lnTo>
                  <a:lnTo>
                    <a:pt x="132" y="622"/>
                  </a:lnTo>
                  <a:lnTo>
                    <a:pt x="133" y="622"/>
                  </a:lnTo>
                  <a:lnTo>
                    <a:pt x="135" y="622"/>
                  </a:lnTo>
                  <a:lnTo>
                    <a:pt x="137" y="622"/>
                  </a:lnTo>
                  <a:lnTo>
                    <a:pt x="137" y="622"/>
                  </a:lnTo>
                  <a:lnTo>
                    <a:pt x="139" y="622"/>
                  </a:lnTo>
                  <a:lnTo>
                    <a:pt x="139" y="622"/>
                  </a:lnTo>
                  <a:lnTo>
                    <a:pt x="141" y="622"/>
                  </a:lnTo>
                  <a:lnTo>
                    <a:pt x="141" y="622"/>
                  </a:lnTo>
                  <a:lnTo>
                    <a:pt x="143" y="622"/>
                  </a:lnTo>
                  <a:lnTo>
                    <a:pt x="145" y="624"/>
                  </a:lnTo>
                  <a:lnTo>
                    <a:pt x="147" y="628"/>
                  </a:lnTo>
                  <a:lnTo>
                    <a:pt x="151" y="630"/>
                  </a:lnTo>
                  <a:lnTo>
                    <a:pt x="154" y="634"/>
                  </a:lnTo>
                  <a:lnTo>
                    <a:pt x="158" y="636"/>
                  </a:lnTo>
                  <a:lnTo>
                    <a:pt x="160" y="638"/>
                  </a:lnTo>
                  <a:lnTo>
                    <a:pt x="162" y="639"/>
                  </a:lnTo>
                  <a:lnTo>
                    <a:pt x="162" y="639"/>
                  </a:lnTo>
                  <a:lnTo>
                    <a:pt x="170" y="643"/>
                  </a:lnTo>
                  <a:lnTo>
                    <a:pt x="177" y="647"/>
                  </a:lnTo>
                  <a:lnTo>
                    <a:pt x="185" y="649"/>
                  </a:lnTo>
                  <a:lnTo>
                    <a:pt x="193" y="651"/>
                  </a:lnTo>
                  <a:lnTo>
                    <a:pt x="198" y="653"/>
                  </a:lnTo>
                  <a:lnTo>
                    <a:pt x="204" y="655"/>
                  </a:lnTo>
                  <a:lnTo>
                    <a:pt x="212" y="659"/>
                  </a:lnTo>
                  <a:lnTo>
                    <a:pt x="219" y="660"/>
                  </a:lnTo>
                  <a:lnTo>
                    <a:pt x="219" y="660"/>
                  </a:lnTo>
                  <a:lnTo>
                    <a:pt x="227" y="664"/>
                  </a:lnTo>
                  <a:lnTo>
                    <a:pt x="233" y="668"/>
                  </a:lnTo>
                  <a:lnTo>
                    <a:pt x="240" y="672"/>
                  </a:lnTo>
                  <a:lnTo>
                    <a:pt x="246" y="676"/>
                  </a:lnTo>
                  <a:lnTo>
                    <a:pt x="254" y="678"/>
                  </a:lnTo>
                  <a:lnTo>
                    <a:pt x="259" y="681"/>
                  </a:lnTo>
                  <a:lnTo>
                    <a:pt x="267" y="685"/>
                  </a:lnTo>
                  <a:lnTo>
                    <a:pt x="273" y="687"/>
                  </a:lnTo>
                  <a:lnTo>
                    <a:pt x="278" y="689"/>
                  </a:lnTo>
                  <a:lnTo>
                    <a:pt x="286" y="691"/>
                  </a:lnTo>
                  <a:lnTo>
                    <a:pt x="294" y="693"/>
                  </a:lnTo>
                  <a:lnTo>
                    <a:pt x="301" y="693"/>
                  </a:lnTo>
                  <a:lnTo>
                    <a:pt x="307" y="693"/>
                  </a:lnTo>
                  <a:lnTo>
                    <a:pt x="317" y="693"/>
                  </a:lnTo>
                  <a:lnTo>
                    <a:pt x="324" y="693"/>
                  </a:lnTo>
                  <a:lnTo>
                    <a:pt x="332" y="691"/>
                  </a:lnTo>
                  <a:lnTo>
                    <a:pt x="332" y="691"/>
                  </a:lnTo>
                  <a:lnTo>
                    <a:pt x="334" y="691"/>
                  </a:lnTo>
                  <a:lnTo>
                    <a:pt x="336" y="691"/>
                  </a:lnTo>
                  <a:lnTo>
                    <a:pt x="338" y="691"/>
                  </a:lnTo>
                  <a:lnTo>
                    <a:pt x="338" y="691"/>
                  </a:lnTo>
                  <a:lnTo>
                    <a:pt x="338" y="691"/>
                  </a:lnTo>
                  <a:lnTo>
                    <a:pt x="349" y="699"/>
                  </a:lnTo>
                  <a:lnTo>
                    <a:pt x="357" y="704"/>
                  </a:lnTo>
                  <a:lnTo>
                    <a:pt x="362" y="712"/>
                  </a:lnTo>
                  <a:lnTo>
                    <a:pt x="366" y="718"/>
                  </a:lnTo>
                  <a:lnTo>
                    <a:pt x="370" y="725"/>
                  </a:lnTo>
                  <a:lnTo>
                    <a:pt x="372" y="733"/>
                  </a:lnTo>
                  <a:lnTo>
                    <a:pt x="376" y="742"/>
                  </a:lnTo>
                  <a:lnTo>
                    <a:pt x="381" y="752"/>
                  </a:lnTo>
                  <a:lnTo>
                    <a:pt x="381" y="790"/>
                  </a:lnTo>
                  <a:lnTo>
                    <a:pt x="381" y="790"/>
                  </a:lnTo>
                  <a:lnTo>
                    <a:pt x="383" y="794"/>
                  </a:lnTo>
                  <a:lnTo>
                    <a:pt x="385" y="798"/>
                  </a:lnTo>
                  <a:lnTo>
                    <a:pt x="385" y="802"/>
                  </a:lnTo>
                  <a:lnTo>
                    <a:pt x="385" y="805"/>
                  </a:lnTo>
                  <a:lnTo>
                    <a:pt x="385" y="809"/>
                  </a:lnTo>
                  <a:lnTo>
                    <a:pt x="385" y="813"/>
                  </a:lnTo>
                  <a:lnTo>
                    <a:pt x="385" y="817"/>
                  </a:lnTo>
                  <a:lnTo>
                    <a:pt x="385" y="821"/>
                  </a:lnTo>
                  <a:lnTo>
                    <a:pt x="385" y="821"/>
                  </a:lnTo>
                  <a:lnTo>
                    <a:pt x="385" y="824"/>
                  </a:lnTo>
                  <a:lnTo>
                    <a:pt x="387" y="828"/>
                  </a:lnTo>
                  <a:lnTo>
                    <a:pt x="389" y="832"/>
                  </a:lnTo>
                  <a:lnTo>
                    <a:pt x="391" y="836"/>
                  </a:lnTo>
                  <a:lnTo>
                    <a:pt x="395" y="838"/>
                  </a:lnTo>
                  <a:lnTo>
                    <a:pt x="397" y="842"/>
                  </a:lnTo>
                  <a:lnTo>
                    <a:pt x="399" y="844"/>
                  </a:lnTo>
                  <a:lnTo>
                    <a:pt x="402" y="847"/>
                  </a:lnTo>
                  <a:lnTo>
                    <a:pt x="402" y="847"/>
                  </a:lnTo>
                  <a:lnTo>
                    <a:pt x="406" y="845"/>
                  </a:lnTo>
                  <a:lnTo>
                    <a:pt x="410" y="844"/>
                  </a:lnTo>
                  <a:lnTo>
                    <a:pt x="416" y="844"/>
                  </a:lnTo>
                  <a:lnTo>
                    <a:pt x="420" y="842"/>
                  </a:lnTo>
                  <a:lnTo>
                    <a:pt x="425" y="840"/>
                  </a:lnTo>
                  <a:lnTo>
                    <a:pt x="429" y="838"/>
                  </a:lnTo>
                  <a:lnTo>
                    <a:pt x="435" y="836"/>
                  </a:lnTo>
                  <a:lnTo>
                    <a:pt x="439" y="834"/>
                  </a:lnTo>
                  <a:lnTo>
                    <a:pt x="444" y="832"/>
                  </a:lnTo>
                  <a:lnTo>
                    <a:pt x="448" y="830"/>
                  </a:lnTo>
                  <a:lnTo>
                    <a:pt x="454" y="830"/>
                  </a:lnTo>
                  <a:lnTo>
                    <a:pt x="458" y="828"/>
                  </a:lnTo>
                  <a:lnTo>
                    <a:pt x="462" y="828"/>
                  </a:lnTo>
                  <a:lnTo>
                    <a:pt x="465" y="826"/>
                  </a:lnTo>
                  <a:lnTo>
                    <a:pt x="469" y="826"/>
                  </a:lnTo>
                  <a:lnTo>
                    <a:pt x="471" y="826"/>
                  </a:lnTo>
                  <a:lnTo>
                    <a:pt x="471" y="826"/>
                  </a:lnTo>
                  <a:lnTo>
                    <a:pt x="477" y="826"/>
                  </a:lnTo>
                  <a:lnTo>
                    <a:pt x="481" y="828"/>
                  </a:lnTo>
                  <a:lnTo>
                    <a:pt x="486" y="830"/>
                  </a:lnTo>
                  <a:lnTo>
                    <a:pt x="490" y="832"/>
                  </a:lnTo>
                  <a:lnTo>
                    <a:pt x="494" y="836"/>
                  </a:lnTo>
                  <a:lnTo>
                    <a:pt x="498" y="838"/>
                  </a:lnTo>
                  <a:lnTo>
                    <a:pt x="500" y="840"/>
                  </a:lnTo>
                  <a:lnTo>
                    <a:pt x="504" y="842"/>
                  </a:lnTo>
                  <a:lnTo>
                    <a:pt x="504" y="842"/>
                  </a:lnTo>
                  <a:lnTo>
                    <a:pt x="511" y="844"/>
                  </a:lnTo>
                  <a:lnTo>
                    <a:pt x="519" y="845"/>
                  </a:lnTo>
                  <a:lnTo>
                    <a:pt x="525" y="845"/>
                  </a:lnTo>
                  <a:lnTo>
                    <a:pt x="532" y="847"/>
                  </a:lnTo>
                  <a:lnTo>
                    <a:pt x="540" y="847"/>
                  </a:lnTo>
                  <a:lnTo>
                    <a:pt x="547" y="849"/>
                  </a:lnTo>
                  <a:lnTo>
                    <a:pt x="555" y="849"/>
                  </a:lnTo>
                  <a:lnTo>
                    <a:pt x="563" y="849"/>
                  </a:lnTo>
                  <a:lnTo>
                    <a:pt x="563" y="849"/>
                  </a:lnTo>
                  <a:lnTo>
                    <a:pt x="570" y="849"/>
                  </a:lnTo>
                  <a:lnTo>
                    <a:pt x="576" y="847"/>
                  </a:lnTo>
                  <a:lnTo>
                    <a:pt x="584" y="845"/>
                  </a:lnTo>
                  <a:lnTo>
                    <a:pt x="589" y="844"/>
                  </a:lnTo>
                  <a:lnTo>
                    <a:pt x="595" y="842"/>
                  </a:lnTo>
                  <a:lnTo>
                    <a:pt x="601" y="840"/>
                  </a:lnTo>
                  <a:lnTo>
                    <a:pt x="605" y="836"/>
                  </a:lnTo>
                  <a:lnTo>
                    <a:pt x="610" y="834"/>
                  </a:lnTo>
                  <a:lnTo>
                    <a:pt x="616" y="830"/>
                  </a:lnTo>
                  <a:lnTo>
                    <a:pt x="620" y="826"/>
                  </a:lnTo>
                  <a:lnTo>
                    <a:pt x="626" y="824"/>
                  </a:lnTo>
                  <a:lnTo>
                    <a:pt x="629" y="823"/>
                  </a:lnTo>
                  <a:lnTo>
                    <a:pt x="635" y="821"/>
                  </a:lnTo>
                  <a:lnTo>
                    <a:pt x="641" y="819"/>
                  </a:lnTo>
                  <a:lnTo>
                    <a:pt x="647" y="817"/>
                  </a:lnTo>
                  <a:lnTo>
                    <a:pt x="652" y="817"/>
                  </a:lnTo>
                  <a:lnTo>
                    <a:pt x="652" y="817"/>
                  </a:lnTo>
                  <a:lnTo>
                    <a:pt x="658" y="817"/>
                  </a:lnTo>
                  <a:lnTo>
                    <a:pt x="662" y="817"/>
                  </a:lnTo>
                  <a:lnTo>
                    <a:pt x="666" y="817"/>
                  </a:lnTo>
                  <a:lnTo>
                    <a:pt x="668" y="817"/>
                  </a:lnTo>
                  <a:lnTo>
                    <a:pt x="671" y="817"/>
                  </a:lnTo>
                  <a:lnTo>
                    <a:pt x="675" y="817"/>
                  </a:lnTo>
                  <a:lnTo>
                    <a:pt x="677" y="817"/>
                  </a:lnTo>
                  <a:lnTo>
                    <a:pt x="681" y="817"/>
                  </a:lnTo>
                  <a:lnTo>
                    <a:pt x="681" y="817"/>
                  </a:lnTo>
                  <a:lnTo>
                    <a:pt x="690" y="817"/>
                  </a:lnTo>
                  <a:lnTo>
                    <a:pt x="700" y="815"/>
                  </a:lnTo>
                  <a:lnTo>
                    <a:pt x="710" y="813"/>
                  </a:lnTo>
                  <a:lnTo>
                    <a:pt x="721" y="811"/>
                  </a:lnTo>
                  <a:lnTo>
                    <a:pt x="732" y="807"/>
                  </a:lnTo>
                  <a:lnTo>
                    <a:pt x="742" y="803"/>
                  </a:lnTo>
                  <a:lnTo>
                    <a:pt x="753" y="800"/>
                  </a:lnTo>
                  <a:lnTo>
                    <a:pt x="765" y="794"/>
                  </a:lnTo>
                  <a:lnTo>
                    <a:pt x="774" y="788"/>
                  </a:lnTo>
                  <a:lnTo>
                    <a:pt x="784" y="783"/>
                  </a:lnTo>
                  <a:lnTo>
                    <a:pt x="793" y="777"/>
                  </a:lnTo>
                  <a:lnTo>
                    <a:pt x="803" y="771"/>
                  </a:lnTo>
                  <a:lnTo>
                    <a:pt x="811" y="763"/>
                  </a:lnTo>
                  <a:lnTo>
                    <a:pt x="816" y="758"/>
                  </a:lnTo>
                  <a:lnTo>
                    <a:pt x="822" y="750"/>
                  </a:lnTo>
                  <a:lnTo>
                    <a:pt x="826" y="744"/>
                  </a:lnTo>
                  <a:lnTo>
                    <a:pt x="826" y="744"/>
                  </a:lnTo>
                  <a:lnTo>
                    <a:pt x="820" y="742"/>
                  </a:lnTo>
                  <a:lnTo>
                    <a:pt x="814" y="742"/>
                  </a:lnTo>
                  <a:lnTo>
                    <a:pt x="811" y="739"/>
                  </a:lnTo>
                  <a:lnTo>
                    <a:pt x="805" y="737"/>
                  </a:lnTo>
                  <a:lnTo>
                    <a:pt x="801" y="733"/>
                  </a:lnTo>
                  <a:lnTo>
                    <a:pt x="797" y="727"/>
                  </a:lnTo>
                  <a:lnTo>
                    <a:pt x="795" y="721"/>
                  </a:lnTo>
                  <a:lnTo>
                    <a:pt x="792" y="718"/>
                  </a:lnTo>
                  <a:lnTo>
                    <a:pt x="790" y="712"/>
                  </a:lnTo>
                  <a:lnTo>
                    <a:pt x="788" y="706"/>
                  </a:lnTo>
                  <a:lnTo>
                    <a:pt x="786" y="699"/>
                  </a:lnTo>
                  <a:lnTo>
                    <a:pt x="784" y="693"/>
                  </a:lnTo>
                  <a:lnTo>
                    <a:pt x="784" y="687"/>
                  </a:lnTo>
                  <a:lnTo>
                    <a:pt x="782" y="681"/>
                  </a:lnTo>
                  <a:lnTo>
                    <a:pt x="782" y="676"/>
                  </a:lnTo>
                  <a:lnTo>
                    <a:pt x="782" y="670"/>
                  </a:lnTo>
                  <a:lnTo>
                    <a:pt x="782" y="670"/>
                  </a:lnTo>
                  <a:lnTo>
                    <a:pt x="782" y="662"/>
                  </a:lnTo>
                  <a:lnTo>
                    <a:pt x="780" y="655"/>
                  </a:lnTo>
                  <a:lnTo>
                    <a:pt x="776" y="647"/>
                  </a:lnTo>
                  <a:lnTo>
                    <a:pt x="773" y="639"/>
                  </a:lnTo>
                  <a:lnTo>
                    <a:pt x="767" y="630"/>
                  </a:lnTo>
                  <a:lnTo>
                    <a:pt x="765" y="622"/>
                  </a:lnTo>
                  <a:lnTo>
                    <a:pt x="761" y="615"/>
                  </a:lnTo>
                  <a:lnTo>
                    <a:pt x="761" y="605"/>
                  </a:lnTo>
                  <a:lnTo>
                    <a:pt x="761" y="605"/>
                  </a:lnTo>
                  <a:lnTo>
                    <a:pt x="761" y="599"/>
                  </a:lnTo>
                  <a:lnTo>
                    <a:pt x="763" y="596"/>
                  </a:lnTo>
                  <a:lnTo>
                    <a:pt x="763" y="590"/>
                  </a:lnTo>
                  <a:lnTo>
                    <a:pt x="767" y="584"/>
                  </a:lnTo>
                  <a:lnTo>
                    <a:pt x="767" y="580"/>
                  </a:lnTo>
                  <a:lnTo>
                    <a:pt x="769" y="575"/>
                  </a:lnTo>
                  <a:lnTo>
                    <a:pt x="771" y="569"/>
                  </a:lnTo>
                  <a:lnTo>
                    <a:pt x="771" y="565"/>
                  </a:lnTo>
                  <a:lnTo>
                    <a:pt x="771" y="565"/>
                  </a:lnTo>
                  <a:lnTo>
                    <a:pt x="771" y="559"/>
                  </a:lnTo>
                  <a:lnTo>
                    <a:pt x="769" y="554"/>
                  </a:lnTo>
                  <a:lnTo>
                    <a:pt x="767" y="550"/>
                  </a:lnTo>
                  <a:lnTo>
                    <a:pt x="767" y="546"/>
                  </a:lnTo>
                  <a:lnTo>
                    <a:pt x="763" y="542"/>
                  </a:lnTo>
                  <a:lnTo>
                    <a:pt x="763" y="540"/>
                  </a:lnTo>
                  <a:lnTo>
                    <a:pt x="761" y="535"/>
                  </a:lnTo>
                  <a:lnTo>
                    <a:pt x="761" y="531"/>
                  </a:lnTo>
                  <a:lnTo>
                    <a:pt x="761" y="531"/>
                  </a:lnTo>
                  <a:lnTo>
                    <a:pt x="761" y="523"/>
                  </a:lnTo>
                  <a:lnTo>
                    <a:pt x="765" y="517"/>
                  </a:lnTo>
                  <a:lnTo>
                    <a:pt x="767" y="514"/>
                  </a:lnTo>
                  <a:lnTo>
                    <a:pt x="773" y="510"/>
                  </a:lnTo>
                  <a:lnTo>
                    <a:pt x="776" y="506"/>
                  </a:lnTo>
                  <a:lnTo>
                    <a:pt x="780" y="502"/>
                  </a:lnTo>
                  <a:lnTo>
                    <a:pt x="782" y="498"/>
                  </a:lnTo>
                  <a:lnTo>
                    <a:pt x="782" y="493"/>
                  </a:lnTo>
                  <a:lnTo>
                    <a:pt x="782" y="493"/>
                  </a:lnTo>
                  <a:lnTo>
                    <a:pt x="782" y="489"/>
                  </a:lnTo>
                  <a:lnTo>
                    <a:pt x="782" y="485"/>
                  </a:lnTo>
                  <a:lnTo>
                    <a:pt x="782" y="485"/>
                  </a:lnTo>
                  <a:lnTo>
                    <a:pt x="782" y="483"/>
                  </a:lnTo>
                  <a:lnTo>
                    <a:pt x="780" y="481"/>
                  </a:lnTo>
                  <a:lnTo>
                    <a:pt x="780" y="481"/>
                  </a:lnTo>
                  <a:lnTo>
                    <a:pt x="782" y="479"/>
                  </a:lnTo>
                  <a:lnTo>
                    <a:pt x="782" y="479"/>
                  </a:lnTo>
                  <a:lnTo>
                    <a:pt x="782" y="479"/>
                  </a:lnTo>
                  <a:lnTo>
                    <a:pt x="780" y="473"/>
                  </a:lnTo>
                  <a:lnTo>
                    <a:pt x="776" y="470"/>
                  </a:lnTo>
                  <a:lnTo>
                    <a:pt x="773" y="466"/>
                  </a:lnTo>
                  <a:lnTo>
                    <a:pt x="769" y="462"/>
                  </a:lnTo>
                  <a:lnTo>
                    <a:pt x="763" y="460"/>
                  </a:lnTo>
                  <a:lnTo>
                    <a:pt x="759" y="456"/>
                  </a:lnTo>
                  <a:lnTo>
                    <a:pt x="753" y="452"/>
                  </a:lnTo>
                  <a:lnTo>
                    <a:pt x="750" y="451"/>
                  </a:lnTo>
                  <a:lnTo>
                    <a:pt x="746" y="447"/>
                  </a:lnTo>
                  <a:lnTo>
                    <a:pt x="740" y="443"/>
                  </a:lnTo>
                  <a:lnTo>
                    <a:pt x="736" y="439"/>
                  </a:lnTo>
                  <a:lnTo>
                    <a:pt x="734" y="435"/>
                  </a:lnTo>
                  <a:lnTo>
                    <a:pt x="731" y="430"/>
                  </a:lnTo>
                  <a:lnTo>
                    <a:pt x="729" y="424"/>
                  </a:lnTo>
                  <a:lnTo>
                    <a:pt x="727" y="416"/>
                  </a:lnTo>
                  <a:lnTo>
                    <a:pt x="727" y="410"/>
                  </a:lnTo>
                  <a:lnTo>
                    <a:pt x="727" y="410"/>
                  </a:lnTo>
                  <a:lnTo>
                    <a:pt x="727" y="401"/>
                  </a:lnTo>
                  <a:lnTo>
                    <a:pt x="729" y="393"/>
                  </a:lnTo>
                  <a:lnTo>
                    <a:pt x="731" y="386"/>
                  </a:lnTo>
                  <a:lnTo>
                    <a:pt x="732" y="380"/>
                  </a:lnTo>
                  <a:lnTo>
                    <a:pt x="734" y="372"/>
                  </a:lnTo>
                  <a:lnTo>
                    <a:pt x="736" y="367"/>
                  </a:lnTo>
                  <a:lnTo>
                    <a:pt x="740" y="361"/>
                  </a:lnTo>
                  <a:lnTo>
                    <a:pt x="742" y="353"/>
                  </a:lnTo>
                  <a:lnTo>
                    <a:pt x="746" y="348"/>
                  </a:lnTo>
                  <a:lnTo>
                    <a:pt x="748" y="342"/>
                  </a:lnTo>
                  <a:lnTo>
                    <a:pt x="752" y="334"/>
                  </a:lnTo>
                  <a:lnTo>
                    <a:pt x="753" y="328"/>
                  </a:lnTo>
                  <a:lnTo>
                    <a:pt x="755" y="321"/>
                  </a:lnTo>
                  <a:lnTo>
                    <a:pt x="757" y="313"/>
                  </a:lnTo>
                  <a:lnTo>
                    <a:pt x="757" y="307"/>
                  </a:lnTo>
                  <a:lnTo>
                    <a:pt x="757" y="298"/>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0" name="Freeform 214"/>
            <p:cNvSpPr>
              <a:spLocks/>
            </p:cNvSpPr>
            <p:nvPr/>
          </p:nvSpPr>
          <p:spPr bwMode="gray">
            <a:xfrm>
              <a:off x="3445" y="2888"/>
              <a:ext cx="342" cy="602"/>
            </a:xfrm>
            <a:custGeom>
              <a:avLst/>
              <a:gdLst/>
              <a:ahLst/>
              <a:cxnLst>
                <a:cxn ang="0">
                  <a:pos x="23" y="758"/>
                </a:cxn>
                <a:cxn ang="0">
                  <a:pos x="84" y="693"/>
                </a:cxn>
                <a:cxn ang="0">
                  <a:pos x="118" y="605"/>
                </a:cxn>
                <a:cxn ang="0">
                  <a:pos x="115" y="563"/>
                </a:cxn>
                <a:cxn ang="0">
                  <a:pos x="107" y="514"/>
                </a:cxn>
                <a:cxn ang="0">
                  <a:pos x="103" y="470"/>
                </a:cxn>
                <a:cxn ang="0">
                  <a:pos x="122" y="422"/>
                </a:cxn>
                <a:cxn ang="0">
                  <a:pos x="139" y="388"/>
                </a:cxn>
                <a:cxn ang="0">
                  <a:pos x="156" y="355"/>
                </a:cxn>
                <a:cxn ang="0">
                  <a:pos x="200" y="330"/>
                </a:cxn>
                <a:cxn ang="0">
                  <a:pos x="242" y="317"/>
                </a:cxn>
                <a:cxn ang="0">
                  <a:pos x="280" y="306"/>
                </a:cxn>
                <a:cxn ang="0">
                  <a:pos x="313" y="285"/>
                </a:cxn>
                <a:cxn ang="0">
                  <a:pos x="340" y="260"/>
                </a:cxn>
                <a:cxn ang="0">
                  <a:pos x="370" y="241"/>
                </a:cxn>
                <a:cxn ang="0">
                  <a:pos x="408" y="212"/>
                </a:cxn>
                <a:cxn ang="0">
                  <a:pos x="420" y="187"/>
                </a:cxn>
                <a:cxn ang="0">
                  <a:pos x="431" y="164"/>
                </a:cxn>
                <a:cxn ang="0">
                  <a:pos x="446" y="143"/>
                </a:cxn>
                <a:cxn ang="0">
                  <a:pos x="490" y="115"/>
                </a:cxn>
                <a:cxn ang="0">
                  <a:pos x="507" y="77"/>
                </a:cxn>
                <a:cxn ang="0">
                  <a:pos x="506" y="42"/>
                </a:cxn>
                <a:cxn ang="0">
                  <a:pos x="538" y="8"/>
                </a:cxn>
                <a:cxn ang="0">
                  <a:pos x="555" y="21"/>
                </a:cxn>
                <a:cxn ang="0">
                  <a:pos x="570" y="69"/>
                </a:cxn>
                <a:cxn ang="0">
                  <a:pos x="586" y="122"/>
                </a:cxn>
                <a:cxn ang="0">
                  <a:pos x="597" y="178"/>
                </a:cxn>
                <a:cxn ang="0">
                  <a:pos x="603" y="233"/>
                </a:cxn>
                <a:cxn ang="0">
                  <a:pos x="605" y="281"/>
                </a:cxn>
                <a:cxn ang="0">
                  <a:pos x="590" y="317"/>
                </a:cxn>
                <a:cxn ang="0">
                  <a:pos x="570" y="306"/>
                </a:cxn>
                <a:cxn ang="0">
                  <a:pos x="559" y="290"/>
                </a:cxn>
                <a:cxn ang="0">
                  <a:pos x="549" y="317"/>
                </a:cxn>
                <a:cxn ang="0">
                  <a:pos x="553" y="349"/>
                </a:cxn>
                <a:cxn ang="0">
                  <a:pos x="551" y="380"/>
                </a:cxn>
                <a:cxn ang="0">
                  <a:pos x="527" y="414"/>
                </a:cxn>
                <a:cxn ang="0">
                  <a:pos x="513" y="447"/>
                </a:cxn>
                <a:cxn ang="0">
                  <a:pos x="506" y="485"/>
                </a:cxn>
                <a:cxn ang="0">
                  <a:pos x="496" y="527"/>
                </a:cxn>
                <a:cxn ang="0">
                  <a:pos x="467" y="594"/>
                </a:cxn>
                <a:cxn ang="0">
                  <a:pos x="424" y="674"/>
                </a:cxn>
                <a:cxn ang="0">
                  <a:pos x="393" y="741"/>
                </a:cxn>
                <a:cxn ang="0">
                  <a:pos x="368" y="798"/>
                </a:cxn>
                <a:cxn ang="0">
                  <a:pos x="343" y="847"/>
                </a:cxn>
                <a:cxn ang="0">
                  <a:pos x="322" y="895"/>
                </a:cxn>
                <a:cxn ang="0">
                  <a:pos x="298" y="969"/>
                </a:cxn>
                <a:cxn ang="0">
                  <a:pos x="261" y="1034"/>
                </a:cxn>
                <a:cxn ang="0">
                  <a:pos x="223" y="1063"/>
                </a:cxn>
                <a:cxn ang="0">
                  <a:pos x="187" y="1067"/>
                </a:cxn>
                <a:cxn ang="0">
                  <a:pos x="166" y="1076"/>
                </a:cxn>
                <a:cxn ang="0">
                  <a:pos x="141" y="1088"/>
                </a:cxn>
                <a:cxn ang="0">
                  <a:pos x="116" y="1093"/>
                </a:cxn>
                <a:cxn ang="0">
                  <a:pos x="59" y="1069"/>
                </a:cxn>
                <a:cxn ang="0">
                  <a:pos x="17" y="1013"/>
                </a:cxn>
                <a:cxn ang="0">
                  <a:pos x="8" y="966"/>
                </a:cxn>
                <a:cxn ang="0">
                  <a:pos x="27" y="931"/>
                </a:cxn>
                <a:cxn ang="0">
                  <a:pos x="23" y="903"/>
                </a:cxn>
                <a:cxn ang="0">
                  <a:pos x="10" y="874"/>
                </a:cxn>
                <a:cxn ang="0">
                  <a:pos x="0" y="840"/>
                </a:cxn>
              </a:cxnLst>
              <a:rect l="0" t="0" r="r" b="b"/>
              <a:pathLst>
                <a:path w="605" h="1093">
                  <a:moveTo>
                    <a:pt x="0" y="813"/>
                  </a:moveTo>
                  <a:lnTo>
                    <a:pt x="0" y="813"/>
                  </a:lnTo>
                  <a:lnTo>
                    <a:pt x="4" y="796"/>
                  </a:lnTo>
                  <a:lnTo>
                    <a:pt x="8" y="783"/>
                  </a:lnTo>
                  <a:lnTo>
                    <a:pt x="13" y="769"/>
                  </a:lnTo>
                  <a:lnTo>
                    <a:pt x="23" y="758"/>
                  </a:lnTo>
                  <a:lnTo>
                    <a:pt x="31" y="746"/>
                  </a:lnTo>
                  <a:lnTo>
                    <a:pt x="42" y="735"/>
                  </a:lnTo>
                  <a:lnTo>
                    <a:pt x="52" y="725"/>
                  </a:lnTo>
                  <a:lnTo>
                    <a:pt x="63" y="714"/>
                  </a:lnTo>
                  <a:lnTo>
                    <a:pt x="73" y="704"/>
                  </a:lnTo>
                  <a:lnTo>
                    <a:pt x="84" y="693"/>
                  </a:lnTo>
                  <a:lnTo>
                    <a:pt x="94" y="681"/>
                  </a:lnTo>
                  <a:lnTo>
                    <a:pt x="101" y="668"/>
                  </a:lnTo>
                  <a:lnTo>
                    <a:pt x="109" y="655"/>
                  </a:lnTo>
                  <a:lnTo>
                    <a:pt x="115" y="639"/>
                  </a:lnTo>
                  <a:lnTo>
                    <a:pt x="118" y="624"/>
                  </a:lnTo>
                  <a:lnTo>
                    <a:pt x="118" y="605"/>
                  </a:lnTo>
                  <a:lnTo>
                    <a:pt x="118" y="605"/>
                  </a:lnTo>
                  <a:lnTo>
                    <a:pt x="118" y="597"/>
                  </a:lnTo>
                  <a:lnTo>
                    <a:pt x="118" y="588"/>
                  </a:lnTo>
                  <a:lnTo>
                    <a:pt x="118" y="580"/>
                  </a:lnTo>
                  <a:lnTo>
                    <a:pt x="116" y="571"/>
                  </a:lnTo>
                  <a:lnTo>
                    <a:pt x="115" y="563"/>
                  </a:lnTo>
                  <a:lnTo>
                    <a:pt x="115" y="555"/>
                  </a:lnTo>
                  <a:lnTo>
                    <a:pt x="113" y="546"/>
                  </a:lnTo>
                  <a:lnTo>
                    <a:pt x="111" y="538"/>
                  </a:lnTo>
                  <a:lnTo>
                    <a:pt x="111" y="531"/>
                  </a:lnTo>
                  <a:lnTo>
                    <a:pt x="109" y="521"/>
                  </a:lnTo>
                  <a:lnTo>
                    <a:pt x="107" y="514"/>
                  </a:lnTo>
                  <a:lnTo>
                    <a:pt x="107" y="504"/>
                  </a:lnTo>
                  <a:lnTo>
                    <a:pt x="105" y="496"/>
                  </a:lnTo>
                  <a:lnTo>
                    <a:pt x="105" y="487"/>
                  </a:lnTo>
                  <a:lnTo>
                    <a:pt x="103" y="479"/>
                  </a:lnTo>
                  <a:lnTo>
                    <a:pt x="103" y="470"/>
                  </a:lnTo>
                  <a:lnTo>
                    <a:pt x="103" y="470"/>
                  </a:lnTo>
                  <a:lnTo>
                    <a:pt x="105" y="458"/>
                  </a:lnTo>
                  <a:lnTo>
                    <a:pt x="107" y="451"/>
                  </a:lnTo>
                  <a:lnTo>
                    <a:pt x="111" y="443"/>
                  </a:lnTo>
                  <a:lnTo>
                    <a:pt x="115" y="435"/>
                  </a:lnTo>
                  <a:lnTo>
                    <a:pt x="118" y="428"/>
                  </a:lnTo>
                  <a:lnTo>
                    <a:pt x="122" y="422"/>
                  </a:lnTo>
                  <a:lnTo>
                    <a:pt x="128" y="416"/>
                  </a:lnTo>
                  <a:lnTo>
                    <a:pt x="132" y="411"/>
                  </a:lnTo>
                  <a:lnTo>
                    <a:pt x="132" y="411"/>
                  </a:lnTo>
                  <a:lnTo>
                    <a:pt x="134" y="403"/>
                  </a:lnTo>
                  <a:lnTo>
                    <a:pt x="137" y="395"/>
                  </a:lnTo>
                  <a:lnTo>
                    <a:pt x="139" y="388"/>
                  </a:lnTo>
                  <a:lnTo>
                    <a:pt x="141" y="380"/>
                  </a:lnTo>
                  <a:lnTo>
                    <a:pt x="145" y="372"/>
                  </a:lnTo>
                  <a:lnTo>
                    <a:pt x="147" y="367"/>
                  </a:lnTo>
                  <a:lnTo>
                    <a:pt x="151" y="359"/>
                  </a:lnTo>
                  <a:lnTo>
                    <a:pt x="156" y="355"/>
                  </a:lnTo>
                  <a:lnTo>
                    <a:pt x="156" y="355"/>
                  </a:lnTo>
                  <a:lnTo>
                    <a:pt x="164" y="349"/>
                  </a:lnTo>
                  <a:lnTo>
                    <a:pt x="172" y="344"/>
                  </a:lnTo>
                  <a:lnTo>
                    <a:pt x="179" y="340"/>
                  </a:lnTo>
                  <a:lnTo>
                    <a:pt x="185" y="336"/>
                  </a:lnTo>
                  <a:lnTo>
                    <a:pt x="193" y="334"/>
                  </a:lnTo>
                  <a:lnTo>
                    <a:pt x="200" y="330"/>
                  </a:lnTo>
                  <a:lnTo>
                    <a:pt x="206" y="328"/>
                  </a:lnTo>
                  <a:lnTo>
                    <a:pt x="214" y="327"/>
                  </a:lnTo>
                  <a:lnTo>
                    <a:pt x="221" y="325"/>
                  </a:lnTo>
                  <a:lnTo>
                    <a:pt x="227" y="321"/>
                  </a:lnTo>
                  <a:lnTo>
                    <a:pt x="235" y="319"/>
                  </a:lnTo>
                  <a:lnTo>
                    <a:pt x="242" y="317"/>
                  </a:lnTo>
                  <a:lnTo>
                    <a:pt x="250" y="315"/>
                  </a:lnTo>
                  <a:lnTo>
                    <a:pt x="258" y="313"/>
                  </a:lnTo>
                  <a:lnTo>
                    <a:pt x="265" y="311"/>
                  </a:lnTo>
                  <a:lnTo>
                    <a:pt x="273" y="307"/>
                  </a:lnTo>
                  <a:lnTo>
                    <a:pt x="273" y="307"/>
                  </a:lnTo>
                  <a:lnTo>
                    <a:pt x="280" y="306"/>
                  </a:lnTo>
                  <a:lnTo>
                    <a:pt x="286" y="302"/>
                  </a:lnTo>
                  <a:lnTo>
                    <a:pt x="292" y="298"/>
                  </a:lnTo>
                  <a:lnTo>
                    <a:pt x="298" y="294"/>
                  </a:lnTo>
                  <a:lnTo>
                    <a:pt x="303" y="290"/>
                  </a:lnTo>
                  <a:lnTo>
                    <a:pt x="307" y="288"/>
                  </a:lnTo>
                  <a:lnTo>
                    <a:pt x="313" y="285"/>
                  </a:lnTo>
                  <a:lnTo>
                    <a:pt x="317" y="281"/>
                  </a:lnTo>
                  <a:lnTo>
                    <a:pt x="321" y="277"/>
                  </a:lnTo>
                  <a:lnTo>
                    <a:pt x="324" y="273"/>
                  </a:lnTo>
                  <a:lnTo>
                    <a:pt x="330" y="267"/>
                  </a:lnTo>
                  <a:lnTo>
                    <a:pt x="334" y="266"/>
                  </a:lnTo>
                  <a:lnTo>
                    <a:pt x="340" y="260"/>
                  </a:lnTo>
                  <a:lnTo>
                    <a:pt x="343" y="256"/>
                  </a:lnTo>
                  <a:lnTo>
                    <a:pt x="349" y="252"/>
                  </a:lnTo>
                  <a:lnTo>
                    <a:pt x="355" y="248"/>
                  </a:lnTo>
                  <a:lnTo>
                    <a:pt x="355" y="248"/>
                  </a:lnTo>
                  <a:lnTo>
                    <a:pt x="363" y="245"/>
                  </a:lnTo>
                  <a:lnTo>
                    <a:pt x="370" y="241"/>
                  </a:lnTo>
                  <a:lnTo>
                    <a:pt x="378" y="235"/>
                  </a:lnTo>
                  <a:lnTo>
                    <a:pt x="385" y="231"/>
                  </a:lnTo>
                  <a:lnTo>
                    <a:pt x="393" y="227"/>
                  </a:lnTo>
                  <a:lnTo>
                    <a:pt x="399" y="224"/>
                  </a:lnTo>
                  <a:lnTo>
                    <a:pt x="404" y="218"/>
                  </a:lnTo>
                  <a:lnTo>
                    <a:pt x="408" y="212"/>
                  </a:lnTo>
                  <a:lnTo>
                    <a:pt x="408" y="212"/>
                  </a:lnTo>
                  <a:lnTo>
                    <a:pt x="412" y="206"/>
                  </a:lnTo>
                  <a:lnTo>
                    <a:pt x="414" y="201"/>
                  </a:lnTo>
                  <a:lnTo>
                    <a:pt x="416" y="197"/>
                  </a:lnTo>
                  <a:lnTo>
                    <a:pt x="418" y="191"/>
                  </a:lnTo>
                  <a:lnTo>
                    <a:pt x="420" y="187"/>
                  </a:lnTo>
                  <a:lnTo>
                    <a:pt x="422" y="182"/>
                  </a:lnTo>
                  <a:lnTo>
                    <a:pt x="424" y="178"/>
                  </a:lnTo>
                  <a:lnTo>
                    <a:pt x="424" y="174"/>
                  </a:lnTo>
                  <a:lnTo>
                    <a:pt x="425" y="172"/>
                  </a:lnTo>
                  <a:lnTo>
                    <a:pt x="427" y="168"/>
                  </a:lnTo>
                  <a:lnTo>
                    <a:pt x="431" y="164"/>
                  </a:lnTo>
                  <a:lnTo>
                    <a:pt x="433" y="161"/>
                  </a:lnTo>
                  <a:lnTo>
                    <a:pt x="435" y="157"/>
                  </a:lnTo>
                  <a:lnTo>
                    <a:pt x="439" y="153"/>
                  </a:lnTo>
                  <a:lnTo>
                    <a:pt x="443" y="149"/>
                  </a:lnTo>
                  <a:lnTo>
                    <a:pt x="446" y="143"/>
                  </a:lnTo>
                  <a:lnTo>
                    <a:pt x="446" y="143"/>
                  </a:lnTo>
                  <a:lnTo>
                    <a:pt x="454" y="138"/>
                  </a:lnTo>
                  <a:lnTo>
                    <a:pt x="462" y="132"/>
                  </a:lnTo>
                  <a:lnTo>
                    <a:pt x="469" y="128"/>
                  </a:lnTo>
                  <a:lnTo>
                    <a:pt x="477" y="124"/>
                  </a:lnTo>
                  <a:lnTo>
                    <a:pt x="485" y="119"/>
                  </a:lnTo>
                  <a:lnTo>
                    <a:pt x="490" y="115"/>
                  </a:lnTo>
                  <a:lnTo>
                    <a:pt x="498" y="109"/>
                  </a:lnTo>
                  <a:lnTo>
                    <a:pt x="504" y="101"/>
                  </a:lnTo>
                  <a:lnTo>
                    <a:pt x="504" y="101"/>
                  </a:lnTo>
                  <a:lnTo>
                    <a:pt x="506" y="94"/>
                  </a:lnTo>
                  <a:lnTo>
                    <a:pt x="507" y="86"/>
                  </a:lnTo>
                  <a:lnTo>
                    <a:pt x="507" y="77"/>
                  </a:lnTo>
                  <a:lnTo>
                    <a:pt x="507" y="69"/>
                  </a:lnTo>
                  <a:lnTo>
                    <a:pt x="507" y="61"/>
                  </a:lnTo>
                  <a:lnTo>
                    <a:pt x="506" y="54"/>
                  </a:lnTo>
                  <a:lnTo>
                    <a:pt x="506" y="46"/>
                  </a:lnTo>
                  <a:lnTo>
                    <a:pt x="506" y="42"/>
                  </a:lnTo>
                  <a:lnTo>
                    <a:pt x="506" y="42"/>
                  </a:lnTo>
                  <a:lnTo>
                    <a:pt x="507" y="38"/>
                  </a:lnTo>
                  <a:lnTo>
                    <a:pt x="511" y="33"/>
                  </a:lnTo>
                  <a:lnTo>
                    <a:pt x="517" y="27"/>
                  </a:lnTo>
                  <a:lnTo>
                    <a:pt x="525" y="19"/>
                  </a:lnTo>
                  <a:lnTo>
                    <a:pt x="532" y="14"/>
                  </a:lnTo>
                  <a:lnTo>
                    <a:pt x="538" y="8"/>
                  </a:lnTo>
                  <a:lnTo>
                    <a:pt x="544" y="2"/>
                  </a:lnTo>
                  <a:lnTo>
                    <a:pt x="546" y="0"/>
                  </a:lnTo>
                  <a:lnTo>
                    <a:pt x="546" y="0"/>
                  </a:lnTo>
                  <a:lnTo>
                    <a:pt x="549" y="8"/>
                  </a:lnTo>
                  <a:lnTo>
                    <a:pt x="551" y="14"/>
                  </a:lnTo>
                  <a:lnTo>
                    <a:pt x="555" y="21"/>
                  </a:lnTo>
                  <a:lnTo>
                    <a:pt x="557" y="29"/>
                  </a:lnTo>
                  <a:lnTo>
                    <a:pt x="561" y="37"/>
                  </a:lnTo>
                  <a:lnTo>
                    <a:pt x="563" y="44"/>
                  </a:lnTo>
                  <a:lnTo>
                    <a:pt x="567" y="54"/>
                  </a:lnTo>
                  <a:lnTo>
                    <a:pt x="569" y="61"/>
                  </a:lnTo>
                  <a:lnTo>
                    <a:pt x="570" y="69"/>
                  </a:lnTo>
                  <a:lnTo>
                    <a:pt x="574" y="79"/>
                  </a:lnTo>
                  <a:lnTo>
                    <a:pt x="576" y="86"/>
                  </a:lnTo>
                  <a:lnTo>
                    <a:pt x="578" y="96"/>
                  </a:lnTo>
                  <a:lnTo>
                    <a:pt x="582" y="105"/>
                  </a:lnTo>
                  <a:lnTo>
                    <a:pt x="584" y="113"/>
                  </a:lnTo>
                  <a:lnTo>
                    <a:pt x="586" y="122"/>
                  </a:lnTo>
                  <a:lnTo>
                    <a:pt x="588" y="132"/>
                  </a:lnTo>
                  <a:lnTo>
                    <a:pt x="590" y="140"/>
                  </a:lnTo>
                  <a:lnTo>
                    <a:pt x="591" y="149"/>
                  </a:lnTo>
                  <a:lnTo>
                    <a:pt x="593" y="159"/>
                  </a:lnTo>
                  <a:lnTo>
                    <a:pt x="595" y="168"/>
                  </a:lnTo>
                  <a:lnTo>
                    <a:pt x="597" y="178"/>
                  </a:lnTo>
                  <a:lnTo>
                    <a:pt x="599" y="187"/>
                  </a:lnTo>
                  <a:lnTo>
                    <a:pt x="599" y="197"/>
                  </a:lnTo>
                  <a:lnTo>
                    <a:pt x="601" y="206"/>
                  </a:lnTo>
                  <a:lnTo>
                    <a:pt x="601" y="216"/>
                  </a:lnTo>
                  <a:lnTo>
                    <a:pt x="603" y="225"/>
                  </a:lnTo>
                  <a:lnTo>
                    <a:pt x="603" y="233"/>
                  </a:lnTo>
                  <a:lnTo>
                    <a:pt x="605" y="243"/>
                  </a:lnTo>
                  <a:lnTo>
                    <a:pt x="605" y="252"/>
                  </a:lnTo>
                  <a:lnTo>
                    <a:pt x="605" y="262"/>
                  </a:lnTo>
                  <a:lnTo>
                    <a:pt x="605" y="271"/>
                  </a:lnTo>
                  <a:lnTo>
                    <a:pt x="605" y="281"/>
                  </a:lnTo>
                  <a:lnTo>
                    <a:pt x="605" y="281"/>
                  </a:lnTo>
                  <a:lnTo>
                    <a:pt x="605" y="288"/>
                  </a:lnTo>
                  <a:lnTo>
                    <a:pt x="603" y="294"/>
                  </a:lnTo>
                  <a:lnTo>
                    <a:pt x="601" y="302"/>
                  </a:lnTo>
                  <a:lnTo>
                    <a:pt x="597" y="307"/>
                  </a:lnTo>
                  <a:lnTo>
                    <a:pt x="593" y="313"/>
                  </a:lnTo>
                  <a:lnTo>
                    <a:pt x="590" y="317"/>
                  </a:lnTo>
                  <a:lnTo>
                    <a:pt x="584" y="321"/>
                  </a:lnTo>
                  <a:lnTo>
                    <a:pt x="576" y="321"/>
                  </a:lnTo>
                  <a:lnTo>
                    <a:pt x="576" y="321"/>
                  </a:lnTo>
                  <a:lnTo>
                    <a:pt x="574" y="315"/>
                  </a:lnTo>
                  <a:lnTo>
                    <a:pt x="574" y="309"/>
                  </a:lnTo>
                  <a:lnTo>
                    <a:pt x="570" y="306"/>
                  </a:lnTo>
                  <a:lnTo>
                    <a:pt x="569" y="300"/>
                  </a:lnTo>
                  <a:lnTo>
                    <a:pt x="567" y="298"/>
                  </a:lnTo>
                  <a:lnTo>
                    <a:pt x="565" y="294"/>
                  </a:lnTo>
                  <a:lnTo>
                    <a:pt x="561" y="292"/>
                  </a:lnTo>
                  <a:lnTo>
                    <a:pt x="559" y="290"/>
                  </a:lnTo>
                  <a:lnTo>
                    <a:pt x="559" y="290"/>
                  </a:lnTo>
                  <a:lnTo>
                    <a:pt x="555" y="294"/>
                  </a:lnTo>
                  <a:lnTo>
                    <a:pt x="553" y="298"/>
                  </a:lnTo>
                  <a:lnTo>
                    <a:pt x="551" y="302"/>
                  </a:lnTo>
                  <a:lnTo>
                    <a:pt x="551" y="307"/>
                  </a:lnTo>
                  <a:lnTo>
                    <a:pt x="549" y="311"/>
                  </a:lnTo>
                  <a:lnTo>
                    <a:pt x="549" y="317"/>
                  </a:lnTo>
                  <a:lnTo>
                    <a:pt x="549" y="323"/>
                  </a:lnTo>
                  <a:lnTo>
                    <a:pt x="551" y="327"/>
                  </a:lnTo>
                  <a:lnTo>
                    <a:pt x="551" y="332"/>
                  </a:lnTo>
                  <a:lnTo>
                    <a:pt x="551" y="338"/>
                  </a:lnTo>
                  <a:lnTo>
                    <a:pt x="551" y="344"/>
                  </a:lnTo>
                  <a:lnTo>
                    <a:pt x="553" y="349"/>
                  </a:lnTo>
                  <a:lnTo>
                    <a:pt x="553" y="355"/>
                  </a:lnTo>
                  <a:lnTo>
                    <a:pt x="553" y="361"/>
                  </a:lnTo>
                  <a:lnTo>
                    <a:pt x="553" y="367"/>
                  </a:lnTo>
                  <a:lnTo>
                    <a:pt x="553" y="372"/>
                  </a:lnTo>
                  <a:lnTo>
                    <a:pt x="553" y="372"/>
                  </a:lnTo>
                  <a:lnTo>
                    <a:pt x="551" y="380"/>
                  </a:lnTo>
                  <a:lnTo>
                    <a:pt x="548" y="386"/>
                  </a:lnTo>
                  <a:lnTo>
                    <a:pt x="544" y="391"/>
                  </a:lnTo>
                  <a:lnTo>
                    <a:pt x="540" y="397"/>
                  </a:lnTo>
                  <a:lnTo>
                    <a:pt x="534" y="403"/>
                  </a:lnTo>
                  <a:lnTo>
                    <a:pt x="530" y="409"/>
                  </a:lnTo>
                  <a:lnTo>
                    <a:pt x="527" y="414"/>
                  </a:lnTo>
                  <a:lnTo>
                    <a:pt x="523" y="420"/>
                  </a:lnTo>
                  <a:lnTo>
                    <a:pt x="523" y="420"/>
                  </a:lnTo>
                  <a:lnTo>
                    <a:pt x="519" y="428"/>
                  </a:lnTo>
                  <a:lnTo>
                    <a:pt x="517" y="433"/>
                  </a:lnTo>
                  <a:lnTo>
                    <a:pt x="515" y="439"/>
                  </a:lnTo>
                  <a:lnTo>
                    <a:pt x="513" y="447"/>
                  </a:lnTo>
                  <a:lnTo>
                    <a:pt x="511" y="452"/>
                  </a:lnTo>
                  <a:lnTo>
                    <a:pt x="509" y="460"/>
                  </a:lnTo>
                  <a:lnTo>
                    <a:pt x="507" y="466"/>
                  </a:lnTo>
                  <a:lnTo>
                    <a:pt x="507" y="472"/>
                  </a:lnTo>
                  <a:lnTo>
                    <a:pt x="506" y="479"/>
                  </a:lnTo>
                  <a:lnTo>
                    <a:pt x="506" y="485"/>
                  </a:lnTo>
                  <a:lnTo>
                    <a:pt x="504" y="493"/>
                  </a:lnTo>
                  <a:lnTo>
                    <a:pt x="504" y="498"/>
                  </a:lnTo>
                  <a:lnTo>
                    <a:pt x="502" y="504"/>
                  </a:lnTo>
                  <a:lnTo>
                    <a:pt x="500" y="512"/>
                  </a:lnTo>
                  <a:lnTo>
                    <a:pt x="500" y="519"/>
                  </a:lnTo>
                  <a:lnTo>
                    <a:pt x="496" y="527"/>
                  </a:lnTo>
                  <a:lnTo>
                    <a:pt x="496" y="527"/>
                  </a:lnTo>
                  <a:lnTo>
                    <a:pt x="492" y="540"/>
                  </a:lnTo>
                  <a:lnTo>
                    <a:pt x="486" y="554"/>
                  </a:lnTo>
                  <a:lnTo>
                    <a:pt x="481" y="567"/>
                  </a:lnTo>
                  <a:lnTo>
                    <a:pt x="475" y="580"/>
                  </a:lnTo>
                  <a:lnTo>
                    <a:pt x="467" y="594"/>
                  </a:lnTo>
                  <a:lnTo>
                    <a:pt x="462" y="607"/>
                  </a:lnTo>
                  <a:lnTo>
                    <a:pt x="454" y="620"/>
                  </a:lnTo>
                  <a:lnTo>
                    <a:pt x="446" y="634"/>
                  </a:lnTo>
                  <a:lnTo>
                    <a:pt x="439" y="647"/>
                  </a:lnTo>
                  <a:lnTo>
                    <a:pt x="431" y="660"/>
                  </a:lnTo>
                  <a:lnTo>
                    <a:pt x="424" y="674"/>
                  </a:lnTo>
                  <a:lnTo>
                    <a:pt x="416" y="685"/>
                  </a:lnTo>
                  <a:lnTo>
                    <a:pt x="410" y="699"/>
                  </a:lnTo>
                  <a:lnTo>
                    <a:pt x="404" y="714"/>
                  </a:lnTo>
                  <a:lnTo>
                    <a:pt x="399" y="727"/>
                  </a:lnTo>
                  <a:lnTo>
                    <a:pt x="393" y="741"/>
                  </a:lnTo>
                  <a:lnTo>
                    <a:pt x="393" y="741"/>
                  </a:lnTo>
                  <a:lnTo>
                    <a:pt x="389" y="752"/>
                  </a:lnTo>
                  <a:lnTo>
                    <a:pt x="385" y="762"/>
                  </a:lnTo>
                  <a:lnTo>
                    <a:pt x="382" y="773"/>
                  </a:lnTo>
                  <a:lnTo>
                    <a:pt x="378" y="781"/>
                  </a:lnTo>
                  <a:lnTo>
                    <a:pt x="374" y="790"/>
                  </a:lnTo>
                  <a:lnTo>
                    <a:pt x="368" y="798"/>
                  </a:lnTo>
                  <a:lnTo>
                    <a:pt x="364" y="807"/>
                  </a:lnTo>
                  <a:lnTo>
                    <a:pt x="361" y="815"/>
                  </a:lnTo>
                  <a:lnTo>
                    <a:pt x="357" y="823"/>
                  </a:lnTo>
                  <a:lnTo>
                    <a:pt x="353" y="830"/>
                  </a:lnTo>
                  <a:lnTo>
                    <a:pt x="349" y="838"/>
                  </a:lnTo>
                  <a:lnTo>
                    <a:pt x="343" y="847"/>
                  </a:lnTo>
                  <a:lnTo>
                    <a:pt x="340" y="855"/>
                  </a:lnTo>
                  <a:lnTo>
                    <a:pt x="336" y="865"/>
                  </a:lnTo>
                  <a:lnTo>
                    <a:pt x="332" y="872"/>
                  </a:lnTo>
                  <a:lnTo>
                    <a:pt x="328" y="884"/>
                  </a:lnTo>
                  <a:lnTo>
                    <a:pt x="328" y="884"/>
                  </a:lnTo>
                  <a:lnTo>
                    <a:pt x="322" y="895"/>
                  </a:lnTo>
                  <a:lnTo>
                    <a:pt x="319" y="908"/>
                  </a:lnTo>
                  <a:lnTo>
                    <a:pt x="315" y="922"/>
                  </a:lnTo>
                  <a:lnTo>
                    <a:pt x="309" y="933"/>
                  </a:lnTo>
                  <a:lnTo>
                    <a:pt x="305" y="947"/>
                  </a:lnTo>
                  <a:lnTo>
                    <a:pt x="301" y="958"/>
                  </a:lnTo>
                  <a:lnTo>
                    <a:pt x="298" y="969"/>
                  </a:lnTo>
                  <a:lnTo>
                    <a:pt x="292" y="981"/>
                  </a:lnTo>
                  <a:lnTo>
                    <a:pt x="288" y="992"/>
                  </a:lnTo>
                  <a:lnTo>
                    <a:pt x="282" y="1004"/>
                  </a:lnTo>
                  <a:lnTo>
                    <a:pt x="275" y="1013"/>
                  </a:lnTo>
                  <a:lnTo>
                    <a:pt x="269" y="1025"/>
                  </a:lnTo>
                  <a:lnTo>
                    <a:pt x="261" y="1034"/>
                  </a:lnTo>
                  <a:lnTo>
                    <a:pt x="254" y="1044"/>
                  </a:lnTo>
                  <a:lnTo>
                    <a:pt x="244" y="1052"/>
                  </a:lnTo>
                  <a:lnTo>
                    <a:pt x="233" y="1059"/>
                  </a:lnTo>
                  <a:lnTo>
                    <a:pt x="233" y="1059"/>
                  </a:lnTo>
                  <a:lnTo>
                    <a:pt x="229" y="1063"/>
                  </a:lnTo>
                  <a:lnTo>
                    <a:pt x="223" y="1063"/>
                  </a:lnTo>
                  <a:lnTo>
                    <a:pt x="216" y="1065"/>
                  </a:lnTo>
                  <a:lnTo>
                    <a:pt x="208" y="1065"/>
                  </a:lnTo>
                  <a:lnTo>
                    <a:pt x="202" y="1065"/>
                  </a:lnTo>
                  <a:lnTo>
                    <a:pt x="195" y="1065"/>
                  </a:lnTo>
                  <a:lnTo>
                    <a:pt x="191" y="1065"/>
                  </a:lnTo>
                  <a:lnTo>
                    <a:pt x="187" y="1067"/>
                  </a:lnTo>
                  <a:lnTo>
                    <a:pt x="187" y="1067"/>
                  </a:lnTo>
                  <a:lnTo>
                    <a:pt x="181" y="1069"/>
                  </a:lnTo>
                  <a:lnTo>
                    <a:pt x="177" y="1069"/>
                  </a:lnTo>
                  <a:lnTo>
                    <a:pt x="174" y="1071"/>
                  </a:lnTo>
                  <a:lnTo>
                    <a:pt x="170" y="1072"/>
                  </a:lnTo>
                  <a:lnTo>
                    <a:pt x="166" y="1076"/>
                  </a:lnTo>
                  <a:lnTo>
                    <a:pt x="162" y="1078"/>
                  </a:lnTo>
                  <a:lnTo>
                    <a:pt x="158" y="1080"/>
                  </a:lnTo>
                  <a:lnTo>
                    <a:pt x="155" y="1082"/>
                  </a:lnTo>
                  <a:lnTo>
                    <a:pt x="151" y="1084"/>
                  </a:lnTo>
                  <a:lnTo>
                    <a:pt x="145" y="1086"/>
                  </a:lnTo>
                  <a:lnTo>
                    <a:pt x="141" y="1088"/>
                  </a:lnTo>
                  <a:lnTo>
                    <a:pt x="137" y="1090"/>
                  </a:lnTo>
                  <a:lnTo>
                    <a:pt x="132" y="1092"/>
                  </a:lnTo>
                  <a:lnTo>
                    <a:pt x="126" y="1092"/>
                  </a:lnTo>
                  <a:lnTo>
                    <a:pt x="122" y="1093"/>
                  </a:lnTo>
                  <a:lnTo>
                    <a:pt x="116" y="1093"/>
                  </a:lnTo>
                  <a:lnTo>
                    <a:pt x="116" y="1093"/>
                  </a:lnTo>
                  <a:lnTo>
                    <a:pt x="107" y="1092"/>
                  </a:lnTo>
                  <a:lnTo>
                    <a:pt x="97" y="1090"/>
                  </a:lnTo>
                  <a:lnTo>
                    <a:pt x="88" y="1086"/>
                  </a:lnTo>
                  <a:lnTo>
                    <a:pt x="78" y="1082"/>
                  </a:lnTo>
                  <a:lnTo>
                    <a:pt x="69" y="1074"/>
                  </a:lnTo>
                  <a:lnTo>
                    <a:pt x="59" y="1069"/>
                  </a:lnTo>
                  <a:lnTo>
                    <a:pt x="52" y="1061"/>
                  </a:lnTo>
                  <a:lnTo>
                    <a:pt x="42" y="1052"/>
                  </a:lnTo>
                  <a:lnTo>
                    <a:pt x="36" y="1042"/>
                  </a:lnTo>
                  <a:lnTo>
                    <a:pt x="29" y="1032"/>
                  </a:lnTo>
                  <a:lnTo>
                    <a:pt x="23" y="1023"/>
                  </a:lnTo>
                  <a:lnTo>
                    <a:pt x="17" y="1013"/>
                  </a:lnTo>
                  <a:lnTo>
                    <a:pt x="13" y="1002"/>
                  </a:lnTo>
                  <a:lnTo>
                    <a:pt x="10" y="992"/>
                  </a:lnTo>
                  <a:lnTo>
                    <a:pt x="8" y="981"/>
                  </a:lnTo>
                  <a:lnTo>
                    <a:pt x="8" y="971"/>
                  </a:lnTo>
                  <a:lnTo>
                    <a:pt x="8" y="971"/>
                  </a:lnTo>
                  <a:lnTo>
                    <a:pt x="8" y="966"/>
                  </a:lnTo>
                  <a:lnTo>
                    <a:pt x="10" y="958"/>
                  </a:lnTo>
                  <a:lnTo>
                    <a:pt x="13" y="952"/>
                  </a:lnTo>
                  <a:lnTo>
                    <a:pt x="17" y="948"/>
                  </a:lnTo>
                  <a:lnTo>
                    <a:pt x="21" y="943"/>
                  </a:lnTo>
                  <a:lnTo>
                    <a:pt x="23" y="937"/>
                  </a:lnTo>
                  <a:lnTo>
                    <a:pt x="27" y="931"/>
                  </a:lnTo>
                  <a:lnTo>
                    <a:pt x="27" y="924"/>
                  </a:lnTo>
                  <a:lnTo>
                    <a:pt x="27" y="924"/>
                  </a:lnTo>
                  <a:lnTo>
                    <a:pt x="27" y="918"/>
                  </a:lnTo>
                  <a:lnTo>
                    <a:pt x="25" y="912"/>
                  </a:lnTo>
                  <a:lnTo>
                    <a:pt x="25" y="908"/>
                  </a:lnTo>
                  <a:lnTo>
                    <a:pt x="23" y="903"/>
                  </a:lnTo>
                  <a:lnTo>
                    <a:pt x="21" y="899"/>
                  </a:lnTo>
                  <a:lnTo>
                    <a:pt x="19" y="893"/>
                  </a:lnTo>
                  <a:lnTo>
                    <a:pt x="15" y="887"/>
                  </a:lnTo>
                  <a:lnTo>
                    <a:pt x="13" y="884"/>
                  </a:lnTo>
                  <a:lnTo>
                    <a:pt x="12" y="878"/>
                  </a:lnTo>
                  <a:lnTo>
                    <a:pt x="10" y="874"/>
                  </a:lnTo>
                  <a:lnTo>
                    <a:pt x="8" y="868"/>
                  </a:lnTo>
                  <a:lnTo>
                    <a:pt x="6" y="863"/>
                  </a:lnTo>
                  <a:lnTo>
                    <a:pt x="4" y="857"/>
                  </a:lnTo>
                  <a:lnTo>
                    <a:pt x="2" y="851"/>
                  </a:lnTo>
                  <a:lnTo>
                    <a:pt x="2" y="845"/>
                  </a:lnTo>
                  <a:lnTo>
                    <a:pt x="0" y="840"/>
                  </a:lnTo>
                  <a:lnTo>
                    <a:pt x="0" y="813"/>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1" name="Freeform 215"/>
            <p:cNvSpPr>
              <a:spLocks/>
            </p:cNvSpPr>
            <p:nvPr/>
          </p:nvSpPr>
          <p:spPr bwMode="gray">
            <a:xfrm>
              <a:off x="2693" y="3045"/>
              <a:ext cx="333" cy="294"/>
            </a:xfrm>
            <a:custGeom>
              <a:avLst/>
              <a:gdLst/>
              <a:ahLst/>
              <a:cxnLst>
                <a:cxn ang="0">
                  <a:pos x="21" y="179"/>
                </a:cxn>
                <a:cxn ang="0">
                  <a:pos x="54" y="186"/>
                </a:cxn>
                <a:cxn ang="0">
                  <a:pos x="84" y="196"/>
                </a:cxn>
                <a:cxn ang="0">
                  <a:pos x="111" y="196"/>
                </a:cxn>
                <a:cxn ang="0">
                  <a:pos x="143" y="179"/>
                </a:cxn>
                <a:cxn ang="0">
                  <a:pos x="166" y="146"/>
                </a:cxn>
                <a:cxn ang="0">
                  <a:pos x="185" y="118"/>
                </a:cxn>
                <a:cxn ang="0">
                  <a:pos x="201" y="103"/>
                </a:cxn>
                <a:cxn ang="0">
                  <a:pos x="224" y="93"/>
                </a:cxn>
                <a:cxn ang="0">
                  <a:pos x="250" y="83"/>
                </a:cxn>
                <a:cxn ang="0">
                  <a:pos x="269" y="74"/>
                </a:cxn>
                <a:cxn ang="0">
                  <a:pos x="273" y="49"/>
                </a:cxn>
                <a:cxn ang="0">
                  <a:pos x="287" y="30"/>
                </a:cxn>
                <a:cxn ang="0">
                  <a:pos x="315" y="9"/>
                </a:cxn>
                <a:cxn ang="0">
                  <a:pos x="350" y="0"/>
                </a:cxn>
                <a:cxn ang="0">
                  <a:pos x="374" y="0"/>
                </a:cxn>
                <a:cxn ang="0">
                  <a:pos x="390" y="1"/>
                </a:cxn>
                <a:cxn ang="0">
                  <a:pos x="462" y="38"/>
                </a:cxn>
                <a:cxn ang="0">
                  <a:pos x="500" y="68"/>
                </a:cxn>
                <a:cxn ang="0">
                  <a:pos x="554" y="89"/>
                </a:cxn>
                <a:cxn ang="0">
                  <a:pos x="586" y="131"/>
                </a:cxn>
                <a:cxn ang="0">
                  <a:pos x="584" y="173"/>
                </a:cxn>
                <a:cxn ang="0">
                  <a:pos x="573" y="217"/>
                </a:cxn>
                <a:cxn ang="0">
                  <a:pos x="561" y="257"/>
                </a:cxn>
                <a:cxn ang="0">
                  <a:pos x="559" y="289"/>
                </a:cxn>
                <a:cxn ang="0">
                  <a:pos x="571" y="322"/>
                </a:cxn>
                <a:cxn ang="0">
                  <a:pos x="571" y="345"/>
                </a:cxn>
                <a:cxn ang="0">
                  <a:pos x="556" y="368"/>
                </a:cxn>
                <a:cxn ang="0">
                  <a:pos x="536" y="391"/>
                </a:cxn>
                <a:cxn ang="0">
                  <a:pos x="525" y="408"/>
                </a:cxn>
                <a:cxn ang="0">
                  <a:pos x="521" y="436"/>
                </a:cxn>
                <a:cxn ang="0">
                  <a:pos x="514" y="454"/>
                </a:cxn>
                <a:cxn ang="0">
                  <a:pos x="487" y="482"/>
                </a:cxn>
                <a:cxn ang="0">
                  <a:pos x="449" y="517"/>
                </a:cxn>
                <a:cxn ang="0">
                  <a:pos x="428" y="534"/>
                </a:cxn>
                <a:cxn ang="0">
                  <a:pos x="412" y="534"/>
                </a:cxn>
                <a:cxn ang="0">
                  <a:pos x="397" y="534"/>
                </a:cxn>
                <a:cxn ang="0">
                  <a:pos x="369" y="534"/>
                </a:cxn>
                <a:cxn ang="0">
                  <a:pos x="342" y="524"/>
                </a:cxn>
                <a:cxn ang="0">
                  <a:pos x="304" y="518"/>
                </a:cxn>
                <a:cxn ang="0">
                  <a:pos x="283" y="509"/>
                </a:cxn>
                <a:cxn ang="0">
                  <a:pos x="266" y="494"/>
                </a:cxn>
                <a:cxn ang="0">
                  <a:pos x="247" y="478"/>
                </a:cxn>
                <a:cxn ang="0">
                  <a:pos x="224" y="471"/>
                </a:cxn>
                <a:cxn ang="0">
                  <a:pos x="187" y="454"/>
                </a:cxn>
                <a:cxn ang="0">
                  <a:pos x="178" y="434"/>
                </a:cxn>
                <a:cxn ang="0">
                  <a:pos x="176" y="406"/>
                </a:cxn>
                <a:cxn ang="0">
                  <a:pos x="174" y="383"/>
                </a:cxn>
                <a:cxn ang="0">
                  <a:pos x="159" y="372"/>
                </a:cxn>
                <a:cxn ang="0">
                  <a:pos x="143" y="352"/>
                </a:cxn>
                <a:cxn ang="0">
                  <a:pos x="128" y="337"/>
                </a:cxn>
                <a:cxn ang="0">
                  <a:pos x="86" y="320"/>
                </a:cxn>
                <a:cxn ang="0">
                  <a:pos x="63" y="305"/>
                </a:cxn>
                <a:cxn ang="0">
                  <a:pos x="54" y="282"/>
                </a:cxn>
                <a:cxn ang="0">
                  <a:pos x="44" y="255"/>
                </a:cxn>
                <a:cxn ang="0">
                  <a:pos x="21" y="227"/>
                </a:cxn>
                <a:cxn ang="0">
                  <a:pos x="4" y="198"/>
                </a:cxn>
              </a:cxnLst>
              <a:rect l="0" t="0" r="r" b="b"/>
              <a:pathLst>
                <a:path w="588" h="534">
                  <a:moveTo>
                    <a:pt x="0" y="177"/>
                  </a:moveTo>
                  <a:lnTo>
                    <a:pt x="0" y="177"/>
                  </a:lnTo>
                  <a:lnTo>
                    <a:pt x="6" y="177"/>
                  </a:lnTo>
                  <a:lnTo>
                    <a:pt x="14" y="177"/>
                  </a:lnTo>
                  <a:lnTo>
                    <a:pt x="21" y="179"/>
                  </a:lnTo>
                  <a:lnTo>
                    <a:pt x="27" y="181"/>
                  </a:lnTo>
                  <a:lnTo>
                    <a:pt x="35" y="181"/>
                  </a:lnTo>
                  <a:lnTo>
                    <a:pt x="40" y="183"/>
                  </a:lnTo>
                  <a:lnTo>
                    <a:pt x="46" y="185"/>
                  </a:lnTo>
                  <a:lnTo>
                    <a:pt x="54" y="186"/>
                  </a:lnTo>
                  <a:lnTo>
                    <a:pt x="60" y="188"/>
                  </a:lnTo>
                  <a:lnTo>
                    <a:pt x="65" y="190"/>
                  </a:lnTo>
                  <a:lnTo>
                    <a:pt x="71" y="192"/>
                  </a:lnTo>
                  <a:lnTo>
                    <a:pt x="79" y="194"/>
                  </a:lnTo>
                  <a:lnTo>
                    <a:pt x="84" y="196"/>
                  </a:lnTo>
                  <a:lnTo>
                    <a:pt x="90" y="196"/>
                  </a:lnTo>
                  <a:lnTo>
                    <a:pt x="96" y="198"/>
                  </a:lnTo>
                  <a:lnTo>
                    <a:pt x="103" y="198"/>
                  </a:lnTo>
                  <a:lnTo>
                    <a:pt x="103" y="198"/>
                  </a:lnTo>
                  <a:lnTo>
                    <a:pt x="111" y="196"/>
                  </a:lnTo>
                  <a:lnTo>
                    <a:pt x="119" y="196"/>
                  </a:lnTo>
                  <a:lnTo>
                    <a:pt x="124" y="192"/>
                  </a:lnTo>
                  <a:lnTo>
                    <a:pt x="130" y="188"/>
                  </a:lnTo>
                  <a:lnTo>
                    <a:pt x="136" y="183"/>
                  </a:lnTo>
                  <a:lnTo>
                    <a:pt x="143" y="179"/>
                  </a:lnTo>
                  <a:lnTo>
                    <a:pt x="147" y="173"/>
                  </a:lnTo>
                  <a:lnTo>
                    <a:pt x="153" y="165"/>
                  </a:lnTo>
                  <a:lnTo>
                    <a:pt x="159" y="160"/>
                  </a:lnTo>
                  <a:lnTo>
                    <a:pt x="163" y="152"/>
                  </a:lnTo>
                  <a:lnTo>
                    <a:pt x="166" y="146"/>
                  </a:lnTo>
                  <a:lnTo>
                    <a:pt x="170" y="139"/>
                  </a:lnTo>
                  <a:lnTo>
                    <a:pt x="174" y="133"/>
                  </a:lnTo>
                  <a:lnTo>
                    <a:pt x="178" y="127"/>
                  </a:lnTo>
                  <a:lnTo>
                    <a:pt x="182" y="122"/>
                  </a:lnTo>
                  <a:lnTo>
                    <a:pt x="185" y="118"/>
                  </a:lnTo>
                  <a:lnTo>
                    <a:pt x="185" y="118"/>
                  </a:lnTo>
                  <a:lnTo>
                    <a:pt x="189" y="114"/>
                  </a:lnTo>
                  <a:lnTo>
                    <a:pt x="193" y="110"/>
                  </a:lnTo>
                  <a:lnTo>
                    <a:pt x="197" y="106"/>
                  </a:lnTo>
                  <a:lnTo>
                    <a:pt x="201" y="103"/>
                  </a:lnTo>
                  <a:lnTo>
                    <a:pt x="205" y="101"/>
                  </a:lnTo>
                  <a:lnTo>
                    <a:pt x="210" y="99"/>
                  </a:lnTo>
                  <a:lnTo>
                    <a:pt x="214" y="97"/>
                  </a:lnTo>
                  <a:lnTo>
                    <a:pt x="220" y="93"/>
                  </a:lnTo>
                  <a:lnTo>
                    <a:pt x="224" y="93"/>
                  </a:lnTo>
                  <a:lnTo>
                    <a:pt x="229" y="91"/>
                  </a:lnTo>
                  <a:lnTo>
                    <a:pt x="235" y="89"/>
                  </a:lnTo>
                  <a:lnTo>
                    <a:pt x="241" y="87"/>
                  </a:lnTo>
                  <a:lnTo>
                    <a:pt x="245" y="85"/>
                  </a:lnTo>
                  <a:lnTo>
                    <a:pt x="250" y="83"/>
                  </a:lnTo>
                  <a:lnTo>
                    <a:pt x="256" y="82"/>
                  </a:lnTo>
                  <a:lnTo>
                    <a:pt x="262" y="80"/>
                  </a:lnTo>
                  <a:lnTo>
                    <a:pt x="262" y="80"/>
                  </a:lnTo>
                  <a:lnTo>
                    <a:pt x="267" y="78"/>
                  </a:lnTo>
                  <a:lnTo>
                    <a:pt x="269" y="74"/>
                  </a:lnTo>
                  <a:lnTo>
                    <a:pt x="271" y="68"/>
                  </a:lnTo>
                  <a:lnTo>
                    <a:pt x="271" y="64"/>
                  </a:lnTo>
                  <a:lnTo>
                    <a:pt x="271" y="59"/>
                  </a:lnTo>
                  <a:lnTo>
                    <a:pt x="271" y="55"/>
                  </a:lnTo>
                  <a:lnTo>
                    <a:pt x="273" y="49"/>
                  </a:lnTo>
                  <a:lnTo>
                    <a:pt x="273" y="47"/>
                  </a:lnTo>
                  <a:lnTo>
                    <a:pt x="273" y="47"/>
                  </a:lnTo>
                  <a:lnTo>
                    <a:pt x="279" y="40"/>
                  </a:lnTo>
                  <a:lnTo>
                    <a:pt x="283" y="34"/>
                  </a:lnTo>
                  <a:lnTo>
                    <a:pt x="287" y="30"/>
                  </a:lnTo>
                  <a:lnTo>
                    <a:pt x="292" y="24"/>
                  </a:lnTo>
                  <a:lnTo>
                    <a:pt x="298" y="20"/>
                  </a:lnTo>
                  <a:lnTo>
                    <a:pt x="304" y="17"/>
                  </a:lnTo>
                  <a:lnTo>
                    <a:pt x="309" y="13"/>
                  </a:lnTo>
                  <a:lnTo>
                    <a:pt x="315" y="9"/>
                  </a:lnTo>
                  <a:lnTo>
                    <a:pt x="321" y="7"/>
                  </a:lnTo>
                  <a:lnTo>
                    <a:pt x="329" y="5"/>
                  </a:lnTo>
                  <a:lnTo>
                    <a:pt x="336" y="3"/>
                  </a:lnTo>
                  <a:lnTo>
                    <a:pt x="342" y="1"/>
                  </a:lnTo>
                  <a:lnTo>
                    <a:pt x="350" y="0"/>
                  </a:lnTo>
                  <a:lnTo>
                    <a:pt x="357" y="0"/>
                  </a:lnTo>
                  <a:lnTo>
                    <a:pt x="365" y="0"/>
                  </a:lnTo>
                  <a:lnTo>
                    <a:pt x="372" y="0"/>
                  </a:lnTo>
                  <a:lnTo>
                    <a:pt x="372" y="0"/>
                  </a:lnTo>
                  <a:lnTo>
                    <a:pt x="374" y="0"/>
                  </a:lnTo>
                  <a:lnTo>
                    <a:pt x="378" y="0"/>
                  </a:lnTo>
                  <a:lnTo>
                    <a:pt x="382" y="0"/>
                  </a:lnTo>
                  <a:lnTo>
                    <a:pt x="384" y="0"/>
                  </a:lnTo>
                  <a:lnTo>
                    <a:pt x="388" y="1"/>
                  </a:lnTo>
                  <a:lnTo>
                    <a:pt x="390" y="1"/>
                  </a:lnTo>
                  <a:lnTo>
                    <a:pt x="393" y="0"/>
                  </a:lnTo>
                  <a:lnTo>
                    <a:pt x="395" y="0"/>
                  </a:lnTo>
                  <a:lnTo>
                    <a:pt x="395" y="38"/>
                  </a:lnTo>
                  <a:lnTo>
                    <a:pt x="462" y="38"/>
                  </a:lnTo>
                  <a:lnTo>
                    <a:pt x="462" y="38"/>
                  </a:lnTo>
                  <a:lnTo>
                    <a:pt x="468" y="47"/>
                  </a:lnTo>
                  <a:lnTo>
                    <a:pt x="474" y="53"/>
                  </a:lnTo>
                  <a:lnTo>
                    <a:pt x="481" y="59"/>
                  </a:lnTo>
                  <a:lnTo>
                    <a:pt x="491" y="64"/>
                  </a:lnTo>
                  <a:lnTo>
                    <a:pt x="500" y="68"/>
                  </a:lnTo>
                  <a:lnTo>
                    <a:pt x="512" y="72"/>
                  </a:lnTo>
                  <a:lnTo>
                    <a:pt x="521" y="76"/>
                  </a:lnTo>
                  <a:lnTo>
                    <a:pt x="533" y="80"/>
                  </a:lnTo>
                  <a:lnTo>
                    <a:pt x="544" y="83"/>
                  </a:lnTo>
                  <a:lnTo>
                    <a:pt x="554" y="89"/>
                  </a:lnTo>
                  <a:lnTo>
                    <a:pt x="563" y="95"/>
                  </a:lnTo>
                  <a:lnTo>
                    <a:pt x="571" y="103"/>
                  </a:lnTo>
                  <a:lnTo>
                    <a:pt x="578" y="110"/>
                  </a:lnTo>
                  <a:lnTo>
                    <a:pt x="582" y="120"/>
                  </a:lnTo>
                  <a:lnTo>
                    <a:pt x="586" y="131"/>
                  </a:lnTo>
                  <a:lnTo>
                    <a:pt x="588" y="144"/>
                  </a:lnTo>
                  <a:lnTo>
                    <a:pt x="588" y="144"/>
                  </a:lnTo>
                  <a:lnTo>
                    <a:pt x="586" y="154"/>
                  </a:lnTo>
                  <a:lnTo>
                    <a:pt x="586" y="164"/>
                  </a:lnTo>
                  <a:lnTo>
                    <a:pt x="584" y="173"/>
                  </a:lnTo>
                  <a:lnTo>
                    <a:pt x="582" y="183"/>
                  </a:lnTo>
                  <a:lnTo>
                    <a:pt x="580" y="190"/>
                  </a:lnTo>
                  <a:lnTo>
                    <a:pt x="578" y="200"/>
                  </a:lnTo>
                  <a:lnTo>
                    <a:pt x="575" y="207"/>
                  </a:lnTo>
                  <a:lnTo>
                    <a:pt x="573" y="217"/>
                  </a:lnTo>
                  <a:lnTo>
                    <a:pt x="569" y="225"/>
                  </a:lnTo>
                  <a:lnTo>
                    <a:pt x="567" y="232"/>
                  </a:lnTo>
                  <a:lnTo>
                    <a:pt x="565" y="242"/>
                  </a:lnTo>
                  <a:lnTo>
                    <a:pt x="563" y="249"/>
                  </a:lnTo>
                  <a:lnTo>
                    <a:pt x="561" y="257"/>
                  </a:lnTo>
                  <a:lnTo>
                    <a:pt x="559" y="265"/>
                  </a:lnTo>
                  <a:lnTo>
                    <a:pt x="557" y="272"/>
                  </a:lnTo>
                  <a:lnTo>
                    <a:pt x="557" y="280"/>
                  </a:lnTo>
                  <a:lnTo>
                    <a:pt x="557" y="280"/>
                  </a:lnTo>
                  <a:lnTo>
                    <a:pt x="559" y="289"/>
                  </a:lnTo>
                  <a:lnTo>
                    <a:pt x="559" y="297"/>
                  </a:lnTo>
                  <a:lnTo>
                    <a:pt x="563" y="305"/>
                  </a:lnTo>
                  <a:lnTo>
                    <a:pt x="565" y="310"/>
                  </a:lnTo>
                  <a:lnTo>
                    <a:pt x="569" y="316"/>
                  </a:lnTo>
                  <a:lnTo>
                    <a:pt x="571" y="322"/>
                  </a:lnTo>
                  <a:lnTo>
                    <a:pt x="573" y="330"/>
                  </a:lnTo>
                  <a:lnTo>
                    <a:pt x="573" y="335"/>
                  </a:lnTo>
                  <a:lnTo>
                    <a:pt x="573" y="335"/>
                  </a:lnTo>
                  <a:lnTo>
                    <a:pt x="573" y="339"/>
                  </a:lnTo>
                  <a:lnTo>
                    <a:pt x="571" y="345"/>
                  </a:lnTo>
                  <a:lnTo>
                    <a:pt x="569" y="349"/>
                  </a:lnTo>
                  <a:lnTo>
                    <a:pt x="567" y="354"/>
                  </a:lnTo>
                  <a:lnTo>
                    <a:pt x="563" y="358"/>
                  </a:lnTo>
                  <a:lnTo>
                    <a:pt x="559" y="364"/>
                  </a:lnTo>
                  <a:lnTo>
                    <a:pt x="556" y="368"/>
                  </a:lnTo>
                  <a:lnTo>
                    <a:pt x="552" y="372"/>
                  </a:lnTo>
                  <a:lnTo>
                    <a:pt x="548" y="377"/>
                  </a:lnTo>
                  <a:lnTo>
                    <a:pt x="544" y="381"/>
                  </a:lnTo>
                  <a:lnTo>
                    <a:pt x="540" y="387"/>
                  </a:lnTo>
                  <a:lnTo>
                    <a:pt x="536" y="391"/>
                  </a:lnTo>
                  <a:lnTo>
                    <a:pt x="533" y="394"/>
                  </a:lnTo>
                  <a:lnTo>
                    <a:pt x="531" y="398"/>
                  </a:lnTo>
                  <a:lnTo>
                    <a:pt x="527" y="404"/>
                  </a:lnTo>
                  <a:lnTo>
                    <a:pt x="525" y="408"/>
                  </a:lnTo>
                  <a:lnTo>
                    <a:pt x="525" y="408"/>
                  </a:lnTo>
                  <a:lnTo>
                    <a:pt x="525" y="413"/>
                  </a:lnTo>
                  <a:lnTo>
                    <a:pt x="523" y="419"/>
                  </a:lnTo>
                  <a:lnTo>
                    <a:pt x="523" y="425"/>
                  </a:lnTo>
                  <a:lnTo>
                    <a:pt x="523" y="431"/>
                  </a:lnTo>
                  <a:lnTo>
                    <a:pt x="521" y="436"/>
                  </a:lnTo>
                  <a:lnTo>
                    <a:pt x="521" y="442"/>
                  </a:lnTo>
                  <a:lnTo>
                    <a:pt x="519" y="446"/>
                  </a:lnTo>
                  <a:lnTo>
                    <a:pt x="515" y="452"/>
                  </a:lnTo>
                  <a:lnTo>
                    <a:pt x="515" y="452"/>
                  </a:lnTo>
                  <a:lnTo>
                    <a:pt x="514" y="454"/>
                  </a:lnTo>
                  <a:lnTo>
                    <a:pt x="510" y="457"/>
                  </a:lnTo>
                  <a:lnTo>
                    <a:pt x="506" y="463"/>
                  </a:lnTo>
                  <a:lnTo>
                    <a:pt x="500" y="469"/>
                  </a:lnTo>
                  <a:lnTo>
                    <a:pt x="494" y="475"/>
                  </a:lnTo>
                  <a:lnTo>
                    <a:pt x="487" y="482"/>
                  </a:lnTo>
                  <a:lnTo>
                    <a:pt x="479" y="490"/>
                  </a:lnTo>
                  <a:lnTo>
                    <a:pt x="472" y="497"/>
                  </a:lnTo>
                  <a:lnTo>
                    <a:pt x="464" y="503"/>
                  </a:lnTo>
                  <a:lnTo>
                    <a:pt x="456" y="511"/>
                  </a:lnTo>
                  <a:lnTo>
                    <a:pt x="449" y="517"/>
                  </a:lnTo>
                  <a:lnTo>
                    <a:pt x="443" y="522"/>
                  </a:lnTo>
                  <a:lnTo>
                    <a:pt x="437" y="528"/>
                  </a:lnTo>
                  <a:lnTo>
                    <a:pt x="433" y="532"/>
                  </a:lnTo>
                  <a:lnTo>
                    <a:pt x="430" y="534"/>
                  </a:lnTo>
                  <a:lnTo>
                    <a:pt x="428" y="534"/>
                  </a:lnTo>
                  <a:lnTo>
                    <a:pt x="428" y="534"/>
                  </a:lnTo>
                  <a:lnTo>
                    <a:pt x="424" y="534"/>
                  </a:lnTo>
                  <a:lnTo>
                    <a:pt x="420" y="534"/>
                  </a:lnTo>
                  <a:lnTo>
                    <a:pt x="416" y="534"/>
                  </a:lnTo>
                  <a:lnTo>
                    <a:pt x="412" y="534"/>
                  </a:lnTo>
                  <a:lnTo>
                    <a:pt x="411" y="534"/>
                  </a:lnTo>
                  <a:lnTo>
                    <a:pt x="407" y="534"/>
                  </a:lnTo>
                  <a:lnTo>
                    <a:pt x="403" y="534"/>
                  </a:lnTo>
                  <a:lnTo>
                    <a:pt x="401" y="534"/>
                  </a:lnTo>
                  <a:lnTo>
                    <a:pt x="397" y="534"/>
                  </a:lnTo>
                  <a:lnTo>
                    <a:pt x="391" y="534"/>
                  </a:lnTo>
                  <a:lnTo>
                    <a:pt x="388" y="534"/>
                  </a:lnTo>
                  <a:lnTo>
                    <a:pt x="382" y="534"/>
                  </a:lnTo>
                  <a:lnTo>
                    <a:pt x="376" y="534"/>
                  </a:lnTo>
                  <a:lnTo>
                    <a:pt x="369" y="534"/>
                  </a:lnTo>
                  <a:lnTo>
                    <a:pt x="361" y="534"/>
                  </a:lnTo>
                  <a:lnTo>
                    <a:pt x="351" y="534"/>
                  </a:lnTo>
                  <a:lnTo>
                    <a:pt x="351" y="534"/>
                  </a:lnTo>
                  <a:lnTo>
                    <a:pt x="346" y="528"/>
                  </a:lnTo>
                  <a:lnTo>
                    <a:pt x="342" y="524"/>
                  </a:lnTo>
                  <a:lnTo>
                    <a:pt x="334" y="522"/>
                  </a:lnTo>
                  <a:lnTo>
                    <a:pt x="327" y="520"/>
                  </a:lnTo>
                  <a:lnTo>
                    <a:pt x="319" y="520"/>
                  </a:lnTo>
                  <a:lnTo>
                    <a:pt x="311" y="520"/>
                  </a:lnTo>
                  <a:lnTo>
                    <a:pt x="304" y="518"/>
                  </a:lnTo>
                  <a:lnTo>
                    <a:pt x="298" y="517"/>
                  </a:lnTo>
                  <a:lnTo>
                    <a:pt x="298" y="517"/>
                  </a:lnTo>
                  <a:lnTo>
                    <a:pt x="292" y="515"/>
                  </a:lnTo>
                  <a:lnTo>
                    <a:pt x="288" y="513"/>
                  </a:lnTo>
                  <a:lnTo>
                    <a:pt x="283" y="509"/>
                  </a:lnTo>
                  <a:lnTo>
                    <a:pt x="279" y="507"/>
                  </a:lnTo>
                  <a:lnTo>
                    <a:pt x="275" y="503"/>
                  </a:lnTo>
                  <a:lnTo>
                    <a:pt x="273" y="501"/>
                  </a:lnTo>
                  <a:lnTo>
                    <a:pt x="269" y="497"/>
                  </a:lnTo>
                  <a:lnTo>
                    <a:pt x="266" y="494"/>
                  </a:lnTo>
                  <a:lnTo>
                    <a:pt x="262" y="492"/>
                  </a:lnTo>
                  <a:lnTo>
                    <a:pt x="258" y="488"/>
                  </a:lnTo>
                  <a:lnTo>
                    <a:pt x="254" y="484"/>
                  </a:lnTo>
                  <a:lnTo>
                    <a:pt x="250" y="482"/>
                  </a:lnTo>
                  <a:lnTo>
                    <a:pt x="247" y="478"/>
                  </a:lnTo>
                  <a:lnTo>
                    <a:pt x="243" y="476"/>
                  </a:lnTo>
                  <a:lnTo>
                    <a:pt x="237" y="475"/>
                  </a:lnTo>
                  <a:lnTo>
                    <a:pt x="231" y="473"/>
                  </a:lnTo>
                  <a:lnTo>
                    <a:pt x="231" y="473"/>
                  </a:lnTo>
                  <a:lnTo>
                    <a:pt x="224" y="471"/>
                  </a:lnTo>
                  <a:lnTo>
                    <a:pt x="216" y="467"/>
                  </a:lnTo>
                  <a:lnTo>
                    <a:pt x="208" y="465"/>
                  </a:lnTo>
                  <a:lnTo>
                    <a:pt x="201" y="461"/>
                  </a:lnTo>
                  <a:lnTo>
                    <a:pt x="193" y="457"/>
                  </a:lnTo>
                  <a:lnTo>
                    <a:pt x="187" y="454"/>
                  </a:lnTo>
                  <a:lnTo>
                    <a:pt x="184" y="450"/>
                  </a:lnTo>
                  <a:lnTo>
                    <a:pt x="180" y="446"/>
                  </a:lnTo>
                  <a:lnTo>
                    <a:pt x="180" y="446"/>
                  </a:lnTo>
                  <a:lnTo>
                    <a:pt x="178" y="440"/>
                  </a:lnTo>
                  <a:lnTo>
                    <a:pt x="178" y="434"/>
                  </a:lnTo>
                  <a:lnTo>
                    <a:pt x="176" y="429"/>
                  </a:lnTo>
                  <a:lnTo>
                    <a:pt x="176" y="423"/>
                  </a:lnTo>
                  <a:lnTo>
                    <a:pt x="176" y="417"/>
                  </a:lnTo>
                  <a:lnTo>
                    <a:pt x="176" y="412"/>
                  </a:lnTo>
                  <a:lnTo>
                    <a:pt x="176" y="406"/>
                  </a:lnTo>
                  <a:lnTo>
                    <a:pt x="176" y="402"/>
                  </a:lnTo>
                  <a:lnTo>
                    <a:pt x="176" y="396"/>
                  </a:lnTo>
                  <a:lnTo>
                    <a:pt x="176" y="392"/>
                  </a:lnTo>
                  <a:lnTo>
                    <a:pt x="174" y="387"/>
                  </a:lnTo>
                  <a:lnTo>
                    <a:pt x="174" y="383"/>
                  </a:lnTo>
                  <a:lnTo>
                    <a:pt x="172" y="379"/>
                  </a:lnTo>
                  <a:lnTo>
                    <a:pt x="168" y="377"/>
                  </a:lnTo>
                  <a:lnTo>
                    <a:pt x="164" y="373"/>
                  </a:lnTo>
                  <a:lnTo>
                    <a:pt x="159" y="372"/>
                  </a:lnTo>
                  <a:lnTo>
                    <a:pt x="159" y="372"/>
                  </a:lnTo>
                  <a:lnTo>
                    <a:pt x="155" y="370"/>
                  </a:lnTo>
                  <a:lnTo>
                    <a:pt x="151" y="366"/>
                  </a:lnTo>
                  <a:lnTo>
                    <a:pt x="149" y="362"/>
                  </a:lnTo>
                  <a:lnTo>
                    <a:pt x="147" y="358"/>
                  </a:lnTo>
                  <a:lnTo>
                    <a:pt x="143" y="352"/>
                  </a:lnTo>
                  <a:lnTo>
                    <a:pt x="142" y="349"/>
                  </a:lnTo>
                  <a:lnTo>
                    <a:pt x="140" y="345"/>
                  </a:lnTo>
                  <a:lnTo>
                    <a:pt x="136" y="343"/>
                  </a:lnTo>
                  <a:lnTo>
                    <a:pt x="136" y="343"/>
                  </a:lnTo>
                  <a:lnTo>
                    <a:pt x="128" y="337"/>
                  </a:lnTo>
                  <a:lnTo>
                    <a:pt x="121" y="333"/>
                  </a:lnTo>
                  <a:lnTo>
                    <a:pt x="111" y="330"/>
                  </a:lnTo>
                  <a:lnTo>
                    <a:pt x="102" y="326"/>
                  </a:lnTo>
                  <a:lnTo>
                    <a:pt x="94" y="322"/>
                  </a:lnTo>
                  <a:lnTo>
                    <a:pt x="86" y="320"/>
                  </a:lnTo>
                  <a:lnTo>
                    <a:pt x="79" y="316"/>
                  </a:lnTo>
                  <a:lnTo>
                    <a:pt x="71" y="312"/>
                  </a:lnTo>
                  <a:lnTo>
                    <a:pt x="71" y="312"/>
                  </a:lnTo>
                  <a:lnTo>
                    <a:pt x="67" y="309"/>
                  </a:lnTo>
                  <a:lnTo>
                    <a:pt x="63" y="305"/>
                  </a:lnTo>
                  <a:lnTo>
                    <a:pt x="60" y="301"/>
                  </a:lnTo>
                  <a:lnTo>
                    <a:pt x="58" y="297"/>
                  </a:lnTo>
                  <a:lnTo>
                    <a:pt x="58" y="293"/>
                  </a:lnTo>
                  <a:lnTo>
                    <a:pt x="56" y="288"/>
                  </a:lnTo>
                  <a:lnTo>
                    <a:pt x="54" y="282"/>
                  </a:lnTo>
                  <a:lnTo>
                    <a:pt x="54" y="276"/>
                  </a:lnTo>
                  <a:lnTo>
                    <a:pt x="54" y="276"/>
                  </a:lnTo>
                  <a:lnTo>
                    <a:pt x="50" y="270"/>
                  </a:lnTo>
                  <a:lnTo>
                    <a:pt x="48" y="263"/>
                  </a:lnTo>
                  <a:lnTo>
                    <a:pt x="44" y="255"/>
                  </a:lnTo>
                  <a:lnTo>
                    <a:pt x="40" y="249"/>
                  </a:lnTo>
                  <a:lnTo>
                    <a:pt x="35" y="244"/>
                  </a:lnTo>
                  <a:lnTo>
                    <a:pt x="31" y="238"/>
                  </a:lnTo>
                  <a:lnTo>
                    <a:pt x="27" y="234"/>
                  </a:lnTo>
                  <a:lnTo>
                    <a:pt x="21" y="227"/>
                  </a:lnTo>
                  <a:lnTo>
                    <a:pt x="18" y="223"/>
                  </a:lnTo>
                  <a:lnTo>
                    <a:pt x="14" y="217"/>
                  </a:lnTo>
                  <a:lnTo>
                    <a:pt x="10" y="211"/>
                  </a:lnTo>
                  <a:lnTo>
                    <a:pt x="6" y="206"/>
                  </a:lnTo>
                  <a:lnTo>
                    <a:pt x="4" y="198"/>
                  </a:lnTo>
                  <a:lnTo>
                    <a:pt x="2" y="192"/>
                  </a:lnTo>
                  <a:lnTo>
                    <a:pt x="0" y="185"/>
                  </a:lnTo>
                  <a:lnTo>
                    <a:pt x="0" y="177"/>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2" name="Freeform 216"/>
            <p:cNvSpPr>
              <a:spLocks/>
            </p:cNvSpPr>
            <p:nvPr/>
          </p:nvSpPr>
          <p:spPr bwMode="gray">
            <a:xfrm>
              <a:off x="3024" y="2777"/>
              <a:ext cx="131" cy="319"/>
            </a:xfrm>
            <a:custGeom>
              <a:avLst/>
              <a:gdLst/>
              <a:ahLst/>
              <a:cxnLst>
                <a:cxn ang="0">
                  <a:pos x="218" y="401"/>
                </a:cxn>
                <a:cxn ang="0">
                  <a:pos x="233" y="437"/>
                </a:cxn>
                <a:cxn ang="0">
                  <a:pos x="223" y="447"/>
                </a:cxn>
                <a:cxn ang="0">
                  <a:pos x="227" y="492"/>
                </a:cxn>
                <a:cxn ang="0">
                  <a:pos x="225" y="511"/>
                </a:cxn>
                <a:cxn ang="0">
                  <a:pos x="212" y="517"/>
                </a:cxn>
                <a:cxn ang="0">
                  <a:pos x="195" y="525"/>
                </a:cxn>
                <a:cxn ang="0">
                  <a:pos x="174" y="546"/>
                </a:cxn>
                <a:cxn ang="0">
                  <a:pos x="178" y="555"/>
                </a:cxn>
                <a:cxn ang="0">
                  <a:pos x="174" y="567"/>
                </a:cxn>
                <a:cxn ang="0">
                  <a:pos x="174" y="580"/>
                </a:cxn>
                <a:cxn ang="0">
                  <a:pos x="137" y="544"/>
                </a:cxn>
                <a:cxn ang="0">
                  <a:pos x="126" y="506"/>
                </a:cxn>
                <a:cxn ang="0">
                  <a:pos x="137" y="479"/>
                </a:cxn>
                <a:cxn ang="0">
                  <a:pos x="149" y="452"/>
                </a:cxn>
                <a:cxn ang="0">
                  <a:pos x="143" y="414"/>
                </a:cxn>
                <a:cxn ang="0">
                  <a:pos x="111" y="380"/>
                </a:cxn>
                <a:cxn ang="0">
                  <a:pos x="86" y="395"/>
                </a:cxn>
                <a:cxn ang="0">
                  <a:pos x="63" y="385"/>
                </a:cxn>
                <a:cxn ang="0">
                  <a:pos x="44" y="355"/>
                </a:cxn>
                <a:cxn ang="0">
                  <a:pos x="6" y="342"/>
                </a:cxn>
                <a:cxn ang="0">
                  <a:pos x="6" y="315"/>
                </a:cxn>
                <a:cxn ang="0">
                  <a:pos x="21" y="302"/>
                </a:cxn>
                <a:cxn ang="0">
                  <a:pos x="34" y="277"/>
                </a:cxn>
                <a:cxn ang="0">
                  <a:pos x="40" y="254"/>
                </a:cxn>
                <a:cxn ang="0">
                  <a:pos x="48" y="231"/>
                </a:cxn>
                <a:cxn ang="0">
                  <a:pos x="61" y="214"/>
                </a:cxn>
                <a:cxn ang="0">
                  <a:pos x="59" y="187"/>
                </a:cxn>
                <a:cxn ang="0">
                  <a:pos x="52" y="160"/>
                </a:cxn>
                <a:cxn ang="0">
                  <a:pos x="57" y="137"/>
                </a:cxn>
                <a:cxn ang="0">
                  <a:pos x="65" y="111"/>
                </a:cxn>
                <a:cxn ang="0">
                  <a:pos x="78" y="80"/>
                </a:cxn>
                <a:cxn ang="0">
                  <a:pos x="71" y="52"/>
                </a:cxn>
                <a:cxn ang="0">
                  <a:pos x="59" y="23"/>
                </a:cxn>
                <a:cxn ang="0">
                  <a:pos x="52" y="0"/>
                </a:cxn>
                <a:cxn ang="0">
                  <a:pos x="94" y="6"/>
                </a:cxn>
                <a:cxn ang="0">
                  <a:pos x="111" y="25"/>
                </a:cxn>
                <a:cxn ang="0">
                  <a:pos x="120" y="52"/>
                </a:cxn>
                <a:cxn ang="0">
                  <a:pos x="124" y="61"/>
                </a:cxn>
                <a:cxn ang="0">
                  <a:pos x="134" y="73"/>
                </a:cxn>
                <a:cxn ang="0">
                  <a:pos x="134" y="170"/>
                </a:cxn>
                <a:cxn ang="0">
                  <a:pos x="124" y="202"/>
                </a:cxn>
                <a:cxn ang="0">
                  <a:pos x="113" y="225"/>
                </a:cxn>
                <a:cxn ang="0">
                  <a:pos x="118" y="242"/>
                </a:cxn>
                <a:cxn ang="0">
                  <a:pos x="128" y="271"/>
                </a:cxn>
                <a:cxn ang="0">
                  <a:pos x="134" y="319"/>
                </a:cxn>
                <a:cxn ang="0">
                  <a:pos x="143" y="332"/>
                </a:cxn>
                <a:cxn ang="0">
                  <a:pos x="149" y="345"/>
                </a:cxn>
                <a:cxn ang="0">
                  <a:pos x="143" y="359"/>
                </a:cxn>
                <a:cxn ang="0">
                  <a:pos x="149" y="376"/>
                </a:cxn>
                <a:cxn ang="0">
                  <a:pos x="162" y="380"/>
                </a:cxn>
                <a:cxn ang="0">
                  <a:pos x="166" y="368"/>
                </a:cxn>
                <a:cxn ang="0">
                  <a:pos x="179" y="374"/>
                </a:cxn>
                <a:cxn ang="0">
                  <a:pos x="189" y="378"/>
                </a:cxn>
                <a:cxn ang="0">
                  <a:pos x="191" y="366"/>
                </a:cxn>
              </a:cxnLst>
              <a:rect l="0" t="0" r="r" b="b"/>
              <a:pathLst>
                <a:path w="233" h="580">
                  <a:moveTo>
                    <a:pt x="189" y="378"/>
                  </a:moveTo>
                  <a:lnTo>
                    <a:pt x="189" y="378"/>
                  </a:lnTo>
                  <a:lnTo>
                    <a:pt x="197" y="382"/>
                  </a:lnTo>
                  <a:lnTo>
                    <a:pt x="202" y="385"/>
                  </a:lnTo>
                  <a:lnTo>
                    <a:pt x="210" y="393"/>
                  </a:lnTo>
                  <a:lnTo>
                    <a:pt x="218" y="401"/>
                  </a:lnTo>
                  <a:lnTo>
                    <a:pt x="223" y="410"/>
                  </a:lnTo>
                  <a:lnTo>
                    <a:pt x="227" y="418"/>
                  </a:lnTo>
                  <a:lnTo>
                    <a:pt x="231" y="427"/>
                  </a:lnTo>
                  <a:lnTo>
                    <a:pt x="233" y="435"/>
                  </a:lnTo>
                  <a:lnTo>
                    <a:pt x="233" y="435"/>
                  </a:lnTo>
                  <a:lnTo>
                    <a:pt x="233" y="437"/>
                  </a:lnTo>
                  <a:lnTo>
                    <a:pt x="231" y="439"/>
                  </a:lnTo>
                  <a:lnTo>
                    <a:pt x="229" y="439"/>
                  </a:lnTo>
                  <a:lnTo>
                    <a:pt x="227" y="441"/>
                  </a:lnTo>
                  <a:lnTo>
                    <a:pt x="225" y="443"/>
                  </a:lnTo>
                  <a:lnTo>
                    <a:pt x="225" y="445"/>
                  </a:lnTo>
                  <a:lnTo>
                    <a:pt x="223" y="447"/>
                  </a:lnTo>
                  <a:lnTo>
                    <a:pt x="223" y="448"/>
                  </a:lnTo>
                  <a:lnTo>
                    <a:pt x="227" y="483"/>
                  </a:lnTo>
                  <a:lnTo>
                    <a:pt x="227" y="483"/>
                  </a:lnTo>
                  <a:lnTo>
                    <a:pt x="227" y="487"/>
                  </a:lnTo>
                  <a:lnTo>
                    <a:pt x="227" y="490"/>
                  </a:lnTo>
                  <a:lnTo>
                    <a:pt x="227" y="492"/>
                  </a:lnTo>
                  <a:lnTo>
                    <a:pt x="227" y="496"/>
                  </a:lnTo>
                  <a:lnTo>
                    <a:pt x="227" y="500"/>
                  </a:lnTo>
                  <a:lnTo>
                    <a:pt x="227" y="504"/>
                  </a:lnTo>
                  <a:lnTo>
                    <a:pt x="227" y="508"/>
                  </a:lnTo>
                  <a:lnTo>
                    <a:pt x="225" y="511"/>
                  </a:lnTo>
                  <a:lnTo>
                    <a:pt x="225" y="511"/>
                  </a:lnTo>
                  <a:lnTo>
                    <a:pt x="223" y="513"/>
                  </a:lnTo>
                  <a:lnTo>
                    <a:pt x="221" y="515"/>
                  </a:lnTo>
                  <a:lnTo>
                    <a:pt x="220" y="517"/>
                  </a:lnTo>
                  <a:lnTo>
                    <a:pt x="218" y="517"/>
                  </a:lnTo>
                  <a:lnTo>
                    <a:pt x="214" y="517"/>
                  </a:lnTo>
                  <a:lnTo>
                    <a:pt x="212" y="517"/>
                  </a:lnTo>
                  <a:lnTo>
                    <a:pt x="208" y="517"/>
                  </a:lnTo>
                  <a:lnTo>
                    <a:pt x="204" y="517"/>
                  </a:lnTo>
                  <a:lnTo>
                    <a:pt x="204" y="517"/>
                  </a:lnTo>
                  <a:lnTo>
                    <a:pt x="202" y="517"/>
                  </a:lnTo>
                  <a:lnTo>
                    <a:pt x="199" y="521"/>
                  </a:lnTo>
                  <a:lnTo>
                    <a:pt x="195" y="525"/>
                  </a:lnTo>
                  <a:lnTo>
                    <a:pt x="189" y="529"/>
                  </a:lnTo>
                  <a:lnTo>
                    <a:pt x="183" y="532"/>
                  </a:lnTo>
                  <a:lnTo>
                    <a:pt x="178" y="538"/>
                  </a:lnTo>
                  <a:lnTo>
                    <a:pt x="174" y="542"/>
                  </a:lnTo>
                  <a:lnTo>
                    <a:pt x="174" y="546"/>
                  </a:lnTo>
                  <a:lnTo>
                    <a:pt x="174" y="546"/>
                  </a:lnTo>
                  <a:lnTo>
                    <a:pt x="174" y="548"/>
                  </a:lnTo>
                  <a:lnTo>
                    <a:pt x="174" y="550"/>
                  </a:lnTo>
                  <a:lnTo>
                    <a:pt x="176" y="551"/>
                  </a:lnTo>
                  <a:lnTo>
                    <a:pt x="178" y="553"/>
                  </a:lnTo>
                  <a:lnTo>
                    <a:pt x="178" y="553"/>
                  </a:lnTo>
                  <a:lnTo>
                    <a:pt x="178" y="555"/>
                  </a:lnTo>
                  <a:lnTo>
                    <a:pt x="176" y="557"/>
                  </a:lnTo>
                  <a:lnTo>
                    <a:pt x="176" y="559"/>
                  </a:lnTo>
                  <a:lnTo>
                    <a:pt x="174" y="561"/>
                  </a:lnTo>
                  <a:lnTo>
                    <a:pt x="174" y="563"/>
                  </a:lnTo>
                  <a:lnTo>
                    <a:pt x="174" y="565"/>
                  </a:lnTo>
                  <a:lnTo>
                    <a:pt x="174" y="567"/>
                  </a:lnTo>
                  <a:lnTo>
                    <a:pt x="174" y="569"/>
                  </a:lnTo>
                  <a:lnTo>
                    <a:pt x="174" y="569"/>
                  </a:lnTo>
                  <a:lnTo>
                    <a:pt x="174" y="572"/>
                  </a:lnTo>
                  <a:lnTo>
                    <a:pt x="174" y="574"/>
                  </a:lnTo>
                  <a:lnTo>
                    <a:pt x="174" y="578"/>
                  </a:lnTo>
                  <a:lnTo>
                    <a:pt x="174" y="580"/>
                  </a:lnTo>
                  <a:lnTo>
                    <a:pt x="174" y="580"/>
                  </a:lnTo>
                  <a:lnTo>
                    <a:pt x="168" y="576"/>
                  </a:lnTo>
                  <a:lnTo>
                    <a:pt x="160" y="572"/>
                  </a:lnTo>
                  <a:lnTo>
                    <a:pt x="153" y="563"/>
                  </a:lnTo>
                  <a:lnTo>
                    <a:pt x="145" y="553"/>
                  </a:lnTo>
                  <a:lnTo>
                    <a:pt x="137" y="544"/>
                  </a:lnTo>
                  <a:lnTo>
                    <a:pt x="132" y="532"/>
                  </a:lnTo>
                  <a:lnTo>
                    <a:pt x="128" y="523"/>
                  </a:lnTo>
                  <a:lnTo>
                    <a:pt x="126" y="515"/>
                  </a:lnTo>
                  <a:lnTo>
                    <a:pt x="126" y="515"/>
                  </a:lnTo>
                  <a:lnTo>
                    <a:pt x="126" y="511"/>
                  </a:lnTo>
                  <a:lnTo>
                    <a:pt x="126" y="506"/>
                  </a:lnTo>
                  <a:lnTo>
                    <a:pt x="128" y="502"/>
                  </a:lnTo>
                  <a:lnTo>
                    <a:pt x="130" y="498"/>
                  </a:lnTo>
                  <a:lnTo>
                    <a:pt x="132" y="492"/>
                  </a:lnTo>
                  <a:lnTo>
                    <a:pt x="134" y="489"/>
                  </a:lnTo>
                  <a:lnTo>
                    <a:pt x="136" y="485"/>
                  </a:lnTo>
                  <a:lnTo>
                    <a:pt x="137" y="479"/>
                  </a:lnTo>
                  <a:lnTo>
                    <a:pt x="139" y="475"/>
                  </a:lnTo>
                  <a:lnTo>
                    <a:pt x="143" y="471"/>
                  </a:lnTo>
                  <a:lnTo>
                    <a:pt x="145" y="468"/>
                  </a:lnTo>
                  <a:lnTo>
                    <a:pt x="147" y="462"/>
                  </a:lnTo>
                  <a:lnTo>
                    <a:pt x="147" y="458"/>
                  </a:lnTo>
                  <a:lnTo>
                    <a:pt x="149" y="452"/>
                  </a:lnTo>
                  <a:lnTo>
                    <a:pt x="149" y="448"/>
                  </a:lnTo>
                  <a:lnTo>
                    <a:pt x="149" y="443"/>
                  </a:lnTo>
                  <a:lnTo>
                    <a:pt x="149" y="443"/>
                  </a:lnTo>
                  <a:lnTo>
                    <a:pt x="149" y="433"/>
                  </a:lnTo>
                  <a:lnTo>
                    <a:pt x="147" y="424"/>
                  </a:lnTo>
                  <a:lnTo>
                    <a:pt x="143" y="414"/>
                  </a:lnTo>
                  <a:lnTo>
                    <a:pt x="139" y="403"/>
                  </a:lnTo>
                  <a:lnTo>
                    <a:pt x="134" y="395"/>
                  </a:lnTo>
                  <a:lnTo>
                    <a:pt x="126" y="387"/>
                  </a:lnTo>
                  <a:lnTo>
                    <a:pt x="118" y="382"/>
                  </a:lnTo>
                  <a:lnTo>
                    <a:pt x="111" y="380"/>
                  </a:lnTo>
                  <a:lnTo>
                    <a:pt x="111" y="380"/>
                  </a:lnTo>
                  <a:lnTo>
                    <a:pt x="105" y="382"/>
                  </a:lnTo>
                  <a:lnTo>
                    <a:pt x="101" y="384"/>
                  </a:lnTo>
                  <a:lnTo>
                    <a:pt x="97" y="385"/>
                  </a:lnTo>
                  <a:lnTo>
                    <a:pt x="94" y="389"/>
                  </a:lnTo>
                  <a:lnTo>
                    <a:pt x="90" y="391"/>
                  </a:lnTo>
                  <a:lnTo>
                    <a:pt x="86" y="395"/>
                  </a:lnTo>
                  <a:lnTo>
                    <a:pt x="82" y="397"/>
                  </a:lnTo>
                  <a:lnTo>
                    <a:pt x="78" y="397"/>
                  </a:lnTo>
                  <a:lnTo>
                    <a:pt x="78" y="397"/>
                  </a:lnTo>
                  <a:lnTo>
                    <a:pt x="73" y="395"/>
                  </a:lnTo>
                  <a:lnTo>
                    <a:pt x="69" y="391"/>
                  </a:lnTo>
                  <a:lnTo>
                    <a:pt x="63" y="385"/>
                  </a:lnTo>
                  <a:lnTo>
                    <a:pt x="59" y="378"/>
                  </a:lnTo>
                  <a:lnTo>
                    <a:pt x="54" y="370"/>
                  </a:lnTo>
                  <a:lnTo>
                    <a:pt x="50" y="365"/>
                  </a:lnTo>
                  <a:lnTo>
                    <a:pt x="46" y="359"/>
                  </a:lnTo>
                  <a:lnTo>
                    <a:pt x="44" y="355"/>
                  </a:lnTo>
                  <a:lnTo>
                    <a:pt x="44" y="355"/>
                  </a:lnTo>
                  <a:lnTo>
                    <a:pt x="38" y="351"/>
                  </a:lnTo>
                  <a:lnTo>
                    <a:pt x="31" y="349"/>
                  </a:lnTo>
                  <a:lnTo>
                    <a:pt x="25" y="347"/>
                  </a:lnTo>
                  <a:lnTo>
                    <a:pt x="17" y="345"/>
                  </a:lnTo>
                  <a:lnTo>
                    <a:pt x="10" y="344"/>
                  </a:lnTo>
                  <a:lnTo>
                    <a:pt x="6" y="342"/>
                  </a:lnTo>
                  <a:lnTo>
                    <a:pt x="2" y="336"/>
                  </a:lnTo>
                  <a:lnTo>
                    <a:pt x="0" y="326"/>
                  </a:lnTo>
                  <a:lnTo>
                    <a:pt x="0" y="326"/>
                  </a:lnTo>
                  <a:lnTo>
                    <a:pt x="2" y="323"/>
                  </a:lnTo>
                  <a:lnTo>
                    <a:pt x="4" y="319"/>
                  </a:lnTo>
                  <a:lnTo>
                    <a:pt x="6" y="315"/>
                  </a:lnTo>
                  <a:lnTo>
                    <a:pt x="10" y="313"/>
                  </a:lnTo>
                  <a:lnTo>
                    <a:pt x="12" y="309"/>
                  </a:lnTo>
                  <a:lnTo>
                    <a:pt x="15" y="307"/>
                  </a:lnTo>
                  <a:lnTo>
                    <a:pt x="19" y="305"/>
                  </a:lnTo>
                  <a:lnTo>
                    <a:pt x="21" y="302"/>
                  </a:lnTo>
                  <a:lnTo>
                    <a:pt x="21" y="302"/>
                  </a:lnTo>
                  <a:lnTo>
                    <a:pt x="23" y="296"/>
                  </a:lnTo>
                  <a:lnTo>
                    <a:pt x="27" y="290"/>
                  </a:lnTo>
                  <a:lnTo>
                    <a:pt x="29" y="286"/>
                  </a:lnTo>
                  <a:lnTo>
                    <a:pt x="31" y="284"/>
                  </a:lnTo>
                  <a:lnTo>
                    <a:pt x="33" y="281"/>
                  </a:lnTo>
                  <a:lnTo>
                    <a:pt x="34" y="277"/>
                  </a:lnTo>
                  <a:lnTo>
                    <a:pt x="36" y="273"/>
                  </a:lnTo>
                  <a:lnTo>
                    <a:pt x="38" y="269"/>
                  </a:lnTo>
                  <a:lnTo>
                    <a:pt x="38" y="269"/>
                  </a:lnTo>
                  <a:lnTo>
                    <a:pt x="40" y="263"/>
                  </a:lnTo>
                  <a:lnTo>
                    <a:pt x="40" y="258"/>
                  </a:lnTo>
                  <a:lnTo>
                    <a:pt x="40" y="254"/>
                  </a:lnTo>
                  <a:lnTo>
                    <a:pt x="40" y="248"/>
                  </a:lnTo>
                  <a:lnTo>
                    <a:pt x="42" y="244"/>
                  </a:lnTo>
                  <a:lnTo>
                    <a:pt x="42" y="239"/>
                  </a:lnTo>
                  <a:lnTo>
                    <a:pt x="44" y="235"/>
                  </a:lnTo>
                  <a:lnTo>
                    <a:pt x="48" y="231"/>
                  </a:lnTo>
                  <a:lnTo>
                    <a:pt x="48" y="231"/>
                  </a:lnTo>
                  <a:lnTo>
                    <a:pt x="50" y="227"/>
                  </a:lnTo>
                  <a:lnTo>
                    <a:pt x="54" y="225"/>
                  </a:lnTo>
                  <a:lnTo>
                    <a:pt x="55" y="223"/>
                  </a:lnTo>
                  <a:lnTo>
                    <a:pt x="57" y="220"/>
                  </a:lnTo>
                  <a:lnTo>
                    <a:pt x="59" y="218"/>
                  </a:lnTo>
                  <a:lnTo>
                    <a:pt x="61" y="214"/>
                  </a:lnTo>
                  <a:lnTo>
                    <a:pt x="61" y="210"/>
                  </a:lnTo>
                  <a:lnTo>
                    <a:pt x="63" y="206"/>
                  </a:lnTo>
                  <a:lnTo>
                    <a:pt x="63" y="206"/>
                  </a:lnTo>
                  <a:lnTo>
                    <a:pt x="61" y="199"/>
                  </a:lnTo>
                  <a:lnTo>
                    <a:pt x="61" y="193"/>
                  </a:lnTo>
                  <a:lnTo>
                    <a:pt x="59" y="187"/>
                  </a:lnTo>
                  <a:lnTo>
                    <a:pt x="57" y="183"/>
                  </a:lnTo>
                  <a:lnTo>
                    <a:pt x="55" y="178"/>
                  </a:lnTo>
                  <a:lnTo>
                    <a:pt x="54" y="172"/>
                  </a:lnTo>
                  <a:lnTo>
                    <a:pt x="52" y="168"/>
                  </a:lnTo>
                  <a:lnTo>
                    <a:pt x="52" y="160"/>
                  </a:lnTo>
                  <a:lnTo>
                    <a:pt x="52" y="160"/>
                  </a:lnTo>
                  <a:lnTo>
                    <a:pt x="52" y="157"/>
                  </a:lnTo>
                  <a:lnTo>
                    <a:pt x="52" y="153"/>
                  </a:lnTo>
                  <a:lnTo>
                    <a:pt x="54" y="149"/>
                  </a:lnTo>
                  <a:lnTo>
                    <a:pt x="55" y="145"/>
                  </a:lnTo>
                  <a:lnTo>
                    <a:pt x="55" y="141"/>
                  </a:lnTo>
                  <a:lnTo>
                    <a:pt x="57" y="137"/>
                  </a:lnTo>
                  <a:lnTo>
                    <a:pt x="57" y="134"/>
                  </a:lnTo>
                  <a:lnTo>
                    <a:pt x="57" y="130"/>
                  </a:lnTo>
                  <a:lnTo>
                    <a:pt x="57" y="130"/>
                  </a:lnTo>
                  <a:lnTo>
                    <a:pt x="59" y="124"/>
                  </a:lnTo>
                  <a:lnTo>
                    <a:pt x="61" y="116"/>
                  </a:lnTo>
                  <a:lnTo>
                    <a:pt x="65" y="111"/>
                  </a:lnTo>
                  <a:lnTo>
                    <a:pt x="69" y="105"/>
                  </a:lnTo>
                  <a:lnTo>
                    <a:pt x="73" y="99"/>
                  </a:lnTo>
                  <a:lnTo>
                    <a:pt x="75" y="94"/>
                  </a:lnTo>
                  <a:lnTo>
                    <a:pt x="78" y="88"/>
                  </a:lnTo>
                  <a:lnTo>
                    <a:pt x="78" y="80"/>
                  </a:lnTo>
                  <a:lnTo>
                    <a:pt x="78" y="80"/>
                  </a:lnTo>
                  <a:lnTo>
                    <a:pt x="78" y="76"/>
                  </a:lnTo>
                  <a:lnTo>
                    <a:pt x="78" y="71"/>
                  </a:lnTo>
                  <a:lnTo>
                    <a:pt x="76" y="67"/>
                  </a:lnTo>
                  <a:lnTo>
                    <a:pt x="75" y="61"/>
                  </a:lnTo>
                  <a:lnTo>
                    <a:pt x="73" y="57"/>
                  </a:lnTo>
                  <a:lnTo>
                    <a:pt x="71" y="52"/>
                  </a:lnTo>
                  <a:lnTo>
                    <a:pt x="69" y="46"/>
                  </a:lnTo>
                  <a:lnTo>
                    <a:pt x="67" y="42"/>
                  </a:lnTo>
                  <a:lnTo>
                    <a:pt x="65" y="36"/>
                  </a:lnTo>
                  <a:lnTo>
                    <a:pt x="63" y="33"/>
                  </a:lnTo>
                  <a:lnTo>
                    <a:pt x="61" y="27"/>
                  </a:lnTo>
                  <a:lnTo>
                    <a:pt x="59" y="23"/>
                  </a:lnTo>
                  <a:lnTo>
                    <a:pt x="57" y="17"/>
                  </a:lnTo>
                  <a:lnTo>
                    <a:pt x="55" y="12"/>
                  </a:lnTo>
                  <a:lnTo>
                    <a:pt x="55" y="8"/>
                  </a:lnTo>
                  <a:lnTo>
                    <a:pt x="55" y="2"/>
                  </a:lnTo>
                  <a:lnTo>
                    <a:pt x="52" y="0"/>
                  </a:lnTo>
                  <a:lnTo>
                    <a:pt x="52" y="0"/>
                  </a:lnTo>
                  <a:lnTo>
                    <a:pt x="57" y="2"/>
                  </a:lnTo>
                  <a:lnTo>
                    <a:pt x="65" y="4"/>
                  </a:lnTo>
                  <a:lnTo>
                    <a:pt x="71" y="6"/>
                  </a:lnTo>
                  <a:lnTo>
                    <a:pt x="78" y="6"/>
                  </a:lnTo>
                  <a:lnTo>
                    <a:pt x="86" y="6"/>
                  </a:lnTo>
                  <a:lnTo>
                    <a:pt x="94" y="6"/>
                  </a:lnTo>
                  <a:lnTo>
                    <a:pt x="101" y="6"/>
                  </a:lnTo>
                  <a:lnTo>
                    <a:pt x="109" y="4"/>
                  </a:lnTo>
                  <a:lnTo>
                    <a:pt x="109" y="4"/>
                  </a:lnTo>
                  <a:lnTo>
                    <a:pt x="109" y="12"/>
                  </a:lnTo>
                  <a:lnTo>
                    <a:pt x="111" y="19"/>
                  </a:lnTo>
                  <a:lnTo>
                    <a:pt x="111" y="25"/>
                  </a:lnTo>
                  <a:lnTo>
                    <a:pt x="113" y="31"/>
                  </a:lnTo>
                  <a:lnTo>
                    <a:pt x="113" y="34"/>
                  </a:lnTo>
                  <a:lnTo>
                    <a:pt x="115" y="40"/>
                  </a:lnTo>
                  <a:lnTo>
                    <a:pt x="118" y="46"/>
                  </a:lnTo>
                  <a:lnTo>
                    <a:pt x="120" y="52"/>
                  </a:lnTo>
                  <a:lnTo>
                    <a:pt x="120" y="52"/>
                  </a:lnTo>
                  <a:lnTo>
                    <a:pt x="120" y="54"/>
                  </a:lnTo>
                  <a:lnTo>
                    <a:pt x="120" y="57"/>
                  </a:lnTo>
                  <a:lnTo>
                    <a:pt x="120" y="59"/>
                  </a:lnTo>
                  <a:lnTo>
                    <a:pt x="122" y="61"/>
                  </a:lnTo>
                  <a:lnTo>
                    <a:pt x="122" y="61"/>
                  </a:lnTo>
                  <a:lnTo>
                    <a:pt x="124" y="61"/>
                  </a:lnTo>
                  <a:lnTo>
                    <a:pt x="126" y="63"/>
                  </a:lnTo>
                  <a:lnTo>
                    <a:pt x="128" y="65"/>
                  </a:lnTo>
                  <a:lnTo>
                    <a:pt x="128" y="67"/>
                  </a:lnTo>
                  <a:lnTo>
                    <a:pt x="130" y="69"/>
                  </a:lnTo>
                  <a:lnTo>
                    <a:pt x="132" y="71"/>
                  </a:lnTo>
                  <a:lnTo>
                    <a:pt x="134" y="73"/>
                  </a:lnTo>
                  <a:lnTo>
                    <a:pt x="137" y="75"/>
                  </a:lnTo>
                  <a:lnTo>
                    <a:pt x="137" y="160"/>
                  </a:lnTo>
                  <a:lnTo>
                    <a:pt x="137" y="160"/>
                  </a:lnTo>
                  <a:lnTo>
                    <a:pt x="136" y="162"/>
                  </a:lnTo>
                  <a:lnTo>
                    <a:pt x="136" y="166"/>
                  </a:lnTo>
                  <a:lnTo>
                    <a:pt x="134" y="170"/>
                  </a:lnTo>
                  <a:lnTo>
                    <a:pt x="134" y="174"/>
                  </a:lnTo>
                  <a:lnTo>
                    <a:pt x="132" y="179"/>
                  </a:lnTo>
                  <a:lnTo>
                    <a:pt x="130" y="185"/>
                  </a:lnTo>
                  <a:lnTo>
                    <a:pt x="128" y="191"/>
                  </a:lnTo>
                  <a:lnTo>
                    <a:pt x="126" y="197"/>
                  </a:lnTo>
                  <a:lnTo>
                    <a:pt x="124" y="202"/>
                  </a:lnTo>
                  <a:lnTo>
                    <a:pt x="122" y="208"/>
                  </a:lnTo>
                  <a:lnTo>
                    <a:pt x="120" y="212"/>
                  </a:lnTo>
                  <a:lnTo>
                    <a:pt x="118" y="218"/>
                  </a:lnTo>
                  <a:lnTo>
                    <a:pt x="116" y="221"/>
                  </a:lnTo>
                  <a:lnTo>
                    <a:pt x="115" y="223"/>
                  </a:lnTo>
                  <a:lnTo>
                    <a:pt x="113" y="225"/>
                  </a:lnTo>
                  <a:lnTo>
                    <a:pt x="111" y="225"/>
                  </a:lnTo>
                  <a:lnTo>
                    <a:pt x="111" y="225"/>
                  </a:lnTo>
                  <a:lnTo>
                    <a:pt x="111" y="231"/>
                  </a:lnTo>
                  <a:lnTo>
                    <a:pt x="113" y="235"/>
                  </a:lnTo>
                  <a:lnTo>
                    <a:pt x="116" y="239"/>
                  </a:lnTo>
                  <a:lnTo>
                    <a:pt x="118" y="242"/>
                  </a:lnTo>
                  <a:lnTo>
                    <a:pt x="122" y="246"/>
                  </a:lnTo>
                  <a:lnTo>
                    <a:pt x="124" y="252"/>
                  </a:lnTo>
                  <a:lnTo>
                    <a:pt x="126" y="256"/>
                  </a:lnTo>
                  <a:lnTo>
                    <a:pt x="128" y="263"/>
                  </a:lnTo>
                  <a:lnTo>
                    <a:pt x="128" y="263"/>
                  </a:lnTo>
                  <a:lnTo>
                    <a:pt x="128" y="271"/>
                  </a:lnTo>
                  <a:lnTo>
                    <a:pt x="128" y="279"/>
                  </a:lnTo>
                  <a:lnTo>
                    <a:pt x="128" y="286"/>
                  </a:lnTo>
                  <a:lnTo>
                    <a:pt x="128" y="296"/>
                  </a:lnTo>
                  <a:lnTo>
                    <a:pt x="130" y="303"/>
                  </a:lnTo>
                  <a:lnTo>
                    <a:pt x="132" y="311"/>
                  </a:lnTo>
                  <a:lnTo>
                    <a:pt x="134" y="319"/>
                  </a:lnTo>
                  <a:lnTo>
                    <a:pt x="137" y="326"/>
                  </a:lnTo>
                  <a:lnTo>
                    <a:pt x="137" y="326"/>
                  </a:lnTo>
                  <a:lnTo>
                    <a:pt x="139" y="328"/>
                  </a:lnTo>
                  <a:lnTo>
                    <a:pt x="141" y="330"/>
                  </a:lnTo>
                  <a:lnTo>
                    <a:pt x="143" y="332"/>
                  </a:lnTo>
                  <a:lnTo>
                    <a:pt x="143" y="332"/>
                  </a:lnTo>
                  <a:lnTo>
                    <a:pt x="145" y="334"/>
                  </a:lnTo>
                  <a:lnTo>
                    <a:pt x="147" y="336"/>
                  </a:lnTo>
                  <a:lnTo>
                    <a:pt x="149" y="340"/>
                  </a:lnTo>
                  <a:lnTo>
                    <a:pt x="149" y="344"/>
                  </a:lnTo>
                  <a:lnTo>
                    <a:pt x="149" y="344"/>
                  </a:lnTo>
                  <a:lnTo>
                    <a:pt x="149" y="345"/>
                  </a:lnTo>
                  <a:lnTo>
                    <a:pt x="147" y="347"/>
                  </a:lnTo>
                  <a:lnTo>
                    <a:pt x="147" y="349"/>
                  </a:lnTo>
                  <a:lnTo>
                    <a:pt x="147" y="351"/>
                  </a:lnTo>
                  <a:lnTo>
                    <a:pt x="145" y="355"/>
                  </a:lnTo>
                  <a:lnTo>
                    <a:pt x="145" y="357"/>
                  </a:lnTo>
                  <a:lnTo>
                    <a:pt x="143" y="359"/>
                  </a:lnTo>
                  <a:lnTo>
                    <a:pt x="143" y="363"/>
                  </a:lnTo>
                  <a:lnTo>
                    <a:pt x="143" y="363"/>
                  </a:lnTo>
                  <a:lnTo>
                    <a:pt x="143" y="365"/>
                  </a:lnTo>
                  <a:lnTo>
                    <a:pt x="145" y="368"/>
                  </a:lnTo>
                  <a:lnTo>
                    <a:pt x="147" y="372"/>
                  </a:lnTo>
                  <a:lnTo>
                    <a:pt x="149" y="376"/>
                  </a:lnTo>
                  <a:lnTo>
                    <a:pt x="151" y="378"/>
                  </a:lnTo>
                  <a:lnTo>
                    <a:pt x="155" y="380"/>
                  </a:lnTo>
                  <a:lnTo>
                    <a:pt x="158" y="382"/>
                  </a:lnTo>
                  <a:lnTo>
                    <a:pt x="162" y="382"/>
                  </a:lnTo>
                  <a:lnTo>
                    <a:pt x="162" y="382"/>
                  </a:lnTo>
                  <a:lnTo>
                    <a:pt x="162" y="380"/>
                  </a:lnTo>
                  <a:lnTo>
                    <a:pt x="162" y="378"/>
                  </a:lnTo>
                  <a:lnTo>
                    <a:pt x="162" y="376"/>
                  </a:lnTo>
                  <a:lnTo>
                    <a:pt x="162" y="374"/>
                  </a:lnTo>
                  <a:lnTo>
                    <a:pt x="164" y="372"/>
                  </a:lnTo>
                  <a:lnTo>
                    <a:pt x="164" y="370"/>
                  </a:lnTo>
                  <a:lnTo>
                    <a:pt x="166" y="368"/>
                  </a:lnTo>
                  <a:lnTo>
                    <a:pt x="168" y="366"/>
                  </a:lnTo>
                  <a:lnTo>
                    <a:pt x="168" y="366"/>
                  </a:lnTo>
                  <a:lnTo>
                    <a:pt x="170" y="368"/>
                  </a:lnTo>
                  <a:lnTo>
                    <a:pt x="174" y="370"/>
                  </a:lnTo>
                  <a:lnTo>
                    <a:pt x="176" y="372"/>
                  </a:lnTo>
                  <a:lnTo>
                    <a:pt x="179" y="374"/>
                  </a:lnTo>
                  <a:lnTo>
                    <a:pt x="181" y="376"/>
                  </a:lnTo>
                  <a:lnTo>
                    <a:pt x="185" y="378"/>
                  </a:lnTo>
                  <a:lnTo>
                    <a:pt x="187" y="380"/>
                  </a:lnTo>
                  <a:lnTo>
                    <a:pt x="191" y="380"/>
                  </a:lnTo>
                  <a:lnTo>
                    <a:pt x="191" y="380"/>
                  </a:lnTo>
                  <a:lnTo>
                    <a:pt x="189" y="378"/>
                  </a:lnTo>
                  <a:lnTo>
                    <a:pt x="187" y="376"/>
                  </a:lnTo>
                  <a:lnTo>
                    <a:pt x="187" y="374"/>
                  </a:lnTo>
                  <a:lnTo>
                    <a:pt x="189" y="372"/>
                  </a:lnTo>
                  <a:lnTo>
                    <a:pt x="189" y="370"/>
                  </a:lnTo>
                  <a:lnTo>
                    <a:pt x="189" y="368"/>
                  </a:lnTo>
                  <a:lnTo>
                    <a:pt x="191" y="366"/>
                  </a:lnTo>
                  <a:lnTo>
                    <a:pt x="191" y="363"/>
                  </a:lnTo>
                  <a:lnTo>
                    <a:pt x="191" y="363"/>
                  </a:lnTo>
                  <a:lnTo>
                    <a:pt x="189" y="378"/>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3" name="Freeform 217"/>
            <p:cNvSpPr>
              <a:spLocks/>
            </p:cNvSpPr>
            <p:nvPr/>
          </p:nvSpPr>
          <p:spPr bwMode="gray">
            <a:xfrm>
              <a:off x="2908" y="2809"/>
              <a:ext cx="475" cy="729"/>
            </a:xfrm>
            <a:custGeom>
              <a:avLst/>
              <a:gdLst/>
              <a:ahLst/>
              <a:cxnLst>
                <a:cxn ang="0">
                  <a:pos x="437" y="380"/>
                </a:cxn>
                <a:cxn ang="0">
                  <a:pos x="431" y="435"/>
                </a:cxn>
                <a:cxn ang="0">
                  <a:pos x="416" y="460"/>
                </a:cxn>
                <a:cxn ang="0">
                  <a:pos x="378" y="489"/>
                </a:cxn>
                <a:cxn ang="0">
                  <a:pos x="378" y="510"/>
                </a:cxn>
                <a:cxn ang="0">
                  <a:pos x="341" y="487"/>
                </a:cxn>
                <a:cxn ang="0">
                  <a:pos x="341" y="422"/>
                </a:cxn>
                <a:cxn ang="0">
                  <a:pos x="347" y="357"/>
                </a:cxn>
                <a:cxn ang="0">
                  <a:pos x="290" y="338"/>
                </a:cxn>
                <a:cxn ang="0">
                  <a:pos x="248" y="298"/>
                </a:cxn>
                <a:cxn ang="0">
                  <a:pos x="153" y="330"/>
                </a:cxn>
                <a:cxn ang="0">
                  <a:pos x="86" y="349"/>
                </a:cxn>
                <a:cxn ang="0">
                  <a:pos x="32" y="369"/>
                </a:cxn>
                <a:cxn ang="0">
                  <a:pos x="4" y="405"/>
                </a:cxn>
                <a:cxn ang="0">
                  <a:pos x="8" y="430"/>
                </a:cxn>
                <a:cxn ang="0">
                  <a:pos x="101" y="491"/>
                </a:cxn>
                <a:cxn ang="0">
                  <a:pos x="206" y="563"/>
                </a:cxn>
                <a:cxn ang="0">
                  <a:pos x="187" y="664"/>
                </a:cxn>
                <a:cxn ang="0">
                  <a:pos x="189" y="748"/>
                </a:cxn>
                <a:cxn ang="0">
                  <a:pos x="172" y="804"/>
                </a:cxn>
                <a:cxn ang="0">
                  <a:pos x="143" y="857"/>
                </a:cxn>
                <a:cxn ang="0">
                  <a:pos x="107" y="914"/>
                </a:cxn>
                <a:cxn ang="0">
                  <a:pos x="50" y="966"/>
                </a:cxn>
                <a:cxn ang="0">
                  <a:pos x="65" y="1052"/>
                </a:cxn>
                <a:cxn ang="0">
                  <a:pos x="88" y="1114"/>
                </a:cxn>
                <a:cxn ang="0">
                  <a:pos x="88" y="1164"/>
                </a:cxn>
                <a:cxn ang="0">
                  <a:pos x="76" y="1246"/>
                </a:cxn>
                <a:cxn ang="0">
                  <a:pos x="84" y="1275"/>
                </a:cxn>
                <a:cxn ang="0">
                  <a:pos x="118" y="1326"/>
                </a:cxn>
                <a:cxn ang="0">
                  <a:pos x="151" y="1273"/>
                </a:cxn>
                <a:cxn ang="0">
                  <a:pos x="158" y="1227"/>
                </a:cxn>
                <a:cxn ang="0">
                  <a:pos x="216" y="1189"/>
                </a:cxn>
                <a:cxn ang="0">
                  <a:pos x="284" y="1168"/>
                </a:cxn>
                <a:cxn ang="0">
                  <a:pos x="351" y="1126"/>
                </a:cxn>
                <a:cxn ang="0">
                  <a:pos x="361" y="1073"/>
                </a:cxn>
                <a:cxn ang="0">
                  <a:pos x="370" y="1013"/>
                </a:cxn>
                <a:cxn ang="0">
                  <a:pos x="376" y="977"/>
                </a:cxn>
                <a:cxn ang="0">
                  <a:pos x="357" y="903"/>
                </a:cxn>
                <a:cxn ang="0">
                  <a:pos x="334" y="830"/>
                </a:cxn>
                <a:cxn ang="0">
                  <a:pos x="345" y="773"/>
                </a:cxn>
                <a:cxn ang="0">
                  <a:pos x="422" y="718"/>
                </a:cxn>
                <a:cxn ang="0">
                  <a:pos x="502" y="657"/>
                </a:cxn>
                <a:cxn ang="0">
                  <a:pos x="582" y="586"/>
                </a:cxn>
                <a:cxn ang="0">
                  <a:pos x="692" y="538"/>
                </a:cxn>
                <a:cxn ang="0">
                  <a:pos x="757" y="485"/>
                </a:cxn>
                <a:cxn ang="0">
                  <a:pos x="811" y="426"/>
                </a:cxn>
                <a:cxn ang="0">
                  <a:pos x="837" y="357"/>
                </a:cxn>
                <a:cxn ang="0">
                  <a:pos x="824" y="308"/>
                </a:cxn>
                <a:cxn ang="0">
                  <a:pos x="824" y="260"/>
                </a:cxn>
                <a:cxn ang="0">
                  <a:pos x="826" y="210"/>
                </a:cxn>
                <a:cxn ang="0">
                  <a:pos x="816" y="147"/>
                </a:cxn>
                <a:cxn ang="0">
                  <a:pos x="822" y="92"/>
                </a:cxn>
                <a:cxn ang="0">
                  <a:pos x="818" y="19"/>
                </a:cxn>
                <a:cxn ang="0">
                  <a:pos x="765" y="39"/>
                </a:cxn>
                <a:cxn ang="0">
                  <a:pos x="658" y="73"/>
                </a:cxn>
                <a:cxn ang="0">
                  <a:pos x="610" y="79"/>
                </a:cxn>
                <a:cxn ang="0">
                  <a:pos x="544" y="105"/>
                </a:cxn>
                <a:cxn ang="0">
                  <a:pos x="479" y="94"/>
                </a:cxn>
                <a:cxn ang="0">
                  <a:pos x="435" y="86"/>
                </a:cxn>
                <a:cxn ang="0">
                  <a:pos x="383" y="103"/>
                </a:cxn>
                <a:cxn ang="0">
                  <a:pos x="382" y="136"/>
                </a:cxn>
                <a:cxn ang="0">
                  <a:pos x="368" y="193"/>
                </a:cxn>
                <a:cxn ang="0">
                  <a:pos x="395" y="306"/>
                </a:cxn>
              </a:cxnLst>
              <a:rect l="0" t="0" r="r" b="b"/>
              <a:pathLst>
                <a:path w="837" h="1326">
                  <a:moveTo>
                    <a:pt x="393" y="321"/>
                  </a:moveTo>
                  <a:lnTo>
                    <a:pt x="393" y="321"/>
                  </a:lnTo>
                  <a:lnTo>
                    <a:pt x="401" y="325"/>
                  </a:lnTo>
                  <a:lnTo>
                    <a:pt x="406" y="328"/>
                  </a:lnTo>
                  <a:lnTo>
                    <a:pt x="414" y="336"/>
                  </a:lnTo>
                  <a:lnTo>
                    <a:pt x="422" y="344"/>
                  </a:lnTo>
                  <a:lnTo>
                    <a:pt x="427" y="353"/>
                  </a:lnTo>
                  <a:lnTo>
                    <a:pt x="431" y="361"/>
                  </a:lnTo>
                  <a:lnTo>
                    <a:pt x="435" y="370"/>
                  </a:lnTo>
                  <a:lnTo>
                    <a:pt x="437" y="378"/>
                  </a:lnTo>
                  <a:lnTo>
                    <a:pt x="437" y="378"/>
                  </a:lnTo>
                  <a:lnTo>
                    <a:pt x="437" y="380"/>
                  </a:lnTo>
                  <a:lnTo>
                    <a:pt x="435" y="382"/>
                  </a:lnTo>
                  <a:lnTo>
                    <a:pt x="433" y="382"/>
                  </a:lnTo>
                  <a:lnTo>
                    <a:pt x="431" y="384"/>
                  </a:lnTo>
                  <a:lnTo>
                    <a:pt x="429" y="386"/>
                  </a:lnTo>
                  <a:lnTo>
                    <a:pt x="429" y="388"/>
                  </a:lnTo>
                  <a:lnTo>
                    <a:pt x="427" y="390"/>
                  </a:lnTo>
                  <a:lnTo>
                    <a:pt x="427" y="391"/>
                  </a:lnTo>
                  <a:lnTo>
                    <a:pt x="431" y="426"/>
                  </a:lnTo>
                  <a:lnTo>
                    <a:pt x="431" y="426"/>
                  </a:lnTo>
                  <a:lnTo>
                    <a:pt x="431" y="430"/>
                  </a:lnTo>
                  <a:lnTo>
                    <a:pt x="431" y="433"/>
                  </a:lnTo>
                  <a:lnTo>
                    <a:pt x="431" y="435"/>
                  </a:lnTo>
                  <a:lnTo>
                    <a:pt x="431" y="439"/>
                  </a:lnTo>
                  <a:lnTo>
                    <a:pt x="431" y="443"/>
                  </a:lnTo>
                  <a:lnTo>
                    <a:pt x="431" y="447"/>
                  </a:lnTo>
                  <a:lnTo>
                    <a:pt x="431" y="451"/>
                  </a:lnTo>
                  <a:lnTo>
                    <a:pt x="429" y="454"/>
                  </a:lnTo>
                  <a:lnTo>
                    <a:pt x="429" y="454"/>
                  </a:lnTo>
                  <a:lnTo>
                    <a:pt x="427" y="456"/>
                  </a:lnTo>
                  <a:lnTo>
                    <a:pt x="425" y="458"/>
                  </a:lnTo>
                  <a:lnTo>
                    <a:pt x="424" y="460"/>
                  </a:lnTo>
                  <a:lnTo>
                    <a:pt x="422" y="460"/>
                  </a:lnTo>
                  <a:lnTo>
                    <a:pt x="418" y="460"/>
                  </a:lnTo>
                  <a:lnTo>
                    <a:pt x="416" y="460"/>
                  </a:lnTo>
                  <a:lnTo>
                    <a:pt x="412" y="460"/>
                  </a:lnTo>
                  <a:lnTo>
                    <a:pt x="408" y="460"/>
                  </a:lnTo>
                  <a:lnTo>
                    <a:pt x="408" y="460"/>
                  </a:lnTo>
                  <a:lnTo>
                    <a:pt x="406" y="460"/>
                  </a:lnTo>
                  <a:lnTo>
                    <a:pt x="403" y="464"/>
                  </a:lnTo>
                  <a:lnTo>
                    <a:pt x="399" y="468"/>
                  </a:lnTo>
                  <a:lnTo>
                    <a:pt x="393" y="472"/>
                  </a:lnTo>
                  <a:lnTo>
                    <a:pt x="387" y="475"/>
                  </a:lnTo>
                  <a:lnTo>
                    <a:pt x="382" y="481"/>
                  </a:lnTo>
                  <a:lnTo>
                    <a:pt x="378" y="485"/>
                  </a:lnTo>
                  <a:lnTo>
                    <a:pt x="378" y="489"/>
                  </a:lnTo>
                  <a:lnTo>
                    <a:pt x="378" y="489"/>
                  </a:lnTo>
                  <a:lnTo>
                    <a:pt x="378" y="491"/>
                  </a:lnTo>
                  <a:lnTo>
                    <a:pt x="378" y="493"/>
                  </a:lnTo>
                  <a:lnTo>
                    <a:pt x="380" y="494"/>
                  </a:lnTo>
                  <a:lnTo>
                    <a:pt x="382" y="496"/>
                  </a:lnTo>
                  <a:lnTo>
                    <a:pt x="382" y="496"/>
                  </a:lnTo>
                  <a:lnTo>
                    <a:pt x="382" y="498"/>
                  </a:lnTo>
                  <a:lnTo>
                    <a:pt x="380" y="500"/>
                  </a:lnTo>
                  <a:lnTo>
                    <a:pt x="380" y="502"/>
                  </a:lnTo>
                  <a:lnTo>
                    <a:pt x="378" y="504"/>
                  </a:lnTo>
                  <a:lnTo>
                    <a:pt x="378" y="506"/>
                  </a:lnTo>
                  <a:lnTo>
                    <a:pt x="378" y="508"/>
                  </a:lnTo>
                  <a:lnTo>
                    <a:pt x="378" y="510"/>
                  </a:lnTo>
                  <a:lnTo>
                    <a:pt x="378" y="512"/>
                  </a:lnTo>
                  <a:lnTo>
                    <a:pt x="378" y="512"/>
                  </a:lnTo>
                  <a:lnTo>
                    <a:pt x="378" y="515"/>
                  </a:lnTo>
                  <a:lnTo>
                    <a:pt x="378" y="517"/>
                  </a:lnTo>
                  <a:lnTo>
                    <a:pt x="378" y="521"/>
                  </a:lnTo>
                  <a:lnTo>
                    <a:pt x="378" y="523"/>
                  </a:lnTo>
                  <a:lnTo>
                    <a:pt x="378" y="523"/>
                  </a:lnTo>
                  <a:lnTo>
                    <a:pt x="372" y="519"/>
                  </a:lnTo>
                  <a:lnTo>
                    <a:pt x="364" y="515"/>
                  </a:lnTo>
                  <a:lnTo>
                    <a:pt x="357" y="506"/>
                  </a:lnTo>
                  <a:lnTo>
                    <a:pt x="349" y="496"/>
                  </a:lnTo>
                  <a:lnTo>
                    <a:pt x="341" y="487"/>
                  </a:lnTo>
                  <a:lnTo>
                    <a:pt x="336" y="475"/>
                  </a:lnTo>
                  <a:lnTo>
                    <a:pt x="332" y="466"/>
                  </a:lnTo>
                  <a:lnTo>
                    <a:pt x="330" y="458"/>
                  </a:lnTo>
                  <a:lnTo>
                    <a:pt x="330" y="458"/>
                  </a:lnTo>
                  <a:lnTo>
                    <a:pt x="330" y="454"/>
                  </a:lnTo>
                  <a:lnTo>
                    <a:pt x="330" y="449"/>
                  </a:lnTo>
                  <a:lnTo>
                    <a:pt x="332" y="445"/>
                  </a:lnTo>
                  <a:lnTo>
                    <a:pt x="334" y="441"/>
                  </a:lnTo>
                  <a:lnTo>
                    <a:pt x="336" y="435"/>
                  </a:lnTo>
                  <a:lnTo>
                    <a:pt x="338" y="432"/>
                  </a:lnTo>
                  <a:lnTo>
                    <a:pt x="340" y="428"/>
                  </a:lnTo>
                  <a:lnTo>
                    <a:pt x="341" y="422"/>
                  </a:lnTo>
                  <a:lnTo>
                    <a:pt x="343" y="418"/>
                  </a:lnTo>
                  <a:lnTo>
                    <a:pt x="347" y="414"/>
                  </a:lnTo>
                  <a:lnTo>
                    <a:pt x="349" y="411"/>
                  </a:lnTo>
                  <a:lnTo>
                    <a:pt x="351" y="405"/>
                  </a:lnTo>
                  <a:lnTo>
                    <a:pt x="351" y="401"/>
                  </a:lnTo>
                  <a:lnTo>
                    <a:pt x="353" y="395"/>
                  </a:lnTo>
                  <a:lnTo>
                    <a:pt x="353" y="391"/>
                  </a:lnTo>
                  <a:lnTo>
                    <a:pt x="353" y="386"/>
                  </a:lnTo>
                  <a:lnTo>
                    <a:pt x="353" y="386"/>
                  </a:lnTo>
                  <a:lnTo>
                    <a:pt x="353" y="376"/>
                  </a:lnTo>
                  <a:lnTo>
                    <a:pt x="351" y="367"/>
                  </a:lnTo>
                  <a:lnTo>
                    <a:pt x="347" y="357"/>
                  </a:lnTo>
                  <a:lnTo>
                    <a:pt x="343" y="346"/>
                  </a:lnTo>
                  <a:lnTo>
                    <a:pt x="338" y="338"/>
                  </a:lnTo>
                  <a:lnTo>
                    <a:pt x="330" y="330"/>
                  </a:lnTo>
                  <a:lnTo>
                    <a:pt x="322" y="325"/>
                  </a:lnTo>
                  <a:lnTo>
                    <a:pt x="315" y="323"/>
                  </a:lnTo>
                  <a:lnTo>
                    <a:pt x="315" y="323"/>
                  </a:lnTo>
                  <a:lnTo>
                    <a:pt x="309" y="325"/>
                  </a:lnTo>
                  <a:lnTo>
                    <a:pt x="305" y="327"/>
                  </a:lnTo>
                  <a:lnTo>
                    <a:pt x="301" y="328"/>
                  </a:lnTo>
                  <a:lnTo>
                    <a:pt x="298" y="332"/>
                  </a:lnTo>
                  <a:lnTo>
                    <a:pt x="294" y="334"/>
                  </a:lnTo>
                  <a:lnTo>
                    <a:pt x="290" y="338"/>
                  </a:lnTo>
                  <a:lnTo>
                    <a:pt x="286" y="340"/>
                  </a:lnTo>
                  <a:lnTo>
                    <a:pt x="282" y="340"/>
                  </a:lnTo>
                  <a:lnTo>
                    <a:pt x="282" y="340"/>
                  </a:lnTo>
                  <a:lnTo>
                    <a:pt x="277" y="338"/>
                  </a:lnTo>
                  <a:lnTo>
                    <a:pt x="273" y="334"/>
                  </a:lnTo>
                  <a:lnTo>
                    <a:pt x="267" y="328"/>
                  </a:lnTo>
                  <a:lnTo>
                    <a:pt x="263" y="321"/>
                  </a:lnTo>
                  <a:lnTo>
                    <a:pt x="258" y="313"/>
                  </a:lnTo>
                  <a:lnTo>
                    <a:pt x="254" y="308"/>
                  </a:lnTo>
                  <a:lnTo>
                    <a:pt x="250" y="302"/>
                  </a:lnTo>
                  <a:lnTo>
                    <a:pt x="248" y="298"/>
                  </a:lnTo>
                  <a:lnTo>
                    <a:pt x="248" y="298"/>
                  </a:lnTo>
                  <a:lnTo>
                    <a:pt x="242" y="302"/>
                  </a:lnTo>
                  <a:lnTo>
                    <a:pt x="235" y="304"/>
                  </a:lnTo>
                  <a:lnTo>
                    <a:pt x="225" y="306"/>
                  </a:lnTo>
                  <a:lnTo>
                    <a:pt x="217" y="309"/>
                  </a:lnTo>
                  <a:lnTo>
                    <a:pt x="210" y="311"/>
                  </a:lnTo>
                  <a:lnTo>
                    <a:pt x="202" y="315"/>
                  </a:lnTo>
                  <a:lnTo>
                    <a:pt x="195" y="317"/>
                  </a:lnTo>
                  <a:lnTo>
                    <a:pt x="185" y="319"/>
                  </a:lnTo>
                  <a:lnTo>
                    <a:pt x="177" y="323"/>
                  </a:lnTo>
                  <a:lnTo>
                    <a:pt x="170" y="325"/>
                  </a:lnTo>
                  <a:lnTo>
                    <a:pt x="160" y="328"/>
                  </a:lnTo>
                  <a:lnTo>
                    <a:pt x="153" y="330"/>
                  </a:lnTo>
                  <a:lnTo>
                    <a:pt x="145" y="332"/>
                  </a:lnTo>
                  <a:lnTo>
                    <a:pt x="137" y="336"/>
                  </a:lnTo>
                  <a:lnTo>
                    <a:pt x="130" y="338"/>
                  </a:lnTo>
                  <a:lnTo>
                    <a:pt x="122" y="338"/>
                  </a:lnTo>
                  <a:lnTo>
                    <a:pt x="122" y="338"/>
                  </a:lnTo>
                  <a:lnTo>
                    <a:pt x="116" y="340"/>
                  </a:lnTo>
                  <a:lnTo>
                    <a:pt x="111" y="342"/>
                  </a:lnTo>
                  <a:lnTo>
                    <a:pt x="107" y="344"/>
                  </a:lnTo>
                  <a:lnTo>
                    <a:pt x="101" y="344"/>
                  </a:lnTo>
                  <a:lnTo>
                    <a:pt x="95" y="346"/>
                  </a:lnTo>
                  <a:lnTo>
                    <a:pt x="92" y="348"/>
                  </a:lnTo>
                  <a:lnTo>
                    <a:pt x="86" y="349"/>
                  </a:lnTo>
                  <a:lnTo>
                    <a:pt x="82" y="351"/>
                  </a:lnTo>
                  <a:lnTo>
                    <a:pt x="76" y="353"/>
                  </a:lnTo>
                  <a:lnTo>
                    <a:pt x="73" y="355"/>
                  </a:lnTo>
                  <a:lnTo>
                    <a:pt x="67" y="357"/>
                  </a:lnTo>
                  <a:lnTo>
                    <a:pt x="63" y="359"/>
                  </a:lnTo>
                  <a:lnTo>
                    <a:pt x="57" y="361"/>
                  </a:lnTo>
                  <a:lnTo>
                    <a:pt x="52" y="363"/>
                  </a:lnTo>
                  <a:lnTo>
                    <a:pt x="46" y="365"/>
                  </a:lnTo>
                  <a:lnTo>
                    <a:pt x="40" y="367"/>
                  </a:lnTo>
                  <a:lnTo>
                    <a:pt x="40" y="367"/>
                  </a:lnTo>
                  <a:lnTo>
                    <a:pt x="38" y="367"/>
                  </a:lnTo>
                  <a:lnTo>
                    <a:pt x="32" y="369"/>
                  </a:lnTo>
                  <a:lnTo>
                    <a:pt x="29" y="372"/>
                  </a:lnTo>
                  <a:lnTo>
                    <a:pt x="23" y="374"/>
                  </a:lnTo>
                  <a:lnTo>
                    <a:pt x="17" y="376"/>
                  </a:lnTo>
                  <a:lnTo>
                    <a:pt x="11" y="380"/>
                  </a:lnTo>
                  <a:lnTo>
                    <a:pt x="6" y="382"/>
                  </a:lnTo>
                  <a:lnTo>
                    <a:pt x="0" y="382"/>
                  </a:lnTo>
                  <a:lnTo>
                    <a:pt x="0" y="393"/>
                  </a:lnTo>
                  <a:lnTo>
                    <a:pt x="0" y="393"/>
                  </a:lnTo>
                  <a:lnTo>
                    <a:pt x="0" y="395"/>
                  </a:lnTo>
                  <a:lnTo>
                    <a:pt x="2" y="399"/>
                  </a:lnTo>
                  <a:lnTo>
                    <a:pt x="2" y="401"/>
                  </a:lnTo>
                  <a:lnTo>
                    <a:pt x="4" y="405"/>
                  </a:lnTo>
                  <a:lnTo>
                    <a:pt x="4" y="407"/>
                  </a:lnTo>
                  <a:lnTo>
                    <a:pt x="6" y="411"/>
                  </a:lnTo>
                  <a:lnTo>
                    <a:pt x="6" y="414"/>
                  </a:lnTo>
                  <a:lnTo>
                    <a:pt x="6" y="416"/>
                  </a:lnTo>
                  <a:lnTo>
                    <a:pt x="6" y="416"/>
                  </a:lnTo>
                  <a:lnTo>
                    <a:pt x="6" y="418"/>
                  </a:lnTo>
                  <a:lnTo>
                    <a:pt x="8" y="418"/>
                  </a:lnTo>
                  <a:lnTo>
                    <a:pt x="8" y="420"/>
                  </a:lnTo>
                  <a:lnTo>
                    <a:pt x="8" y="422"/>
                  </a:lnTo>
                  <a:lnTo>
                    <a:pt x="8" y="424"/>
                  </a:lnTo>
                  <a:lnTo>
                    <a:pt x="8" y="428"/>
                  </a:lnTo>
                  <a:lnTo>
                    <a:pt x="8" y="430"/>
                  </a:lnTo>
                  <a:lnTo>
                    <a:pt x="8" y="433"/>
                  </a:lnTo>
                  <a:lnTo>
                    <a:pt x="8" y="433"/>
                  </a:lnTo>
                  <a:lnTo>
                    <a:pt x="10" y="433"/>
                  </a:lnTo>
                  <a:lnTo>
                    <a:pt x="11" y="432"/>
                  </a:lnTo>
                  <a:lnTo>
                    <a:pt x="13" y="432"/>
                  </a:lnTo>
                  <a:lnTo>
                    <a:pt x="15" y="432"/>
                  </a:lnTo>
                  <a:lnTo>
                    <a:pt x="15" y="470"/>
                  </a:lnTo>
                  <a:lnTo>
                    <a:pt x="82" y="470"/>
                  </a:lnTo>
                  <a:lnTo>
                    <a:pt x="82" y="470"/>
                  </a:lnTo>
                  <a:lnTo>
                    <a:pt x="88" y="479"/>
                  </a:lnTo>
                  <a:lnTo>
                    <a:pt x="94" y="485"/>
                  </a:lnTo>
                  <a:lnTo>
                    <a:pt x="101" y="491"/>
                  </a:lnTo>
                  <a:lnTo>
                    <a:pt x="111" y="496"/>
                  </a:lnTo>
                  <a:lnTo>
                    <a:pt x="120" y="500"/>
                  </a:lnTo>
                  <a:lnTo>
                    <a:pt x="132" y="504"/>
                  </a:lnTo>
                  <a:lnTo>
                    <a:pt x="141" y="508"/>
                  </a:lnTo>
                  <a:lnTo>
                    <a:pt x="153" y="512"/>
                  </a:lnTo>
                  <a:lnTo>
                    <a:pt x="164" y="515"/>
                  </a:lnTo>
                  <a:lnTo>
                    <a:pt x="174" y="521"/>
                  </a:lnTo>
                  <a:lnTo>
                    <a:pt x="183" y="527"/>
                  </a:lnTo>
                  <a:lnTo>
                    <a:pt x="191" y="535"/>
                  </a:lnTo>
                  <a:lnTo>
                    <a:pt x="198" y="542"/>
                  </a:lnTo>
                  <a:lnTo>
                    <a:pt x="202" y="552"/>
                  </a:lnTo>
                  <a:lnTo>
                    <a:pt x="206" y="563"/>
                  </a:lnTo>
                  <a:lnTo>
                    <a:pt x="208" y="576"/>
                  </a:lnTo>
                  <a:lnTo>
                    <a:pt x="208" y="576"/>
                  </a:lnTo>
                  <a:lnTo>
                    <a:pt x="206" y="586"/>
                  </a:lnTo>
                  <a:lnTo>
                    <a:pt x="206" y="596"/>
                  </a:lnTo>
                  <a:lnTo>
                    <a:pt x="204" y="605"/>
                  </a:lnTo>
                  <a:lnTo>
                    <a:pt x="202" y="615"/>
                  </a:lnTo>
                  <a:lnTo>
                    <a:pt x="200" y="622"/>
                  </a:lnTo>
                  <a:lnTo>
                    <a:pt x="198" y="632"/>
                  </a:lnTo>
                  <a:lnTo>
                    <a:pt x="195" y="639"/>
                  </a:lnTo>
                  <a:lnTo>
                    <a:pt x="193" y="649"/>
                  </a:lnTo>
                  <a:lnTo>
                    <a:pt x="189" y="657"/>
                  </a:lnTo>
                  <a:lnTo>
                    <a:pt x="187" y="664"/>
                  </a:lnTo>
                  <a:lnTo>
                    <a:pt x="185" y="674"/>
                  </a:lnTo>
                  <a:lnTo>
                    <a:pt x="183" y="681"/>
                  </a:lnTo>
                  <a:lnTo>
                    <a:pt x="181" y="689"/>
                  </a:lnTo>
                  <a:lnTo>
                    <a:pt x="179" y="697"/>
                  </a:lnTo>
                  <a:lnTo>
                    <a:pt x="177" y="704"/>
                  </a:lnTo>
                  <a:lnTo>
                    <a:pt x="177" y="712"/>
                  </a:lnTo>
                  <a:lnTo>
                    <a:pt x="177" y="712"/>
                  </a:lnTo>
                  <a:lnTo>
                    <a:pt x="179" y="721"/>
                  </a:lnTo>
                  <a:lnTo>
                    <a:pt x="179" y="729"/>
                  </a:lnTo>
                  <a:lnTo>
                    <a:pt x="183" y="737"/>
                  </a:lnTo>
                  <a:lnTo>
                    <a:pt x="185" y="742"/>
                  </a:lnTo>
                  <a:lnTo>
                    <a:pt x="189" y="748"/>
                  </a:lnTo>
                  <a:lnTo>
                    <a:pt x="191" y="754"/>
                  </a:lnTo>
                  <a:lnTo>
                    <a:pt x="193" y="762"/>
                  </a:lnTo>
                  <a:lnTo>
                    <a:pt x="193" y="767"/>
                  </a:lnTo>
                  <a:lnTo>
                    <a:pt x="193" y="767"/>
                  </a:lnTo>
                  <a:lnTo>
                    <a:pt x="193" y="771"/>
                  </a:lnTo>
                  <a:lnTo>
                    <a:pt x="191" y="777"/>
                  </a:lnTo>
                  <a:lnTo>
                    <a:pt x="189" y="781"/>
                  </a:lnTo>
                  <a:lnTo>
                    <a:pt x="187" y="786"/>
                  </a:lnTo>
                  <a:lnTo>
                    <a:pt x="183" y="790"/>
                  </a:lnTo>
                  <a:lnTo>
                    <a:pt x="179" y="796"/>
                  </a:lnTo>
                  <a:lnTo>
                    <a:pt x="176" y="800"/>
                  </a:lnTo>
                  <a:lnTo>
                    <a:pt x="172" y="804"/>
                  </a:lnTo>
                  <a:lnTo>
                    <a:pt x="168" y="809"/>
                  </a:lnTo>
                  <a:lnTo>
                    <a:pt x="164" y="813"/>
                  </a:lnTo>
                  <a:lnTo>
                    <a:pt x="160" y="819"/>
                  </a:lnTo>
                  <a:lnTo>
                    <a:pt x="156" y="823"/>
                  </a:lnTo>
                  <a:lnTo>
                    <a:pt x="153" y="826"/>
                  </a:lnTo>
                  <a:lnTo>
                    <a:pt x="151" y="830"/>
                  </a:lnTo>
                  <a:lnTo>
                    <a:pt x="147" y="836"/>
                  </a:lnTo>
                  <a:lnTo>
                    <a:pt x="145" y="840"/>
                  </a:lnTo>
                  <a:lnTo>
                    <a:pt x="145" y="840"/>
                  </a:lnTo>
                  <a:lnTo>
                    <a:pt x="145" y="845"/>
                  </a:lnTo>
                  <a:lnTo>
                    <a:pt x="143" y="851"/>
                  </a:lnTo>
                  <a:lnTo>
                    <a:pt x="143" y="857"/>
                  </a:lnTo>
                  <a:lnTo>
                    <a:pt x="143" y="863"/>
                  </a:lnTo>
                  <a:lnTo>
                    <a:pt x="141" y="868"/>
                  </a:lnTo>
                  <a:lnTo>
                    <a:pt x="141" y="874"/>
                  </a:lnTo>
                  <a:lnTo>
                    <a:pt x="139" y="878"/>
                  </a:lnTo>
                  <a:lnTo>
                    <a:pt x="135" y="884"/>
                  </a:lnTo>
                  <a:lnTo>
                    <a:pt x="135" y="884"/>
                  </a:lnTo>
                  <a:lnTo>
                    <a:pt x="134" y="886"/>
                  </a:lnTo>
                  <a:lnTo>
                    <a:pt x="130" y="889"/>
                  </a:lnTo>
                  <a:lnTo>
                    <a:pt x="126" y="895"/>
                  </a:lnTo>
                  <a:lnTo>
                    <a:pt x="120" y="901"/>
                  </a:lnTo>
                  <a:lnTo>
                    <a:pt x="114" y="907"/>
                  </a:lnTo>
                  <a:lnTo>
                    <a:pt x="107" y="914"/>
                  </a:lnTo>
                  <a:lnTo>
                    <a:pt x="99" y="922"/>
                  </a:lnTo>
                  <a:lnTo>
                    <a:pt x="92" y="929"/>
                  </a:lnTo>
                  <a:lnTo>
                    <a:pt x="84" y="935"/>
                  </a:lnTo>
                  <a:lnTo>
                    <a:pt x="76" y="943"/>
                  </a:lnTo>
                  <a:lnTo>
                    <a:pt x="69" y="949"/>
                  </a:lnTo>
                  <a:lnTo>
                    <a:pt x="63" y="954"/>
                  </a:lnTo>
                  <a:lnTo>
                    <a:pt x="57" y="960"/>
                  </a:lnTo>
                  <a:lnTo>
                    <a:pt x="53" y="964"/>
                  </a:lnTo>
                  <a:lnTo>
                    <a:pt x="50" y="966"/>
                  </a:lnTo>
                  <a:lnTo>
                    <a:pt x="48" y="966"/>
                  </a:lnTo>
                  <a:lnTo>
                    <a:pt x="50" y="966"/>
                  </a:lnTo>
                  <a:lnTo>
                    <a:pt x="50" y="966"/>
                  </a:lnTo>
                  <a:lnTo>
                    <a:pt x="50" y="973"/>
                  </a:lnTo>
                  <a:lnTo>
                    <a:pt x="50" y="983"/>
                  </a:lnTo>
                  <a:lnTo>
                    <a:pt x="52" y="990"/>
                  </a:lnTo>
                  <a:lnTo>
                    <a:pt x="53" y="998"/>
                  </a:lnTo>
                  <a:lnTo>
                    <a:pt x="55" y="1008"/>
                  </a:lnTo>
                  <a:lnTo>
                    <a:pt x="57" y="1015"/>
                  </a:lnTo>
                  <a:lnTo>
                    <a:pt x="59" y="1023"/>
                  </a:lnTo>
                  <a:lnTo>
                    <a:pt x="61" y="1032"/>
                  </a:lnTo>
                  <a:lnTo>
                    <a:pt x="61" y="1044"/>
                  </a:lnTo>
                  <a:lnTo>
                    <a:pt x="61" y="1044"/>
                  </a:lnTo>
                  <a:lnTo>
                    <a:pt x="63" y="1048"/>
                  </a:lnTo>
                  <a:lnTo>
                    <a:pt x="65" y="1052"/>
                  </a:lnTo>
                  <a:lnTo>
                    <a:pt x="67" y="1057"/>
                  </a:lnTo>
                  <a:lnTo>
                    <a:pt x="71" y="1061"/>
                  </a:lnTo>
                  <a:lnTo>
                    <a:pt x="73" y="1065"/>
                  </a:lnTo>
                  <a:lnTo>
                    <a:pt x="74" y="1071"/>
                  </a:lnTo>
                  <a:lnTo>
                    <a:pt x="76" y="1074"/>
                  </a:lnTo>
                  <a:lnTo>
                    <a:pt x="78" y="1080"/>
                  </a:lnTo>
                  <a:lnTo>
                    <a:pt x="80" y="1086"/>
                  </a:lnTo>
                  <a:lnTo>
                    <a:pt x="82" y="1092"/>
                  </a:lnTo>
                  <a:lnTo>
                    <a:pt x="84" y="1097"/>
                  </a:lnTo>
                  <a:lnTo>
                    <a:pt x="86" y="1103"/>
                  </a:lnTo>
                  <a:lnTo>
                    <a:pt x="86" y="1109"/>
                  </a:lnTo>
                  <a:lnTo>
                    <a:pt x="88" y="1114"/>
                  </a:lnTo>
                  <a:lnTo>
                    <a:pt x="88" y="1120"/>
                  </a:lnTo>
                  <a:lnTo>
                    <a:pt x="88" y="1126"/>
                  </a:lnTo>
                  <a:lnTo>
                    <a:pt x="88" y="1126"/>
                  </a:lnTo>
                  <a:lnTo>
                    <a:pt x="88" y="1130"/>
                  </a:lnTo>
                  <a:lnTo>
                    <a:pt x="88" y="1134"/>
                  </a:lnTo>
                  <a:lnTo>
                    <a:pt x="88" y="1137"/>
                  </a:lnTo>
                  <a:lnTo>
                    <a:pt x="88" y="1141"/>
                  </a:lnTo>
                  <a:lnTo>
                    <a:pt x="88" y="1145"/>
                  </a:lnTo>
                  <a:lnTo>
                    <a:pt x="88" y="1151"/>
                  </a:lnTo>
                  <a:lnTo>
                    <a:pt x="88" y="1155"/>
                  </a:lnTo>
                  <a:lnTo>
                    <a:pt x="88" y="1158"/>
                  </a:lnTo>
                  <a:lnTo>
                    <a:pt x="88" y="1164"/>
                  </a:lnTo>
                  <a:lnTo>
                    <a:pt x="86" y="1168"/>
                  </a:lnTo>
                  <a:lnTo>
                    <a:pt x="86" y="1172"/>
                  </a:lnTo>
                  <a:lnTo>
                    <a:pt x="86" y="1177"/>
                  </a:lnTo>
                  <a:lnTo>
                    <a:pt x="84" y="1181"/>
                  </a:lnTo>
                  <a:lnTo>
                    <a:pt x="84" y="1185"/>
                  </a:lnTo>
                  <a:lnTo>
                    <a:pt x="82" y="1189"/>
                  </a:lnTo>
                  <a:lnTo>
                    <a:pt x="80" y="1193"/>
                  </a:lnTo>
                  <a:lnTo>
                    <a:pt x="80" y="1233"/>
                  </a:lnTo>
                  <a:lnTo>
                    <a:pt x="74" y="1240"/>
                  </a:lnTo>
                  <a:lnTo>
                    <a:pt x="74" y="1240"/>
                  </a:lnTo>
                  <a:lnTo>
                    <a:pt x="76" y="1244"/>
                  </a:lnTo>
                  <a:lnTo>
                    <a:pt x="76" y="1246"/>
                  </a:lnTo>
                  <a:lnTo>
                    <a:pt x="78" y="1250"/>
                  </a:lnTo>
                  <a:lnTo>
                    <a:pt x="80" y="1252"/>
                  </a:lnTo>
                  <a:lnTo>
                    <a:pt x="82" y="1256"/>
                  </a:lnTo>
                  <a:lnTo>
                    <a:pt x="82" y="1258"/>
                  </a:lnTo>
                  <a:lnTo>
                    <a:pt x="84" y="1261"/>
                  </a:lnTo>
                  <a:lnTo>
                    <a:pt x="84" y="1263"/>
                  </a:lnTo>
                  <a:lnTo>
                    <a:pt x="84" y="1263"/>
                  </a:lnTo>
                  <a:lnTo>
                    <a:pt x="84" y="1265"/>
                  </a:lnTo>
                  <a:lnTo>
                    <a:pt x="84" y="1267"/>
                  </a:lnTo>
                  <a:lnTo>
                    <a:pt x="84" y="1269"/>
                  </a:lnTo>
                  <a:lnTo>
                    <a:pt x="84" y="1273"/>
                  </a:lnTo>
                  <a:lnTo>
                    <a:pt x="84" y="1275"/>
                  </a:lnTo>
                  <a:lnTo>
                    <a:pt x="84" y="1279"/>
                  </a:lnTo>
                  <a:lnTo>
                    <a:pt x="84" y="1280"/>
                  </a:lnTo>
                  <a:lnTo>
                    <a:pt x="84" y="1284"/>
                  </a:lnTo>
                  <a:lnTo>
                    <a:pt x="84" y="1284"/>
                  </a:lnTo>
                  <a:lnTo>
                    <a:pt x="84" y="1294"/>
                  </a:lnTo>
                  <a:lnTo>
                    <a:pt x="86" y="1301"/>
                  </a:lnTo>
                  <a:lnTo>
                    <a:pt x="88" y="1309"/>
                  </a:lnTo>
                  <a:lnTo>
                    <a:pt x="90" y="1315"/>
                  </a:lnTo>
                  <a:lnTo>
                    <a:pt x="95" y="1321"/>
                  </a:lnTo>
                  <a:lnTo>
                    <a:pt x="101" y="1324"/>
                  </a:lnTo>
                  <a:lnTo>
                    <a:pt x="109" y="1326"/>
                  </a:lnTo>
                  <a:lnTo>
                    <a:pt x="118" y="1326"/>
                  </a:lnTo>
                  <a:lnTo>
                    <a:pt x="118" y="1326"/>
                  </a:lnTo>
                  <a:lnTo>
                    <a:pt x="130" y="1326"/>
                  </a:lnTo>
                  <a:lnTo>
                    <a:pt x="139" y="1322"/>
                  </a:lnTo>
                  <a:lnTo>
                    <a:pt x="145" y="1315"/>
                  </a:lnTo>
                  <a:lnTo>
                    <a:pt x="149" y="1307"/>
                  </a:lnTo>
                  <a:lnTo>
                    <a:pt x="151" y="1300"/>
                  </a:lnTo>
                  <a:lnTo>
                    <a:pt x="151" y="1290"/>
                  </a:lnTo>
                  <a:lnTo>
                    <a:pt x="155" y="1282"/>
                  </a:lnTo>
                  <a:lnTo>
                    <a:pt x="156" y="1273"/>
                  </a:lnTo>
                  <a:lnTo>
                    <a:pt x="156" y="1273"/>
                  </a:lnTo>
                  <a:lnTo>
                    <a:pt x="153" y="1273"/>
                  </a:lnTo>
                  <a:lnTo>
                    <a:pt x="151" y="1273"/>
                  </a:lnTo>
                  <a:lnTo>
                    <a:pt x="149" y="1271"/>
                  </a:lnTo>
                  <a:lnTo>
                    <a:pt x="145" y="1269"/>
                  </a:lnTo>
                  <a:lnTo>
                    <a:pt x="143" y="1267"/>
                  </a:lnTo>
                  <a:lnTo>
                    <a:pt x="141" y="1265"/>
                  </a:lnTo>
                  <a:lnTo>
                    <a:pt x="139" y="1261"/>
                  </a:lnTo>
                  <a:lnTo>
                    <a:pt x="139" y="1258"/>
                  </a:lnTo>
                  <a:lnTo>
                    <a:pt x="139" y="1258"/>
                  </a:lnTo>
                  <a:lnTo>
                    <a:pt x="141" y="1250"/>
                  </a:lnTo>
                  <a:lnTo>
                    <a:pt x="143" y="1242"/>
                  </a:lnTo>
                  <a:lnTo>
                    <a:pt x="147" y="1237"/>
                  </a:lnTo>
                  <a:lnTo>
                    <a:pt x="153" y="1233"/>
                  </a:lnTo>
                  <a:lnTo>
                    <a:pt x="158" y="1227"/>
                  </a:lnTo>
                  <a:lnTo>
                    <a:pt x="164" y="1223"/>
                  </a:lnTo>
                  <a:lnTo>
                    <a:pt x="170" y="1217"/>
                  </a:lnTo>
                  <a:lnTo>
                    <a:pt x="176" y="1214"/>
                  </a:lnTo>
                  <a:lnTo>
                    <a:pt x="176" y="1214"/>
                  </a:lnTo>
                  <a:lnTo>
                    <a:pt x="181" y="1210"/>
                  </a:lnTo>
                  <a:lnTo>
                    <a:pt x="185" y="1206"/>
                  </a:lnTo>
                  <a:lnTo>
                    <a:pt x="191" y="1202"/>
                  </a:lnTo>
                  <a:lnTo>
                    <a:pt x="195" y="1198"/>
                  </a:lnTo>
                  <a:lnTo>
                    <a:pt x="200" y="1197"/>
                  </a:lnTo>
                  <a:lnTo>
                    <a:pt x="204" y="1193"/>
                  </a:lnTo>
                  <a:lnTo>
                    <a:pt x="210" y="1191"/>
                  </a:lnTo>
                  <a:lnTo>
                    <a:pt x="216" y="1189"/>
                  </a:lnTo>
                  <a:lnTo>
                    <a:pt x="221" y="1187"/>
                  </a:lnTo>
                  <a:lnTo>
                    <a:pt x="227" y="1185"/>
                  </a:lnTo>
                  <a:lnTo>
                    <a:pt x="233" y="1183"/>
                  </a:lnTo>
                  <a:lnTo>
                    <a:pt x="238" y="1181"/>
                  </a:lnTo>
                  <a:lnTo>
                    <a:pt x="244" y="1179"/>
                  </a:lnTo>
                  <a:lnTo>
                    <a:pt x="250" y="1177"/>
                  </a:lnTo>
                  <a:lnTo>
                    <a:pt x="258" y="1176"/>
                  </a:lnTo>
                  <a:lnTo>
                    <a:pt x="263" y="1174"/>
                  </a:lnTo>
                  <a:lnTo>
                    <a:pt x="263" y="1174"/>
                  </a:lnTo>
                  <a:lnTo>
                    <a:pt x="271" y="1172"/>
                  </a:lnTo>
                  <a:lnTo>
                    <a:pt x="279" y="1170"/>
                  </a:lnTo>
                  <a:lnTo>
                    <a:pt x="284" y="1168"/>
                  </a:lnTo>
                  <a:lnTo>
                    <a:pt x="292" y="1164"/>
                  </a:lnTo>
                  <a:lnTo>
                    <a:pt x="298" y="1162"/>
                  </a:lnTo>
                  <a:lnTo>
                    <a:pt x="305" y="1160"/>
                  </a:lnTo>
                  <a:lnTo>
                    <a:pt x="311" y="1156"/>
                  </a:lnTo>
                  <a:lnTo>
                    <a:pt x="317" y="1153"/>
                  </a:lnTo>
                  <a:lnTo>
                    <a:pt x="322" y="1149"/>
                  </a:lnTo>
                  <a:lnTo>
                    <a:pt x="328" y="1147"/>
                  </a:lnTo>
                  <a:lnTo>
                    <a:pt x="334" y="1141"/>
                  </a:lnTo>
                  <a:lnTo>
                    <a:pt x="338" y="1139"/>
                  </a:lnTo>
                  <a:lnTo>
                    <a:pt x="343" y="1134"/>
                  </a:lnTo>
                  <a:lnTo>
                    <a:pt x="347" y="1130"/>
                  </a:lnTo>
                  <a:lnTo>
                    <a:pt x="351" y="1126"/>
                  </a:lnTo>
                  <a:lnTo>
                    <a:pt x="355" y="1122"/>
                  </a:lnTo>
                  <a:lnTo>
                    <a:pt x="355" y="1122"/>
                  </a:lnTo>
                  <a:lnTo>
                    <a:pt x="359" y="1116"/>
                  </a:lnTo>
                  <a:lnTo>
                    <a:pt x="361" y="1113"/>
                  </a:lnTo>
                  <a:lnTo>
                    <a:pt x="362" y="1111"/>
                  </a:lnTo>
                  <a:lnTo>
                    <a:pt x="364" y="1107"/>
                  </a:lnTo>
                  <a:lnTo>
                    <a:pt x="364" y="1101"/>
                  </a:lnTo>
                  <a:lnTo>
                    <a:pt x="364" y="1097"/>
                  </a:lnTo>
                  <a:lnTo>
                    <a:pt x="364" y="1092"/>
                  </a:lnTo>
                  <a:lnTo>
                    <a:pt x="362" y="1084"/>
                  </a:lnTo>
                  <a:lnTo>
                    <a:pt x="362" y="1084"/>
                  </a:lnTo>
                  <a:lnTo>
                    <a:pt x="361" y="1073"/>
                  </a:lnTo>
                  <a:lnTo>
                    <a:pt x="361" y="1061"/>
                  </a:lnTo>
                  <a:lnTo>
                    <a:pt x="362" y="1053"/>
                  </a:lnTo>
                  <a:lnTo>
                    <a:pt x="362" y="1048"/>
                  </a:lnTo>
                  <a:lnTo>
                    <a:pt x="366" y="1042"/>
                  </a:lnTo>
                  <a:lnTo>
                    <a:pt x="368" y="1034"/>
                  </a:lnTo>
                  <a:lnTo>
                    <a:pt x="370" y="1029"/>
                  </a:lnTo>
                  <a:lnTo>
                    <a:pt x="370" y="1021"/>
                  </a:lnTo>
                  <a:lnTo>
                    <a:pt x="370" y="1021"/>
                  </a:lnTo>
                  <a:lnTo>
                    <a:pt x="370" y="1019"/>
                  </a:lnTo>
                  <a:lnTo>
                    <a:pt x="370" y="1017"/>
                  </a:lnTo>
                  <a:lnTo>
                    <a:pt x="370" y="1017"/>
                  </a:lnTo>
                  <a:lnTo>
                    <a:pt x="370" y="1013"/>
                  </a:lnTo>
                  <a:lnTo>
                    <a:pt x="370" y="1011"/>
                  </a:lnTo>
                  <a:lnTo>
                    <a:pt x="370" y="1010"/>
                  </a:lnTo>
                  <a:lnTo>
                    <a:pt x="370" y="1008"/>
                  </a:lnTo>
                  <a:lnTo>
                    <a:pt x="370" y="1004"/>
                  </a:lnTo>
                  <a:lnTo>
                    <a:pt x="370" y="1004"/>
                  </a:lnTo>
                  <a:lnTo>
                    <a:pt x="370" y="1000"/>
                  </a:lnTo>
                  <a:lnTo>
                    <a:pt x="370" y="996"/>
                  </a:lnTo>
                  <a:lnTo>
                    <a:pt x="372" y="992"/>
                  </a:lnTo>
                  <a:lnTo>
                    <a:pt x="372" y="989"/>
                  </a:lnTo>
                  <a:lnTo>
                    <a:pt x="372" y="987"/>
                  </a:lnTo>
                  <a:lnTo>
                    <a:pt x="374" y="981"/>
                  </a:lnTo>
                  <a:lnTo>
                    <a:pt x="376" y="977"/>
                  </a:lnTo>
                  <a:lnTo>
                    <a:pt x="378" y="973"/>
                  </a:lnTo>
                  <a:lnTo>
                    <a:pt x="378" y="960"/>
                  </a:lnTo>
                  <a:lnTo>
                    <a:pt x="378" y="960"/>
                  </a:lnTo>
                  <a:lnTo>
                    <a:pt x="374" y="960"/>
                  </a:lnTo>
                  <a:lnTo>
                    <a:pt x="372" y="960"/>
                  </a:lnTo>
                  <a:lnTo>
                    <a:pt x="368" y="960"/>
                  </a:lnTo>
                  <a:lnTo>
                    <a:pt x="366" y="960"/>
                  </a:lnTo>
                  <a:lnTo>
                    <a:pt x="366" y="920"/>
                  </a:lnTo>
                  <a:lnTo>
                    <a:pt x="366" y="920"/>
                  </a:lnTo>
                  <a:lnTo>
                    <a:pt x="362" y="916"/>
                  </a:lnTo>
                  <a:lnTo>
                    <a:pt x="359" y="910"/>
                  </a:lnTo>
                  <a:lnTo>
                    <a:pt x="357" y="903"/>
                  </a:lnTo>
                  <a:lnTo>
                    <a:pt x="357" y="895"/>
                  </a:lnTo>
                  <a:lnTo>
                    <a:pt x="357" y="889"/>
                  </a:lnTo>
                  <a:lnTo>
                    <a:pt x="357" y="880"/>
                  </a:lnTo>
                  <a:lnTo>
                    <a:pt x="357" y="872"/>
                  </a:lnTo>
                  <a:lnTo>
                    <a:pt x="357" y="865"/>
                  </a:lnTo>
                  <a:lnTo>
                    <a:pt x="357" y="865"/>
                  </a:lnTo>
                  <a:lnTo>
                    <a:pt x="355" y="857"/>
                  </a:lnTo>
                  <a:lnTo>
                    <a:pt x="353" y="851"/>
                  </a:lnTo>
                  <a:lnTo>
                    <a:pt x="347" y="845"/>
                  </a:lnTo>
                  <a:lnTo>
                    <a:pt x="343" y="840"/>
                  </a:lnTo>
                  <a:lnTo>
                    <a:pt x="340" y="836"/>
                  </a:lnTo>
                  <a:lnTo>
                    <a:pt x="334" y="830"/>
                  </a:lnTo>
                  <a:lnTo>
                    <a:pt x="332" y="824"/>
                  </a:lnTo>
                  <a:lnTo>
                    <a:pt x="332" y="819"/>
                  </a:lnTo>
                  <a:lnTo>
                    <a:pt x="332" y="819"/>
                  </a:lnTo>
                  <a:lnTo>
                    <a:pt x="332" y="817"/>
                  </a:lnTo>
                  <a:lnTo>
                    <a:pt x="332" y="815"/>
                  </a:lnTo>
                  <a:lnTo>
                    <a:pt x="332" y="811"/>
                  </a:lnTo>
                  <a:lnTo>
                    <a:pt x="332" y="809"/>
                  </a:lnTo>
                  <a:lnTo>
                    <a:pt x="336" y="783"/>
                  </a:lnTo>
                  <a:lnTo>
                    <a:pt x="336" y="783"/>
                  </a:lnTo>
                  <a:lnTo>
                    <a:pt x="338" y="779"/>
                  </a:lnTo>
                  <a:lnTo>
                    <a:pt x="341" y="775"/>
                  </a:lnTo>
                  <a:lnTo>
                    <a:pt x="345" y="773"/>
                  </a:lnTo>
                  <a:lnTo>
                    <a:pt x="349" y="769"/>
                  </a:lnTo>
                  <a:lnTo>
                    <a:pt x="355" y="767"/>
                  </a:lnTo>
                  <a:lnTo>
                    <a:pt x="361" y="763"/>
                  </a:lnTo>
                  <a:lnTo>
                    <a:pt x="366" y="760"/>
                  </a:lnTo>
                  <a:lnTo>
                    <a:pt x="372" y="756"/>
                  </a:lnTo>
                  <a:lnTo>
                    <a:pt x="372" y="756"/>
                  </a:lnTo>
                  <a:lnTo>
                    <a:pt x="378" y="750"/>
                  </a:lnTo>
                  <a:lnTo>
                    <a:pt x="385" y="742"/>
                  </a:lnTo>
                  <a:lnTo>
                    <a:pt x="393" y="737"/>
                  </a:lnTo>
                  <a:lnTo>
                    <a:pt x="403" y="731"/>
                  </a:lnTo>
                  <a:lnTo>
                    <a:pt x="412" y="723"/>
                  </a:lnTo>
                  <a:lnTo>
                    <a:pt x="422" y="718"/>
                  </a:lnTo>
                  <a:lnTo>
                    <a:pt x="429" y="712"/>
                  </a:lnTo>
                  <a:lnTo>
                    <a:pt x="437" y="708"/>
                  </a:lnTo>
                  <a:lnTo>
                    <a:pt x="437" y="708"/>
                  </a:lnTo>
                  <a:lnTo>
                    <a:pt x="444" y="702"/>
                  </a:lnTo>
                  <a:lnTo>
                    <a:pt x="452" y="697"/>
                  </a:lnTo>
                  <a:lnTo>
                    <a:pt x="460" y="691"/>
                  </a:lnTo>
                  <a:lnTo>
                    <a:pt x="467" y="685"/>
                  </a:lnTo>
                  <a:lnTo>
                    <a:pt x="475" y="680"/>
                  </a:lnTo>
                  <a:lnTo>
                    <a:pt x="481" y="674"/>
                  </a:lnTo>
                  <a:lnTo>
                    <a:pt x="488" y="668"/>
                  </a:lnTo>
                  <a:lnTo>
                    <a:pt x="496" y="662"/>
                  </a:lnTo>
                  <a:lnTo>
                    <a:pt x="502" y="657"/>
                  </a:lnTo>
                  <a:lnTo>
                    <a:pt x="509" y="649"/>
                  </a:lnTo>
                  <a:lnTo>
                    <a:pt x="515" y="643"/>
                  </a:lnTo>
                  <a:lnTo>
                    <a:pt x="523" y="636"/>
                  </a:lnTo>
                  <a:lnTo>
                    <a:pt x="530" y="630"/>
                  </a:lnTo>
                  <a:lnTo>
                    <a:pt x="536" y="622"/>
                  </a:lnTo>
                  <a:lnTo>
                    <a:pt x="544" y="615"/>
                  </a:lnTo>
                  <a:lnTo>
                    <a:pt x="551" y="607"/>
                  </a:lnTo>
                  <a:lnTo>
                    <a:pt x="551" y="607"/>
                  </a:lnTo>
                  <a:lnTo>
                    <a:pt x="559" y="601"/>
                  </a:lnTo>
                  <a:lnTo>
                    <a:pt x="565" y="596"/>
                  </a:lnTo>
                  <a:lnTo>
                    <a:pt x="574" y="590"/>
                  </a:lnTo>
                  <a:lnTo>
                    <a:pt x="582" y="586"/>
                  </a:lnTo>
                  <a:lnTo>
                    <a:pt x="589" y="580"/>
                  </a:lnTo>
                  <a:lnTo>
                    <a:pt x="599" y="576"/>
                  </a:lnTo>
                  <a:lnTo>
                    <a:pt x="609" y="573"/>
                  </a:lnTo>
                  <a:lnTo>
                    <a:pt x="618" y="569"/>
                  </a:lnTo>
                  <a:lnTo>
                    <a:pt x="628" y="565"/>
                  </a:lnTo>
                  <a:lnTo>
                    <a:pt x="637" y="561"/>
                  </a:lnTo>
                  <a:lnTo>
                    <a:pt x="647" y="557"/>
                  </a:lnTo>
                  <a:lnTo>
                    <a:pt x="656" y="554"/>
                  </a:lnTo>
                  <a:lnTo>
                    <a:pt x="666" y="550"/>
                  </a:lnTo>
                  <a:lnTo>
                    <a:pt x="675" y="546"/>
                  </a:lnTo>
                  <a:lnTo>
                    <a:pt x="683" y="542"/>
                  </a:lnTo>
                  <a:lnTo>
                    <a:pt x="692" y="538"/>
                  </a:lnTo>
                  <a:lnTo>
                    <a:pt x="692" y="538"/>
                  </a:lnTo>
                  <a:lnTo>
                    <a:pt x="696" y="535"/>
                  </a:lnTo>
                  <a:lnTo>
                    <a:pt x="704" y="531"/>
                  </a:lnTo>
                  <a:lnTo>
                    <a:pt x="713" y="527"/>
                  </a:lnTo>
                  <a:lnTo>
                    <a:pt x="723" y="521"/>
                  </a:lnTo>
                  <a:lnTo>
                    <a:pt x="733" y="515"/>
                  </a:lnTo>
                  <a:lnTo>
                    <a:pt x="740" y="510"/>
                  </a:lnTo>
                  <a:lnTo>
                    <a:pt x="746" y="504"/>
                  </a:lnTo>
                  <a:lnTo>
                    <a:pt x="750" y="500"/>
                  </a:lnTo>
                  <a:lnTo>
                    <a:pt x="750" y="500"/>
                  </a:lnTo>
                  <a:lnTo>
                    <a:pt x="754" y="493"/>
                  </a:lnTo>
                  <a:lnTo>
                    <a:pt x="757" y="485"/>
                  </a:lnTo>
                  <a:lnTo>
                    <a:pt x="763" y="479"/>
                  </a:lnTo>
                  <a:lnTo>
                    <a:pt x="767" y="472"/>
                  </a:lnTo>
                  <a:lnTo>
                    <a:pt x="773" y="466"/>
                  </a:lnTo>
                  <a:lnTo>
                    <a:pt x="778" y="460"/>
                  </a:lnTo>
                  <a:lnTo>
                    <a:pt x="784" y="456"/>
                  </a:lnTo>
                  <a:lnTo>
                    <a:pt x="792" y="451"/>
                  </a:lnTo>
                  <a:lnTo>
                    <a:pt x="792" y="451"/>
                  </a:lnTo>
                  <a:lnTo>
                    <a:pt x="795" y="447"/>
                  </a:lnTo>
                  <a:lnTo>
                    <a:pt x="799" y="441"/>
                  </a:lnTo>
                  <a:lnTo>
                    <a:pt x="803" y="435"/>
                  </a:lnTo>
                  <a:lnTo>
                    <a:pt x="807" y="432"/>
                  </a:lnTo>
                  <a:lnTo>
                    <a:pt x="811" y="426"/>
                  </a:lnTo>
                  <a:lnTo>
                    <a:pt x="813" y="420"/>
                  </a:lnTo>
                  <a:lnTo>
                    <a:pt x="816" y="414"/>
                  </a:lnTo>
                  <a:lnTo>
                    <a:pt x="820" y="409"/>
                  </a:lnTo>
                  <a:lnTo>
                    <a:pt x="824" y="403"/>
                  </a:lnTo>
                  <a:lnTo>
                    <a:pt x="826" y="397"/>
                  </a:lnTo>
                  <a:lnTo>
                    <a:pt x="830" y="391"/>
                  </a:lnTo>
                  <a:lnTo>
                    <a:pt x="832" y="386"/>
                  </a:lnTo>
                  <a:lnTo>
                    <a:pt x="834" y="378"/>
                  </a:lnTo>
                  <a:lnTo>
                    <a:pt x="836" y="372"/>
                  </a:lnTo>
                  <a:lnTo>
                    <a:pt x="836" y="365"/>
                  </a:lnTo>
                  <a:lnTo>
                    <a:pt x="837" y="357"/>
                  </a:lnTo>
                  <a:lnTo>
                    <a:pt x="837" y="357"/>
                  </a:lnTo>
                  <a:lnTo>
                    <a:pt x="837" y="353"/>
                  </a:lnTo>
                  <a:lnTo>
                    <a:pt x="836" y="349"/>
                  </a:lnTo>
                  <a:lnTo>
                    <a:pt x="836" y="346"/>
                  </a:lnTo>
                  <a:lnTo>
                    <a:pt x="834" y="342"/>
                  </a:lnTo>
                  <a:lnTo>
                    <a:pt x="834" y="338"/>
                  </a:lnTo>
                  <a:lnTo>
                    <a:pt x="832" y="334"/>
                  </a:lnTo>
                  <a:lnTo>
                    <a:pt x="830" y="328"/>
                  </a:lnTo>
                  <a:lnTo>
                    <a:pt x="830" y="325"/>
                  </a:lnTo>
                  <a:lnTo>
                    <a:pt x="828" y="321"/>
                  </a:lnTo>
                  <a:lnTo>
                    <a:pt x="826" y="317"/>
                  </a:lnTo>
                  <a:lnTo>
                    <a:pt x="826" y="311"/>
                  </a:lnTo>
                  <a:lnTo>
                    <a:pt x="824" y="308"/>
                  </a:lnTo>
                  <a:lnTo>
                    <a:pt x="822" y="304"/>
                  </a:lnTo>
                  <a:lnTo>
                    <a:pt x="822" y="298"/>
                  </a:lnTo>
                  <a:lnTo>
                    <a:pt x="822" y="292"/>
                  </a:lnTo>
                  <a:lnTo>
                    <a:pt x="822" y="287"/>
                  </a:lnTo>
                  <a:lnTo>
                    <a:pt x="822" y="287"/>
                  </a:lnTo>
                  <a:lnTo>
                    <a:pt x="822" y="283"/>
                  </a:lnTo>
                  <a:lnTo>
                    <a:pt x="822" y="279"/>
                  </a:lnTo>
                  <a:lnTo>
                    <a:pt x="822" y="275"/>
                  </a:lnTo>
                  <a:lnTo>
                    <a:pt x="822" y="269"/>
                  </a:lnTo>
                  <a:lnTo>
                    <a:pt x="822" y="267"/>
                  </a:lnTo>
                  <a:lnTo>
                    <a:pt x="822" y="264"/>
                  </a:lnTo>
                  <a:lnTo>
                    <a:pt x="824" y="260"/>
                  </a:lnTo>
                  <a:lnTo>
                    <a:pt x="824" y="256"/>
                  </a:lnTo>
                  <a:lnTo>
                    <a:pt x="824" y="252"/>
                  </a:lnTo>
                  <a:lnTo>
                    <a:pt x="826" y="248"/>
                  </a:lnTo>
                  <a:lnTo>
                    <a:pt x="826" y="245"/>
                  </a:lnTo>
                  <a:lnTo>
                    <a:pt x="826" y="239"/>
                  </a:lnTo>
                  <a:lnTo>
                    <a:pt x="826" y="235"/>
                  </a:lnTo>
                  <a:lnTo>
                    <a:pt x="826" y="231"/>
                  </a:lnTo>
                  <a:lnTo>
                    <a:pt x="828" y="225"/>
                  </a:lnTo>
                  <a:lnTo>
                    <a:pt x="828" y="222"/>
                  </a:lnTo>
                  <a:lnTo>
                    <a:pt x="828" y="222"/>
                  </a:lnTo>
                  <a:lnTo>
                    <a:pt x="828" y="214"/>
                  </a:lnTo>
                  <a:lnTo>
                    <a:pt x="826" y="210"/>
                  </a:lnTo>
                  <a:lnTo>
                    <a:pt x="826" y="204"/>
                  </a:lnTo>
                  <a:lnTo>
                    <a:pt x="826" y="199"/>
                  </a:lnTo>
                  <a:lnTo>
                    <a:pt x="824" y="193"/>
                  </a:lnTo>
                  <a:lnTo>
                    <a:pt x="824" y="189"/>
                  </a:lnTo>
                  <a:lnTo>
                    <a:pt x="822" y="183"/>
                  </a:lnTo>
                  <a:lnTo>
                    <a:pt x="822" y="180"/>
                  </a:lnTo>
                  <a:lnTo>
                    <a:pt x="820" y="174"/>
                  </a:lnTo>
                  <a:lnTo>
                    <a:pt x="820" y="170"/>
                  </a:lnTo>
                  <a:lnTo>
                    <a:pt x="818" y="164"/>
                  </a:lnTo>
                  <a:lnTo>
                    <a:pt x="818" y="159"/>
                  </a:lnTo>
                  <a:lnTo>
                    <a:pt x="816" y="153"/>
                  </a:lnTo>
                  <a:lnTo>
                    <a:pt x="816" y="147"/>
                  </a:lnTo>
                  <a:lnTo>
                    <a:pt x="816" y="142"/>
                  </a:lnTo>
                  <a:lnTo>
                    <a:pt x="816" y="134"/>
                  </a:lnTo>
                  <a:lnTo>
                    <a:pt x="816" y="134"/>
                  </a:lnTo>
                  <a:lnTo>
                    <a:pt x="816" y="130"/>
                  </a:lnTo>
                  <a:lnTo>
                    <a:pt x="816" y="124"/>
                  </a:lnTo>
                  <a:lnTo>
                    <a:pt x="816" y="121"/>
                  </a:lnTo>
                  <a:lnTo>
                    <a:pt x="818" y="115"/>
                  </a:lnTo>
                  <a:lnTo>
                    <a:pt x="818" y="109"/>
                  </a:lnTo>
                  <a:lnTo>
                    <a:pt x="818" y="105"/>
                  </a:lnTo>
                  <a:lnTo>
                    <a:pt x="820" y="100"/>
                  </a:lnTo>
                  <a:lnTo>
                    <a:pt x="820" y="96"/>
                  </a:lnTo>
                  <a:lnTo>
                    <a:pt x="822" y="92"/>
                  </a:lnTo>
                  <a:lnTo>
                    <a:pt x="822" y="86"/>
                  </a:lnTo>
                  <a:lnTo>
                    <a:pt x="822" y="82"/>
                  </a:lnTo>
                  <a:lnTo>
                    <a:pt x="824" y="79"/>
                  </a:lnTo>
                  <a:lnTo>
                    <a:pt x="824" y="75"/>
                  </a:lnTo>
                  <a:lnTo>
                    <a:pt x="824" y="71"/>
                  </a:lnTo>
                  <a:lnTo>
                    <a:pt x="824" y="67"/>
                  </a:lnTo>
                  <a:lnTo>
                    <a:pt x="824" y="63"/>
                  </a:lnTo>
                  <a:lnTo>
                    <a:pt x="824" y="29"/>
                  </a:lnTo>
                  <a:lnTo>
                    <a:pt x="824" y="29"/>
                  </a:lnTo>
                  <a:lnTo>
                    <a:pt x="822" y="27"/>
                  </a:lnTo>
                  <a:lnTo>
                    <a:pt x="820" y="23"/>
                  </a:lnTo>
                  <a:lnTo>
                    <a:pt x="818" y="19"/>
                  </a:lnTo>
                  <a:lnTo>
                    <a:pt x="816" y="16"/>
                  </a:lnTo>
                  <a:lnTo>
                    <a:pt x="815" y="12"/>
                  </a:lnTo>
                  <a:lnTo>
                    <a:pt x="813" y="6"/>
                  </a:lnTo>
                  <a:lnTo>
                    <a:pt x="811" y="2"/>
                  </a:lnTo>
                  <a:lnTo>
                    <a:pt x="807" y="0"/>
                  </a:lnTo>
                  <a:lnTo>
                    <a:pt x="807" y="0"/>
                  </a:lnTo>
                  <a:lnTo>
                    <a:pt x="803" y="6"/>
                  </a:lnTo>
                  <a:lnTo>
                    <a:pt x="797" y="14"/>
                  </a:lnTo>
                  <a:lnTo>
                    <a:pt x="792" y="19"/>
                  </a:lnTo>
                  <a:lnTo>
                    <a:pt x="784" y="27"/>
                  </a:lnTo>
                  <a:lnTo>
                    <a:pt x="774" y="33"/>
                  </a:lnTo>
                  <a:lnTo>
                    <a:pt x="765" y="39"/>
                  </a:lnTo>
                  <a:lnTo>
                    <a:pt x="755" y="44"/>
                  </a:lnTo>
                  <a:lnTo>
                    <a:pt x="746" y="50"/>
                  </a:lnTo>
                  <a:lnTo>
                    <a:pt x="734" y="56"/>
                  </a:lnTo>
                  <a:lnTo>
                    <a:pt x="723" y="59"/>
                  </a:lnTo>
                  <a:lnTo>
                    <a:pt x="713" y="63"/>
                  </a:lnTo>
                  <a:lnTo>
                    <a:pt x="702" y="67"/>
                  </a:lnTo>
                  <a:lnTo>
                    <a:pt x="691" y="69"/>
                  </a:lnTo>
                  <a:lnTo>
                    <a:pt x="681" y="71"/>
                  </a:lnTo>
                  <a:lnTo>
                    <a:pt x="671" y="73"/>
                  </a:lnTo>
                  <a:lnTo>
                    <a:pt x="662" y="73"/>
                  </a:lnTo>
                  <a:lnTo>
                    <a:pt x="662" y="73"/>
                  </a:lnTo>
                  <a:lnTo>
                    <a:pt x="658" y="73"/>
                  </a:lnTo>
                  <a:lnTo>
                    <a:pt x="656" y="73"/>
                  </a:lnTo>
                  <a:lnTo>
                    <a:pt x="652" y="73"/>
                  </a:lnTo>
                  <a:lnTo>
                    <a:pt x="649" y="73"/>
                  </a:lnTo>
                  <a:lnTo>
                    <a:pt x="647" y="73"/>
                  </a:lnTo>
                  <a:lnTo>
                    <a:pt x="643" y="73"/>
                  </a:lnTo>
                  <a:lnTo>
                    <a:pt x="639" y="73"/>
                  </a:lnTo>
                  <a:lnTo>
                    <a:pt x="633" y="73"/>
                  </a:lnTo>
                  <a:lnTo>
                    <a:pt x="633" y="73"/>
                  </a:lnTo>
                  <a:lnTo>
                    <a:pt x="628" y="73"/>
                  </a:lnTo>
                  <a:lnTo>
                    <a:pt x="622" y="75"/>
                  </a:lnTo>
                  <a:lnTo>
                    <a:pt x="616" y="77"/>
                  </a:lnTo>
                  <a:lnTo>
                    <a:pt x="610" y="79"/>
                  </a:lnTo>
                  <a:lnTo>
                    <a:pt x="607" y="80"/>
                  </a:lnTo>
                  <a:lnTo>
                    <a:pt x="601" y="82"/>
                  </a:lnTo>
                  <a:lnTo>
                    <a:pt x="597" y="86"/>
                  </a:lnTo>
                  <a:lnTo>
                    <a:pt x="591" y="90"/>
                  </a:lnTo>
                  <a:lnTo>
                    <a:pt x="586" y="92"/>
                  </a:lnTo>
                  <a:lnTo>
                    <a:pt x="582" y="96"/>
                  </a:lnTo>
                  <a:lnTo>
                    <a:pt x="576" y="98"/>
                  </a:lnTo>
                  <a:lnTo>
                    <a:pt x="570" y="100"/>
                  </a:lnTo>
                  <a:lnTo>
                    <a:pt x="565" y="101"/>
                  </a:lnTo>
                  <a:lnTo>
                    <a:pt x="557" y="103"/>
                  </a:lnTo>
                  <a:lnTo>
                    <a:pt x="551" y="105"/>
                  </a:lnTo>
                  <a:lnTo>
                    <a:pt x="544" y="105"/>
                  </a:lnTo>
                  <a:lnTo>
                    <a:pt x="544" y="105"/>
                  </a:lnTo>
                  <a:lnTo>
                    <a:pt x="536" y="105"/>
                  </a:lnTo>
                  <a:lnTo>
                    <a:pt x="528" y="105"/>
                  </a:lnTo>
                  <a:lnTo>
                    <a:pt x="521" y="103"/>
                  </a:lnTo>
                  <a:lnTo>
                    <a:pt x="513" y="103"/>
                  </a:lnTo>
                  <a:lnTo>
                    <a:pt x="506" y="101"/>
                  </a:lnTo>
                  <a:lnTo>
                    <a:pt x="500" y="101"/>
                  </a:lnTo>
                  <a:lnTo>
                    <a:pt x="492" y="100"/>
                  </a:lnTo>
                  <a:lnTo>
                    <a:pt x="485" y="98"/>
                  </a:lnTo>
                  <a:lnTo>
                    <a:pt x="485" y="98"/>
                  </a:lnTo>
                  <a:lnTo>
                    <a:pt x="481" y="96"/>
                  </a:lnTo>
                  <a:lnTo>
                    <a:pt x="479" y="94"/>
                  </a:lnTo>
                  <a:lnTo>
                    <a:pt x="475" y="92"/>
                  </a:lnTo>
                  <a:lnTo>
                    <a:pt x="471" y="88"/>
                  </a:lnTo>
                  <a:lnTo>
                    <a:pt x="467" y="86"/>
                  </a:lnTo>
                  <a:lnTo>
                    <a:pt x="462" y="84"/>
                  </a:lnTo>
                  <a:lnTo>
                    <a:pt x="458" y="82"/>
                  </a:lnTo>
                  <a:lnTo>
                    <a:pt x="452" y="82"/>
                  </a:lnTo>
                  <a:lnTo>
                    <a:pt x="452" y="82"/>
                  </a:lnTo>
                  <a:lnTo>
                    <a:pt x="450" y="82"/>
                  </a:lnTo>
                  <a:lnTo>
                    <a:pt x="446" y="82"/>
                  </a:lnTo>
                  <a:lnTo>
                    <a:pt x="443" y="84"/>
                  </a:lnTo>
                  <a:lnTo>
                    <a:pt x="439" y="84"/>
                  </a:lnTo>
                  <a:lnTo>
                    <a:pt x="435" y="86"/>
                  </a:lnTo>
                  <a:lnTo>
                    <a:pt x="429" y="86"/>
                  </a:lnTo>
                  <a:lnTo>
                    <a:pt x="425" y="88"/>
                  </a:lnTo>
                  <a:lnTo>
                    <a:pt x="420" y="90"/>
                  </a:lnTo>
                  <a:lnTo>
                    <a:pt x="416" y="92"/>
                  </a:lnTo>
                  <a:lnTo>
                    <a:pt x="410" y="94"/>
                  </a:lnTo>
                  <a:lnTo>
                    <a:pt x="406" y="96"/>
                  </a:lnTo>
                  <a:lnTo>
                    <a:pt x="401" y="98"/>
                  </a:lnTo>
                  <a:lnTo>
                    <a:pt x="397" y="100"/>
                  </a:lnTo>
                  <a:lnTo>
                    <a:pt x="391" y="100"/>
                  </a:lnTo>
                  <a:lnTo>
                    <a:pt x="387" y="101"/>
                  </a:lnTo>
                  <a:lnTo>
                    <a:pt x="383" y="103"/>
                  </a:lnTo>
                  <a:lnTo>
                    <a:pt x="383" y="103"/>
                  </a:lnTo>
                  <a:lnTo>
                    <a:pt x="383" y="105"/>
                  </a:lnTo>
                  <a:lnTo>
                    <a:pt x="385" y="107"/>
                  </a:lnTo>
                  <a:lnTo>
                    <a:pt x="385" y="107"/>
                  </a:lnTo>
                  <a:lnTo>
                    <a:pt x="387" y="109"/>
                  </a:lnTo>
                  <a:lnTo>
                    <a:pt x="387" y="111"/>
                  </a:lnTo>
                  <a:lnTo>
                    <a:pt x="387" y="113"/>
                  </a:lnTo>
                  <a:lnTo>
                    <a:pt x="387" y="115"/>
                  </a:lnTo>
                  <a:lnTo>
                    <a:pt x="387" y="117"/>
                  </a:lnTo>
                  <a:lnTo>
                    <a:pt x="387" y="117"/>
                  </a:lnTo>
                  <a:lnTo>
                    <a:pt x="387" y="124"/>
                  </a:lnTo>
                  <a:lnTo>
                    <a:pt x="385" y="130"/>
                  </a:lnTo>
                  <a:lnTo>
                    <a:pt x="382" y="136"/>
                  </a:lnTo>
                  <a:lnTo>
                    <a:pt x="380" y="142"/>
                  </a:lnTo>
                  <a:lnTo>
                    <a:pt x="376" y="145"/>
                  </a:lnTo>
                  <a:lnTo>
                    <a:pt x="372" y="151"/>
                  </a:lnTo>
                  <a:lnTo>
                    <a:pt x="370" y="155"/>
                  </a:lnTo>
                  <a:lnTo>
                    <a:pt x="368" y="159"/>
                  </a:lnTo>
                  <a:lnTo>
                    <a:pt x="368" y="159"/>
                  </a:lnTo>
                  <a:lnTo>
                    <a:pt x="366" y="166"/>
                  </a:lnTo>
                  <a:lnTo>
                    <a:pt x="366" y="170"/>
                  </a:lnTo>
                  <a:lnTo>
                    <a:pt x="366" y="176"/>
                  </a:lnTo>
                  <a:lnTo>
                    <a:pt x="368" y="182"/>
                  </a:lnTo>
                  <a:lnTo>
                    <a:pt x="368" y="187"/>
                  </a:lnTo>
                  <a:lnTo>
                    <a:pt x="368" y="193"/>
                  </a:lnTo>
                  <a:lnTo>
                    <a:pt x="370" y="199"/>
                  </a:lnTo>
                  <a:lnTo>
                    <a:pt x="370" y="204"/>
                  </a:lnTo>
                  <a:lnTo>
                    <a:pt x="370" y="248"/>
                  </a:lnTo>
                  <a:lnTo>
                    <a:pt x="370" y="248"/>
                  </a:lnTo>
                  <a:lnTo>
                    <a:pt x="372" y="258"/>
                  </a:lnTo>
                  <a:lnTo>
                    <a:pt x="374" y="267"/>
                  </a:lnTo>
                  <a:lnTo>
                    <a:pt x="378" y="275"/>
                  </a:lnTo>
                  <a:lnTo>
                    <a:pt x="383" y="281"/>
                  </a:lnTo>
                  <a:lnTo>
                    <a:pt x="387" y="287"/>
                  </a:lnTo>
                  <a:lnTo>
                    <a:pt x="391" y="292"/>
                  </a:lnTo>
                  <a:lnTo>
                    <a:pt x="393" y="298"/>
                  </a:lnTo>
                  <a:lnTo>
                    <a:pt x="395" y="306"/>
                  </a:lnTo>
                  <a:lnTo>
                    <a:pt x="393" y="321"/>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4" name="Freeform 218"/>
            <p:cNvSpPr>
              <a:spLocks/>
            </p:cNvSpPr>
            <p:nvPr/>
          </p:nvSpPr>
          <p:spPr bwMode="gray">
            <a:xfrm>
              <a:off x="2898" y="3484"/>
              <a:ext cx="64" cy="71"/>
            </a:xfrm>
            <a:custGeom>
              <a:avLst/>
              <a:gdLst/>
              <a:ahLst/>
              <a:cxnLst>
                <a:cxn ang="0">
                  <a:pos x="97" y="4"/>
                </a:cxn>
                <a:cxn ang="0">
                  <a:pos x="91" y="11"/>
                </a:cxn>
                <a:cxn ang="0">
                  <a:pos x="93" y="17"/>
                </a:cxn>
                <a:cxn ang="0">
                  <a:pos x="97" y="23"/>
                </a:cxn>
                <a:cxn ang="0">
                  <a:pos x="99" y="29"/>
                </a:cxn>
                <a:cxn ang="0">
                  <a:pos x="101" y="34"/>
                </a:cxn>
                <a:cxn ang="0">
                  <a:pos x="101" y="36"/>
                </a:cxn>
                <a:cxn ang="0">
                  <a:pos x="101" y="40"/>
                </a:cxn>
                <a:cxn ang="0">
                  <a:pos x="101" y="46"/>
                </a:cxn>
                <a:cxn ang="0">
                  <a:pos x="101" y="51"/>
                </a:cxn>
                <a:cxn ang="0">
                  <a:pos x="101" y="55"/>
                </a:cxn>
                <a:cxn ang="0">
                  <a:pos x="101" y="67"/>
                </a:cxn>
                <a:cxn ang="0">
                  <a:pos x="103" y="76"/>
                </a:cxn>
                <a:cxn ang="0">
                  <a:pos x="107" y="84"/>
                </a:cxn>
                <a:cxn ang="0">
                  <a:pos x="112" y="92"/>
                </a:cxn>
                <a:cxn ang="0">
                  <a:pos x="109" y="97"/>
                </a:cxn>
                <a:cxn ang="0">
                  <a:pos x="101" y="109"/>
                </a:cxn>
                <a:cxn ang="0">
                  <a:pos x="91" y="122"/>
                </a:cxn>
                <a:cxn ang="0">
                  <a:pos x="78" y="128"/>
                </a:cxn>
                <a:cxn ang="0">
                  <a:pos x="69" y="130"/>
                </a:cxn>
                <a:cxn ang="0">
                  <a:pos x="55" y="130"/>
                </a:cxn>
                <a:cxn ang="0">
                  <a:pos x="44" y="128"/>
                </a:cxn>
                <a:cxn ang="0">
                  <a:pos x="32" y="122"/>
                </a:cxn>
                <a:cxn ang="0">
                  <a:pos x="23" y="118"/>
                </a:cxn>
                <a:cxn ang="0">
                  <a:pos x="13" y="111"/>
                </a:cxn>
                <a:cxn ang="0">
                  <a:pos x="7" y="103"/>
                </a:cxn>
                <a:cxn ang="0">
                  <a:pos x="2" y="93"/>
                </a:cxn>
                <a:cxn ang="0">
                  <a:pos x="0" y="82"/>
                </a:cxn>
                <a:cxn ang="0">
                  <a:pos x="2" y="78"/>
                </a:cxn>
                <a:cxn ang="0">
                  <a:pos x="4" y="65"/>
                </a:cxn>
                <a:cxn ang="0">
                  <a:pos x="9" y="51"/>
                </a:cxn>
                <a:cxn ang="0">
                  <a:pos x="17" y="38"/>
                </a:cxn>
                <a:cxn ang="0">
                  <a:pos x="25" y="25"/>
                </a:cxn>
                <a:cxn ang="0">
                  <a:pos x="34" y="13"/>
                </a:cxn>
                <a:cxn ang="0">
                  <a:pos x="44" y="6"/>
                </a:cxn>
                <a:cxn ang="0">
                  <a:pos x="53" y="0"/>
                </a:cxn>
                <a:cxn ang="0">
                  <a:pos x="59" y="0"/>
                </a:cxn>
                <a:cxn ang="0">
                  <a:pos x="69" y="2"/>
                </a:cxn>
                <a:cxn ang="0">
                  <a:pos x="74" y="8"/>
                </a:cxn>
                <a:cxn ang="0">
                  <a:pos x="84" y="13"/>
                </a:cxn>
                <a:cxn ang="0">
                  <a:pos x="91" y="15"/>
                </a:cxn>
                <a:cxn ang="0">
                  <a:pos x="97" y="4"/>
                </a:cxn>
              </a:cxnLst>
              <a:rect l="0" t="0" r="r" b="b"/>
              <a:pathLst>
                <a:path w="112" h="130">
                  <a:moveTo>
                    <a:pt x="97" y="4"/>
                  </a:moveTo>
                  <a:lnTo>
                    <a:pt x="97" y="4"/>
                  </a:lnTo>
                  <a:lnTo>
                    <a:pt x="91" y="11"/>
                  </a:lnTo>
                  <a:lnTo>
                    <a:pt x="91" y="11"/>
                  </a:lnTo>
                  <a:lnTo>
                    <a:pt x="93" y="15"/>
                  </a:lnTo>
                  <a:lnTo>
                    <a:pt x="93" y="17"/>
                  </a:lnTo>
                  <a:lnTo>
                    <a:pt x="95" y="21"/>
                  </a:lnTo>
                  <a:lnTo>
                    <a:pt x="97" y="23"/>
                  </a:lnTo>
                  <a:lnTo>
                    <a:pt x="99" y="27"/>
                  </a:lnTo>
                  <a:lnTo>
                    <a:pt x="99" y="29"/>
                  </a:lnTo>
                  <a:lnTo>
                    <a:pt x="101" y="32"/>
                  </a:lnTo>
                  <a:lnTo>
                    <a:pt x="101" y="34"/>
                  </a:lnTo>
                  <a:lnTo>
                    <a:pt x="101" y="34"/>
                  </a:lnTo>
                  <a:lnTo>
                    <a:pt x="101" y="36"/>
                  </a:lnTo>
                  <a:lnTo>
                    <a:pt x="101" y="38"/>
                  </a:lnTo>
                  <a:lnTo>
                    <a:pt x="101" y="40"/>
                  </a:lnTo>
                  <a:lnTo>
                    <a:pt x="101" y="44"/>
                  </a:lnTo>
                  <a:lnTo>
                    <a:pt x="101" y="46"/>
                  </a:lnTo>
                  <a:lnTo>
                    <a:pt x="101" y="50"/>
                  </a:lnTo>
                  <a:lnTo>
                    <a:pt x="101" y="51"/>
                  </a:lnTo>
                  <a:lnTo>
                    <a:pt x="101" y="55"/>
                  </a:lnTo>
                  <a:lnTo>
                    <a:pt x="101" y="55"/>
                  </a:lnTo>
                  <a:lnTo>
                    <a:pt x="101" y="61"/>
                  </a:lnTo>
                  <a:lnTo>
                    <a:pt x="101" y="67"/>
                  </a:lnTo>
                  <a:lnTo>
                    <a:pt x="103" y="72"/>
                  </a:lnTo>
                  <a:lnTo>
                    <a:pt x="103" y="76"/>
                  </a:lnTo>
                  <a:lnTo>
                    <a:pt x="105" y="80"/>
                  </a:lnTo>
                  <a:lnTo>
                    <a:pt x="107" y="84"/>
                  </a:lnTo>
                  <a:lnTo>
                    <a:pt x="109" y="88"/>
                  </a:lnTo>
                  <a:lnTo>
                    <a:pt x="112" y="92"/>
                  </a:lnTo>
                  <a:lnTo>
                    <a:pt x="112" y="92"/>
                  </a:lnTo>
                  <a:lnTo>
                    <a:pt x="109" y="97"/>
                  </a:lnTo>
                  <a:lnTo>
                    <a:pt x="105" y="103"/>
                  </a:lnTo>
                  <a:lnTo>
                    <a:pt x="101" y="109"/>
                  </a:lnTo>
                  <a:lnTo>
                    <a:pt x="97" y="116"/>
                  </a:lnTo>
                  <a:lnTo>
                    <a:pt x="91" y="122"/>
                  </a:lnTo>
                  <a:lnTo>
                    <a:pt x="86" y="126"/>
                  </a:lnTo>
                  <a:lnTo>
                    <a:pt x="78" y="128"/>
                  </a:lnTo>
                  <a:lnTo>
                    <a:pt x="69" y="130"/>
                  </a:lnTo>
                  <a:lnTo>
                    <a:pt x="69" y="130"/>
                  </a:lnTo>
                  <a:lnTo>
                    <a:pt x="63" y="130"/>
                  </a:lnTo>
                  <a:lnTo>
                    <a:pt x="55" y="130"/>
                  </a:lnTo>
                  <a:lnTo>
                    <a:pt x="49" y="128"/>
                  </a:lnTo>
                  <a:lnTo>
                    <a:pt x="44" y="128"/>
                  </a:lnTo>
                  <a:lnTo>
                    <a:pt x="38" y="124"/>
                  </a:lnTo>
                  <a:lnTo>
                    <a:pt x="32" y="122"/>
                  </a:lnTo>
                  <a:lnTo>
                    <a:pt x="27" y="120"/>
                  </a:lnTo>
                  <a:lnTo>
                    <a:pt x="23" y="118"/>
                  </a:lnTo>
                  <a:lnTo>
                    <a:pt x="17" y="114"/>
                  </a:lnTo>
                  <a:lnTo>
                    <a:pt x="13" y="111"/>
                  </a:lnTo>
                  <a:lnTo>
                    <a:pt x="9" y="107"/>
                  </a:lnTo>
                  <a:lnTo>
                    <a:pt x="7" y="103"/>
                  </a:lnTo>
                  <a:lnTo>
                    <a:pt x="4" y="99"/>
                  </a:lnTo>
                  <a:lnTo>
                    <a:pt x="2" y="93"/>
                  </a:lnTo>
                  <a:lnTo>
                    <a:pt x="2" y="88"/>
                  </a:lnTo>
                  <a:lnTo>
                    <a:pt x="0" y="82"/>
                  </a:lnTo>
                  <a:lnTo>
                    <a:pt x="0" y="82"/>
                  </a:lnTo>
                  <a:lnTo>
                    <a:pt x="2" y="78"/>
                  </a:lnTo>
                  <a:lnTo>
                    <a:pt x="2" y="71"/>
                  </a:lnTo>
                  <a:lnTo>
                    <a:pt x="4" y="65"/>
                  </a:lnTo>
                  <a:lnTo>
                    <a:pt x="6" y="59"/>
                  </a:lnTo>
                  <a:lnTo>
                    <a:pt x="9" y="51"/>
                  </a:lnTo>
                  <a:lnTo>
                    <a:pt x="13" y="44"/>
                  </a:lnTo>
                  <a:lnTo>
                    <a:pt x="17" y="38"/>
                  </a:lnTo>
                  <a:lnTo>
                    <a:pt x="21" y="30"/>
                  </a:lnTo>
                  <a:lnTo>
                    <a:pt x="25" y="25"/>
                  </a:lnTo>
                  <a:lnTo>
                    <a:pt x="28" y="19"/>
                  </a:lnTo>
                  <a:lnTo>
                    <a:pt x="34" y="13"/>
                  </a:lnTo>
                  <a:lnTo>
                    <a:pt x="40" y="9"/>
                  </a:lnTo>
                  <a:lnTo>
                    <a:pt x="44" y="6"/>
                  </a:lnTo>
                  <a:lnTo>
                    <a:pt x="49" y="2"/>
                  </a:lnTo>
                  <a:lnTo>
                    <a:pt x="53" y="0"/>
                  </a:lnTo>
                  <a:lnTo>
                    <a:pt x="59" y="0"/>
                  </a:lnTo>
                  <a:lnTo>
                    <a:pt x="59" y="0"/>
                  </a:lnTo>
                  <a:lnTo>
                    <a:pt x="63" y="0"/>
                  </a:lnTo>
                  <a:lnTo>
                    <a:pt x="69" y="2"/>
                  </a:lnTo>
                  <a:lnTo>
                    <a:pt x="72" y="6"/>
                  </a:lnTo>
                  <a:lnTo>
                    <a:pt x="74" y="8"/>
                  </a:lnTo>
                  <a:lnTo>
                    <a:pt x="80" y="9"/>
                  </a:lnTo>
                  <a:lnTo>
                    <a:pt x="84" y="13"/>
                  </a:lnTo>
                  <a:lnTo>
                    <a:pt x="88" y="15"/>
                  </a:lnTo>
                  <a:lnTo>
                    <a:pt x="91" y="15"/>
                  </a:lnTo>
                  <a:lnTo>
                    <a:pt x="93" y="15"/>
                  </a:lnTo>
                  <a:lnTo>
                    <a:pt x="97" y="4"/>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5" name="Freeform 219"/>
            <p:cNvSpPr>
              <a:spLocks/>
            </p:cNvSpPr>
            <p:nvPr/>
          </p:nvSpPr>
          <p:spPr bwMode="gray">
            <a:xfrm>
              <a:off x="2306" y="3328"/>
              <a:ext cx="684" cy="532"/>
            </a:xfrm>
            <a:custGeom>
              <a:avLst/>
              <a:gdLst/>
              <a:ahLst/>
              <a:cxnLst>
                <a:cxn ang="0">
                  <a:pos x="1106" y="284"/>
                </a:cxn>
                <a:cxn ang="0">
                  <a:pos x="1056" y="335"/>
                </a:cxn>
                <a:cxn ang="0">
                  <a:pos x="1056" y="391"/>
                </a:cxn>
                <a:cxn ang="0">
                  <a:pos x="1116" y="414"/>
                </a:cxn>
                <a:cxn ang="0">
                  <a:pos x="1161" y="377"/>
                </a:cxn>
                <a:cxn ang="0">
                  <a:pos x="1194" y="381"/>
                </a:cxn>
                <a:cxn ang="0">
                  <a:pos x="1192" y="412"/>
                </a:cxn>
                <a:cxn ang="0">
                  <a:pos x="1158" y="505"/>
                </a:cxn>
                <a:cxn ang="0">
                  <a:pos x="1108" y="541"/>
                </a:cxn>
                <a:cxn ang="0">
                  <a:pos x="1074" y="576"/>
                </a:cxn>
                <a:cxn ang="0">
                  <a:pos x="1041" y="622"/>
                </a:cxn>
                <a:cxn ang="0">
                  <a:pos x="988" y="685"/>
                </a:cxn>
                <a:cxn ang="0">
                  <a:pos x="925" y="746"/>
                </a:cxn>
                <a:cxn ang="0">
                  <a:pos x="858" y="803"/>
                </a:cxn>
                <a:cxn ang="0">
                  <a:pos x="784" y="858"/>
                </a:cxn>
                <a:cxn ang="0">
                  <a:pos x="692" y="894"/>
                </a:cxn>
                <a:cxn ang="0">
                  <a:pos x="644" y="896"/>
                </a:cxn>
                <a:cxn ang="0">
                  <a:pos x="583" y="923"/>
                </a:cxn>
                <a:cxn ang="0">
                  <a:pos x="471" y="913"/>
                </a:cxn>
                <a:cxn ang="0">
                  <a:pos x="427" y="915"/>
                </a:cxn>
                <a:cxn ang="0">
                  <a:pos x="368" y="938"/>
                </a:cxn>
                <a:cxn ang="0">
                  <a:pos x="324" y="940"/>
                </a:cxn>
                <a:cxn ang="0">
                  <a:pos x="280" y="950"/>
                </a:cxn>
                <a:cxn ang="0">
                  <a:pos x="230" y="969"/>
                </a:cxn>
                <a:cxn ang="0">
                  <a:pos x="181" y="940"/>
                </a:cxn>
                <a:cxn ang="0">
                  <a:pos x="147" y="919"/>
                </a:cxn>
                <a:cxn ang="0">
                  <a:pos x="122" y="927"/>
                </a:cxn>
                <a:cxn ang="0">
                  <a:pos x="129" y="887"/>
                </a:cxn>
                <a:cxn ang="0">
                  <a:pos x="95" y="822"/>
                </a:cxn>
                <a:cxn ang="0">
                  <a:pos x="120" y="755"/>
                </a:cxn>
                <a:cxn ang="0">
                  <a:pos x="80" y="686"/>
                </a:cxn>
                <a:cxn ang="0">
                  <a:pos x="34" y="604"/>
                </a:cxn>
                <a:cxn ang="0">
                  <a:pos x="9" y="528"/>
                </a:cxn>
                <a:cxn ang="0">
                  <a:pos x="15" y="471"/>
                </a:cxn>
                <a:cxn ang="0">
                  <a:pos x="68" y="490"/>
                </a:cxn>
                <a:cxn ang="0">
                  <a:pos x="124" y="517"/>
                </a:cxn>
                <a:cxn ang="0">
                  <a:pos x="188" y="519"/>
                </a:cxn>
                <a:cxn ang="0">
                  <a:pos x="238" y="488"/>
                </a:cxn>
                <a:cxn ang="0">
                  <a:pos x="282" y="231"/>
                </a:cxn>
                <a:cxn ang="0">
                  <a:pos x="314" y="292"/>
                </a:cxn>
                <a:cxn ang="0">
                  <a:pos x="301" y="347"/>
                </a:cxn>
                <a:cxn ang="0">
                  <a:pos x="351" y="364"/>
                </a:cxn>
                <a:cxn ang="0">
                  <a:pos x="438" y="320"/>
                </a:cxn>
                <a:cxn ang="0">
                  <a:pos x="486" y="250"/>
                </a:cxn>
                <a:cxn ang="0">
                  <a:pos x="551" y="278"/>
                </a:cxn>
                <a:cxn ang="0">
                  <a:pos x="621" y="278"/>
                </a:cxn>
                <a:cxn ang="0">
                  <a:pos x="675" y="271"/>
                </a:cxn>
                <a:cxn ang="0">
                  <a:pos x="704" y="210"/>
                </a:cxn>
                <a:cxn ang="0">
                  <a:pos x="744" y="194"/>
                </a:cxn>
                <a:cxn ang="0">
                  <a:pos x="782" y="147"/>
                </a:cxn>
                <a:cxn ang="0">
                  <a:pos x="824" y="107"/>
                </a:cxn>
                <a:cxn ang="0">
                  <a:pos x="885" y="42"/>
                </a:cxn>
                <a:cxn ang="0">
                  <a:pos x="927" y="38"/>
                </a:cxn>
                <a:cxn ang="0">
                  <a:pos x="1003" y="4"/>
                </a:cxn>
                <a:cxn ang="0">
                  <a:pos x="1072" y="21"/>
                </a:cxn>
                <a:cxn ang="0">
                  <a:pos x="1112" y="21"/>
                </a:cxn>
                <a:cxn ang="0">
                  <a:pos x="1125" y="99"/>
                </a:cxn>
                <a:cxn ang="0">
                  <a:pos x="1146" y="147"/>
                </a:cxn>
                <a:cxn ang="0">
                  <a:pos x="1152" y="196"/>
                </a:cxn>
                <a:cxn ang="0">
                  <a:pos x="1146" y="244"/>
                </a:cxn>
              </a:cxnLst>
              <a:rect l="0" t="0" r="r" b="b"/>
              <a:pathLst>
                <a:path w="1207" h="969">
                  <a:moveTo>
                    <a:pt x="1138" y="299"/>
                  </a:moveTo>
                  <a:lnTo>
                    <a:pt x="1138" y="299"/>
                  </a:lnTo>
                  <a:lnTo>
                    <a:pt x="1135" y="299"/>
                  </a:lnTo>
                  <a:lnTo>
                    <a:pt x="1131" y="297"/>
                  </a:lnTo>
                  <a:lnTo>
                    <a:pt x="1127" y="293"/>
                  </a:lnTo>
                  <a:lnTo>
                    <a:pt x="1121" y="292"/>
                  </a:lnTo>
                  <a:lnTo>
                    <a:pt x="1119" y="290"/>
                  </a:lnTo>
                  <a:lnTo>
                    <a:pt x="1116" y="286"/>
                  </a:lnTo>
                  <a:lnTo>
                    <a:pt x="1110" y="284"/>
                  </a:lnTo>
                  <a:lnTo>
                    <a:pt x="1106" y="284"/>
                  </a:lnTo>
                  <a:lnTo>
                    <a:pt x="1106" y="284"/>
                  </a:lnTo>
                  <a:lnTo>
                    <a:pt x="1100" y="284"/>
                  </a:lnTo>
                  <a:lnTo>
                    <a:pt x="1096" y="286"/>
                  </a:lnTo>
                  <a:lnTo>
                    <a:pt x="1091" y="290"/>
                  </a:lnTo>
                  <a:lnTo>
                    <a:pt x="1087" y="293"/>
                  </a:lnTo>
                  <a:lnTo>
                    <a:pt x="1081" y="297"/>
                  </a:lnTo>
                  <a:lnTo>
                    <a:pt x="1075" y="303"/>
                  </a:lnTo>
                  <a:lnTo>
                    <a:pt x="1072" y="309"/>
                  </a:lnTo>
                  <a:lnTo>
                    <a:pt x="1068" y="314"/>
                  </a:lnTo>
                  <a:lnTo>
                    <a:pt x="1064" y="322"/>
                  </a:lnTo>
                  <a:lnTo>
                    <a:pt x="1060" y="328"/>
                  </a:lnTo>
                  <a:lnTo>
                    <a:pt x="1056" y="335"/>
                  </a:lnTo>
                  <a:lnTo>
                    <a:pt x="1053" y="343"/>
                  </a:lnTo>
                  <a:lnTo>
                    <a:pt x="1051" y="349"/>
                  </a:lnTo>
                  <a:lnTo>
                    <a:pt x="1049" y="355"/>
                  </a:lnTo>
                  <a:lnTo>
                    <a:pt x="1049" y="362"/>
                  </a:lnTo>
                  <a:lnTo>
                    <a:pt x="1047" y="366"/>
                  </a:lnTo>
                  <a:lnTo>
                    <a:pt x="1047" y="366"/>
                  </a:lnTo>
                  <a:lnTo>
                    <a:pt x="1049" y="372"/>
                  </a:lnTo>
                  <a:lnTo>
                    <a:pt x="1049" y="377"/>
                  </a:lnTo>
                  <a:lnTo>
                    <a:pt x="1051" y="383"/>
                  </a:lnTo>
                  <a:lnTo>
                    <a:pt x="1054" y="387"/>
                  </a:lnTo>
                  <a:lnTo>
                    <a:pt x="1056" y="391"/>
                  </a:lnTo>
                  <a:lnTo>
                    <a:pt x="1060" y="395"/>
                  </a:lnTo>
                  <a:lnTo>
                    <a:pt x="1064" y="398"/>
                  </a:lnTo>
                  <a:lnTo>
                    <a:pt x="1070" y="402"/>
                  </a:lnTo>
                  <a:lnTo>
                    <a:pt x="1074" y="404"/>
                  </a:lnTo>
                  <a:lnTo>
                    <a:pt x="1079" y="406"/>
                  </a:lnTo>
                  <a:lnTo>
                    <a:pt x="1085" y="408"/>
                  </a:lnTo>
                  <a:lnTo>
                    <a:pt x="1091" y="412"/>
                  </a:lnTo>
                  <a:lnTo>
                    <a:pt x="1096" y="412"/>
                  </a:lnTo>
                  <a:lnTo>
                    <a:pt x="1102" y="414"/>
                  </a:lnTo>
                  <a:lnTo>
                    <a:pt x="1110" y="414"/>
                  </a:lnTo>
                  <a:lnTo>
                    <a:pt x="1116" y="414"/>
                  </a:lnTo>
                  <a:lnTo>
                    <a:pt x="1116" y="414"/>
                  </a:lnTo>
                  <a:lnTo>
                    <a:pt x="1125" y="412"/>
                  </a:lnTo>
                  <a:lnTo>
                    <a:pt x="1133" y="410"/>
                  </a:lnTo>
                  <a:lnTo>
                    <a:pt x="1138" y="406"/>
                  </a:lnTo>
                  <a:lnTo>
                    <a:pt x="1144" y="400"/>
                  </a:lnTo>
                  <a:lnTo>
                    <a:pt x="1148" y="393"/>
                  </a:lnTo>
                  <a:lnTo>
                    <a:pt x="1152" y="387"/>
                  </a:lnTo>
                  <a:lnTo>
                    <a:pt x="1156" y="381"/>
                  </a:lnTo>
                  <a:lnTo>
                    <a:pt x="1159" y="376"/>
                  </a:lnTo>
                  <a:lnTo>
                    <a:pt x="1159" y="376"/>
                  </a:lnTo>
                  <a:lnTo>
                    <a:pt x="1161" y="377"/>
                  </a:lnTo>
                  <a:lnTo>
                    <a:pt x="1163" y="377"/>
                  </a:lnTo>
                  <a:lnTo>
                    <a:pt x="1165" y="379"/>
                  </a:lnTo>
                  <a:lnTo>
                    <a:pt x="1169" y="381"/>
                  </a:lnTo>
                  <a:lnTo>
                    <a:pt x="1171" y="381"/>
                  </a:lnTo>
                  <a:lnTo>
                    <a:pt x="1175" y="381"/>
                  </a:lnTo>
                  <a:lnTo>
                    <a:pt x="1178" y="381"/>
                  </a:lnTo>
                  <a:lnTo>
                    <a:pt x="1182" y="381"/>
                  </a:lnTo>
                  <a:lnTo>
                    <a:pt x="1182" y="381"/>
                  </a:lnTo>
                  <a:lnTo>
                    <a:pt x="1188" y="381"/>
                  </a:lnTo>
                  <a:lnTo>
                    <a:pt x="1190" y="381"/>
                  </a:lnTo>
                  <a:lnTo>
                    <a:pt x="1194" y="381"/>
                  </a:lnTo>
                  <a:lnTo>
                    <a:pt x="1198" y="379"/>
                  </a:lnTo>
                  <a:lnTo>
                    <a:pt x="1199" y="377"/>
                  </a:lnTo>
                  <a:lnTo>
                    <a:pt x="1203" y="377"/>
                  </a:lnTo>
                  <a:lnTo>
                    <a:pt x="1205" y="376"/>
                  </a:lnTo>
                  <a:lnTo>
                    <a:pt x="1207" y="374"/>
                  </a:lnTo>
                  <a:lnTo>
                    <a:pt x="1207" y="374"/>
                  </a:lnTo>
                  <a:lnTo>
                    <a:pt x="1203" y="381"/>
                  </a:lnTo>
                  <a:lnTo>
                    <a:pt x="1199" y="389"/>
                  </a:lnTo>
                  <a:lnTo>
                    <a:pt x="1198" y="396"/>
                  </a:lnTo>
                  <a:lnTo>
                    <a:pt x="1196" y="404"/>
                  </a:lnTo>
                  <a:lnTo>
                    <a:pt x="1192" y="412"/>
                  </a:lnTo>
                  <a:lnTo>
                    <a:pt x="1190" y="421"/>
                  </a:lnTo>
                  <a:lnTo>
                    <a:pt x="1188" y="429"/>
                  </a:lnTo>
                  <a:lnTo>
                    <a:pt x="1186" y="438"/>
                  </a:lnTo>
                  <a:lnTo>
                    <a:pt x="1182" y="446"/>
                  </a:lnTo>
                  <a:lnTo>
                    <a:pt x="1180" y="456"/>
                  </a:lnTo>
                  <a:lnTo>
                    <a:pt x="1178" y="463"/>
                  </a:lnTo>
                  <a:lnTo>
                    <a:pt x="1175" y="473"/>
                  </a:lnTo>
                  <a:lnTo>
                    <a:pt x="1171" y="480"/>
                  </a:lnTo>
                  <a:lnTo>
                    <a:pt x="1167" y="488"/>
                  </a:lnTo>
                  <a:lnTo>
                    <a:pt x="1163" y="498"/>
                  </a:lnTo>
                  <a:lnTo>
                    <a:pt x="1158" y="505"/>
                  </a:lnTo>
                  <a:lnTo>
                    <a:pt x="1158" y="505"/>
                  </a:lnTo>
                  <a:lnTo>
                    <a:pt x="1154" y="509"/>
                  </a:lnTo>
                  <a:lnTo>
                    <a:pt x="1148" y="515"/>
                  </a:lnTo>
                  <a:lnTo>
                    <a:pt x="1142" y="519"/>
                  </a:lnTo>
                  <a:lnTo>
                    <a:pt x="1137" y="522"/>
                  </a:lnTo>
                  <a:lnTo>
                    <a:pt x="1131" y="526"/>
                  </a:lnTo>
                  <a:lnTo>
                    <a:pt x="1123" y="530"/>
                  </a:lnTo>
                  <a:lnTo>
                    <a:pt x="1117" y="534"/>
                  </a:lnTo>
                  <a:lnTo>
                    <a:pt x="1114" y="536"/>
                  </a:lnTo>
                  <a:lnTo>
                    <a:pt x="1114" y="536"/>
                  </a:lnTo>
                  <a:lnTo>
                    <a:pt x="1108" y="541"/>
                  </a:lnTo>
                  <a:lnTo>
                    <a:pt x="1104" y="545"/>
                  </a:lnTo>
                  <a:lnTo>
                    <a:pt x="1100" y="549"/>
                  </a:lnTo>
                  <a:lnTo>
                    <a:pt x="1098" y="553"/>
                  </a:lnTo>
                  <a:lnTo>
                    <a:pt x="1096" y="557"/>
                  </a:lnTo>
                  <a:lnTo>
                    <a:pt x="1093" y="561"/>
                  </a:lnTo>
                  <a:lnTo>
                    <a:pt x="1089" y="564"/>
                  </a:lnTo>
                  <a:lnTo>
                    <a:pt x="1083" y="568"/>
                  </a:lnTo>
                  <a:lnTo>
                    <a:pt x="1083" y="568"/>
                  </a:lnTo>
                  <a:lnTo>
                    <a:pt x="1081" y="568"/>
                  </a:lnTo>
                  <a:lnTo>
                    <a:pt x="1077" y="572"/>
                  </a:lnTo>
                  <a:lnTo>
                    <a:pt x="1074" y="576"/>
                  </a:lnTo>
                  <a:lnTo>
                    <a:pt x="1070" y="582"/>
                  </a:lnTo>
                  <a:lnTo>
                    <a:pt x="1066" y="585"/>
                  </a:lnTo>
                  <a:lnTo>
                    <a:pt x="1062" y="591"/>
                  </a:lnTo>
                  <a:lnTo>
                    <a:pt x="1060" y="595"/>
                  </a:lnTo>
                  <a:lnTo>
                    <a:pt x="1056" y="599"/>
                  </a:lnTo>
                  <a:lnTo>
                    <a:pt x="1056" y="599"/>
                  </a:lnTo>
                  <a:lnTo>
                    <a:pt x="1054" y="604"/>
                  </a:lnTo>
                  <a:lnTo>
                    <a:pt x="1051" y="610"/>
                  </a:lnTo>
                  <a:lnTo>
                    <a:pt x="1049" y="614"/>
                  </a:lnTo>
                  <a:lnTo>
                    <a:pt x="1045" y="618"/>
                  </a:lnTo>
                  <a:lnTo>
                    <a:pt x="1041" y="622"/>
                  </a:lnTo>
                  <a:lnTo>
                    <a:pt x="1037" y="624"/>
                  </a:lnTo>
                  <a:lnTo>
                    <a:pt x="1034" y="627"/>
                  </a:lnTo>
                  <a:lnTo>
                    <a:pt x="1030" y="631"/>
                  </a:lnTo>
                  <a:lnTo>
                    <a:pt x="1030" y="631"/>
                  </a:lnTo>
                  <a:lnTo>
                    <a:pt x="1022" y="639"/>
                  </a:lnTo>
                  <a:lnTo>
                    <a:pt x="1016" y="646"/>
                  </a:lnTo>
                  <a:lnTo>
                    <a:pt x="1011" y="654"/>
                  </a:lnTo>
                  <a:lnTo>
                    <a:pt x="1005" y="662"/>
                  </a:lnTo>
                  <a:lnTo>
                    <a:pt x="999" y="669"/>
                  </a:lnTo>
                  <a:lnTo>
                    <a:pt x="993" y="677"/>
                  </a:lnTo>
                  <a:lnTo>
                    <a:pt x="988" y="685"/>
                  </a:lnTo>
                  <a:lnTo>
                    <a:pt x="984" y="692"/>
                  </a:lnTo>
                  <a:lnTo>
                    <a:pt x="978" y="698"/>
                  </a:lnTo>
                  <a:lnTo>
                    <a:pt x="972" y="706"/>
                  </a:lnTo>
                  <a:lnTo>
                    <a:pt x="967" y="711"/>
                  </a:lnTo>
                  <a:lnTo>
                    <a:pt x="961" y="717"/>
                  </a:lnTo>
                  <a:lnTo>
                    <a:pt x="955" y="723"/>
                  </a:lnTo>
                  <a:lnTo>
                    <a:pt x="948" y="728"/>
                  </a:lnTo>
                  <a:lnTo>
                    <a:pt x="940" y="734"/>
                  </a:lnTo>
                  <a:lnTo>
                    <a:pt x="932" y="738"/>
                  </a:lnTo>
                  <a:lnTo>
                    <a:pt x="932" y="738"/>
                  </a:lnTo>
                  <a:lnTo>
                    <a:pt x="925" y="746"/>
                  </a:lnTo>
                  <a:lnTo>
                    <a:pt x="919" y="751"/>
                  </a:lnTo>
                  <a:lnTo>
                    <a:pt x="913" y="757"/>
                  </a:lnTo>
                  <a:lnTo>
                    <a:pt x="908" y="763"/>
                  </a:lnTo>
                  <a:lnTo>
                    <a:pt x="900" y="769"/>
                  </a:lnTo>
                  <a:lnTo>
                    <a:pt x="894" y="774"/>
                  </a:lnTo>
                  <a:lnTo>
                    <a:pt x="889" y="778"/>
                  </a:lnTo>
                  <a:lnTo>
                    <a:pt x="883" y="784"/>
                  </a:lnTo>
                  <a:lnTo>
                    <a:pt x="877" y="788"/>
                  </a:lnTo>
                  <a:lnTo>
                    <a:pt x="869" y="793"/>
                  </a:lnTo>
                  <a:lnTo>
                    <a:pt x="864" y="797"/>
                  </a:lnTo>
                  <a:lnTo>
                    <a:pt x="858" y="803"/>
                  </a:lnTo>
                  <a:lnTo>
                    <a:pt x="850" y="807"/>
                  </a:lnTo>
                  <a:lnTo>
                    <a:pt x="845" y="812"/>
                  </a:lnTo>
                  <a:lnTo>
                    <a:pt x="837" y="816"/>
                  </a:lnTo>
                  <a:lnTo>
                    <a:pt x="829" y="822"/>
                  </a:lnTo>
                  <a:lnTo>
                    <a:pt x="829" y="822"/>
                  </a:lnTo>
                  <a:lnTo>
                    <a:pt x="822" y="828"/>
                  </a:lnTo>
                  <a:lnTo>
                    <a:pt x="812" y="833"/>
                  </a:lnTo>
                  <a:lnTo>
                    <a:pt x="805" y="839"/>
                  </a:lnTo>
                  <a:lnTo>
                    <a:pt x="799" y="845"/>
                  </a:lnTo>
                  <a:lnTo>
                    <a:pt x="791" y="852"/>
                  </a:lnTo>
                  <a:lnTo>
                    <a:pt x="784" y="858"/>
                  </a:lnTo>
                  <a:lnTo>
                    <a:pt x="776" y="864"/>
                  </a:lnTo>
                  <a:lnTo>
                    <a:pt x="768" y="870"/>
                  </a:lnTo>
                  <a:lnTo>
                    <a:pt x="761" y="875"/>
                  </a:lnTo>
                  <a:lnTo>
                    <a:pt x="753" y="879"/>
                  </a:lnTo>
                  <a:lnTo>
                    <a:pt x="745" y="885"/>
                  </a:lnTo>
                  <a:lnTo>
                    <a:pt x="736" y="889"/>
                  </a:lnTo>
                  <a:lnTo>
                    <a:pt x="726" y="891"/>
                  </a:lnTo>
                  <a:lnTo>
                    <a:pt x="715" y="893"/>
                  </a:lnTo>
                  <a:lnTo>
                    <a:pt x="704" y="894"/>
                  </a:lnTo>
                  <a:lnTo>
                    <a:pt x="692" y="894"/>
                  </a:lnTo>
                  <a:lnTo>
                    <a:pt x="692" y="894"/>
                  </a:lnTo>
                  <a:lnTo>
                    <a:pt x="686" y="894"/>
                  </a:lnTo>
                  <a:lnTo>
                    <a:pt x="681" y="894"/>
                  </a:lnTo>
                  <a:lnTo>
                    <a:pt x="677" y="894"/>
                  </a:lnTo>
                  <a:lnTo>
                    <a:pt x="671" y="894"/>
                  </a:lnTo>
                  <a:lnTo>
                    <a:pt x="667" y="894"/>
                  </a:lnTo>
                  <a:lnTo>
                    <a:pt x="662" y="894"/>
                  </a:lnTo>
                  <a:lnTo>
                    <a:pt x="660" y="894"/>
                  </a:lnTo>
                  <a:lnTo>
                    <a:pt x="656" y="894"/>
                  </a:lnTo>
                  <a:lnTo>
                    <a:pt x="656" y="894"/>
                  </a:lnTo>
                  <a:lnTo>
                    <a:pt x="650" y="894"/>
                  </a:lnTo>
                  <a:lnTo>
                    <a:pt x="644" y="896"/>
                  </a:lnTo>
                  <a:lnTo>
                    <a:pt x="639" y="898"/>
                  </a:lnTo>
                  <a:lnTo>
                    <a:pt x="633" y="900"/>
                  </a:lnTo>
                  <a:lnTo>
                    <a:pt x="627" y="902"/>
                  </a:lnTo>
                  <a:lnTo>
                    <a:pt x="621" y="904"/>
                  </a:lnTo>
                  <a:lnTo>
                    <a:pt x="618" y="908"/>
                  </a:lnTo>
                  <a:lnTo>
                    <a:pt x="612" y="910"/>
                  </a:lnTo>
                  <a:lnTo>
                    <a:pt x="606" y="913"/>
                  </a:lnTo>
                  <a:lnTo>
                    <a:pt x="601" y="917"/>
                  </a:lnTo>
                  <a:lnTo>
                    <a:pt x="595" y="919"/>
                  </a:lnTo>
                  <a:lnTo>
                    <a:pt x="589" y="921"/>
                  </a:lnTo>
                  <a:lnTo>
                    <a:pt x="583" y="923"/>
                  </a:lnTo>
                  <a:lnTo>
                    <a:pt x="578" y="925"/>
                  </a:lnTo>
                  <a:lnTo>
                    <a:pt x="572" y="927"/>
                  </a:lnTo>
                  <a:lnTo>
                    <a:pt x="566" y="927"/>
                  </a:lnTo>
                  <a:lnTo>
                    <a:pt x="497" y="910"/>
                  </a:lnTo>
                  <a:lnTo>
                    <a:pt x="497" y="910"/>
                  </a:lnTo>
                  <a:lnTo>
                    <a:pt x="492" y="912"/>
                  </a:lnTo>
                  <a:lnTo>
                    <a:pt x="488" y="912"/>
                  </a:lnTo>
                  <a:lnTo>
                    <a:pt x="484" y="912"/>
                  </a:lnTo>
                  <a:lnTo>
                    <a:pt x="480" y="913"/>
                  </a:lnTo>
                  <a:lnTo>
                    <a:pt x="477" y="913"/>
                  </a:lnTo>
                  <a:lnTo>
                    <a:pt x="471" y="913"/>
                  </a:lnTo>
                  <a:lnTo>
                    <a:pt x="467" y="913"/>
                  </a:lnTo>
                  <a:lnTo>
                    <a:pt x="463" y="915"/>
                  </a:lnTo>
                  <a:lnTo>
                    <a:pt x="459" y="915"/>
                  </a:lnTo>
                  <a:lnTo>
                    <a:pt x="456" y="915"/>
                  </a:lnTo>
                  <a:lnTo>
                    <a:pt x="452" y="915"/>
                  </a:lnTo>
                  <a:lnTo>
                    <a:pt x="446" y="915"/>
                  </a:lnTo>
                  <a:lnTo>
                    <a:pt x="442" y="915"/>
                  </a:lnTo>
                  <a:lnTo>
                    <a:pt x="436" y="915"/>
                  </a:lnTo>
                  <a:lnTo>
                    <a:pt x="433" y="915"/>
                  </a:lnTo>
                  <a:lnTo>
                    <a:pt x="427" y="915"/>
                  </a:lnTo>
                  <a:lnTo>
                    <a:pt x="427" y="915"/>
                  </a:lnTo>
                  <a:lnTo>
                    <a:pt x="415" y="915"/>
                  </a:lnTo>
                  <a:lnTo>
                    <a:pt x="408" y="917"/>
                  </a:lnTo>
                  <a:lnTo>
                    <a:pt x="400" y="921"/>
                  </a:lnTo>
                  <a:lnTo>
                    <a:pt x="394" y="923"/>
                  </a:lnTo>
                  <a:lnTo>
                    <a:pt x="389" y="927"/>
                  </a:lnTo>
                  <a:lnTo>
                    <a:pt x="383" y="931"/>
                  </a:lnTo>
                  <a:lnTo>
                    <a:pt x="377" y="934"/>
                  </a:lnTo>
                  <a:lnTo>
                    <a:pt x="372" y="938"/>
                  </a:lnTo>
                  <a:lnTo>
                    <a:pt x="372" y="938"/>
                  </a:lnTo>
                  <a:lnTo>
                    <a:pt x="372" y="938"/>
                  </a:lnTo>
                  <a:lnTo>
                    <a:pt x="368" y="938"/>
                  </a:lnTo>
                  <a:lnTo>
                    <a:pt x="364" y="940"/>
                  </a:lnTo>
                  <a:lnTo>
                    <a:pt x="360" y="940"/>
                  </a:lnTo>
                  <a:lnTo>
                    <a:pt x="356" y="940"/>
                  </a:lnTo>
                  <a:lnTo>
                    <a:pt x="351" y="940"/>
                  </a:lnTo>
                  <a:lnTo>
                    <a:pt x="349" y="940"/>
                  </a:lnTo>
                  <a:lnTo>
                    <a:pt x="343" y="940"/>
                  </a:lnTo>
                  <a:lnTo>
                    <a:pt x="339" y="940"/>
                  </a:lnTo>
                  <a:lnTo>
                    <a:pt x="335" y="940"/>
                  </a:lnTo>
                  <a:lnTo>
                    <a:pt x="332" y="940"/>
                  </a:lnTo>
                  <a:lnTo>
                    <a:pt x="328" y="940"/>
                  </a:lnTo>
                  <a:lnTo>
                    <a:pt x="324" y="940"/>
                  </a:lnTo>
                  <a:lnTo>
                    <a:pt x="318" y="940"/>
                  </a:lnTo>
                  <a:lnTo>
                    <a:pt x="314" y="940"/>
                  </a:lnTo>
                  <a:lnTo>
                    <a:pt x="311" y="940"/>
                  </a:lnTo>
                  <a:lnTo>
                    <a:pt x="307" y="940"/>
                  </a:lnTo>
                  <a:lnTo>
                    <a:pt x="307" y="940"/>
                  </a:lnTo>
                  <a:lnTo>
                    <a:pt x="303" y="940"/>
                  </a:lnTo>
                  <a:lnTo>
                    <a:pt x="299" y="940"/>
                  </a:lnTo>
                  <a:lnTo>
                    <a:pt x="293" y="942"/>
                  </a:lnTo>
                  <a:lnTo>
                    <a:pt x="290" y="944"/>
                  </a:lnTo>
                  <a:lnTo>
                    <a:pt x="286" y="946"/>
                  </a:lnTo>
                  <a:lnTo>
                    <a:pt x="280" y="950"/>
                  </a:lnTo>
                  <a:lnTo>
                    <a:pt x="276" y="952"/>
                  </a:lnTo>
                  <a:lnTo>
                    <a:pt x="270" y="954"/>
                  </a:lnTo>
                  <a:lnTo>
                    <a:pt x="267" y="957"/>
                  </a:lnTo>
                  <a:lnTo>
                    <a:pt x="261" y="959"/>
                  </a:lnTo>
                  <a:lnTo>
                    <a:pt x="255" y="963"/>
                  </a:lnTo>
                  <a:lnTo>
                    <a:pt x="251" y="965"/>
                  </a:lnTo>
                  <a:lnTo>
                    <a:pt x="246" y="967"/>
                  </a:lnTo>
                  <a:lnTo>
                    <a:pt x="240" y="969"/>
                  </a:lnTo>
                  <a:lnTo>
                    <a:pt x="234" y="969"/>
                  </a:lnTo>
                  <a:lnTo>
                    <a:pt x="230" y="969"/>
                  </a:lnTo>
                  <a:lnTo>
                    <a:pt x="230" y="969"/>
                  </a:lnTo>
                  <a:lnTo>
                    <a:pt x="223" y="969"/>
                  </a:lnTo>
                  <a:lnTo>
                    <a:pt x="217" y="967"/>
                  </a:lnTo>
                  <a:lnTo>
                    <a:pt x="211" y="967"/>
                  </a:lnTo>
                  <a:lnTo>
                    <a:pt x="208" y="963"/>
                  </a:lnTo>
                  <a:lnTo>
                    <a:pt x="204" y="961"/>
                  </a:lnTo>
                  <a:lnTo>
                    <a:pt x="200" y="957"/>
                  </a:lnTo>
                  <a:lnTo>
                    <a:pt x="196" y="954"/>
                  </a:lnTo>
                  <a:lnTo>
                    <a:pt x="192" y="950"/>
                  </a:lnTo>
                  <a:lnTo>
                    <a:pt x="188" y="946"/>
                  </a:lnTo>
                  <a:lnTo>
                    <a:pt x="185" y="944"/>
                  </a:lnTo>
                  <a:lnTo>
                    <a:pt x="181" y="940"/>
                  </a:lnTo>
                  <a:lnTo>
                    <a:pt x="179" y="936"/>
                  </a:lnTo>
                  <a:lnTo>
                    <a:pt x="175" y="934"/>
                  </a:lnTo>
                  <a:lnTo>
                    <a:pt x="171" y="933"/>
                  </a:lnTo>
                  <a:lnTo>
                    <a:pt x="166" y="933"/>
                  </a:lnTo>
                  <a:lnTo>
                    <a:pt x="162" y="931"/>
                  </a:lnTo>
                  <a:lnTo>
                    <a:pt x="162" y="931"/>
                  </a:lnTo>
                  <a:lnTo>
                    <a:pt x="158" y="931"/>
                  </a:lnTo>
                  <a:lnTo>
                    <a:pt x="154" y="929"/>
                  </a:lnTo>
                  <a:lnTo>
                    <a:pt x="152" y="925"/>
                  </a:lnTo>
                  <a:lnTo>
                    <a:pt x="148" y="923"/>
                  </a:lnTo>
                  <a:lnTo>
                    <a:pt x="147" y="919"/>
                  </a:lnTo>
                  <a:lnTo>
                    <a:pt x="145" y="915"/>
                  </a:lnTo>
                  <a:lnTo>
                    <a:pt x="141" y="913"/>
                  </a:lnTo>
                  <a:lnTo>
                    <a:pt x="137" y="913"/>
                  </a:lnTo>
                  <a:lnTo>
                    <a:pt x="137" y="913"/>
                  </a:lnTo>
                  <a:lnTo>
                    <a:pt x="135" y="913"/>
                  </a:lnTo>
                  <a:lnTo>
                    <a:pt x="131" y="915"/>
                  </a:lnTo>
                  <a:lnTo>
                    <a:pt x="129" y="917"/>
                  </a:lnTo>
                  <a:lnTo>
                    <a:pt x="127" y="919"/>
                  </a:lnTo>
                  <a:lnTo>
                    <a:pt x="126" y="921"/>
                  </a:lnTo>
                  <a:lnTo>
                    <a:pt x="124" y="925"/>
                  </a:lnTo>
                  <a:lnTo>
                    <a:pt x="122" y="927"/>
                  </a:lnTo>
                  <a:lnTo>
                    <a:pt x="120" y="929"/>
                  </a:lnTo>
                  <a:lnTo>
                    <a:pt x="120" y="908"/>
                  </a:lnTo>
                  <a:lnTo>
                    <a:pt x="120" y="908"/>
                  </a:lnTo>
                  <a:lnTo>
                    <a:pt x="122" y="906"/>
                  </a:lnTo>
                  <a:lnTo>
                    <a:pt x="122" y="902"/>
                  </a:lnTo>
                  <a:lnTo>
                    <a:pt x="124" y="900"/>
                  </a:lnTo>
                  <a:lnTo>
                    <a:pt x="126" y="896"/>
                  </a:lnTo>
                  <a:lnTo>
                    <a:pt x="127" y="894"/>
                  </a:lnTo>
                  <a:lnTo>
                    <a:pt x="127" y="891"/>
                  </a:lnTo>
                  <a:lnTo>
                    <a:pt x="129" y="889"/>
                  </a:lnTo>
                  <a:lnTo>
                    <a:pt x="129" y="887"/>
                  </a:lnTo>
                  <a:lnTo>
                    <a:pt x="129" y="887"/>
                  </a:lnTo>
                  <a:lnTo>
                    <a:pt x="127" y="877"/>
                  </a:lnTo>
                  <a:lnTo>
                    <a:pt x="124" y="870"/>
                  </a:lnTo>
                  <a:lnTo>
                    <a:pt x="118" y="864"/>
                  </a:lnTo>
                  <a:lnTo>
                    <a:pt x="112" y="856"/>
                  </a:lnTo>
                  <a:lnTo>
                    <a:pt x="105" y="851"/>
                  </a:lnTo>
                  <a:lnTo>
                    <a:pt x="99" y="845"/>
                  </a:lnTo>
                  <a:lnTo>
                    <a:pt x="95" y="837"/>
                  </a:lnTo>
                  <a:lnTo>
                    <a:pt x="93" y="828"/>
                  </a:lnTo>
                  <a:lnTo>
                    <a:pt x="93" y="828"/>
                  </a:lnTo>
                  <a:lnTo>
                    <a:pt x="95" y="822"/>
                  </a:lnTo>
                  <a:lnTo>
                    <a:pt x="97" y="816"/>
                  </a:lnTo>
                  <a:lnTo>
                    <a:pt x="103" y="812"/>
                  </a:lnTo>
                  <a:lnTo>
                    <a:pt x="106" y="807"/>
                  </a:lnTo>
                  <a:lnTo>
                    <a:pt x="112" y="801"/>
                  </a:lnTo>
                  <a:lnTo>
                    <a:pt x="116" y="795"/>
                  </a:lnTo>
                  <a:lnTo>
                    <a:pt x="118" y="788"/>
                  </a:lnTo>
                  <a:lnTo>
                    <a:pt x="120" y="780"/>
                  </a:lnTo>
                  <a:lnTo>
                    <a:pt x="120" y="780"/>
                  </a:lnTo>
                  <a:lnTo>
                    <a:pt x="120" y="772"/>
                  </a:lnTo>
                  <a:lnTo>
                    <a:pt x="120" y="763"/>
                  </a:lnTo>
                  <a:lnTo>
                    <a:pt x="120" y="755"/>
                  </a:lnTo>
                  <a:lnTo>
                    <a:pt x="118" y="746"/>
                  </a:lnTo>
                  <a:lnTo>
                    <a:pt x="116" y="738"/>
                  </a:lnTo>
                  <a:lnTo>
                    <a:pt x="114" y="730"/>
                  </a:lnTo>
                  <a:lnTo>
                    <a:pt x="110" y="723"/>
                  </a:lnTo>
                  <a:lnTo>
                    <a:pt x="106" y="715"/>
                  </a:lnTo>
                  <a:lnTo>
                    <a:pt x="106" y="715"/>
                  </a:lnTo>
                  <a:lnTo>
                    <a:pt x="101" y="709"/>
                  </a:lnTo>
                  <a:lnTo>
                    <a:pt x="95" y="704"/>
                  </a:lnTo>
                  <a:lnTo>
                    <a:pt x="91" y="698"/>
                  </a:lnTo>
                  <a:lnTo>
                    <a:pt x="85" y="692"/>
                  </a:lnTo>
                  <a:lnTo>
                    <a:pt x="80" y="686"/>
                  </a:lnTo>
                  <a:lnTo>
                    <a:pt x="74" y="679"/>
                  </a:lnTo>
                  <a:lnTo>
                    <a:pt x="68" y="673"/>
                  </a:lnTo>
                  <a:lnTo>
                    <a:pt x="63" y="665"/>
                  </a:lnTo>
                  <a:lnTo>
                    <a:pt x="59" y="660"/>
                  </a:lnTo>
                  <a:lnTo>
                    <a:pt x="53" y="652"/>
                  </a:lnTo>
                  <a:lnTo>
                    <a:pt x="49" y="645"/>
                  </a:lnTo>
                  <a:lnTo>
                    <a:pt x="45" y="637"/>
                  </a:lnTo>
                  <a:lnTo>
                    <a:pt x="42" y="629"/>
                  </a:lnTo>
                  <a:lnTo>
                    <a:pt x="38" y="620"/>
                  </a:lnTo>
                  <a:lnTo>
                    <a:pt x="36" y="612"/>
                  </a:lnTo>
                  <a:lnTo>
                    <a:pt x="34" y="604"/>
                  </a:lnTo>
                  <a:lnTo>
                    <a:pt x="34" y="604"/>
                  </a:lnTo>
                  <a:lnTo>
                    <a:pt x="32" y="591"/>
                  </a:lnTo>
                  <a:lnTo>
                    <a:pt x="28" y="582"/>
                  </a:lnTo>
                  <a:lnTo>
                    <a:pt x="26" y="572"/>
                  </a:lnTo>
                  <a:lnTo>
                    <a:pt x="24" y="562"/>
                  </a:lnTo>
                  <a:lnTo>
                    <a:pt x="23" y="555"/>
                  </a:lnTo>
                  <a:lnTo>
                    <a:pt x="19" y="549"/>
                  </a:lnTo>
                  <a:lnTo>
                    <a:pt x="17" y="543"/>
                  </a:lnTo>
                  <a:lnTo>
                    <a:pt x="13" y="538"/>
                  </a:lnTo>
                  <a:lnTo>
                    <a:pt x="11" y="532"/>
                  </a:lnTo>
                  <a:lnTo>
                    <a:pt x="9" y="528"/>
                  </a:lnTo>
                  <a:lnTo>
                    <a:pt x="7" y="522"/>
                  </a:lnTo>
                  <a:lnTo>
                    <a:pt x="5" y="519"/>
                  </a:lnTo>
                  <a:lnTo>
                    <a:pt x="3" y="513"/>
                  </a:lnTo>
                  <a:lnTo>
                    <a:pt x="2" y="509"/>
                  </a:lnTo>
                  <a:lnTo>
                    <a:pt x="0" y="503"/>
                  </a:lnTo>
                  <a:lnTo>
                    <a:pt x="0" y="496"/>
                  </a:lnTo>
                  <a:lnTo>
                    <a:pt x="0" y="496"/>
                  </a:lnTo>
                  <a:lnTo>
                    <a:pt x="5" y="492"/>
                  </a:lnTo>
                  <a:lnTo>
                    <a:pt x="9" y="486"/>
                  </a:lnTo>
                  <a:lnTo>
                    <a:pt x="13" y="479"/>
                  </a:lnTo>
                  <a:lnTo>
                    <a:pt x="15" y="471"/>
                  </a:lnTo>
                  <a:lnTo>
                    <a:pt x="17" y="463"/>
                  </a:lnTo>
                  <a:lnTo>
                    <a:pt x="21" y="458"/>
                  </a:lnTo>
                  <a:lnTo>
                    <a:pt x="26" y="454"/>
                  </a:lnTo>
                  <a:lnTo>
                    <a:pt x="34" y="452"/>
                  </a:lnTo>
                  <a:lnTo>
                    <a:pt x="34" y="452"/>
                  </a:lnTo>
                  <a:lnTo>
                    <a:pt x="44" y="454"/>
                  </a:lnTo>
                  <a:lnTo>
                    <a:pt x="51" y="459"/>
                  </a:lnTo>
                  <a:lnTo>
                    <a:pt x="57" y="465"/>
                  </a:lnTo>
                  <a:lnTo>
                    <a:pt x="61" y="473"/>
                  </a:lnTo>
                  <a:lnTo>
                    <a:pt x="64" y="480"/>
                  </a:lnTo>
                  <a:lnTo>
                    <a:pt x="68" y="490"/>
                  </a:lnTo>
                  <a:lnTo>
                    <a:pt x="72" y="498"/>
                  </a:lnTo>
                  <a:lnTo>
                    <a:pt x="76" y="503"/>
                  </a:lnTo>
                  <a:lnTo>
                    <a:pt x="76" y="503"/>
                  </a:lnTo>
                  <a:lnTo>
                    <a:pt x="80" y="505"/>
                  </a:lnTo>
                  <a:lnTo>
                    <a:pt x="84" y="509"/>
                  </a:lnTo>
                  <a:lnTo>
                    <a:pt x="89" y="511"/>
                  </a:lnTo>
                  <a:lnTo>
                    <a:pt x="95" y="513"/>
                  </a:lnTo>
                  <a:lnTo>
                    <a:pt x="103" y="515"/>
                  </a:lnTo>
                  <a:lnTo>
                    <a:pt x="108" y="515"/>
                  </a:lnTo>
                  <a:lnTo>
                    <a:pt x="116" y="517"/>
                  </a:lnTo>
                  <a:lnTo>
                    <a:pt x="124" y="517"/>
                  </a:lnTo>
                  <a:lnTo>
                    <a:pt x="131" y="519"/>
                  </a:lnTo>
                  <a:lnTo>
                    <a:pt x="139" y="519"/>
                  </a:lnTo>
                  <a:lnTo>
                    <a:pt x="147" y="519"/>
                  </a:lnTo>
                  <a:lnTo>
                    <a:pt x="154" y="521"/>
                  </a:lnTo>
                  <a:lnTo>
                    <a:pt x="162" y="521"/>
                  </a:lnTo>
                  <a:lnTo>
                    <a:pt x="167" y="521"/>
                  </a:lnTo>
                  <a:lnTo>
                    <a:pt x="173" y="521"/>
                  </a:lnTo>
                  <a:lnTo>
                    <a:pt x="179" y="521"/>
                  </a:lnTo>
                  <a:lnTo>
                    <a:pt x="179" y="521"/>
                  </a:lnTo>
                  <a:lnTo>
                    <a:pt x="185" y="521"/>
                  </a:lnTo>
                  <a:lnTo>
                    <a:pt x="188" y="519"/>
                  </a:lnTo>
                  <a:lnTo>
                    <a:pt x="194" y="517"/>
                  </a:lnTo>
                  <a:lnTo>
                    <a:pt x="198" y="515"/>
                  </a:lnTo>
                  <a:lnTo>
                    <a:pt x="202" y="511"/>
                  </a:lnTo>
                  <a:lnTo>
                    <a:pt x="208" y="509"/>
                  </a:lnTo>
                  <a:lnTo>
                    <a:pt x="211" y="505"/>
                  </a:lnTo>
                  <a:lnTo>
                    <a:pt x="215" y="501"/>
                  </a:lnTo>
                  <a:lnTo>
                    <a:pt x="219" y="500"/>
                  </a:lnTo>
                  <a:lnTo>
                    <a:pt x="225" y="496"/>
                  </a:lnTo>
                  <a:lnTo>
                    <a:pt x="229" y="492"/>
                  </a:lnTo>
                  <a:lnTo>
                    <a:pt x="232" y="490"/>
                  </a:lnTo>
                  <a:lnTo>
                    <a:pt x="238" y="488"/>
                  </a:lnTo>
                  <a:lnTo>
                    <a:pt x="244" y="486"/>
                  </a:lnTo>
                  <a:lnTo>
                    <a:pt x="250" y="484"/>
                  </a:lnTo>
                  <a:lnTo>
                    <a:pt x="255" y="484"/>
                  </a:lnTo>
                  <a:lnTo>
                    <a:pt x="255" y="482"/>
                  </a:lnTo>
                  <a:lnTo>
                    <a:pt x="253" y="213"/>
                  </a:lnTo>
                  <a:lnTo>
                    <a:pt x="265" y="217"/>
                  </a:lnTo>
                  <a:lnTo>
                    <a:pt x="265" y="217"/>
                  </a:lnTo>
                  <a:lnTo>
                    <a:pt x="269" y="219"/>
                  </a:lnTo>
                  <a:lnTo>
                    <a:pt x="274" y="223"/>
                  </a:lnTo>
                  <a:lnTo>
                    <a:pt x="278" y="227"/>
                  </a:lnTo>
                  <a:lnTo>
                    <a:pt x="282" y="231"/>
                  </a:lnTo>
                  <a:lnTo>
                    <a:pt x="286" y="234"/>
                  </a:lnTo>
                  <a:lnTo>
                    <a:pt x="290" y="238"/>
                  </a:lnTo>
                  <a:lnTo>
                    <a:pt x="295" y="242"/>
                  </a:lnTo>
                  <a:lnTo>
                    <a:pt x="299" y="248"/>
                  </a:lnTo>
                  <a:lnTo>
                    <a:pt x="301" y="252"/>
                  </a:lnTo>
                  <a:lnTo>
                    <a:pt x="305" y="257"/>
                  </a:lnTo>
                  <a:lnTo>
                    <a:pt x="307" y="263"/>
                  </a:lnTo>
                  <a:lnTo>
                    <a:pt x="311" y="269"/>
                  </a:lnTo>
                  <a:lnTo>
                    <a:pt x="312" y="276"/>
                  </a:lnTo>
                  <a:lnTo>
                    <a:pt x="312" y="284"/>
                  </a:lnTo>
                  <a:lnTo>
                    <a:pt x="314" y="292"/>
                  </a:lnTo>
                  <a:lnTo>
                    <a:pt x="314" y="299"/>
                  </a:lnTo>
                  <a:lnTo>
                    <a:pt x="314" y="299"/>
                  </a:lnTo>
                  <a:lnTo>
                    <a:pt x="314" y="307"/>
                  </a:lnTo>
                  <a:lnTo>
                    <a:pt x="312" y="314"/>
                  </a:lnTo>
                  <a:lnTo>
                    <a:pt x="311" y="320"/>
                  </a:lnTo>
                  <a:lnTo>
                    <a:pt x="307" y="324"/>
                  </a:lnTo>
                  <a:lnTo>
                    <a:pt x="305" y="328"/>
                  </a:lnTo>
                  <a:lnTo>
                    <a:pt x="303" y="334"/>
                  </a:lnTo>
                  <a:lnTo>
                    <a:pt x="301" y="339"/>
                  </a:lnTo>
                  <a:lnTo>
                    <a:pt x="301" y="347"/>
                  </a:lnTo>
                  <a:lnTo>
                    <a:pt x="301" y="347"/>
                  </a:lnTo>
                  <a:lnTo>
                    <a:pt x="301" y="351"/>
                  </a:lnTo>
                  <a:lnTo>
                    <a:pt x="303" y="355"/>
                  </a:lnTo>
                  <a:lnTo>
                    <a:pt x="307" y="356"/>
                  </a:lnTo>
                  <a:lnTo>
                    <a:pt x="312" y="358"/>
                  </a:lnTo>
                  <a:lnTo>
                    <a:pt x="316" y="358"/>
                  </a:lnTo>
                  <a:lnTo>
                    <a:pt x="322" y="358"/>
                  </a:lnTo>
                  <a:lnTo>
                    <a:pt x="328" y="358"/>
                  </a:lnTo>
                  <a:lnTo>
                    <a:pt x="332" y="360"/>
                  </a:lnTo>
                  <a:lnTo>
                    <a:pt x="332" y="360"/>
                  </a:lnTo>
                  <a:lnTo>
                    <a:pt x="341" y="362"/>
                  </a:lnTo>
                  <a:lnTo>
                    <a:pt x="351" y="364"/>
                  </a:lnTo>
                  <a:lnTo>
                    <a:pt x="360" y="364"/>
                  </a:lnTo>
                  <a:lnTo>
                    <a:pt x="370" y="362"/>
                  </a:lnTo>
                  <a:lnTo>
                    <a:pt x="377" y="360"/>
                  </a:lnTo>
                  <a:lnTo>
                    <a:pt x="387" y="356"/>
                  </a:lnTo>
                  <a:lnTo>
                    <a:pt x="394" y="353"/>
                  </a:lnTo>
                  <a:lnTo>
                    <a:pt x="404" y="349"/>
                  </a:lnTo>
                  <a:lnTo>
                    <a:pt x="412" y="343"/>
                  </a:lnTo>
                  <a:lnTo>
                    <a:pt x="419" y="337"/>
                  </a:lnTo>
                  <a:lnTo>
                    <a:pt x="425" y="332"/>
                  </a:lnTo>
                  <a:lnTo>
                    <a:pt x="433" y="326"/>
                  </a:lnTo>
                  <a:lnTo>
                    <a:pt x="438" y="320"/>
                  </a:lnTo>
                  <a:lnTo>
                    <a:pt x="444" y="314"/>
                  </a:lnTo>
                  <a:lnTo>
                    <a:pt x="450" y="309"/>
                  </a:lnTo>
                  <a:lnTo>
                    <a:pt x="454" y="305"/>
                  </a:lnTo>
                  <a:lnTo>
                    <a:pt x="454" y="305"/>
                  </a:lnTo>
                  <a:lnTo>
                    <a:pt x="459" y="297"/>
                  </a:lnTo>
                  <a:lnTo>
                    <a:pt x="463" y="288"/>
                  </a:lnTo>
                  <a:lnTo>
                    <a:pt x="465" y="280"/>
                  </a:lnTo>
                  <a:lnTo>
                    <a:pt x="469" y="271"/>
                  </a:lnTo>
                  <a:lnTo>
                    <a:pt x="473" y="261"/>
                  </a:lnTo>
                  <a:lnTo>
                    <a:pt x="477" y="255"/>
                  </a:lnTo>
                  <a:lnTo>
                    <a:pt x="486" y="250"/>
                  </a:lnTo>
                  <a:lnTo>
                    <a:pt x="497" y="248"/>
                  </a:lnTo>
                  <a:lnTo>
                    <a:pt x="497" y="248"/>
                  </a:lnTo>
                  <a:lnTo>
                    <a:pt x="507" y="250"/>
                  </a:lnTo>
                  <a:lnTo>
                    <a:pt x="515" y="252"/>
                  </a:lnTo>
                  <a:lnTo>
                    <a:pt x="520" y="255"/>
                  </a:lnTo>
                  <a:lnTo>
                    <a:pt x="528" y="261"/>
                  </a:lnTo>
                  <a:lnTo>
                    <a:pt x="534" y="265"/>
                  </a:lnTo>
                  <a:lnTo>
                    <a:pt x="539" y="271"/>
                  </a:lnTo>
                  <a:lnTo>
                    <a:pt x="545" y="274"/>
                  </a:lnTo>
                  <a:lnTo>
                    <a:pt x="551" y="278"/>
                  </a:lnTo>
                  <a:lnTo>
                    <a:pt x="551" y="278"/>
                  </a:lnTo>
                  <a:lnTo>
                    <a:pt x="560" y="278"/>
                  </a:lnTo>
                  <a:lnTo>
                    <a:pt x="570" y="278"/>
                  </a:lnTo>
                  <a:lnTo>
                    <a:pt x="578" y="278"/>
                  </a:lnTo>
                  <a:lnTo>
                    <a:pt x="585" y="278"/>
                  </a:lnTo>
                  <a:lnTo>
                    <a:pt x="593" y="278"/>
                  </a:lnTo>
                  <a:lnTo>
                    <a:pt x="599" y="278"/>
                  </a:lnTo>
                  <a:lnTo>
                    <a:pt x="604" y="278"/>
                  </a:lnTo>
                  <a:lnTo>
                    <a:pt x="608" y="278"/>
                  </a:lnTo>
                  <a:lnTo>
                    <a:pt x="614" y="278"/>
                  </a:lnTo>
                  <a:lnTo>
                    <a:pt x="618" y="278"/>
                  </a:lnTo>
                  <a:lnTo>
                    <a:pt x="621" y="278"/>
                  </a:lnTo>
                  <a:lnTo>
                    <a:pt x="627" y="278"/>
                  </a:lnTo>
                  <a:lnTo>
                    <a:pt x="631" y="278"/>
                  </a:lnTo>
                  <a:lnTo>
                    <a:pt x="635" y="278"/>
                  </a:lnTo>
                  <a:lnTo>
                    <a:pt x="641" y="278"/>
                  </a:lnTo>
                  <a:lnTo>
                    <a:pt x="644" y="278"/>
                  </a:lnTo>
                  <a:lnTo>
                    <a:pt x="644" y="278"/>
                  </a:lnTo>
                  <a:lnTo>
                    <a:pt x="652" y="278"/>
                  </a:lnTo>
                  <a:lnTo>
                    <a:pt x="660" y="276"/>
                  </a:lnTo>
                  <a:lnTo>
                    <a:pt x="665" y="274"/>
                  </a:lnTo>
                  <a:lnTo>
                    <a:pt x="671" y="272"/>
                  </a:lnTo>
                  <a:lnTo>
                    <a:pt x="675" y="271"/>
                  </a:lnTo>
                  <a:lnTo>
                    <a:pt x="679" y="267"/>
                  </a:lnTo>
                  <a:lnTo>
                    <a:pt x="683" y="263"/>
                  </a:lnTo>
                  <a:lnTo>
                    <a:pt x="684" y="259"/>
                  </a:lnTo>
                  <a:lnTo>
                    <a:pt x="688" y="253"/>
                  </a:lnTo>
                  <a:lnTo>
                    <a:pt x="690" y="248"/>
                  </a:lnTo>
                  <a:lnTo>
                    <a:pt x="694" y="244"/>
                  </a:lnTo>
                  <a:lnTo>
                    <a:pt x="696" y="236"/>
                  </a:lnTo>
                  <a:lnTo>
                    <a:pt x="698" y="231"/>
                  </a:lnTo>
                  <a:lnTo>
                    <a:pt x="700" y="225"/>
                  </a:lnTo>
                  <a:lnTo>
                    <a:pt x="702" y="217"/>
                  </a:lnTo>
                  <a:lnTo>
                    <a:pt x="704" y="210"/>
                  </a:lnTo>
                  <a:lnTo>
                    <a:pt x="704" y="210"/>
                  </a:lnTo>
                  <a:lnTo>
                    <a:pt x="707" y="206"/>
                  </a:lnTo>
                  <a:lnTo>
                    <a:pt x="709" y="204"/>
                  </a:lnTo>
                  <a:lnTo>
                    <a:pt x="715" y="202"/>
                  </a:lnTo>
                  <a:lnTo>
                    <a:pt x="719" y="202"/>
                  </a:lnTo>
                  <a:lnTo>
                    <a:pt x="724" y="202"/>
                  </a:lnTo>
                  <a:lnTo>
                    <a:pt x="730" y="200"/>
                  </a:lnTo>
                  <a:lnTo>
                    <a:pt x="734" y="200"/>
                  </a:lnTo>
                  <a:lnTo>
                    <a:pt x="738" y="198"/>
                  </a:lnTo>
                  <a:lnTo>
                    <a:pt x="738" y="198"/>
                  </a:lnTo>
                  <a:lnTo>
                    <a:pt x="744" y="194"/>
                  </a:lnTo>
                  <a:lnTo>
                    <a:pt x="749" y="190"/>
                  </a:lnTo>
                  <a:lnTo>
                    <a:pt x="753" y="187"/>
                  </a:lnTo>
                  <a:lnTo>
                    <a:pt x="757" y="183"/>
                  </a:lnTo>
                  <a:lnTo>
                    <a:pt x="761" y="179"/>
                  </a:lnTo>
                  <a:lnTo>
                    <a:pt x="765" y="175"/>
                  </a:lnTo>
                  <a:lnTo>
                    <a:pt x="768" y="169"/>
                  </a:lnTo>
                  <a:lnTo>
                    <a:pt x="770" y="166"/>
                  </a:lnTo>
                  <a:lnTo>
                    <a:pt x="774" y="160"/>
                  </a:lnTo>
                  <a:lnTo>
                    <a:pt x="776" y="156"/>
                  </a:lnTo>
                  <a:lnTo>
                    <a:pt x="778" y="150"/>
                  </a:lnTo>
                  <a:lnTo>
                    <a:pt x="782" y="147"/>
                  </a:lnTo>
                  <a:lnTo>
                    <a:pt x="784" y="141"/>
                  </a:lnTo>
                  <a:lnTo>
                    <a:pt x="786" y="137"/>
                  </a:lnTo>
                  <a:lnTo>
                    <a:pt x="789" y="131"/>
                  </a:lnTo>
                  <a:lnTo>
                    <a:pt x="793" y="128"/>
                  </a:lnTo>
                  <a:lnTo>
                    <a:pt x="793" y="128"/>
                  </a:lnTo>
                  <a:lnTo>
                    <a:pt x="797" y="122"/>
                  </a:lnTo>
                  <a:lnTo>
                    <a:pt x="803" y="118"/>
                  </a:lnTo>
                  <a:lnTo>
                    <a:pt x="808" y="116"/>
                  </a:lnTo>
                  <a:lnTo>
                    <a:pt x="814" y="112"/>
                  </a:lnTo>
                  <a:lnTo>
                    <a:pt x="818" y="108"/>
                  </a:lnTo>
                  <a:lnTo>
                    <a:pt x="824" y="107"/>
                  </a:lnTo>
                  <a:lnTo>
                    <a:pt x="827" y="103"/>
                  </a:lnTo>
                  <a:lnTo>
                    <a:pt x="831" y="101"/>
                  </a:lnTo>
                  <a:lnTo>
                    <a:pt x="831" y="101"/>
                  </a:lnTo>
                  <a:lnTo>
                    <a:pt x="839" y="93"/>
                  </a:lnTo>
                  <a:lnTo>
                    <a:pt x="845" y="86"/>
                  </a:lnTo>
                  <a:lnTo>
                    <a:pt x="850" y="78"/>
                  </a:lnTo>
                  <a:lnTo>
                    <a:pt x="856" y="68"/>
                  </a:lnTo>
                  <a:lnTo>
                    <a:pt x="862" y="63"/>
                  </a:lnTo>
                  <a:lnTo>
                    <a:pt x="868" y="55"/>
                  </a:lnTo>
                  <a:lnTo>
                    <a:pt x="875" y="47"/>
                  </a:lnTo>
                  <a:lnTo>
                    <a:pt x="885" y="42"/>
                  </a:lnTo>
                  <a:lnTo>
                    <a:pt x="885" y="42"/>
                  </a:lnTo>
                  <a:lnTo>
                    <a:pt x="889" y="40"/>
                  </a:lnTo>
                  <a:lnTo>
                    <a:pt x="892" y="40"/>
                  </a:lnTo>
                  <a:lnTo>
                    <a:pt x="896" y="40"/>
                  </a:lnTo>
                  <a:lnTo>
                    <a:pt x="902" y="40"/>
                  </a:lnTo>
                  <a:lnTo>
                    <a:pt x="908" y="40"/>
                  </a:lnTo>
                  <a:lnTo>
                    <a:pt x="911" y="40"/>
                  </a:lnTo>
                  <a:lnTo>
                    <a:pt x="917" y="40"/>
                  </a:lnTo>
                  <a:lnTo>
                    <a:pt x="921" y="40"/>
                  </a:lnTo>
                  <a:lnTo>
                    <a:pt x="921" y="40"/>
                  </a:lnTo>
                  <a:lnTo>
                    <a:pt x="927" y="38"/>
                  </a:lnTo>
                  <a:lnTo>
                    <a:pt x="932" y="34"/>
                  </a:lnTo>
                  <a:lnTo>
                    <a:pt x="942" y="28"/>
                  </a:lnTo>
                  <a:lnTo>
                    <a:pt x="951" y="23"/>
                  </a:lnTo>
                  <a:lnTo>
                    <a:pt x="959" y="17"/>
                  </a:lnTo>
                  <a:lnTo>
                    <a:pt x="969" y="11"/>
                  </a:lnTo>
                  <a:lnTo>
                    <a:pt x="976" y="5"/>
                  </a:lnTo>
                  <a:lnTo>
                    <a:pt x="982" y="0"/>
                  </a:lnTo>
                  <a:lnTo>
                    <a:pt x="982" y="0"/>
                  </a:lnTo>
                  <a:lnTo>
                    <a:pt x="988" y="2"/>
                  </a:lnTo>
                  <a:lnTo>
                    <a:pt x="995" y="4"/>
                  </a:lnTo>
                  <a:lnTo>
                    <a:pt x="1003" y="4"/>
                  </a:lnTo>
                  <a:lnTo>
                    <a:pt x="1011" y="5"/>
                  </a:lnTo>
                  <a:lnTo>
                    <a:pt x="1018" y="7"/>
                  </a:lnTo>
                  <a:lnTo>
                    <a:pt x="1026" y="11"/>
                  </a:lnTo>
                  <a:lnTo>
                    <a:pt x="1030" y="15"/>
                  </a:lnTo>
                  <a:lnTo>
                    <a:pt x="1035" y="21"/>
                  </a:lnTo>
                  <a:lnTo>
                    <a:pt x="1035" y="21"/>
                  </a:lnTo>
                  <a:lnTo>
                    <a:pt x="1045" y="21"/>
                  </a:lnTo>
                  <a:lnTo>
                    <a:pt x="1053" y="21"/>
                  </a:lnTo>
                  <a:lnTo>
                    <a:pt x="1060" y="21"/>
                  </a:lnTo>
                  <a:lnTo>
                    <a:pt x="1066" y="21"/>
                  </a:lnTo>
                  <a:lnTo>
                    <a:pt x="1072" y="21"/>
                  </a:lnTo>
                  <a:lnTo>
                    <a:pt x="1075" y="21"/>
                  </a:lnTo>
                  <a:lnTo>
                    <a:pt x="1081" y="21"/>
                  </a:lnTo>
                  <a:lnTo>
                    <a:pt x="1085" y="21"/>
                  </a:lnTo>
                  <a:lnTo>
                    <a:pt x="1087" y="21"/>
                  </a:lnTo>
                  <a:lnTo>
                    <a:pt x="1091" y="21"/>
                  </a:lnTo>
                  <a:lnTo>
                    <a:pt x="1095" y="21"/>
                  </a:lnTo>
                  <a:lnTo>
                    <a:pt x="1096" y="21"/>
                  </a:lnTo>
                  <a:lnTo>
                    <a:pt x="1100" y="21"/>
                  </a:lnTo>
                  <a:lnTo>
                    <a:pt x="1104" y="21"/>
                  </a:lnTo>
                  <a:lnTo>
                    <a:pt x="1108" y="21"/>
                  </a:lnTo>
                  <a:lnTo>
                    <a:pt x="1112" y="21"/>
                  </a:lnTo>
                  <a:lnTo>
                    <a:pt x="1114" y="21"/>
                  </a:lnTo>
                  <a:lnTo>
                    <a:pt x="1114" y="21"/>
                  </a:lnTo>
                  <a:lnTo>
                    <a:pt x="1114" y="28"/>
                  </a:lnTo>
                  <a:lnTo>
                    <a:pt x="1114" y="38"/>
                  </a:lnTo>
                  <a:lnTo>
                    <a:pt x="1116" y="45"/>
                  </a:lnTo>
                  <a:lnTo>
                    <a:pt x="1117" y="53"/>
                  </a:lnTo>
                  <a:lnTo>
                    <a:pt x="1119" y="63"/>
                  </a:lnTo>
                  <a:lnTo>
                    <a:pt x="1121" y="70"/>
                  </a:lnTo>
                  <a:lnTo>
                    <a:pt x="1123" y="78"/>
                  </a:lnTo>
                  <a:lnTo>
                    <a:pt x="1125" y="87"/>
                  </a:lnTo>
                  <a:lnTo>
                    <a:pt x="1125" y="99"/>
                  </a:lnTo>
                  <a:lnTo>
                    <a:pt x="1125" y="99"/>
                  </a:lnTo>
                  <a:lnTo>
                    <a:pt x="1127" y="103"/>
                  </a:lnTo>
                  <a:lnTo>
                    <a:pt x="1129" y="107"/>
                  </a:lnTo>
                  <a:lnTo>
                    <a:pt x="1131" y="112"/>
                  </a:lnTo>
                  <a:lnTo>
                    <a:pt x="1135" y="116"/>
                  </a:lnTo>
                  <a:lnTo>
                    <a:pt x="1137" y="120"/>
                  </a:lnTo>
                  <a:lnTo>
                    <a:pt x="1138" y="126"/>
                  </a:lnTo>
                  <a:lnTo>
                    <a:pt x="1140" y="129"/>
                  </a:lnTo>
                  <a:lnTo>
                    <a:pt x="1142" y="135"/>
                  </a:lnTo>
                  <a:lnTo>
                    <a:pt x="1144" y="141"/>
                  </a:lnTo>
                  <a:lnTo>
                    <a:pt x="1146" y="147"/>
                  </a:lnTo>
                  <a:lnTo>
                    <a:pt x="1148" y="152"/>
                  </a:lnTo>
                  <a:lnTo>
                    <a:pt x="1150" y="158"/>
                  </a:lnTo>
                  <a:lnTo>
                    <a:pt x="1150" y="164"/>
                  </a:lnTo>
                  <a:lnTo>
                    <a:pt x="1152" y="169"/>
                  </a:lnTo>
                  <a:lnTo>
                    <a:pt x="1152" y="175"/>
                  </a:lnTo>
                  <a:lnTo>
                    <a:pt x="1152" y="181"/>
                  </a:lnTo>
                  <a:lnTo>
                    <a:pt x="1152" y="181"/>
                  </a:lnTo>
                  <a:lnTo>
                    <a:pt x="1152" y="185"/>
                  </a:lnTo>
                  <a:lnTo>
                    <a:pt x="1152" y="189"/>
                  </a:lnTo>
                  <a:lnTo>
                    <a:pt x="1152" y="192"/>
                  </a:lnTo>
                  <a:lnTo>
                    <a:pt x="1152" y="196"/>
                  </a:lnTo>
                  <a:lnTo>
                    <a:pt x="1152" y="200"/>
                  </a:lnTo>
                  <a:lnTo>
                    <a:pt x="1152" y="206"/>
                  </a:lnTo>
                  <a:lnTo>
                    <a:pt x="1152" y="210"/>
                  </a:lnTo>
                  <a:lnTo>
                    <a:pt x="1152" y="213"/>
                  </a:lnTo>
                  <a:lnTo>
                    <a:pt x="1152" y="219"/>
                  </a:lnTo>
                  <a:lnTo>
                    <a:pt x="1150" y="223"/>
                  </a:lnTo>
                  <a:lnTo>
                    <a:pt x="1150" y="227"/>
                  </a:lnTo>
                  <a:lnTo>
                    <a:pt x="1150" y="232"/>
                  </a:lnTo>
                  <a:lnTo>
                    <a:pt x="1148" y="236"/>
                  </a:lnTo>
                  <a:lnTo>
                    <a:pt x="1148" y="240"/>
                  </a:lnTo>
                  <a:lnTo>
                    <a:pt x="1146" y="244"/>
                  </a:lnTo>
                  <a:lnTo>
                    <a:pt x="1144" y="248"/>
                  </a:lnTo>
                  <a:lnTo>
                    <a:pt x="1144" y="288"/>
                  </a:lnTo>
                  <a:lnTo>
                    <a:pt x="1138" y="299"/>
                  </a:lnTo>
                </a:path>
              </a:pathLst>
            </a:custGeom>
            <a:solidFill>
              <a:schemeClr val="hlink"/>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6" name="Freeform 220"/>
            <p:cNvSpPr>
              <a:spLocks/>
            </p:cNvSpPr>
            <p:nvPr/>
          </p:nvSpPr>
          <p:spPr bwMode="gray">
            <a:xfrm>
              <a:off x="2736" y="3604"/>
              <a:ext cx="109" cy="88"/>
            </a:xfrm>
            <a:custGeom>
              <a:avLst/>
              <a:gdLst/>
              <a:ahLst/>
              <a:cxnLst>
                <a:cxn ang="0">
                  <a:pos x="66" y="20"/>
                </a:cxn>
                <a:cxn ang="0">
                  <a:pos x="74" y="14"/>
                </a:cxn>
                <a:cxn ang="0">
                  <a:pos x="87" y="8"/>
                </a:cxn>
                <a:cxn ang="0">
                  <a:pos x="103" y="4"/>
                </a:cxn>
                <a:cxn ang="0">
                  <a:pos x="112" y="0"/>
                </a:cxn>
                <a:cxn ang="0">
                  <a:pos x="114" y="2"/>
                </a:cxn>
                <a:cxn ang="0">
                  <a:pos x="124" y="4"/>
                </a:cxn>
                <a:cxn ang="0">
                  <a:pos x="135" y="6"/>
                </a:cxn>
                <a:cxn ang="0">
                  <a:pos x="149" y="12"/>
                </a:cxn>
                <a:cxn ang="0">
                  <a:pos x="162" y="18"/>
                </a:cxn>
                <a:cxn ang="0">
                  <a:pos x="175" y="23"/>
                </a:cxn>
                <a:cxn ang="0">
                  <a:pos x="185" y="31"/>
                </a:cxn>
                <a:cxn ang="0">
                  <a:pos x="190" y="37"/>
                </a:cxn>
                <a:cxn ang="0">
                  <a:pos x="190" y="40"/>
                </a:cxn>
                <a:cxn ang="0">
                  <a:pos x="189" y="46"/>
                </a:cxn>
                <a:cxn ang="0">
                  <a:pos x="185" y="56"/>
                </a:cxn>
                <a:cxn ang="0">
                  <a:pos x="175" y="69"/>
                </a:cxn>
                <a:cxn ang="0">
                  <a:pos x="166" y="82"/>
                </a:cxn>
                <a:cxn ang="0">
                  <a:pos x="156" y="94"/>
                </a:cxn>
                <a:cxn ang="0">
                  <a:pos x="149" y="105"/>
                </a:cxn>
                <a:cxn ang="0">
                  <a:pos x="141" y="113"/>
                </a:cxn>
                <a:cxn ang="0">
                  <a:pos x="137" y="117"/>
                </a:cxn>
                <a:cxn ang="0">
                  <a:pos x="135" y="119"/>
                </a:cxn>
                <a:cxn ang="0">
                  <a:pos x="126" y="121"/>
                </a:cxn>
                <a:cxn ang="0">
                  <a:pos x="116" y="119"/>
                </a:cxn>
                <a:cxn ang="0">
                  <a:pos x="107" y="119"/>
                </a:cxn>
                <a:cxn ang="0">
                  <a:pos x="103" y="119"/>
                </a:cxn>
                <a:cxn ang="0">
                  <a:pos x="91" y="128"/>
                </a:cxn>
                <a:cxn ang="0">
                  <a:pos x="84" y="144"/>
                </a:cxn>
                <a:cxn ang="0">
                  <a:pos x="76" y="155"/>
                </a:cxn>
                <a:cxn ang="0">
                  <a:pos x="61" y="161"/>
                </a:cxn>
                <a:cxn ang="0">
                  <a:pos x="55" y="161"/>
                </a:cxn>
                <a:cxn ang="0">
                  <a:pos x="46" y="155"/>
                </a:cxn>
                <a:cxn ang="0">
                  <a:pos x="36" y="147"/>
                </a:cxn>
                <a:cxn ang="0">
                  <a:pos x="26" y="136"/>
                </a:cxn>
                <a:cxn ang="0">
                  <a:pos x="19" y="123"/>
                </a:cxn>
                <a:cxn ang="0">
                  <a:pos x="13" y="107"/>
                </a:cxn>
                <a:cxn ang="0">
                  <a:pos x="7" y="96"/>
                </a:cxn>
                <a:cxn ang="0">
                  <a:pos x="2" y="84"/>
                </a:cxn>
                <a:cxn ang="0">
                  <a:pos x="17" y="75"/>
                </a:cxn>
              </a:cxnLst>
              <a:rect l="0" t="0" r="r" b="b"/>
              <a:pathLst>
                <a:path w="190" h="161">
                  <a:moveTo>
                    <a:pt x="66" y="20"/>
                  </a:moveTo>
                  <a:lnTo>
                    <a:pt x="66" y="20"/>
                  </a:lnTo>
                  <a:lnTo>
                    <a:pt x="68" y="18"/>
                  </a:lnTo>
                  <a:lnTo>
                    <a:pt x="74" y="14"/>
                  </a:lnTo>
                  <a:lnTo>
                    <a:pt x="80" y="12"/>
                  </a:lnTo>
                  <a:lnTo>
                    <a:pt x="87" y="8"/>
                  </a:lnTo>
                  <a:lnTo>
                    <a:pt x="95" y="6"/>
                  </a:lnTo>
                  <a:lnTo>
                    <a:pt x="103" y="4"/>
                  </a:lnTo>
                  <a:lnTo>
                    <a:pt x="108" y="2"/>
                  </a:lnTo>
                  <a:lnTo>
                    <a:pt x="112" y="0"/>
                  </a:lnTo>
                  <a:lnTo>
                    <a:pt x="112" y="0"/>
                  </a:lnTo>
                  <a:lnTo>
                    <a:pt x="114" y="2"/>
                  </a:lnTo>
                  <a:lnTo>
                    <a:pt x="118" y="2"/>
                  </a:lnTo>
                  <a:lnTo>
                    <a:pt x="124" y="4"/>
                  </a:lnTo>
                  <a:lnTo>
                    <a:pt x="129" y="4"/>
                  </a:lnTo>
                  <a:lnTo>
                    <a:pt x="135" y="6"/>
                  </a:lnTo>
                  <a:lnTo>
                    <a:pt x="141" y="10"/>
                  </a:lnTo>
                  <a:lnTo>
                    <a:pt x="149" y="12"/>
                  </a:lnTo>
                  <a:lnTo>
                    <a:pt x="156" y="14"/>
                  </a:lnTo>
                  <a:lnTo>
                    <a:pt x="162" y="18"/>
                  </a:lnTo>
                  <a:lnTo>
                    <a:pt x="170" y="20"/>
                  </a:lnTo>
                  <a:lnTo>
                    <a:pt x="175" y="23"/>
                  </a:lnTo>
                  <a:lnTo>
                    <a:pt x="181" y="27"/>
                  </a:lnTo>
                  <a:lnTo>
                    <a:pt x="185" y="31"/>
                  </a:lnTo>
                  <a:lnTo>
                    <a:pt x="189" y="33"/>
                  </a:lnTo>
                  <a:lnTo>
                    <a:pt x="190" y="37"/>
                  </a:lnTo>
                  <a:lnTo>
                    <a:pt x="190" y="40"/>
                  </a:lnTo>
                  <a:lnTo>
                    <a:pt x="190" y="40"/>
                  </a:lnTo>
                  <a:lnTo>
                    <a:pt x="190" y="42"/>
                  </a:lnTo>
                  <a:lnTo>
                    <a:pt x="189" y="46"/>
                  </a:lnTo>
                  <a:lnTo>
                    <a:pt x="187" y="50"/>
                  </a:lnTo>
                  <a:lnTo>
                    <a:pt x="185" y="56"/>
                  </a:lnTo>
                  <a:lnTo>
                    <a:pt x="179" y="61"/>
                  </a:lnTo>
                  <a:lnTo>
                    <a:pt x="175" y="69"/>
                  </a:lnTo>
                  <a:lnTo>
                    <a:pt x="171" y="75"/>
                  </a:lnTo>
                  <a:lnTo>
                    <a:pt x="166" y="82"/>
                  </a:lnTo>
                  <a:lnTo>
                    <a:pt x="162" y="88"/>
                  </a:lnTo>
                  <a:lnTo>
                    <a:pt x="156" y="94"/>
                  </a:lnTo>
                  <a:lnTo>
                    <a:pt x="152" y="100"/>
                  </a:lnTo>
                  <a:lnTo>
                    <a:pt x="149" y="105"/>
                  </a:lnTo>
                  <a:lnTo>
                    <a:pt x="145" y="109"/>
                  </a:lnTo>
                  <a:lnTo>
                    <a:pt x="141" y="113"/>
                  </a:lnTo>
                  <a:lnTo>
                    <a:pt x="139" y="117"/>
                  </a:lnTo>
                  <a:lnTo>
                    <a:pt x="137" y="117"/>
                  </a:lnTo>
                  <a:lnTo>
                    <a:pt x="137" y="117"/>
                  </a:lnTo>
                  <a:lnTo>
                    <a:pt x="135" y="119"/>
                  </a:lnTo>
                  <a:lnTo>
                    <a:pt x="129" y="121"/>
                  </a:lnTo>
                  <a:lnTo>
                    <a:pt x="126" y="121"/>
                  </a:lnTo>
                  <a:lnTo>
                    <a:pt x="120" y="121"/>
                  </a:lnTo>
                  <a:lnTo>
                    <a:pt x="116" y="119"/>
                  </a:lnTo>
                  <a:lnTo>
                    <a:pt x="110" y="119"/>
                  </a:lnTo>
                  <a:lnTo>
                    <a:pt x="107" y="119"/>
                  </a:lnTo>
                  <a:lnTo>
                    <a:pt x="103" y="119"/>
                  </a:lnTo>
                  <a:lnTo>
                    <a:pt x="103" y="119"/>
                  </a:lnTo>
                  <a:lnTo>
                    <a:pt x="97" y="123"/>
                  </a:lnTo>
                  <a:lnTo>
                    <a:pt x="91" y="128"/>
                  </a:lnTo>
                  <a:lnTo>
                    <a:pt x="87" y="136"/>
                  </a:lnTo>
                  <a:lnTo>
                    <a:pt x="84" y="144"/>
                  </a:lnTo>
                  <a:lnTo>
                    <a:pt x="80" y="149"/>
                  </a:lnTo>
                  <a:lnTo>
                    <a:pt x="76" y="155"/>
                  </a:lnTo>
                  <a:lnTo>
                    <a:pt x="70" y="159"/>
                  </a:lnTo>
                  <a:lnTo>
                    <a:pt x="61" y="161"/>
                  </a:lnTo>
                  <a:lnTo>
                    <a:pt x="61" y="161"/>
                  </a:lnTo>
                  <a:lnTo>
                    <a:pt x="55" y="161"/>
                  </a:lnTo>
                  <a:lnTo>
                    <a:pt x="51" y="159"/>
                  </a:lnTo>
                  <a:lnTo>
                    <a:pt x="46" y="155"/>
                  </a:lnTo>
                  <a:lnTo>
                    <a:pt x="40" y="151"/>
                  </a:lnTo>
                  <a:lnTo>
                    <a:pt x="36" y="147"/>
                  </a:lnTo>
                  <a:lnTo>
                    <a:pt x="32" y="142"/>
                  </a:lnTo>
                  <a:lnTo>
                    <a:pt x="26" y="136"/>
                  </a:lnTo>
                  <a:lnTo>
                    <a:pt x="23" y="128"/>
                  </a:lnTo>
                  <a:lnTo>
                    <a:pt x="19" y="123"/>
                  </a:lnTo>
                  <a:lnTo>
                    <a:pt x="17" y="115"/>
                  </a:lnTo>
                  <a:lnTo>
                    <a:pt x="13" y="107"/>
                  </a:lnTo>
                  <a:lnTo>
                    <a:pt x="9" y="102"/>
                  </a:lnTo>
                  <a:lnTo>
                    <a:pt x="7" y="96"/>
                  </a:lnTo>
                  <a:lnTo>
                    <a:pt x="5" y="90"/>
                  </a:lnTo>
                  <a:lnTo>
                    <a:pt x="2" y="84"/>
                  </a:lnTo>
                  <a:lnTo>
                    <a:pt x="0" y="81"/>
                  </a:lnTo>
                  <a:lnTo>
                    <a:pt x="17" y="75"/>
                  </a:lnTo>
                  <a:lnTo>
                    <a:pt x="66" y="2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7" name="Freeform 221"/>
            <p:cNvSpPr>
              <a:spLocks/>
            </p:cNvSpPr>
            <p:nvPr/>
          </p:nvSpPr>
          <p:spPr bwMode="gray">
            <a:xfrm>
              <a:off x="2092" y="3109"/>
              <a:ext cx="598" cy="505"/>
            </a:xfrm>
            <a:custGeom>
              <a:avLst/>
              <a:gdLst/>
              <a:ahLst/>
              <a:cxnLst>
                <a:cxn ang="0">
                  <a:pos x="80" y="189"/>
                </a:cxn>
                <a:cxn ang="0">
                  <a:pos x="132" y="276"/>
                </a:cxn>
                <a:cxn ang="0">
                  <a:pos x="187" y="362"/>
                </a:cxn>
                <a:cxn ang="0">
                  <a:pos x="215" y="410"/>
                </a:cxn>
                <a:cxn ang="0">
                  <a:pos x="235" y="427"/>
                </a:cxn>
                <a:cxn ang="0">
                  <a:pos x="248" y="456"/>
                </a:cxn>
                <a:cxn ang="0">
                  <a:pos x="214" y="486"/>
                </a:cxn>
                <a:cxn ang="0">
                  <a:pos x="214" y="486"/>
                </a:cxn>
                <a:cxn ang="0">
                  <a:pos x="223" y="555"/>
                </a:cxn>
                <a:cxn ang="0">
                  <a:pos x="235" y="584"/>
                </a:cxn>
                <a:cxn ang="0">
                  <a:pos x="244" y="612"/>
                </a:cxn>
                <a:cxn ang="0">
                  <a:pos x="248" y="631"/>
                </a:cxn>
                <a:cxn ang="0">
                  <a:pos x="248" y="650"/>
                </a:cxn>
                <a:cxn ang="0">
                  <a:pos x="248" y="671"/>
                </a:cxn>
                <a:cxn ang="0">
                  <a:pos x="263" y="700"/>
                </a:cxn>
                <a:cxn ang="0">
                  <a:pos x="277" y="774"/>
                </a:cxn>
                <a:cxn ang="0">
                  <a:pos x="303" y="820"/>
                </a:cxn>
                <a:cxn ang="0">
                  <a:pos x="339" y="860"/>
                </a:cxn>
                <a:cxn ang="0">
                  <a:pos x="378" y="893"/>
                </a:cxn>
                <a:cxn ang="0">
                  <a:pos x="393" y="868"/>
                </a:cxn>
                <a:cxn ang="0">
                  <a:pos x="412" y="849"/>
                </a:cxn>
                <a:cxn ang="0">
                  <a:pos x="442" y="877"/>
                </a:cxn>
                <a:cxn ang="0">
                  <a:pos x="458" y="902"/>
                </a:cxn>
                <a:cxn ang="0">
                  <a:pos x="486" y="912"/>
                </a:cxn>
                <a:cxn ang="0">
                  <a:pos x="525" y="916"/>
                </a:cxn>
                <a:cxn ang="0">
                  <a:pos x="557" y="918"/>
                </a:cxn>
                <a:cxn ang="0">
                  <a:pos x="576" y="912"/>
                </a:cxn>
                <a:cxn ang="0">
                  <a:pos x="597" y="897"/>
                </a:cxn>
                <a:cxn ang="0">
                  <a:pos x="622" y="883"/>
                </a:cxn>
                <a:cxn ang="0">
                  <a:pos x="631" y="391"/>
                </a:cxn>
                <a:cxn ang="0">
                  <a:pos x="893" y="70"/>
                </a:cxn>
                <a:cxn ang="0">
                  <a:pos x="916" y="88"/>
                </a:cxn>
                <a:cxn ang="0">
                  <a:pos x="933" y="99"/>
                </a:cxn>
                <a:cxn ang="0">
                  <a:pos x="954" y="82"/>
                </a:cxn>
                <a:cxn ang="0">
                  <a:pos x="975" y="67"/>
                </a:cxn>
                <a:cxn ang="0">
                  <a:pos x="1009" y="61"/>
                </a:cxn>
                <a:cxn ang="0">
                  <a:pos x="1034" y="61"/>
                </a:cxn>
                <a:cxn ang="0">
                  <a:pos x="1057" y="61"/>
                </a:cxn>
                <a:cxn ang="0">
                  <a:pos x="1028" y="40"/>
                </a:cxn>
                <a:cxn ang="0">
                  <a:pos x="994" y="34"/>
                </a:cxn>
                <a:cxn ang="0">
                  <a:pos x="950" y="38"/>
                </a:cxn>
                <a:cxn ang="0">
                  <a:pos x="906" y="44"/>
                </a:cxn>
                <a:cxn ang="0">
                  <a:pos x="864" y="51"/>
                </a:cxn>
                <a:cxn ang="0">
                  <a:pos x="822" y="61"/>
                </a:cxn>
                <a:cxn ang="0">
                  <a:pos x="776" y="67"/>
                </a:cxn>
                <a:cxn ang="0">
                  <a:pos x="729" y="70"/>
                </a:cxn>
                <a:cxn ang="0">
                  <a:pos x="685" y="70"/>
                </a:cxn>
                <a:cxn ang="0">
                  <a:pos x="624" y="67"/>
                </a:cxn>
                <a:cxn ang="0">
                  <a:pos x="568" y="57"/>
                </a:cxn>
                <a:cxn ang="0">
                  <a:pos x="536" y="48"/>
                </a:cxn>
                <a:cxn ang="0">
                  <a:pos x="519" y="32"/>
                </a:cxn>
                <a:cxn ang="0">
                  <a:pos x="168" y="23"/>
                </a:cxn>
                <a:cxn ang="0">
                  <a:pos x="135" y="2"/>
                </a:cxn>
                <a:cxn ang="0">
                  <a:pos x="97" y="2"/>
                </a:cxn>
                <a:cxn ang="0">
                  <a:pos x="63" y="11"/>
                </a:cxn>
                <a:cxn ang="0">
                  <a:pos x="34" y="9"/>
                </a:cxn>
                <a:cxn ang="0">
                  <a:pos x="0" y="11"/>
                </a:cxn>
                <a:cxn ang="0">
                  <a:pos x="11" y="65"/>
                </a:cxn>
                <a:cxn ang="0">
                  <a:pos x="29" y="93"/>
                </a:cxn>
                <a:cxn ang="0">
                  <a:pos x="44" y="124"/>
                </a:cxn>
              </a:cxnLst>
              <a:rect l="0" t="0" r="r" b="b"/>
              <a:pathLst>
                <a:path w="1057" h="918">
                  <a:moveTo>
                    <a:pt x="59" y="141"/>
                  </a:moveTo>
                  <a:lnTo>
                    <a:pt x="59" y="141"/>
                  </a:lnTo>
                  <a:lnTo>
                    <a:pt x="65" y="156"/>
                  </a:lnTo>
                  <a:lnTo>
                    <a:pt x="72" y="173"/>
                  </a:lnTo>
                  <a:lnTo>
                    <a:pt x="80" y="189"/>
                  </a:lnTo>
                  <a:lnTo>
                    <a:pt x="90" y="206"/>
                  </a:lnTo>
                  <a:lnTo>
                    <a:pt x="99" y="223"/>
                  </a:lnTo>
                  <a:lnTo>
                    <a:pt x="111" y="242"/>
                  </a:lnTo>
                  <a:lnTo>
                    <a:pt x="120" y="259"/>
                  </a:lnTo>
                  <a:lnTo>
                    <a:pt x="132" y="276"/>
                  </a:lnTo>
                  <a:lnTo>
                    <a:pt x="143" y="296"/>
                  </a:lnTo>
                  <a:lnTo>
                    <a:pt x="154" y="313"/>
                  </a:lnTo>
                  <a:lnTo>
                    <a:pt x="166" y="330"/>
                  </a:lnTo>
                  <a:lnTo>
                    <a:pt x="177" y="347"/>
                  </a:lnTo>
                  <a:lnTo>
                    <a:pt x="187" y="362"/>
                  </a:lnTo>
                  <a:lnTo>
                    <a:pt x="196" y="380"/>
                  </a:lnTo>
                  <a:lnTo>
                    <a:pt x="206" y="395"/>
                  </a:lnTo>
                  <a:lnTo>
                    <a:pt x="214" y="410"/>
                  </a:lnTo>
                  <a:lnTo>
                    <a:pt x="214" y="410"/>
                  </a:lnTo>
                  <a:lnTo>
                    <a:pt x="215" y="410"/>
                  </a:lnTo>
                  <a:lnTo>
                    <a:pt x="217" y="412"/>
                  </a:lnTo>
                  <a:lnTo>
                    <a:pt x="221" y="414"/>
                  </a:lnTo>
                  <a:lnTo>
                    <a:pt x="225" y="418"/>
                  </a:lnTo>
                  <a:lnTo>
                    <a:pt x="231" y="421"/>
                  </a:lnTo>
                  <a:lnTo>
                    <a:pt x="235" y="427"/>
                  </a:lnTo>
                  <a:lnTo>
                    <a:pt x="238" y="431"/>
                  </a:lnTo>
                  <a:lnTo>
                    <a:pt x="244" y="439"/>
                  </a:lnTo>
                  <a:lnTo>
                    <a:pt x="246" y="444"/>
                  </a:lnTo>
                  <a:lnTo>
                    <a:pt x="248" y="450"/>
                  </a:lnTo>
                  <a:lnTo>
                    <a:pt x="248" y="456"/>
                  </a:lnTo>
                  <a:lnTo>
                    <a:pt x="248" y="463"/>
                  </a:lnTo>
                  <a:lnTo>
                    <a:pt x="242" y="469"/>
                  </a:lnTo>
                  <a:lnTo>
                    <a:pt x="236" y="475"/>
                  </a:lnTo>
                  <a:lnTo>
                    <a:pt x="227" y="481"/>
                  </a:lnTo>
                  <a:lnTo>
                    <a:pt x="214" y="486"/>
                  </a:lnTo>
                  <a:lnTo>
                    <a:pt x="214" y="486"/>
                  </a:lnTo>
                  <a:lnTo>
                    <a:pt x="214" y="486"/>
                  </a:lnTo>
                  <a:lnTo>
                    <a:pt x="214" y="486"/>
                  </a:lnTo>
                  <a:lnTo>
                    <a:pt x="214" y="486"/>
                  </a:lnTo>
                  <a:lnTo>
                    <a:pt x="214" y="486"/>
                  </a:lnTo>
                  <a:lnTo>
                    <a:pt x="217" y="486"/>
                  </a:lnTo>
                  <a:lnTo>
                    <a:pt x="217" y="545"/>
                  </a:lnTo>
                  <a:lnTo>
                    <a:pt x="217" y="545"/>
                  </a:lnTo>
                  <a:lnTo>
                    <a:pt x="219" y="549"/>
                  </a:lnTo>
                  <a:lnTo>
                    <a:pt x="223" y="555"/>
                  </a:lnTo>
                  <a:lnTo>
                    <a:pt x="225" y="561"/>
                  </a:lnTo>
                  <a:lnTo>
                    <a:pt x="227" y="566"/>
                  </a:lnTo>
                  <a:lnTo>
                    <a:pt x="231" y="572"/>
                  </a:lnTo>
                  <a:lnTo>
                    <a:pt x="233" y="578"/>
                  </a:lnTo>
                  <a:lnTo>
                    <a:pt x="235" y="584"/>
                  </a:lnTo>
                  <a:lnTo>
                    <a:pt x="236" y="589"/>
                  </a:lnTo>
                  <a:lnTo>
                    <a:pt x="238" y="595"/>
                  </a:lnTo>
                  <a:lnTo>
                    <a:pt x="242" y="601"/>
                  </a:lnTo>
                  <a:lnTo>
                    <a:pt x="242" y="607"/>
                  </a:lnTo>
                  <a:lnTo>
                    <a:pt x="244" y="612"/>
                  </a:lnTo>
                  <a:lnTo>
                    <a:pt x="246" y="616"/>
                  </a:lnTo>
                  <a:lnTo>
                    <a:pt x="246" y="622"/>
                  </a:lnTo>
                  <a:lnTo>
                    <a:pt x="248" y="628"/>
                  </a:lnTo>
                  <a:lnTo>
                    <a:pt x="248" y="631"/>
                  </a:lnTo>
                  <a:lnTo>
                    <a:pt x="248" y="631"/>
                  </a:lnTo>
                  <a:lnTo>
                    <a:pt x="248" y="635"/>
                  </a:lnTo>
                  <a:lnTo>
                    <a:pt x="248" y="639"/>
                  </a:lnTo>
                  <a:lnTo>
                    <a:pt x="248" y="641"/>
                  </a:lnTo>
                  <a:lnTo>
                    <a:pt x="248" y="645"/>
                  </a:lnTo>
                  <a:lnTo>
                    <a:pt x="248" y="650"/>
                  </a:lnTo>
                  <a:lnTo>
                    <a:pt x="248" y="654"/>
                  </a:lnTo>
                  <a:lnTo>
                    <a:pt x="248" y="660"/>
                  </a:lnTo>
                  <a:lnTo>
                    <a:pt x="248" y="666"/>
                  </a:lnTo>
                  <a:lnTo>
                    <a:pt x="248" y="666"/>
                  </a:lnTo>
                  <a:lnTo>
                    <a:pt x="248" y="671"/>
                  </a:lnTo>
                  <a:lnTo>
                    <a:pt x="250" y="677"/>
                  </a:lnTo>
                  <a:lnTo>
                    <a:pt x="252" y="685"/>
                  </a:lnTo>
                  <a:lnTo>
                    <a:pt x="256" y="690"/>
                  </a:lnTo>
                  <a:lnTo>
                    <a:pt x="259" y="696"/>
                  </a:lnTo>
                  <a:lnTo>
                    <a:pt x="263" y="700"/>
                  </a:lnTo>
                  <a:lnTo>
                    <a:pt x="267" y="706"/>
                  </a:lnTo>
                  <a:lnTo>
                    <a:pt x="271" y="708"/>
                  </a:lnTo>
                  <a:lnTo>
                    <a:pt x="271" y="763"/>
                  </a:lnTo>
                  <a:lnTo>
                    <a:pt x="271" y="763"/>
                  </a:lnTo>
                  <a:lnTo>
                    <a:pt x="277" y="774"/>
                  </a:lnTo>
                  <a:lnTo>
                    <a:pt x="280" y="784"/>
                  </a:lnTo>
                  <a:lnTo>
                    <a:pt x="286" y="793"/>
                  </a:lnTo>
                  <a:lnTo>
                    <a:pt x="292" y="803"/>
                  </a:lnTo>
                  <a:lnTo>
                    <a:pt x="298" y="811"/>
                  </a:lnTo>
                  <a:lnTo>
                    <a:pt x="303" y="820"/>
                  </a:lnTo>
                  <a:lnTo>
                    <a:pt x="311" y="828"/>
                  </a:lnTo>
                  <a:lnTo>
                    <a:pt x="317" y="837"/>
                  </a:lnTo>
                  <a:lnTo>
                    <a:pt x="324" y="845"/>
                  </a:lnTo>
                  <a:lnTo>
                    <a:pt x="332" y="853"/>
                  </a:lnTo>
                  <a:lnTo>
                    <a:pt x="339" y="860"/>
                  </a:lnTo>
                  <a:lnTo>
                    <a:pt x="347" y="868"/>
                  </a:lnTo>
                  <a:lnTo>
                    <a:pt x="353" y="874"/>
                  </a:lnTo>
                  <a:lnTo>
                    <a:pt x="362" y="881"/>
                  </a:lnTo>
                  <a:lnTo>
                    <a:pt x="370" y="887"/>
                  </a:lnTo>
                  <a:lnTo>
                    <a:pt x="378" y="893"/>
                  </a:lnTo>
                  <a:lnTo>
                    <a:pt x="378" y="893"/>
                  </a:lnTo>
                  <a:lnTo>
                    <a:pt x="383" y="889"/>
                  </a:lnTo>
                  <a:lnTo>
                    <a:pt x="387" y="883"/>
                  </a:lnTo>
                  <a:lnTo>
                    <a:pt x="391" y="876"/>
                  </a:lnTo>
                  <a:lnTo>
                    <a:pt x="393" y="868"/>
                  </a:lnTo>
                  <a:lnTo>
                    <a:pt x="395" y="860"/>
                  </a:lnTo>
                  <a:lnTo>
                    <a:pt x="399" y="855"/>
                  </a:lnTo>
                  <a:lnTo>
                    <a:pt x="404" y="851"/>
                  </a:lnTo>
                  <a:lnTo>
                    <a:pt x="412" y="849"/>
                  </a:lnTo>
                  <a:lnTo>
                    <a:pt x="412" y="849"/>
                  </a:lnTo>
                  <a:lnTo>
                    <a:pt x="422" y="851"/>
                  </a:lnTo>
                  <a:lnTo>
                    <a:pt x="429" y="856"/>
                  </a:lnTo>
                  <a:lnTo>
                    <a:pt x="435" y="862"/>
                  </a:lnTo>
                  <a:lnTo>
                    <a:pt x="439" y="870"/>
                  </a:lnTo>
                  <a:lnTo>
                    <a:pt x="442" y="877"/>
                  </a:lnTo>
                  <a:lnTo>
                    <a:pt x="446" y="887"/>
                  </a:lnTo>
                  <a:lnTo>
                    <a:pt x="450" y="895"/>
                  </a:lnTo>
                  <a:lnTo>
                    <a:pt x="454" y="900"/>
                  </a:lnTo>
                  <a:lnTo>
                    <a:pt x="454" y="900"/>
                  </a:lnTo>
                  <a:lnTo>
                    <a:pt x="458" y="902"/>
                  </a:lnTo>
                  <a:lnTo>
                    <a:pt x="462" y="906"/>
                  </a:lnTo>
                  <a:lnTo>
                    <a:pt x="467" y="908"/>
                  </a:lnTo>
                  <a:lnTo>
                    <a:pt x="473" y="910"/>
                  </a:lnTo>
                  <a:lnTo>
                    <a:pt x="481" y="912"/>
                  </a:lnTo>
                  <a:lnTo>
                    <a:pt x="486" y="912"/>
                  </a:lnTo>
                  <a:lnTo>
                    <a:pt x="494" y="914"/>
                  </a:lnTo>
                  <a:lnTo>
                    <a:pt x="502" y="914"/>
                  </a:lnTo>
                  <a:lnTo>
                    <a:pt x="509" y="916"/>
                  </a:lnTo>
                  <a:lnTo>
                    <a:pt x="517" y="916"/>
                  </a:lnTo>
                  <a:lnTo>
                    <a:pt x="525" y="916"/>
                  </a:lnTo>
                  <a:lnTo>
                    <a:pt x="532" y="918"/>
                  </a:lnTo>
                  <a:lnTo>
                    <a:pt x="540" y="918"/>
                  </a:lnTo>
                  <a:lnTo>
                    <a:pt x="545" y="918"/>
                  </a:lnTo>
                  <a:lnTo>
                    <a:pt x="551" y="918"/>
                  </a:lnTo>
                  <a:lnTo>
                    <a:pt x="557" y="918"/>
                  </a:lnTo>
                  <a:lnTo>
                    <a:pt x="557" y="918"/>
                  </a:lnTo>
                  <a:lnTo>
                    <a:pt x="563" y="918"/>
                  </a:lnTo>
                  <a:lnTo>
                    <a:pt x="566" y="916"/>
                  </a:lnTo>
                  <a:lnTo>
                    <a:pt x="572" y="914"/>
                  </a:lnTo>
                  <a:lnTo>
                    <a:pt x="576" y="912"/>
                  </a:lnTo>
                  <a:lnTo>
                    <a:pt x="580" y="908"/>
                  </a:lnTo>
                  <a:lnTo>
                    <a:pt x="586" y="906"/>
                  </a:lnTo>
                  <a:lnTo>
                    <a:pt x="589" y="902"/>
                  </a:lnTo>
                  <a:lnTo>
                    <a:pt x="593" y="898"/>
                  </a:lnTo>
                  <a:lnTo>
                    <a:pt x="597" y="897"/>
                  </a:lnTo>
                  <a:lnTo>
                    <a:pt x="603" y="893"/>
                  </a:lnTo>
                  <a:lnTo>
                    <a:pt x="607" y="889"/>
                  </a:lnTo>
                  <a:lnTo>
                    <a:pt x="610" y="887"/>
                  </a:lnTo>
                  <a:lnTo>
                    <a:pt x="616" y="885"/>
                  </a:lnTo>
                  <a:lnTo>
                    <a:pt x="622" y="883"/>
                  </a:lnTo>
                  <a:lnTo>
                    <a:pt x="628" y="881"/>
                  </a:lnTo>
                  <a:lnTo>
                    <a:pt x="633" y="881"/>
                  </a:lnTo>
                  <a:lnTo>
                    <a:pt x="633" y="879"/>
                  </a:lnTo>
                  <a:lnTo>
                    <a:pt x="631" y="610"/>
                  </a:lnTo>
                  <a:lnTo>
                    <a:pt x="631" y="391"/>
                  </a:lnTo>
                  <a:lnTo>
                    <a:pt x="713" y="391"/>
                  </a:lnTo>
                  <a:lnTo>
                    <a:pt x="713" y="93"/>
                  </a:lnTo>
                  <a:lnTo>
                    <a:pt x="725" y="93"/>
                  </a:lnTo>
                  <a:lnTo>
                    <a:pt x="893" y="70"/>
                  </a:lnTo>
                  <a:lnTo>
                    <a:pt x="893" y="70"/>
                  </a:lnTo>
                  <a:lnTo>
                    <a:pt x="896" y="72"/>
                  </a:lnTo>
                  <a:lnTo>
                    <a:pt x="902" y="76"/>
                  </a:lnTo>
                  <a:lnTo>
                    <a:pt x="906" y="80"/>
                  </a:lnTo>
                  <a:lnTo>
                    <a:pt x="910" y="84"/>
                  </a:lnTo>
                  <a:lnTo>
                    <a:pt x="916" y="88"/>
                  </a:lnTo>
                  <a:lnTo>
                    <a:pt x="919" y="93"/>
                  </a:lnTo>
                  <a:lnTo>
                    <a:pt x="925" y="97"/>
                  </a:lnTo>
                  <a:lnTo>
                    <a:pt x="929" y="101"/>
                  </a:lnTo>
                  <a:lnTo>
                    <a:pt x="929" y="101"/>
                  </a:lnTo>
                  <a:lnTo>
                    <a:pt x="933" y="99"/>
                  </a:lnTo>
                  <a:lnTo>
                    <a:pt x="938" y="95"/>
                  </a:lnTo>
                  <a:lnTo>
                    <a:pt x="942" y="91"/>
                  </a:lnTo>
                  <a:lnTo>
                    <a:pt x="946" y="88"/>
                  </a:lnTo>
                  <a:lnTo>
                    <a:pt x="950" y="86"/>
                  </a:lnTo>
                  <a:lnTo>
                    <a:pt x="954" y="82"/>
                  </a:lnTo>
                  <a:lnTo>
                    <a:pt x="958" y="78"/>
                  </a:lnTo>
                  <a:lnTo>
                    <a:pt x="961" y="74"/>
                  </a:lnTo>
                  <a:lnTo>
                    <a:pt x="965" y="72"/>
                  </a:lnTo>
                  <a:lnTo>
                    <a:pt x="971" y="69"/>
                  </a:lnTo>
                  <a:lnTo>
                    <a:pt x="975" y="67"/>
                  </a:lnTo>
                  <a:lnTo>
                    <a:pt x="980" y="65"/>
                  </a:lnTo>
                  <a:lnTo>
                    <a:pt x="988" y="63"/>
                  </a:lnTo>
                  <a:lnTo>
                    <a:pt x="994" y="61"/>
                  </a:lnTo>
                  <a:lnTo>
                    <a:pt x="1001" y="61"/>
                  </a:lnTo>
                  <a:lnTo>
                    <a:pt x="1009" y="61"/>
                  </a:lnTo>
                  <a:lnTo>
                    <a:pt x="1009" y="61"/>
                  </a:lnTo>
                  <a:lnTo>
                    <a:pt x="1015" y="61"/>
                  </a:lnTo>
                  <a:lnTo>
                    <a:pt x="1022" y="61"/>
                  </a:lnTo>
                  <a:lnTo>
                    <a:pt x="1028" y="61"/>
                  </a:lnTo>
                  <a:lnTo>
                    <a:pt x="1034" y="61"/>
                  </a:lnTo>
                  <a:lnTo>
                    <a:pt x="1040" y="61"/>
                  </a:lnTo>
                  <a:lnTo>
                    <a:pt x="1045" y="61"/>
                  </a:lnTo>
                  <a:lnTo>
                    <a:pt x="1051" y="61"/>
                  </a:lnTo>
                  <a:lnTo>
                    <a:pt x="1057" y="61"/>
                  </a:lnTo>
                  <a:lnTo>
                    <a:pt x="1057" y="61"/>
                  </a:lnTo>
                  <a:lnTo>
                    <a:pt x="1051" y="57"/>
                  </a:lnTo>
                  <a:lnTo>
                    <a:pt x="1045" y="53"/>
                  </a:lnTo>
                  <a:lnTo>
                    <a:pt x="1040" y="49"/>
                  </a:lnTo>
                  <a:lnTo>
                    <a:pt x="1034" y="46"/>
                  </a:lnTo>
                  <a:lnTo>
                    <a:pt x="1028" y="40"/>
                  </a:lnTo>
                  <a:lnTo>
                    <a:pt x="1022" y="38"/>
                  </a:lnTo>
                  <a:lnTo>
                    <a:pt x="1013" y="36"/>
                  </a:lnTo>
                  <a:lnTo>
                    <a:pt x="1003" y="34"/>
                  </a:lnTo>
                  <a:lnTo>
                    <a:pt x="1003" y="34"/>
                  </a:lnTo>
                  <a:lnTo>
                    <a:pt x="994" y="34"/>
                  </a:lnTo>
                  <a:lnTo>
                    <a:pt x="984" y="34"/>
                  </a:lnTo>
                  <a:lnTo>
                    <a:pt x="975" y="36"/>
                  </a:lnTo>
                  <a:lnTo>
                    <a:pt x="967" y="36"/>
                  </a:lnTo>
                  <a:lnTo>
                    <a:pt x="958" y="36"/>
                  </a:lnTo>
                  <a:lnTo>
                    <a:pt x="950" y="38"/>
                  </a:lnTo>
                  <a:lnTo>
                    <a:pt x="940" y="40"/>
                  </a:lnTo>
                  <a:lnTo>
                    <a:pt x="931" y="40"/>
                  </a:lnTo>
                  <a:lnTo>
                    <a:pt x="923" y="42"/>
                  </a:lnTo>
                  <a:lnTo>
                    <a:pt x="916" y="42"/>
                  </a:lnTo>
                  <a:lnTo>
                    <a:pt x="906" y="44"/>
                  </a:lnTo>
                  <a:lnTo>
                    <a:pt x="898" y="46"/>
                  </a:lnTo>
                  <a:lnTo>
                    <a:pt x="889" y="48"/>
                  </a:lnTo>
                  <a:lnTo>
                    <a:pt x="881" y="49"/>
                  </a:lnTo>
                  <a:lnTo>
                    <a:pt x="872" y="51"/>
                  </a:lnTo>
                  <a:lnTo>
                    <a:pt x="864" y="51"/>
                  </a:lnTo>
                  <a:lnTo>
                    <a:pt x="856" y="53"/>
                  </a:lnTo>
                  <a:lnTo>
                    <a:pt x="847" y="55"/>
                  </a:lnTo>
                  <a:lnTo>
                    <a:pt x="839" y="57"/>
                  </a:lnTo>
                  <a:lnTo>
                    <a:pt x="830" y="59"/>
                  </a:lnTo>
                  <a:lnTo>
                    <a:pt x="822" y="61"/>
                  </a:lnTo>
                  <a:lnTo>
                    <a:pt x="813" y="61"/>
                  </a:lnTo>
                  <a:lnTo>
                    <a:pt x="805" y="63"/>
                  </a:lnTo>
                  <a:lnTo>
                    <a:pt x="795" y="65"/>
                  </a:lnTo>
                  <a:lnTo>
                    <a:pt x="786" y="65"/>
                  </a:lnTo>
                  <a:lnTo>
                    <a:pt x="776" y="67"/>
                  </a:lnTo>
                  <a:lnTo>
                    <a:pt x="769" y="67"/>
                  </a:lnTo>
                  <a:lnTo>
                    <a:pt x="759" y="69"/>
                  </a:lnTo>
                  <a:lnTo>
                    <a:pt x="750" y="69"/>
                  </a:lnTo>
                  <a:lnTo>
                    <a:pt x="740" y="70"/>
                  </a:lnTo>
                  <a:lnTo>
                    <a:pt x="729" y="70"/>
                  </a:lnTo>
                  <a:lnTo>
                    <a:pt x="719" y="70"/>
                  </a:lnTo>
                  <a:lnTo>
                    <a:pt x="719" y="70"/>
                  </a:lnTo>
                  <a:lnTo>
                    <a:pt x="708" y="70"/>
                  </a:lnTo>
                  <a:lnTo>
                    <a:pt x="696" y="70"/>
                  </a:lnTo>
                  <a:lnTo>
                    <a:pt x="685" y="70"/>
                  </a:lnTo>
                  <a:lnTo>
                    <a:pt x="673" y="69"/>
                  </a:lnTo>
                  <a:lnTo>
                    <a:pt x="660" y="69"/>
                  </a:lnTo>
                  <a:lnTo>
                    <a:pt x="648" y="69"/>
                  </a:lnTo>
                  <a:lnTo>
                    <a:pt x="635" y="67"/>
                  </a:lnTo>
                  <a:lnTo>
                    <a:pt x="624" y="67"/>
                  </a:lnTo>
                  <a:lnTo>
                    <a:pt x="612" y="65"/>
                  </a:lnTo>
                  <a:lnTo>
                    <a:pt x="601" y="63"/>
                  </a:lnTo>
                  <a:lnTo>
                    <a:pt x="589" y="61"/>
                  </a:lnTo>
                  <a:lnTo>
                    <a:pt x="578" y="59"/>
                  </a:lnTo>
                  <a:lnTo>
                    <a:pt x="568" y="57"/>
                  </a:lnTo>
                  <a:lnTo>
                    <a:pt x="557" y="55"/>
                  </a:lnTo>
                  <a:lnTo>
                    <a:pt x="547" y="51"/>
                  </a:lnTo>
                  <a:lnTo>
                    <a:pt x="540" y="49"/>
                  </a:lnTo>
                  <a:lnTo>
                    <a:pt x="540" y="49"/>
                  </a:lnTo>
                  <a:lnTo>
                    <a:pt x="536" y="48"/>
                  </a:lnTo>
                  <a:lnTo>
                    <a:pt x="532" y="44"/>
                  </a:lnTo>
                  <a:lnTo>
                    <a:pt x="528" y="42"/>
                  </a:lnTo>
                  <a:lnTo>
                    <a:pt x="525" y="38"/>
                  </a:lnTo>
                  <a:lnTo>
                    <a:pt x="521" y="34"/>
                  </a:lnTo>
                  <a:lnTo>
                    <a:pt x="519" y="32"/>
                  </a:lnTo>
                  <a:lnTo>
                    <a:pt x="515" y="30"/>
                  </a:lnTo>
                  <a:lnTo>
                    <a:pt x="513" y="28"/>
                  </a:lnTo>
                  <a:lnTo>
                    <a:pt x="174" y="28"/>
                  </a:lnTo>
                  <a:lnTo>
                    <a:pt x="174" y="28"/>
                  </a:lnTo>
                  <a:lnTo>
                    <a:pt x="168" y="23"/>
                  </a:lnTo>
                  <a:lnTo>
                    <a:pt x="162" y="17"/>
                  </a:lnTo>
                  <a:lnTo>
                    <a:pt x="156" y="11"/>
                  </a:lnTo>
                  <a:lnTo>
                    <a:pt x="151" y="8"/>
                  </a:lnTo>
                  <a:lnTo>
                    <a:pt x="143" y="4"/>
                  </a:lnTo>
                  <a:lnTo>
                    <a:pt x="135" y="2"/>
                  </a:lnTo>
                  <a:lnTo>
                    <a:pt x="126" y="0"/>
                  </a:lnTo>
                  <a:lnTo>
                    <a:pt x="114" y="0"/>
                  </a:lnTo>
                  <a:lnTo>
                    <a:pt x="114" y="0"/>
                  </a:lnTo>
                  <a:lnTo>
                    <a:pt x="105" y="0"/>
                  </a:lnTo>
                  <a:lnTo>
                    <a:pt x="97" y="2"/>
                  </a:lnTo>
                  <a:lnTo>
                    <a:pt x="90" y="2"/>
                  </a:lnTo>
                  <a:lnTo>
                    <a:pt x="82" y="6"/>
                  </a:lnTo>
                  <a:lnTo>
                    <a:pt x="76" y="8"/>
                  </a:lnTo>
                  <a:lnTo>
                    <a:pt x="69" y="9"/>
                  </a:lnTo>
                  <a:lnTo>
                    <a:pt x="63" y="11"/>
                  </a:lnTo>
                  <a:lnTo>
                    <a:pt x="55" y="11"/>
                  </a:lnTo>
                  <a:lnTo>
                    <a:pt x="55" y="11"/>
                  </a:lnTo>
                  <a:lnTo>
                    <a:pt x="48" y="11"/>
                  </a:lnTo>
                  <a:lnTo>
                    <a:pt x="42" y="11"/>
                  </a:lnTo>
                  <a:lnTo>
                    <a:pt x="34" y="9"/>
                  </a:lnTo>
                  <a:lnTo>
                    <a:pt x="29" y="9"/>
                  </a:lnTo>
                  <a:lnTo>
                    <a:pt x="23" y="9"/>
                  </a:lnTo>
                  <a:lnTo>
                    <a:pt x="15" y="9"/>
                  </a:lnTo>
                  <a:lnTo>
                    <a:pt x="9" y="9"/>
                  </a:lnTo>
                  <a:lnTo>
                    <a:pt x="0" y="11"/>
                  </a:lnTo>
                  <a:lnTo>
                    <a:pt x="0" y="46"/>
                  </a:lnTo>
                  <a:lnTo>
                    <a:pt x="0" y="46"/>
                  </a:lnTo>
                  <a:lnTo>
                    <a:pt x="4" y="51"/>
                  </a:lnTo>
                  <a:lnTo>
                    <a:pt x="8" y="57"/>
                  </a:lnTo>
                  <a:lnTo>
                    <a:pt x="11" y="65"/>
                  </a:lnTo>
                  <a:lnTo>
                    <a:pt x="15" y="70"/>
                  </a:lnTo>
                  <a:lnTo>
                    <a:pt x="19" y="76"/>
                  </a:lnTo>
                  <a:lnTo>
                    <a:pt x="21" y="82"/>
                  </a:lnTo>
                  <a:lnTo>
                    <a:pt x="25" y="88"/>
                  </a:lnTo>
                  <a:lnTo>
                    <a:pt x="29" y="93"/>
                  </a:lnTo>
                  <a:lnTo>
                    <a:pt x="32" y="101"/>
                  </a:lnTo>
                  <a:lnTo>
                    <a:pt x="34" y="107"/>
                  </a:lnTo>
                  <a:lnTo>
                    <a:pt x="38" y="112"/>
                  </a:lnTo>
                  <a:lnTo>
                    <a:pt x="42" y="118"/>
                  </a:lnTo>
                  <a:lnTo>
                    <a:pt x="44" y="124"/>
                  </a:lnTo>
                  <a:lnTo>
                    <a:pt x="48" y="130"/>
                  </a:lnTo>
                  <a:lnTo>
                    <a:pt x="51" y="135"/>
                  </a:lnTo>
                  <a:lnTo>
                    <a:pt x="55" y="141"/>
                  </a:lnTo>
                  <a:lnTo>
                    <a:pt x="59" y="141"/>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8" name="Freeform 222"/>
            <p:cNvSpPr>
              <a:spLocks/>
            </p:cNvSpPr>
            <p:nvPr/>
          </p:nvSpPr>
          <p:spPr bwMode="gray">
            <a:xfrm>
              <a:off x="2449" y="3143"/>
              <a:ext cx="413" cy="385"/>
            </a:xfrm>
            <a:custGeom>
              <a:avLst/>
              <a:gdLst/>
              <a:ahLst/>
              <a:cxnLst>
                <a:cxn ang="0">
                  <a:pos x="435" y="21"/>
                </a:cxn>
                <a:cxn ang="0">
                  <a:pos x="452" y="50"/>
                </a:cxn>
                <a:cxn ang="0">
                  <a:pos x="475" y="78"/>
                </a:cxn>
                <a:cxn ang="0">
                  <a:pos x="485" y="105"/>
                </a:cxn>
                <a:cxn ang="0">
                  <a:pos x="494" y="128"/>
                </a:cxn>
                <a:cxn ang="0">
                  <a:pos x="517" y="143"/>
                </a:cxn>
                <a:cxn ang="0">
                  <a:pos x="559" y="160"/>
                </a:cxn>
                <a:cxn ang="0">
                  <a:pos x="574" y="175"/>
                </a:cxn>
                <a:cxn ang="0">
                  <a:pos x="590" y="195"/>
                </a:cxn>
                <a:cxn ang="0">
                  <a:pos x="605" y="206"/>
                </a:cxn>
                <a:cxn ang="0">
                  <a:pos x="607" y="229"/>
                </a:cxn>
                <a:cxn ang="0">
                  <a:pos x="609" y="257"/>
                </a:cxn>
                <a:cxn ang="0">
                  <a:pos x="618" y="277"/>
                </a:cxn>
                <a:cxn ang="0">
                  <a:pos x="655" y="294"/>
                </a:cxn>
                <a:cxn ang="0">
                  <a:pos x="678" y="301"/>
                </a:cxn>
                <a:cxn ang="0">
                  <a:pos x="697" y="315"/>
                </a:cxn>
                <a:cxn ang="0">
                  <a:pos x="714" y="328"/>
                </a:cxn>
                <a:cxn ang="0">
                  <a:pos x="723" y="341"/>
                </a:cxn>
                <a:cxn ang="0">
                  <a:pos x="679" y="370"/>
                </a:cxn>
                <a:cxn ang="0">
                  <a:pos x="658" y="376"/>
                </a:cxn>
                <a:cxn ang="0">
                  <a:pos x="636" y="376"/>
                </a:cxn>
                <a:cxn ang="0">
                  <a:pos x="609" y="399"/>
                </a:cxn>
                <a:cxn ang="0">
                  <a:pos x="578" y="437"/>
                </a:cxn>
                <a:cxn ang="0">
                  <a:pos x="561" y="448"/>
                </a:cxn>
                <a:cxn ang="0">
                  <a:pos x="540" y="464"/>
                </a:cxn>
                <a:cxn ang="0">
                  <a:pos x="525" y="486"/>
                </a:cxn>
                <a:cxn ang="0">
                  <a:pos x="512" y="511"/>
                </a:cxn>
                <a:cxn ang="0">
                  <a:pos x="491" y="530"/>
                </a:cxn>
                <a:cxn ang="0">
                  <a:pos x="471" y="538"/>
                </a:cxn>
                <a:cxn ang="0">
                  <a:pos x="451" y="546"/>
                </a:cxn>
                <a:cxn ang="0">
                  <a:pos x="443" y="572"/>
                </a:cxn>
                <a:cxn ang="0">
                  <a:pos x="430" y="599"/>
                </a:cxn>
                <a:cxn ang="0">
                  <a:pos x="407" y="612"/>
                </a:cxn>
                <a:cxn ang="0">
                  <a:pos x="382" y="614"/>
                </a:cxn>
                <a:cxn ang="0">
                  <a:pos x="361" y="614"/>
                </a:cxn>
                <a:cxn ang="0">
                  <a:pos x="332" y="614"/>
                </a:cxn>
                <a:cxn ang="0">
                  <a:pos x="298" y="614"/>
                </a:cxn>
                <a:cxn ang="0">
                  <a:pos x="267" y="591"/>
                </a:cxn>
                <a:cxn ang="0">
                  <a:pos x="233" y="586"/>
                </a:cxn>
                <a:cxn ang="0">
                  <a:pos x="210" y="624"/>
                </a:cxn>
                <a:cxn ang="0">
                  <a:pos x="191" y="650"/>
                </a:cxn>
                <a:cxn ang="0">
                  <a:pos x="159" y="679"/>
                </a:cxn>
                <a:cxn ang="0">
                  <a:pos x="117" y="698"/>
                </a:cxn>
                <a:cxn ang="0">
                  <a:pos x="79" y="696"/>
                </a:cxn>
                <a:cxn ang="0">
                  <a:pos x="54" y="692"/>
                </a:cxn>
                <a:cxn ang="0">
                  <a:pos x="48" y="675"/>
                </a:cxn>
                <a:cxn ang="0">
                  <a:pos x="59" y="650"/>
                </a:cxn>
                <a:cxn ang="0">
                  <a:pos x="59" y="620"/>
                </a:cxn>
                <a:cxn ang="0">
                  <a:pos x="48" y="588"/>
                </a:cxn>
                <a:cxn ang="0">
                  <a:pos x="29" y="567"/>
                </a:cxn>
                <a:cxn ang="0">
                  <a:pos x="0" y="549"/>
                </a:cxn>
                <a:cxn ang="0">
                  <a:pos x="262" y="9"/>
                </a:cxn>
                <a:cxn ang="0">
                  <a:pos x="279" y="23"/>
                </a:cxn>
                <a:cxn ang="0">
                  <a:pos x="298" y="40"/>
                </a:cxn>
                <a:cxn ang="0">
                  <a:pos x="319" y="25"/>
                </a:cxn>
                <a:cxn ang="0">
                  <a:pos x="340" y="8"/>
                </a:cxn>
                <a:cxn ang="0">
                  <a:pos x="370" y="0"/>
                </a:cxn>
                <a:cxn ang="0">
                  <a:pos x="397" y="0"/>
                </a:cxn>
                <a:cxn ang="0">
                  <a:pos x="431" y="0"/>
                </a:cxn>
              </a:cxnLst>
              <a:rect l="0" t="0" r="r" b="b"/>
              <a:pathLst>
                <a:path w="729" h="700">
                  <a:moveTo>
                    <a:pt x="431" y="0"/>
                  </a:moveTo>
                  <a:lnTo>
                    <a:pt x="431" y="0"/>
                  </a:lnTo>
                  <a:lnTo>
                    <a:pt x="431" y="8"/>
                  </a:lnTo>
                  <a:lnTo>
                    <a:pt x="433" y="15"/>
                  </a:lnTo>
                  <a:lnTo>
                    <a:pt x="435" y="21"/>
                  </a:lnTo>
                  <a:lnTo>
                    <a:pt x="437" y="29"/>
                  </a:lnTo>
                  <a:lnTo>
                    <a:pt x="441" y="34"/>
                  </a:lnTo>
                  <a:lnTo>
                    <a:pt x="445" y="40"/>
                  </a:lnTo>
                  <a:lnTo>
                    <a:pt x="449" y="46"/>
                  </a:lnTo>
                  <a:lnTo>
                    <a:pt x="452" y="50"/>
                  </a:lnTo>
                  <a:lnTo>
                    <a:pt x="458" y="57"/>
                  </a:lnTo>
                  <a:lnTo>
                    <a:pt x="462" y="61"/>
                  </a:lnTo>
                  <a:lnTo>
                    <a:pt x="466" y="67"/>
                  </a:lnTo>
                  <a:lnTo>
                    <a:pt x="471" y="72"/>
                  </a:lnTo>
                  <a:lnTo>
                    <a:pt x="475" y="78"/>
                  </a:lnTo>
                  <a:lnTo>
                    <a:pt x="479" y="86"/>
                  </a:lnTo>
                  <a:lnTo>
                    <a:pt x="481" y="93"/>
                  </a:lnTo>
                  <a:lnTo>
                    <a:pt x="485" y="99"/>
                  </a:lnTo>
                  <a:lnTo>
                    <a:pt x="485" y="99"/>
                  </a:lnTo>
                  <a:lnTo>
                    <a:pt x="485" y="105"/>
                  </a:lnTo>
                  <a:lnTo>
                    <a:pt x="487" y="111"/>
                  </a:lnTo>
                  <a:lnTo>
                    <a:pt x="489" y="116"/>
                  </a:lnTo>
                  <a:lnTo>
                    <a:pt x="489" y="120"/>
                  </a:lnTo>
                  <a:lnTo>
                    <a:pt x="491" y="124"/>
                  </a:lnTo>
                  <a:lnTo>
                    <a:pt x="494" y="128"/>
                  </a:lnTo>
                  <a:lnTo>
                    <a:pt x="498" y="132"/>
                  </a:lnTo>
                  <a:lnTo>
                    <a:pt x="502" y="135"/>
                  </a:lnTo>
                  <a:lnTo>
                    <a:pt x="502" y="135"/>
                  </a:lnTo>
                  <a:lnTo>
                    <a:pt x="510" y="139"/>
                  </a:lnTo>
                  <a:lnTo>
                    <a:pt x="517" y="143"/>
                  </a:lnTo>
                  <a:lnTo>
                    <a:pt x="525" y="145"/>
                  </a:lnTo>
                  <a:lnTo>
                    <a:pt x="533" y="149"/>
                  </a:lnTo>
                  <a:lnTo>
                    <a:pt x="542" y="153"/>
                  </a:lnTo>
                  <a:lnTo>
                    <a:pt x="552" y="156"/>
                  </a:lnTo>
                  <a:lnTo>
                    <a:pt x="559" y="160"/>
                  </a:lnTo>
                  <a:lnTo>
                    <a:pt x="567" y="166"/>
                  </a:lnTo>
                  <a:lnTo>
                    <a:pt x="567" y="166"/>
                  </a:lnTo>
                  <a:lnTo>
                    <a:pt x="571" y="168"/>
                  </a:lnTo>
                  <a:lnTo>
                    <a:pt x="573" y="172"/>
                  </a:lnTo>
                  <a:lnTo>
                    <a:pt x="574" y="175"/>
                  </a:lnTo>
                  <a:lnTo>
                    <a:pt x="578" y="181"/>
                  </a:lnTo>
                  <a:lnTo>
                    <a:pt x="580" y="185"/>
                  </a:lnTo>
                  <a:lnTo>
                    <a:pt x="582" y="189"/>
                  </a:lnTo>
                  <a:lnTo>
                    <a:pt x="586" y="193"/>
                  </a:lnTo>
                  <a:lnTo>
                    <a:pt x="590" y="195"/>
                  </a:lnTo>
                  <a:lnTo>
                    <a:pt x="590" y="195"/>
                  </a:lnTo>
                  <a:lnTo>
                    <a:pt x="595" y="196"/>
                  </a:lnTo>
                  <a:lnTo>
                    <a:pt x="599" y="200"/>
                  </a:lnTo>
                  <a:lnTo>
                    <a:pt x="603" y="202"/>
                  </a:lnTo>
                  <a:lnTo>
                    <a:pt x="605" y="206"/>
                  </a:lnTo>
                  <a:lnTo>
                    <a:pt x="605" y="210"/>
                  </a:lnTo>
                  <a:lnTo>
                    <a:pt x="607" y="215"/>
                  </a:lnTo>
                  <a:lnTo>
                    <a:pt x="607" y="219"/>
                  </a:lnTo>
                  <a:lnTo>
                    <a:pt x="607" y="225"/>
                  </a:lnTo>
                  <a:lnTo>
                    <a:pt x="607" y="229"/>
                  </a:lnTo>
                  <a:lnTo>
                    <a:pt x="607" y="235"/>
                  </a:lnTo>
                  <a:lnTo>
                    <a:pt x="607" y="240"/>
                  </a:lnTo>
                  <a:lnTo>
                    <a:pt x="607" y="246"/>
                  </a:lnTo>
                  <a:lnTo>
                    <a:pt x="607" y="252"/>
                  </a:lnTo>
                  <a:lnTo>
                    <a:pt x="609" y="257"/>
                  </a:lnTo>
                  <a:lnTo>
                    <a:pt x="609" y="263"/>
                  </a:lnTo>
                  <a:lnTo>
                    <a:pt x="611" y="269"/>
                  </a:lnTo>
                  <a:lnTo>
                    <a:pt x="611" y="269"/>
                  </a:lnTo>
                  <a:lnTo>
                    <a:pt x="615" y="273"/>
                  </a:lnTo>
                  <a:lnTo>
                    <a:pt x="618" y="277"/>
                  </a:lnTo>
                  <a:lnTo>
                    <a:pt x="624" y="280"/>
                  </a:lnTo>
                  <a:lnTo>
                    <a:pt x="632" y="284"/>
                  </a:lnTo>
                  <a:lnTo>
                    <a:pt x="639" y="288"/>
                  </a:lnTo>
                  <a:lnTo>
                    <a:pt x="647" y="290"/>
                  </a:lnTo>
                  <a:lnTo>
                    <a:pt x="655" y="294"/>
                  </a:lnTo>
                  <a:lnTo>
                    <a:pt x="662" y="296"/>
                  </a:lnTo>
                  <a:lnTo>
                    <a:pt x="662" y="296"/>
                  </a:lnTo>
                  <a:lnTo>
                    <a:pt x="668" y="298"/>
                  </a:lnTo>
                  <a:lnTo>
                    <a:pt x="674" y="299"/>
                  </a:lnTo>
                  <a:lnTo>
                    <a:pt x="678" y="301"/>
                  </a:lnTo>
                  <a:lnTo>
                    <a:pt x="681" y="305"/>
                  </a:lnTo>
                  <a:lnTo>
                    <a:pt x="685" y="307"/>
                  </a:lnTo>
                  <a:lnTo>
                    <a:pt x="689" y="309"/>
                  </a:lnTo>
                  <a:lnTo>
                    <a:pt x="693" y="313"/>
                  </a:lnTo>
                  <a:lnTo>
                    <a:pt x="697" y="315"/>
                  </a:lnTo>
                  <a:lnTo>
                    <a:pt x="700" y="319"/>
                  </a:lnTo>
                  <a:lnTo>
                    <a:pt x="704" y="320"/>
                  </a:lnTo>
                  <a:lnTo>
                    <a:pt x="706" y="324"/>
                  </a:lnTo>
                  <a:lnTo>
                    <a:pt x="710" y="326"/>
                  </a:lnTo>
                  <a:lnTo>
                    <a:pt x="714" y="328"/>
                  </a:lnTo>
                  <a:lnTo>
                    <a:pt x="719" y="332"/>
                  </a:lnTo>
                  <a:lnTo>
                    <a:pt x="723" y="334"/>
                  </a:lnTo>
                  <a:lnTo>
                    <a:pt x="729" y="336"/>
                  </a:lnTo>
                  <a:lnTo>
                    <a:pt x="729" y="336"/>
                  </a:lnTo>
                  <a:lnTo>
                    <a:pt x="723" y="341"/>
                  </a:lnTo>
                  <a:lnTo>
                    <a:pt x="716" y="347"/>
                  </a:lnTo>
                  <a:lnTo>
                    <a:pt x="706" y="353"/>
                  </a:lnTo>
                  <a:lnTo>
                    <a:pt x="698" y="359"/>
                  </a:lnTo>
                  <a:lnTo>
                    <a:pt x="689" y="364"/>
                  </a:lnTo>
                  <a:lnTo>
                    <a:pt x="679" y="370"/>
                  </a:lnTo>
                  <a:lnTo>
                    <a:pt x="674" y="374"/>
                  </a:lnTo>
                  <a:lnTo>
                    <a:pt x="668" y="376"/>
                  </a:lnTo>
                  <a:lnTo>
                    <a:pt x="668" y="376"/>
                  </a:lnTo>
                  <a:lnTo>
                    <a:pt x="664" y="376"/>
                  </a:lnTo>
                  <a:lnTo>
                    <a:pt x="658" y="376"/>
                  </a:lnTo>
                  <a:lnTo>
                    <a:pt x="655" y="376"/>
                  </a:lnTo>
                  <a:lnTo>
                    <a:pt x="649" y="376"/>
                  </a:lnTo>
                  <a:lnTo>
                    <a:pt x="643" y="376"/>
                  </a:lnTo>
                  <a:lnTo>
                    <a:pt x="639" y="376"/>
                  </a:lnTo>
                  <a:lnTo>
                    <a:pt x="636" y="376"/>
                  </a:lnTo>
                  <a:lnTo>
                    <a:pt x="632" y="378"/>
                  </a:lnTo>
                  <a:lnTo>
                    <a:pt x="632" y="378"/>
                  </a:lnTo>
                  <a:lnTo>
                    <a:pt x="622" y="383"/>
                  </a:lnTo>
                  <a:lnTo>
                    <a:pt x="615" y="391"/>
                  </a:lnTo>
                  <a:lnTo>
                    <a:pt x="609" y="399"/>
                  </a:lnTo>
                  <a:lnTo>
                    <a:pt x="603" y="404"/>
                  </a:lnTo>
                  <a:lnTo>
                    <a:pt x="597" y="414"/>
                  </a:lnTo>
                  <a:lnTo>
                    <a:pt x="592" y="422"/>
                  </a:lnTo>
                  <a:lnTo>
                    <a:pt x="586" y="429"/>
                  </a:lnTo>
                  <a:lnTo>
                    <a:pt x="578" y="437"/>
                  </a:lnTo>
                  <a:lnTo>
                    <a:pt x="578" y="437"/>
                  </a:lnTo>
                  <a:lnTo>
                    <a:pt x="574" y="439"/>
                  </a:lnTo>
                  <a:lnTo>
                    <a:pt x="571" y="443"/>
                  </a:lnTo>
                  <a:lnTo>
                    <a:pt x="565" y="444"/>
                  </a:lnTo>
                  <a:lnTo>
                    <a:pt x="561" y="448"/>
                  </a:lnTo>
                  <a:lnTo>
                    <a:pt x="555" y="452"/>
                  </a:lnTo>
                  <a:lnTo>
                    <a:pt x="550" y="454"/>
                  </a:lnTo>
                  <a:lnTo>
                    <a:pt x="544" y="458"/>
                  </a:lnTo>
                  <a:lnTo>
                    <a:pt x="540" y="464"/>
                  </a:lnTo>
                  <a:lnTo>
                    <a:pt x="540" y="464"/>
                  </a:lnTo>
                  <a:lnTo>
                    <a:pt x="536" y="467"/>
                  </a:lnTo>
                  <a:lnTo>
                    <a:pt x="533" y="473"/>
                  </a:lnTo>
                  <a:lnTo>
                    <a:pt x="531" y="477"/>
                  </a:lnTo>
                  <a:lnTo>
                    <a:pt x="529" y="483"/>
                  </a:lnTo>
                  <a:lnTo>
                    <a:pt x="525" y="486"/>
                  </a:lnTo>
                  <a:lnTo>
                    <a:pt x="523" y="492"/>
                  </a:lnTo>
                  <a:lnTo>
                    <a:pt x="521" y="496"/>
                  </a:lnTo>
                  <a:lnTo>
                    <a:pt x="517" y="502"/>
                  </a:lnTo>
                  <a:lnTo>
                    <a:pt x="515" y="505"/>
                  </a:lnTo>
                  <a:lnTo>
                    <a:pt x="512" y="511"/>
                  </a:lnTo>
                  <a:lnTo>
                    <a:pt x="508" y="515"/>
                  </a:lnTo>
                  <a:lnTo>
                    <a:pt x="504" y="519"/>
                  </a:lnTo>
                  <a:lnTo>
                    <a:pt x="500" y="523"/>
                  </a:lnTo>
                  <a:lnTo>
                    <a:pt x="496" y="526"/>
                  </a:lnTo>
                  <a:lnTo>
                    <a:pt x="491" y="530"/>
                  </a:lnTo>
                  <a:lnTo>
                    <a:pt x="485" y="534"/>
                  </a:lnTo>
                  <a:lnTo>
                    <a:pt x="485" y="534"/>
                  </a:lnTo>
                  <a:lnTo>
                    <a:pt x="481" y="536"/>
                  </a:lnTo>
                  <a:lnTo>
                    <a:pt x="477" y="536"/>
                  </a:lnTo>
                  <a:lnTo>
                    <a:pt x="471" y="538"/>
                  </a:lnTo>
                  <a:lnTo>
                    <a:pt x="466" y="538"/>
                  </a:lnTo>
                  <a:lnTo>
                    <a:pt x="462" y="538"/>
                  </a:lnTo>
                  <a:lnTo>
                    <a:pt x="456" y="540"/>
                  </a:lnTo>
                  <a:lnTo>
                    <a:pt x="454" y="542"/>
                  </a:lnTo>
                  <a:lnTo>
                    <a:pt x="451" y="546"/>
                  </a:lnTo>
                  <a:lnTo>
                    <a:pt x="451" y="546"/>
                  </a:lnTo>
                  <a:lnTo>
                    <a:pt x="449" y="553"/>
                  </a:lnTo>
                  <a:lnTo>
                    <a:pt x="447" y="561"/>
                  </a:lnTo>
                  <a:lnTo>
                    <a:pt x="445" y="567"/>
                  </a:lnTo>
                  <a:lnTo>
                    <a:pt x="443" y="572"/>
                  </a:lnTo>
                  <a:lnTo>
                    <a:pt x="441" y="580"/>
                  </a:lnTo>
                  <a:lnTo>
                    <a:pt x="437" y="584"/>
                  </a:lnTo>
                  <a:lnTo>
                    <a:pt x="435" y="589"/>
                  </a:lnTo>
                  <a:lnTo>
                    <a:pt x="431" y="595"/>
                  </a:lnTo>
                  <a:lnTo>
                    <a:pt x="430" y="599"/>
                  </a:lnTo>
                  <a:lnTo>
                    <a:pt x="426" y="603"/>
                  </a:lnTo>
                  <a:lnTo>
                    <a:pt x="422" y="607"/>
                  </a:lnTo>
                  <a:lnTo>
                    <a:pt x="418" y="608"/>
                  </a:lnTo>
                  <a:lnTo>
                    <a:pt x="412" y="610"/>
                  </a:lnTo>
                  <a:lnTo>
                    <a:pt x="407" y="612"/>
                  </a:lnTo>
                  <a:lnTo>
                    <a:pt x="399" y="614"/>
                  </a:lnTo>
                  <a:lnTo>
                    <a:pt x="391" y="614"/>
                  </a:lnTo>
                  <a:lnTo>
                    <a:pt x="391" y="614"/>
                  </a:lnTo>
                  <a:lnTo>
                    <a:pt x="388" y="614"/>
                  </a:lnTo>
                  <a:lnTo>
                    <a:pt x="382" y="614"/>
                  </a:lnTo>
                  <a:lnTo>
                    <a:pt x="378" y="614"/>
                  </a:lnTo>
                  <a:lnTo>
                    <a:pt x="374" y="614"/>
                  </a:lnTo>
                  <a:lnTo>
                    <a:pt x="368" y="614"/>
                  </a:lnTo>
                  <a:lnTo>
                    <a:pt x="365" y="614"/>
                  </a:lnTo>
                  <a:lnTo>
                    <a:pt x="361" y="614"/>
                  </a:lnTo>
                  <a:lnTo>
                    <a:pt x="355" y="614"/>
                  </a:lnTo>
                  <a:lnTo>
                    <a:pt x="351" y="614"/>
                  </a:lnTo>
                  <a:lnTo>
                    <a:pt x="346" y="614"/>
                  </a:lnTo>
                  <a:lnTo>
                    <a:pt x="340" y="614"/>
                  </a:lnTo>
                  <a:lnTo>
                    <a:pt x="332" y="614"/>
                  </a:lnTo>
                  <a:lnTo>
                    <a:pt x="325" y="614"/>
                  </a:lnTo>
                  <a:lnTo>
                    <a:pt x="317" y="614"/>
                  </a:lnTo>
                  <a:lnTo>
                    <a:pt x="307" y="614"/>
                  </a:lnTo>
                  <a:lnTo>
                    <a:pt x="298" y="614"/>
                  </a:lnTo>
                  <a:lnTo>
                    <a:pt x="298" y="614"/>
                  </a:lnTo>
                  <a:lnTo>
                    <a:pt x="292" y="610"/>
                  </a:lnTo>
                  <a:lnTo>
                    <a:pt x="286" y="607"/>
                  </a:lnTo>
                  <a:lnTo>
                    <a:pt x="281" y="601"/>
                  </a:lnTo>
                  <a:lnTo>
                    <a:pt x="275" y="597"/>
                  </a:lnTo>
                  <a:lnTo>
                    <a:pt x="267" y="591"/>
                  </a:lnTo>
                  <a:lnTo>
                    <a:pt x="262" y="588"/>
                  </a:lnTo>
                  <a:lnTo>
                    <a:pt x="254" y="586"/>
                  </a:lnTo>
                  <a:lnTo>
                    <a:pt x="244" y="584"/>
                  </a:lnTo>
                  <a:lnTo>
                    <a:pt x="244" y="584"/>
                  </a:lnTo>
                  <a:lnTo>
                    <a:pt x="233" y="586"/>
                  </a:lnTo>
                  <a:lnTo>
                    <a:pt x="224" y="591"/>
                  </a:lnTo>
                  <a:lnTo>
                    <a:pt x="220" y="597"/>
                  </a:lnTo>
                  <a:lnTo>
                    <a:pt x="216" y="607"/>
                  </a:lnTo>
                  <a:lnTo>
                    <a:pt x="212" y="616"/>
                  </a:lnTo>
                  <a:lnTo>
                    <a:pt x="210" y="624"/>
                  </a:lnTo>
                  <a:lnTo>
                    <a:pt x="206" y="633"/>
                  </a:lnTo>
                  <a:lnTo>
                    <a:pt x="201" y="641"/>
                  </a:lnTo>
                  <a:lnTo>
                    <a:pt x="201" y="641"/>
                  </a:lnTo>
                  <a:lnTo>
                    <a:pt x="197" y="645"/>
                  </a:lnTo>
                  <a:lnTo>
                    <a:pt x="191" y="650"/>
                  </a:lnTo>
                  <a:lnTo>
                    <a:pt x="185" y="656"/>
                  </a:lnTo>
                  <a:lnTo>
                    <a:pt x="180" y="662"/>
                  </a:lnTo>
                  <a:lnTo>
                    <a:pt x="172" y="668"/>
                  </a:lnTo>
                  <a:lnTo>
                    <a:pt x="166" y="673"/>
                  </a:lnTo>
                  <a:lnTo>
                    <a:pt x="159" y="679"/>
                  </a:lnTo>
                  <a:lnTo>
                    <a:pt x="151" y="685"/>
                  </a:lnTo>
                  <a:lnTo>
                    <a:pt x="141" y="689"/>
                  </a:lnTo>
                  <a:lnTo>
                    <a:pt x="134" y="692"/>
                  </a:lnTo>
                  <a:lnTo>
                    <a:pt x="124" y="696"/>
                  </a:lnTo>
                  <a:lnTo>
                    <a:pt x="117" y="698"/>
                  </a:lnTo>
                  <a:lnTo>
                    <a:pt x="107" y="700"/>
                  </a:lnTo>
                  <a:lnTo>
                    <a:pt x="98" y="700"/>
                  </a:lnTo>
                  <a:lnTo>
                    <a:pt x="88" y="698"/>
                  </a:lnTo>
                  <a:lnTo>
                    <a:pt x="79" y="696"/>
                  </a:lnTo>
                  <a:lnTo>
                    <a:pt x="79" y="696"/>
                  </a:lnTo>
                  <a:lnTo>
                    <a:pt x="75" y="694"/>
                  </a:lnTo>
                  <a:lnTo>
                    <a:pt x="69" y="694"/>
                  </a:lnTo>
                  <a:lnTo>
                    <a:pt x="63" y="694"/>
                  </a:lnTo>
                  <a:lnTo>
                    <a:pt x="59" y="694"/>
                  </a:lnTo>
                  <a:lnTo>
                    <a:pt x="54" y="692"/>
                  </a:lnTo>
                  <a:lnTo>
                    <a:pt x="50" y="691"/>
                  </a:lnTo>
                  <a:lnTo>
                    <a:pt x="48" y="687"/>
                  </a:lnTo>
                  <a:lnTo>
                    <a:pt x="48" y="683"/>
                  </a:lnTo>
                  <a:lnTo>
                    <a:pt x="48" y="683"/>
                  </a:lnTo>
                  <a:lnTo>
                    <a:pt x="48" y="675"/>
                  </a:lnTo>
                  <a:lnTo>
                    <a:pt x="50" y="670"/>
                  </a:lnTo>
                  <a:lnTo>
                    <a:pt x="52" y="664"/>
                  </a:lnTo>
                  <a:lnTo>
                    <a:pt x="54" y="660"/>
                  </a:lnTo>
                  <a:lnTo>
                    <a:pt x="58" y="656"/>
                  </a:lnTo>
                  <a:lnTo>
                    <a:pt x="59" y="650"/>
                  </a:lnTo>
                  <a:lnTo>
                    <a:pt x="61" y="643"/>
                  </a:lnTo>
                  <a:lnTo>
                    <a:pt x="61" y="635"/>
                  </a:lnTo>
                  <a:lnTo>
                    <a:pt x="61" y="635"/>
                  </a:lnTo>
                  <a:lnTo>
                    <a:pt x="61" y="628"/>
                  </a:lnTo>
                  <a:lnTo>
                    <a:pt x="59" y="620"/>
                  </a:lnTo>
                  <a:lnTo>
                    <a:pt x="59" y="612"/>
                  </a:lnTo>
                  <a:lnTo>
                    <a:pt x="58" y="605"/>
                  </a:lnTo>
                  <a:lnTo>
                    <a:pt x="54" y="599"/>
                  </a:lnTo>
                  <a:lnTo>
                    <a:pt x="52" y="593"/>
                  </a:lnTo>
                  <a:lnTo>
                    <a:pt x="48" y="588"/>
                  </a:lnTo>
                  <a:lnTo>
                    <a:pt x="46" y="584"/>
                  </a:lnTo>
                  <a:lnTo>
                    <a:pt x="42" y="578"/>
                  </a:lnTo>
                  <a:lnTo>
                    <a:pt x="37" y="574"/>
                  </a:lnTo>
                  <a:lnTo>
                    <a:pt x="33" y="570"/>
                  </a:lnTo>
                  <a:lnTo>
                    <a:pt x="29" y="567"/>
                  </a:lnTo>
                  <a:lnTo>
                    <a:pt x="25" y="563"/>
                  </a:lnTo>
                  <a:lnTo>
                    <a:pt x="21" y="559"/>
                  </a:lnTo>
                  <a:lnTo>
                    <a:pt x="16" y="555"/>
                  </a:lnTo>
                  <a:lnTo>
                    <a:pt x="12" y="553"/>
                  </a:lnTo>
                  <a:lnTo>
                    <a:pt x="0" y="549"/>
                  </a:lnTo>
                  <a:lnTo>
                    <a:pt x="0" y="330"/>
                  </a:lnTo>
                  <a:lnTo>
                    <a:pt x="82" y="330"/>
                  </a:lnTo>
                  <a:lnTo>
                    <a:pt x="82" y="32"/>
                  </a:lnTo>
                  <a:lnTo>
                    <a:pt x="94" y="32"/>
                  </a:lnTo>
                  <a:lnTo>
                    <a:pt x="262" y="9"/>
                  </a:lnTo>
                  <a:lnTo>
                    <a:pt x="262" y="9"/>
                  </a:lnTo>
                  <a:lnTo>
                    <a:pt x="265" y="11"/>
                  </a:lnTo>
                  <a:lnTo>
                    <a:pt x="271" y="15"/>
                  </a:lnTo>
                  <a:lnTo>
                    <a:pt x="275" y="19"/>
                  </a:lnTo>
                  <a:lnTo>
                    <a:pt x="279" y="23"/>
                  </a:lnTo>
                  <a:lnTo>
                    <a:pt x="285" y="27"/>
                  </a:lnTo>
                  <a:lnTo>
                    <a:pt x="288" y="32"/>
                  </a:lnTo>
                  <a:lnTo>
                    <a:pt x="294" y="36"/>
                  </a:lnTo>
                  <a:lnTo>
                    <a:pt x="298" y="40"/>
                  </a:lnTo>
                  <a:lnTo>
                    <a:pt x="298" y="40"/>
                  </a:lnTo>
                  <a:lnTo>
                    <a:pt x="302" y="38"/>
                  </a:lnTo>
                  <a:lnTo>
                    <a:pt x="307" y="34"/>
                  </a:lnTo>
                  <a:lnTo>
                    <a:pt x="311" y="30"/>
                  </a:lnTo>
                  <a:lnTo>
                    <a:pt x="315" y="27"/>
                  </a:lnTo>
                  <a:lnTo>
                    <a:pt x="319" y="25"/>
                  </a:lnTo>
                  <a:lnTo>
                    <a:pt x="323" y="21"/>
                  </a:lnTo>
                  <a:lnTo>
                    <a:pt x="327" y="17"/>
                  </a:lnTo>
                  <a:lnTo>
                    <a:pt x="330" y="13"/>
                  </a:lnTo>
                  <a:lnTo>
                    <a:pt x="334" y="11"/>
                  </a:lnTo>
                  <a:lnTo>
                    <a:pt x="340" y="8"/>
                  </a:lnTo>
                  <a:lnTo>
                    <a:pt x="344" y="6"/>
                  </a:lnTo>
                  <a:lnTo>
                    <a:pt x="349" y="4"/>
                  </a:lnTo>
                  <a:lnTo>
                    <a:pt x="357" y="2"/>
                  </a:lnTo>
                  <a:lnTo>
                    <a:pt x="363" y="0"/>
                  </a:lnTo>
                  <a:lnTo>
                    <a:pt x="370" y="0"/>
                  </a:lnTo>
                  <a:lnTo>
                    <a:pt x="378" y="0"/>
                  </a:lnTo>
                  <a:lnTo>
                    <a:pt x="378" y="0"/>
                  </a:lnTo>
                  <a:lnTo>
                    <a:pt x="384" y="0"/>
                  </a:lnTo>
                  <a:lnTo>
                    <a:pt x="391" y="0"/>
                  </a:lnTo>
                  <a:lnTo>
                    <a:pt x="397" y="0"/>
                  </a:lnTo>
                  <a:lnTo>
                    <a:pt x="405" y="0"/>
                  </a:lnTo>
                  <a:lnTo>
                    <a:pt x="410" y="0"/>
                  </a:lnTo>
                  <a:lnTo>
                    <a:pt x="418" y="0"/>
                  </a:lnTo>
                  <a:lnTo>
                    <a:pt x="424" y="0"/>
                  </a:lnTo>
                  <a:lnTo>
                    <a:pt x="431" y="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79" name="Freeform 223"/>
            <p:cNvSpPr>
              <a:spLocks/>
            </p:cNvSpPr>
            <p:nvPr/>
          </p:nvSpPr>
          <p:spPr bwMode="gray">
            <a:xfrm>
              <a:off x="2547" y="2722"/>
              <a:ext cx="521" cy="432"/>
            </a:xfrm>
            <a:custGeom>
              <a:avLst/>
              <a:gdLst/>
              <a:ahLst/>
              <a:cxnLst>
                <a:cxn ang="0">
                  <a:pos x="580" y="597"/>
                </a:cxn>
                <a:cxn ang="0">
                  <a:pos x="532" y="637"/>
                </a:cxn>
                <a:cxn ang="0">
                  <a:pos x="521" y="670"/>
                </a:cxn>
                <a:cxn ang="0">
                  <a:pos x="479" y="683"/>
                </a:cxn>
                <a:cxn ang="0">
                  <a:pos x="444" y="708"/>
                </a:cxn>
                <a:cxn ang="0">
                  <a:pos x="406" y="763"/>
                </a:cxn>
                <a:cxn ang="0">
                  <a:pos x="355" y="788"/>
                </a:cxn>
                <a:cxn ang="0">
                  <a:pos x="296" y="773"/>
                </a:cxn>
                <a:cxn ang="0">
                  <a:pos x="242" y="759"/>
                </a:cxn>
                <a:cxn ang="0">
                  <a:pos x="187" y="740"/>
                </a:cxn>
                <a:cxn ang="0">
                  <a:pos x="130" y="746"/>
                </a:cxn>
                <a:cxn ang="0">
                  <a:pos x="2" y="391"/>
                </a:cxn>
                <a:cxn ang="0">
                  <a:pos x="48" y="391"/>
                </a:cxn>
                <a:cxn ang="0">
                  <a:pos x="93" y="385"/>
                </a:cxn>
                <a:cxn ang="0">
                  <a:pos x="153" y="366"/>
                </a:cxn>
                <a:cxn ang="0">
                  <a:pos x="164" y="311"/>
                </a:cxn>
                <a:cxn ang="0">
                  <a:pos x="164" y="263"/>
                </a:cxn>
                <a:cxn ang="0">
                  <a:pos x="189" y="246"/>
                </a:cxn>
                <a:cxn ang="0">
                  <a:pos x="219" y="254"/>
                </a:cxn>
                <a:cxn ang="0">
                  <a:pos x="256" y="244"/>
                </a:cxn>
                <a:cxn ang="0">
                  <a:pos x="275" y="271"/>
                </a:cxn>
                <a:cxn ang="0">
                  <a:pos x="345" y="301"/>
                </a:cxn>
                <a:cxn ang="0">
                  <a:pos x="399" y="288"/>
                </a:cxn>
                <a:cxn ang="0">
                  <a:pos x="431" y="303"/>
                </a:cxn>
                <a:cxn ang="0">
                  <a:pos x="488" y="336"/>
                </a:cxn>
                <a:cxn ang="0">
                  <a:pos x="525" y="370"/>
                </a:cxn>
                <a:cxn ang="0">
                  <a:pos x="555" y="414"/>
                </a:cxn>
                <a:cxn ang="0">
                  <a:pos x="582" y="408"/>
                </a:cxn>
                <a:cxn ang="0">
                  <a:pos x="612" y="406"/>
                </a:cxn>
                <a:cxn ang="0">
                  <a:pos x="601" y="332"/>
                </a:cxn>
                <a:cxn ang="0">
                  <a:pos x="551" y="326"/>
                </a:cxn>
                <a:cxn ang="0">
                  <a:pos x="513" y="275"/>
                </a:cxn>
                <a:cxn ang="0">
                  <a:pos x="517" y="227"/>
                </a:cxn>
                <a:cxn ang="0">
                  <a:pos x="526" y="179"/>
                </a:cxn>
                <a:cxn ang="0">
                  <a:pos x="526" y="124"/>
                </a:cxn>
                <a:cxn ang="0">
                  <a:pos x="517" y="97"/>
                </a:cxn>
                <a:cxn ang="0">
                  <a:pos x="536" y="67"/>
                </a:cxn>
                <a:cxn ang="0">
                  <a:pos x="555" y="31"/>
                </a:cxn>
                <a:cxn ang="0">
                  <a:pos x="595" y="11"/>
                </a:cxn>
                <a:cxn ang="0">
                  <a:pos x="643" y="8"/>
                </a:cxn>
                <a:cxn ang="0">
                  <a:pos x="721" y="25"/>
                </a:cxn>
                <a:cxn ang="0">
                  <a:pos x="744" y="38"/>
                </a:cxn>
                <a:cxn ang="0">
                  <a:pos x="759" y="36"/>
                </a:cxn>
                <a:cxn ang="0">
                  <a:pos x="778" y="50"/>
                </a:cxn>
                <a:cxn ang="0">
                  <a:pos x="824" y="69"/>
                </a:cxn>
                <a:cxn ang="0">
                  <a:pos x="885" y="97"/>
                </a:cxn>
                <a:cxn ang="0">
                  <a:pos x="904" y="134"/>
                </a:cxn>
                <a:cxn ang="0">
                  <a:pos x="921" y="177"/>
                </a:cxn>
                <a:cxn ang="0">
                  <a:pos x="902" y="225"/>
                </a:cxn>
                <a:cxn ang="0">
                  <a:pos x="895" y="258"/>
                </a:cxn>
                <a:cxn ang="0">
                  <a:pos x="904" y="300"/>
                </a:cxn>
                <a:cxn ang="0">
                  <a:pos x="893" y="328"/>
                </a:cxn>
                <a:cxn ang="0">
                  <a:pos x="883" y="364"/>
                </a:cxn>
                <a:cxn ang="0">
                  <a:pos x="866" y="397"/>
                </a:cxn>
                <a:cxn ang="0">
                  <a:pos x="845" y="424"/>
                </a:cxn>
                <a:cxn ang="0">
                  <a:pos x="881" y="452"/>
                </a:cxn>
                <a:cxn ang="0">
                  <a:pos x="834" y="475"/>
                </a:cxn>
                <a:cxn ang="0">
                  <a:pos x="761" y="496"/>
                </a:cxn>
                <a:cxn ang="0">
                  <a:pos x="721" y="509"/>
                </a:cxn>
                <a:cxn ang="0">
                  <a:pos x="679" y="525"/>
                </a:cxn>
                <a:cxn ang="0">
                  <a:pos x="639" y="551"/>
                </a:cxn>
                <a:cxn ang="0">
                  <a:pos x="645" y="574"/>
                </a:cxn>
                <a:cxn ang="0">
                  <a:pos x="647" y="591"/>
                </a:cxn>
              </a:cxnLst>
              <a:rect l="0" t="0" r="r" b="b"/>
              <a:pathLst>
                <a:path w="921" h="788">
                  <a:moveTo>
                    <a:pt x="631" y="590"/>
                  </a:moveTo>
                  <a:lnTo>
                    <a:pt x="631" y="590"/>
                  </a:lnTo>
                  <a:lnTo>
                    <a:pt x="624" y="590"/>
                  </a:lnTo>
                  <a:lnTo>
                    <a:pt x="616" y="590"/>
                  </a:lnTo>
                  <a:lnTo>
                    <a:pt x="609" y="590"/>
                  </a:lnTo>
                  <a:lnTo>
                    <a:pt x="601" y="591"/>
                  </a:lnTo>
                  <a:lnTo>
                    <a:pt x="595" y="593"/>
                  </a:lnTo>
                  <a:lnTo>
                    <a:pt x="588" y="595"/>
                  </a:lnTo>
                  <a:lnTo>
                    <a:pt x="580" y="597"/>
                  </a:lnTo>
                  <a:lnTo>
                    <a:pt x="574" y="599"/>
                  </a:lnTo>
                  <a:lnTo>
                    <a:pt x="568" y="603"/>
                  </a:lnTo>
                  <a:lnTo>
                    <a:pt x="563" y="607"/>
                  </a:lnTo>
                  <a:lnTo>
                    <a:pt x="557" y="610"/>
                  </a:lnTo>
                  <a:lnTo>
                    <a:pt x="551" y="614"/>
                  </a:lnTo>
                  <a:lnTo>
                    <a:pt x="546" y="620"/>
                  </a:lnTo>
                  <a:lnTo>
                    <a:pt x="542" y="624"/>
                  </a:lnTo>
                  <a:lnTo>
                    <a:pt x="538" y="630"/>
                  </a:lnTo>
                  <a:lnTo>
                    <a:pt x="532" y="637"/>
                  </a:lnTo>
                  <a:lnTo>
                    <a:pt x="532" y="637"/>
                  </a:lnTo>
                  <a:lnTo>
                    <a:pt x="532" y="639"/>
                  </a:lnTo>
                  <a:lnTo>
                    <a:pt x="530" y="645"/>
                  </a:lnTo>
                  <a:lnTo>
                    <a:pt x="530" y="649"/>
                  </a:lnTo>
                  <a:lnTo>
                    <a:pt x="530" y="654"/>
                  </a:lnTo>
                  <a:lnTo>
                    <a:pt x="530" y="658"/>
                  </a:lnTo>
                  <a:lnTo>
                    <a:pt x="528" y="664"/>
                  </a:lnTo>
                  <a:lnTo>
                    <a:pt x="526" y="668"/>
                  </a:lnTo>
                  <a:lnTo>
                    <a:pt x="521" y="670"/>
                  </a:lnTo>
                  <a:lnTo>
                    <a:pt x="521" y="670"/>
                  </a:lnTo>
                  <a:lnTo>
                    <a:pt x="515" y="672"/>
                  </a:lnTo>
                  <a:lnTo>
                    <a:pt x="509" y="673"/>
                  </a:lnTo>
                  <a:lnTo>
                    <a:pt x="504" y="675"/>
                  </a:lnTo>
                  <a:lnTo>
                    <a:pt x="500" y="677"/>
                  </a:lnTo>
                  <a:lnTo>
                    <a:pt x="494" y="679"/>
                  </a:lnTo>
                  <a:lnTo>
                    <a:pt x="488" y="681"/>
                  </a:lnTo>
                  <a:lnTo>
                    <a:pt x="483" y="683"/>
                  </a:lnTo>
                  <a:lnTo>
                    <a:pt x="479" y="683"/>
                  </a:lnTo>
                  <a:lnTo>
                    <a:pt x="473" y="687"/>
                  </a:lnTo>
                  <a:lnTo>
                    <a:pt x="469" y="689"/>
                  </a:lnTo>
                  <a:lnTo>
                    <a:pt x="464" y="691"/>
                  </a:lnTo>
                  <a:lnTo>
                    <a:pt x="460" y="693"/>
                  </a:lnTo>
                  <a:lnTo>
                    <a:pt x="456" y="696"/>
                  </a:lnTo>
                  <a:lnTo>
                    <a:pt x="452" y="700"/>
                  </a:lnTo>
                  <a:lnTo>
                    <a:pt x="448" y="704"/>
                  </a:lnTo>
                  <a:lnTo>
                    <a:pt x="444" y="708"/>
                  </a:lnTo>
                  <a:lnTo>
                    <a:pt x="444" y="708"/>
                  </a:lnTo>
                  <a:lnTo>
                    <a:pt x="441" y="712"/>
                  </a:lnTo>
                  <a:lnTo>
                    <a:pt x="437" y="717"/>
                  </a:lnTo>
                  <a:lnTo>
                    <a:pt x="433" y="723"/>
                  </a:lnTo>
                  <a:lnTo>
                    <a:pt x="429" y="729"/>
                  </a:lnTo>
                  <a:lnTo>
                    <a:pt x="425" y="736"/>
                  </a:lnTo>
                  <a:lnTo>
                    <a:pt x="422" y="742"/>
                  </a:lnTo>
                  <a:lnTo>
                    <a:pt x="418" y="750"/>
                  </a:lnTo>
                  <a:lnTo>
                    <a:pt x="412" y="755"/>
                  </a:lnTo>
                  <a:lnTo>
                    <a:pt x="406" y="763"/>
                  </a:lnTo>
                  <a:lnTo>
                    <a:pt x="402" y="769"/>
                  </a:lnTo>
                  <a:lnTo>
                    <a:pt x="395" y="773"/>
                  </a:lnTo>
                  <a:lnTo>
                    <a:pt x="389" y="778"/>
                  </a:lnTo>
                  <a:lnTo>
                    <a:pt x="383" y="782"/>
                  </a:lnTo>
                  <a:lnTo>
                    <a:pt x="378" y="786"/>
                  </a:lnTo>
                  <a:lnTo>
                    <a:pt x="370" y="786"/>
                  </a:lnTo>
                  <a:lnTo>
                    <a:pt x="362" y="788"/>
                  </a:lnTo>
                  <a:lnTo>
                    <a:pt x="362" y="788"/>
                  </a:lnTo>
                  <a:lnTo>
                    <a:pt x="355" y="788"/>
                  </a:lnTo>
                  <a:lnTo>
                    <a:pt x="349" y="786"/>
                  </a:lnTo>
                  <a:lnTo>
                    <a:pt x="343" y="786"/>
                  </a:lnTo>
                  <a:lnTo>
                    <a:pt x="336" y="784"/>
                  </a:lnTo>
                  <a:lnTo>
                    <a:pt x="330" y="782"/>
                  </a:lnTo>
                  <a:lnTo>
                    <a:pt x="324" y="780"/>
                  </a:lnTo>
                  <a:lnTo>
                    <a:pt x="317" y="778"/>
                  </a:lnTo>
                  <a:lnTo>
                    <a:pt x="309" y="776"/>
                  </a:lnTo>
                  <a:lnTo>
                    <a:pt x="303" y="775"/>
                  </a:lnTo>
                  <a:lnTo>
                    <a:pt x="296" y="773"/>
                  </a:lnTo>
                  <a:lnTo>
                    <a:pt x="290" y="771"/>
                  </a:lnTo>
                  <a:lnTo>
                    <a:pt x="282" y="771"/>
                  </a:lnTo>
                  <a:lnTo>
                    <a:pt x="275" y="769"/>
                  </a:lnTo>
                  <a:lnTo>
                    <a:pt x="269" y="767"/>
                  </a:lnTo>
                  <a:lnTo>
                    <a:pt x="261" y="767"/>
                  </a:lnTo>
                  <a:lnTo>
                    <a:pt x="254" y="767"/>
                  </a:lnTo>
                  <a:lnTo>
                    <a:pt x="254" y="767"/>
                  </a:lnTo>
                  <a:lnTo>
                    <a:pt x="248" y="763"/>
                  </a:lnTo>
                  <a:lnTo>
                    <a:pt x="242" y="759"/>
                  </a:lnTo>
                  <a:lnTo>
                    <a:pt x="237" y="755"/>
                  </a:lnTo>
                  <a:lnTo>
                    <a:pt x="231" y="752"/>
                  </a:lnTo>
                  <a:lnTo>
                    <a:pt x="225" y="746"/>
                  </a:lnTo>
                  <a:lnTo>
                    <a:pt x="219" y="744"/>
                  </a:lnTo>
                  <a:lnTo>
                    <a:pt x="210" y="742"/>
                  </a:lnTo>
                  <a:lnTo>
                    <a:pt x="200" y="740"/>
                  </a:lnTo>
                  <a:lnTo>
                    <a:pt x="200" y="740"/>
                  </a:lnTo>
                  <a:lnTo>
                    <a:pt x="195" y="740"/>
                  </a:lnTo>
                  <a:lnTo>
                    <a:pt x="187" y="740"/>
                  </a:lnTo>
                  <a:lnTo>
                    <a:pt x="181" y="740"/>
                  </a:lnTo>
                  <a:lnTo>
                    <a:pt x="174" y="742"/>
                  </a:lnTo>
                  <a:lnTo>
                    <a:pt x="168" y="742"/>
                  </a:lnTo>
                  <a:lnTo>
                    <a:pt x="160" y="742"/>
                  </a:lnTo>
                  <a:lnTo>
                    <a:pt x="155" y="742"/>
                  </a:lnTo>
                  <a:lnTo>
                    <a:pt x="149" y="744"/>
                  </a:lnTo>
                  <a:lnTo>
                    <a:pt x="143" y="744"/>
                  </a:lnTo>
                  <a:lnTo>
                    <a:pt x="135" y="746"/>
                  </a:lnTo>
                  <a:lnTo>
                    <a:pt x="130" y="746"/>
                  </a:lnTo>
                  <a:lnTo>
                    <a:pt x="124" y="746"/>
                  </a:lnTo>
                  <a:lnTo>
                    <a:pt x="118" y="748"/>
                  </a:lnTo>
                  <a:lnTo>
                    <a:pt x="111" y="748"/>
                  </a:lnTo>
                  <a:lnTo>
                    <a:pt x="105" y="750"/>
                  </a:lnTo>
                  <a:lnTo>
                    <a:pt x="99" y="752"/>
                  </a:lnTo>
                  <a:lnTo>
                    <a:pt x="0" y="637"/>
                  </a:lnTo>
                  <a:lnTo>
                    <a:pt x="0" y="391"/>
                  </a:lnTo>
                  <a:lnTo>
                    <a:pt x="0" y="391"/>
                  </a:lnTo>
                  <a:lnTo>
                    <a:pt x="2" y="391"/>
                  </a:lnTo>
                  <a:lnTo>
                    <a:pt x="6" y="391"/>
                  </a:lnTo>
                  <a:lnTo>
                    <a:pt x="10" y="391"/>
                  </a:lnTo>
                  <a:lnTo>
                    <a:pt x="13" y="391"/>
                  </a:lnTo>
                  <a:lnTo>
                    <a:pt x="19" y="391"/>
                  </a:lnTo>
                  <a:lnTo>
                    <a:pt x="25" y="391"/>
                  </a:lnTo>
                  <a:lnTo>
                    <a:pt x="31" y="391"/>
                  </a:lnTo>
                  <a:lnTo>
                    <a:pt x="36" y="391"/>
                  </a:lnTo>
                  <a:lnTo>
                    <a:pt x="42" y="391"/>
                  </a:lnTo>
                  <a:lnTo>
                    <a:pt x="48" y="391"/>
                  </a:lnTo>
                  <a:lnTo>
                    <a:pt x="53" y="391"/>
                  </a:lnTo>
                  <a:lnTo>
                    <a:pt x="59" y="391"/>
                  </a:lnTo>
                  <a:lnTo>
                    <a:pt x="63" y="391"/>
                  </a:lnTo>
                  <a:lnTo>
                    <a:pt x="69" y="391"/>
                  </a:lnTo>
                  <a:lnTo>
                    <a:pt x="72" y="391"/>
                  </a:lnTo>
                  <a:lnTo>
                    <a:pt x="76" y="391"/>
                  </a:lnTo>
                  <a:lnTo>
                    <a:pt x="76" y="391"/>
                  </a:lnTo>
                  <a:lnTo>
                    <a:pt x="86" y="389"/>
                  </a:lnTo>
                  <a:lnTo>
                    <a:pt x="93" y="385"/>
                  </a:lnTo>
                  <a:lnTo>
                    <a:pt x="101" y="383"/>
                  </a:lnTo>
                  <a:lnTo>
                    <a:pt x="109" y="382"/>
                  </a:lnTo>
                  <a:lnTo>
                    <a:pt x="116" y="382"/>
                  </a:lnTo>
                  <a:lnTo>
                    <a:pt x="124" y="380"/>
                  </a:lnTo>
                  <a:lnTo>
                    <a:pt x="132" y="378"/>
                  </a:lnTo>
                  <a:lnTo>
                    <a:pt x="137" y="376"/>
                  </a:lnTo>
                  <a:lnTo>
                    <a:pt x="143" y="374"/>
                  </a:lnTo>
                  <a:lnTo>
                    <a:pt x="149" y="370"/>
                  </a:lnTo>
                  <a:lnTo>
                    <a:pt x="153" y="366"/>
                  </a:lnTo>
                  <a:lnTo>
                    <a:pt x="156" y="362"/>
                  </a:lnTo>
                  <a:lnTo>
                    <a:pt x="160" y="357"/>
                  </a:lnTo>
                  <a:lnTo>
                    <a:pt x="162" y="349"/>
                  </a:lnTo>
                  <a:lnTo>
                    <a:pt x="164" y="340"/>
                  </a:lnTo>
                  <a:lnTo>
                    <a:pt x="164" y="330"/>
                  </a:lnTo>
                  <a:lnTo>
                    <a:pt x="164" y="330"/>
                  </a:lnTo>
                  <a:lnTo>
                    <a:pt x="164" y="322"/>
                  </a:lnTo>
                  <a:lnTo>
                    <a:pt x="164" y="317"/>
                  </a:lnTo>
                  <a:lnTo>
                    <a:pt x="164" y="311"/>
                  </a:lnTo>
                  <a:lnTo>
                    <a:pt x="164" y="307"/>
                  </a:lnTo>
                  <a:lnTo>
                    <a:pt x="164" y="301"/>
                  </a:lnTo>
                  <a:lnTo>
                    <a:pt x="164" y="298"/>
                  </a:lnTo>
                  <a:lnTo>
                    <a:pt x="164" y="292"/>
                  </a:lnTo>
                  <a:lnTo>
                    <a:pt x="164" y="288"/>
                  </a:lnTo>
                  <a:lnTo>
                    <a:pt x="164" y="282"/>
                  </a:lnTo>
                  <a:lnTo>
                    <a:pt x="164" y="277"/>
                  </a:lnTo>
                  <a:lnTo>
                    <a:pt x="164" y="271"/>
                  </a:lnTo>
                  <a:lnTo>
                    <a:pt x="164" y="263"/>
                  </a:lnTo>
                  <a:lnTo>
                    <a:pt x="164" y="258"/>
                  </a:lnTo>
                  <a:lnTo>
                    <a:pt x="164" y="248"/>
                  </a:lnTo>
                  <a:lnTo>
                    <a:pt x="164" y="238"/>
                  </a:lnTo>
                  <a:lnTo>
                    <a:pt x="164" y="229"/>
                  </a:lnTo>
                  <a:lnTo>
                    <a:pt x="164" y="229"/>
                  </a:lnTo>
                  <a:lnTo>
                    <a:pt x="177" y="231"/>
                  </a:lnTo>
                  <a:lnTo>
                    <a:pt x="185" y="235"/>
                  </a:lnTo>
                  <a:lnTo>
                    <a:pt x="189" y="238"/>
                  </a:lnTo>
                  <a:lnTo>
                    <a:pt x="189" y="246"/>
                  </a:lnTo>
                  <a:lnTo>
                    <a:pt x="189" y="252"/>
                  </a:lnTo>
                  <a:lnTo>
                    <a:pt x="191" y="258"/>
                  </a:lnTo>
                  <a:lnTo>
                    <a:pt x="195" y="261"/>
                  </a:lnTo>
                  <a:lnTo>
                    <a:pt x="200" y="261"/>
                  </a:lnTo>
                  <a:lnTo>
                    <a:pt x="200" y="261"/>
                  </a:lnTo>
                  <a:lnTo>
                    <a:pt x="206" y="261"/>
                  </a:lnTo>
                  <a:lnTo>
                    <a:pt x="210" y="259"/>
                  </a:lnTo>
                  <a:lnTo>
                    <a:pt x="216" y="256"/>
                  </a:lnTo>
                  <a:lnTo>
                    <a:pt x="219" y="254"/>
                  </a:lnTo>
                  <a:lnTo>
                    <a:pt x="225" y="250"/>
                  </a:lnTo>
                  <a:lnTo>
                    <a:pt x="231" y="248"/>
                  </a:lnTo>
                  <a:lnTo>
                    <a:pt x="237" y="244"/>
                  </a:lnTo>
                  <a:lnTo>
                    <a:pt x="244" y="244"/>
                  </a:lnTo>
                  <a:lnTo>
                    <a:pt x="244" y="244"/>
                  </a:lnTo>
                  <a:lnTo>
                    <a:pt x="248" y="244"/>
                  </a:lnTo>
                  <a:lnTo>
                    <a:pt x="250" y="244"/>
                  </a:lnTo>
                  <a:lnTo>
                    <a:pt x="254" y="244"/>
                  </a:lnTo>
                  <a:lnTo>
                    <a:pt x="256" y="244"/>
                  </a:lnTo>
                  <a:lnTo>
                    <a:pt x="258" y="246"/>
                  </a:lnTo>
                  <a:lnTo>
                    <a:pt x="259" y="246"/>
                  </a:lnTo>
                  <a:lnTo>
                    <a:pt x="261" y="244"/>
                  </a:lnTo>
                  <a:lnTo>
                    <a:pt x="265" y="244"/>
                  </a:lnTo>
                  <a:lnTo>
                    <a:pt x="265" y="244"/>
                  </a:lnTo>
                  <a:lnTo>
                    <a:pt x="265" y="252"/>
                  </a:lnTo>
                  <a:lnTo>
                    <a:pt x="269" y="259"/>
                  </a:lnTo>
                  <a:lnTo>
                    <a:pt x="271" y="265"/>
                  </a:lnTo>
                  <a:lnTo>
                    <a:pt x="275" y="271"/>
                  </a:lnTo>
                  <a:lnTo>
                    <a:pt x="280" y="277"/>
                  </a:lnTo>
                  <a:lnTo>
                    <a:pt x="286" y="280"/>
                  </a:lnTo>
                  <a:lnTo>
                    <a:pt x="294" y="286"/>
                  </a:lnTo>
                  <a:lnTo>
                    <a:pt x="301" y="290"/>
                  </a:lnTo>
                  <a:lnTo>
                    <a:pt x="309" y="292"/>
                  </a:lnTo>
                  <a:lnTo>
                    <a:pt x="319" y="296"/>
                  </a:lnTo>
                  <a:lnTo>
                    <a:pt x="328" y="298"/>
                  </a:lnTo>
                  <a:lnTo>
                    <a:pt x="336" y="300"/>
                  </a:lnTo>
                  <a:lnTo>
                    <a:pt x="345" y="301"/>
                  </a:lnTo>
                  <a:lnTo>
                    <a:pt x="355" y="303"/>
                  </a:lnTo>
                  <a:lnTo>
                    <a:pt x="362" y="303"/>
                  </a:lnTo>
                  <a:lnTo>
                    <a:pt x="372" y="303"/>
                  </a:lnTo>
                  <a:lnTo>
                    <a:pt x="372" y="303"/>
                  </a:lnTo>
                  <a:lnTo>
                    <a:pt x="378" y="303"/>
                  </a:lnTo>
                  <a:lnTo>
                    <a:pt x="385" y="300"/>
                  </a:lnTo>
                  <a:lnTo>
                    <a:pt x="389" y="298"/>
                  </a:lnTo>
                  <a:lnTo>
                    <a:pt x="395" y="294"/>
                  </a:lnTo>
                  <a:lnTo>
                    <a:pt x="399" y="288"/>
                  </a:lnTo>
                  <a:lnTo>
                    <a:pt x="401" y="284"/>
                  </a:lnTo>
                  <a:lnTo>
                    <a:pt x="404" y="279"/>
                  </a:lnTo>
                  <a:lnTo>
                    <a:pt x="406" y="273"/>
                  </a:lnTo>
                  <a:lnTo>
                    <a:pt x="406" y="273"/>
                  </a:lnTo>
                  <a:lnTo>
                    <a:pt x="414" y="279"/>
                  </a:lnTo>
                  <a:lnTo>
                    <a:pt x="420" y="284"/>
                  </a:lnTo>
                  <a:lnTo>
                    <a:pt x="423" y="290"/>
                  </a:lnTo>
                  <a:lnTo>
                    <a:pt x="427" y="298"/>
                  </a:lnTo>
                  <a:lnTo>
                    <a:pt x="431" y="303"/>
                  </a:lnTo>
                  <a:lnTo>
                    <a:pt x="435" y="309"/>
                  </a:lnTo>
                  <a:lnTo>
                    <a:pt x="439" y="317"/>
                  </a:lnTo>
                  <a:lnTo>
                    <a:pt x="444" y="321"/>
                  </a:lnTo>
                  <a:lnTo>
                    <a:pt x="444" y="321"/>
                  </a:lnTo>
                  <a:lnTo>
                    <a:pt x="454" y="326"/>
                  </a:lnTo>
                  <a:lnTo>
                    <a:pt x="464" y="330"/>
                  </a:lnTo>
                  <a:lnTo>
                    <a:pt x="471" y="332"/>
                  </a:lnTo>
                  <a:lnTo>
                    <a:pt x="479" y="334"/>
                  </a:lnTo>
                  <a:lnTo>
                    <a:pt x="488" y="336"/>
                  </a:lnTo>
                  <a:lnTo>
                    <a:pt x="496" y="338"/>
                  </a:lnTo>
                  <a:lnTo>
                    <a:pt x="502" y="341"/>
                  </a:lnTo>
                  <a:lnTo>
                    <a:pt x="509" y="347"/>
                  </a:lnTo>
                  <a:lnTo>
                    <a:pt x="509" y="347"/>
                  </a:lnTo>
                  <a:lnTo>
                    <a:pt x="513" y="351"/>
                  </a:lnTo>
                  <a:lnTo>
                    <a:pt x="515" y="355"/>
                  </a:lnTo>
                  <a:lnTo>
                    <a:pt x="519" y="359"/>
                  </a:lnTo>
                  <a:lnTo>
                    <a:pt x="523" y="364"/>
                  </a:lnTo>
                  <a:lnTo>
                    <a:pt x="525" y="370"/>
                  </a:lnTo>
                  <a:lnTo>
                    <a:pt x="528" y="376"/>
                  </a:lnTo>
                  <a:lnTo>
                    <a:pt x="530" y="382"/>
                  </a:lnTo>
                  <a:lnTo>
                    <a:pt x="534" y="387"/>
                  </a:lnTo>
                  <a:lnTo>
                    <a:pt x="538" y="393"/>
                  </a:lnTo>
                  <a:lnTo>
                    <a:pt x="542" y="399"/>
                  </a:lnTo>
                  <a:lnTo>
                    <a:pt x="544" y="403"/>
                  </a:lnTo>
                  <a:lnTo>
                    <a:pt x="547" y="406"/>
                  </a:lnTo>
                  <a:lnTo>
                    <a:pt x="551" y="410"/>
                  </a:lnTo>
                  <a:lnTo>
                    <a:pt x="555" y="414"/>
                  </a:lnTo>
                  <a:lnTo>
                    <a:pt x="559" y="416"/>
                  </a:lnTo>
                  <a:lnTo>
                    <a:pt x="563" y="416"/>
                  </a:lnTo>
                  <a:lnTo>
                    <a:pt x="563" y="416"/>
                  </a:lnTo>
                  <a:lnTo>
                    <a:pt x="567" y="416"/>
                  </a:lnTo>
                  <a:lnTo>
                    <a:pt x="570" y="414"/>
                  </a:lnTo>
                  <a:lnTo>
                    <a:pt x="572" y="412"/>
                  </a:lnTo>
                  <a:lnTo>
                    <a:pt x="576" y="410"/>
                  </a:lnTo>
                  <a:lnTo>
                    <a:pt x="580" y="408"/>
                  </a:lnTo>
                  <a:lnTo>
                    <a:pt x="582" y="408"/>
                  </a:lnTo>
                  <a:lnTo>
                    <a:pt x="586" y="406"/>
                  </a:lnTo>
                  <a:lnTo>
                    <a:pt x="589" y="406"/>
                  </a:lnTo>
                  <a:lnTo>
                    <a:pt x="589" y="406"/>
                  </a:lnTo>
                  <a:lnTo>
                    <a:pt x="595" y="406"/>
                  </a:lnTo>
                  <a:lnTo>
                    <a:pt x="599" y="406"/>
                  </a:lnTo>
                  <a:lnTo>
                    <a:pt x="603" y="406"/>
                  </a:lnTo>
                  <a:lnTo>
                    <a:pt x="605" y="406"/>
                  </a:lnTo>
                  <a:lnTo>
                    <a:pt x="609" y="406"/>
                  </a:lnTo>
                  <a:lnTo>
                    <a:pt x="612" y="406"/>
                  </a:lnTo>
                  <a:lnTo>
                    <a:pt x="616" y="406"/>
                  </a:lnTo>
                  <a:lnTo>
                    <a:pt x="620" y="406"/>
                  </a:lnTo>
                  <a:lnTo>
                    <a:pt x="620" y="321"/>
                  </a:lnTo>
                  <a:lnTo>
                    <a:pt x="620" y="321"/>
                  </a:lnTo>
                  <a:lnTo>
                    <a:pt x="614" y="322"/>
                  </a:lnTo>
                  <a:lnTo>
                    <a:pt x="610" y="324"/>
                  </a:lnTo>
                  <a:lnTo>
                    <a:pt x="607" y="326"/>
                  </a:lnTo>
                  <a:lnTo>
                    <a:pt x="605" y="328"/>
                  </a:lnTo>
                  <a:lnTo>
                    <a:pt x="601" y="332"/>
                  </a:lnTo>
                  <a:lnTo>
                    <a:pt x="599" y="334"/>
                  </a:lnTo>
                  <a:lnTo>
                    <a:pt x="597" y="338"/>
                  </a:lnTo>
                  <a:lnTo>
                    <a:pt x="595" y="341"/>
                  </a:lnTo>
                  <a:lnTo>
                    <a:pt x="572" y="341"/>
                  </a:lnTo>
                  <a:lnTo>
                    <a:pt x="572" y="341"/>
                  </a:lnTo>
                  <a:lnTo>
                    <a:pt x="567" y="338"/>
                  </a:lnTo>
                  <a:lnTo>
                    <a:pt x="563" y="336"/>
                  </a:lnTo>
                  <a:lnTo>
                    <a:pt x="557" y="332"/>
                  </a:lnTo>
                  <a:lnTo>
                    <a:pt x="551" y="326"/>
                  </a:lnTo>
                  <a:lnTo>
                    <a:pt x="546" y="322"/>
                  </a:lnTo>
                  <a:lnTo>
                    <a:pt x="542" y="317"/>
                  </a:lnTo>
                  <a:lnTo>
                    <a:pt x="536" y="313"/>
                  </a:lnTo>
                  <a:lnTo>
                    <a:pt x="530" y="307"/>
                  </a:lnTo>
                  <a:lnTo>
                    <a:pt x="526" y="300"/>
                  </a:lnTo>
                  <a:lnTo>
                    <a:pt x="523" y="294"/>
                  </a:lnTo>
                  <a:lnTo>
                    <a:pt x="519" y="288"/>
                  </a:lnTo>
                  <a:lnTo>
                    <a:pt x="515" y="282"/>
                  </a:lnTo>
                  <a:lnTo>
                    <a:pt x="513" y="275"/>
                  </a:lnTo>
                  <a:lnTo>
                    <a:pt x="511" y="269"/>
                  </a:lnTo>
                  <a:lnTo>
                    <a:pt x="509" y="263"/>
                  </a:lnTo>
                  <a:lnTo>
                    <a:pt x="509" y="256"/>
                  </a:lnTo>
                  <a:lnTo>
                    <a:pt x="509" y="256"/>
                  </a:lnTo>
                  <a:lnTo>
                    <a:pt x="509" y="250"/>
                  </a:lnTo>
                  <a:lnTo>
                    <a:pt x="511" y="242"/>
                  </a:lnTo>
                  <a:lnTo>
                    <a:pt x="513" y="237"/>
                  </a:lnTo>
                  <a:lnTo>
                    <a:pt x="515" y="231"/>
                  </a:lnTo>
                  <a:lnTo>
                    <a:pt x="517" y="227"/>
                  </a:lnTo>
                  <a:lnTo>
                    <a:pt x="521" y="223"/>
                  </a:lnTo>
                  <a:lnTo>
                    <a:pt x="525" y="219"/>
                  </a:lnTo>
                  <a:lnTo>
                    <a:pt x="526" y="216"/>
                  </a:lnTo>
                  <a:lnTo>
                    <a:pt x="526" y="216"/>
                  </a:lnTo>
                  <a:lnTo>
                    <a:pt x="526" y="208"/>
                  </a:lnTo>
                  <a:lnTo>
                    <a:pt x="526" y="200"/>
                  </a:lnTo>
                  <a:lnTo>
                    <a:pt x="526" y="193"/>
                  </a:lnTo>
                  <a:lnTo>
                    <a:pt x="526" y="185"/>
                  </a:lnTo>
                  <a:lnTo>
                    <a:pt x="526" y="179"/>
                  </a:lnTo>
                  <a:lnTo>
                    <a:pt x="526" y="172"/>
                  </a:lnTo>
                  <a:lnTo>
                    <a:pt x="526" y="166"/>
                  </a:lnTo>
                  <a:lnTo>
                    <a:pt x="526" y="158"/>
                  </a:lnTo>
                  <a:lnTo>
                    <a:pt x="526" y="153"/>
                  </a:lnTo>
                  <a:lnTo>
                    <a:pt x="526" y="145"/>
                  </a:lnTo>
                  <a:lnTo>
                    <a:pt x="526" y="139"/>
                  </a:lnTo>
                  <a:lnTo>
                    <a:pt x="526" y="135"/>
                  </a:lnTo>
                  <a:lnTo>
                    <a:pt x="526" y="130"/>
                  </a:lnTo>
                  <a:lnTo>
                    <a:pt x="526" y="124"/>
                  </a:lnTo>
                  <a:lnTo>
                    <a:pt x="526" y="120"/>
                  </a:lnTo>
                  <a:lnTo>
                    <a:pt x="526" y="116"/>
                  </a:lnTo>
                  <a:lnTo>
                    <a:pt x="526" y="116"/>
                  </a:lnTo>
                  <a:lnTo>
                    <a:pt x="526" y="113"/>
                  </a:lnTo>
                  <a:lnTo>
                    <a:pt x="525" y="109"/>
                  </a:lnTo>
                  <a:lnTo>
                    <a:pt x="523" y="107"/>
                  </a:lnTo>
                  <a:lnTo>
                    <a:pt x="521" y="103"/>
                  </a:lnTo>
                  <a:lnTo>
                    <a:pt x="519" y="101"/>
                  </a:lnTo>
                  <a:lnTo>
                    <a:pt x="517" y="97"/>
                  </a:lnTo>
                  <a:lnTo>
                    <a:pt x="515" y="95"/>
                  </a:lnTo>
                  <a:lnTo>
                    <a:pt x="515" y="92"/>
                  </a:lnTo>
                  <a:lnTo>
                    <a:pt x="515" y="92"/>
                  </a:lnTo>
                  <a:lnTo>
                    <a:pt x="517" y="86"/>
                  </a:lnTo>
                  <a:lnTo>
                    <a:pt x="519" y="80"/>
                  </a:lnTo>
                  <a:lnTo>
                    <a:pt x="523" y="76"/>
                  </a:lnTo>
                  <a:lnTo>
                    <a:pt x="526" y="73"/>
                  </a:lnTo>
                  <a:lnTo>
                    <a:pt x="532" y="71"/>
                  </a:lnTo>
                  <a:lnTo>
                    <a:pt x="536" y="67"/>
                  </a:lnTo>
                  <a:lnTo>
                    <a:pt x="540" y="65"/>
                  </a:lnTo>
                  <a:lnTo>
                    <a:pt x="542" y="63"/>
                  </a:lnTo>
                  <a:lnTo>
                    <a:pt x="542" y="63"/>
                  </a:lnTo>
                  <a:lnTo>
                    <a:pt x="547" y="57"/>
                  </a:lnTo>
                  <a:lnTo>
                    <a:pt x="549" y="53"/>
                  </a:lnTo>
                  <a:lnTo>
                    <a:pt x="551" y="48"/>
                  </a:lnTo>
                  <a:lnTo>
                    <a:pt x="551" y="42"/>
                  </a:lnTo>
                  <a:lnTo>
                    <a:pt x="553" y="36"/>
                  </a:lnTo>
                  <a:lnTo>
                    <a:pt x="555" y="31"/>
                  </a:lnTo>
                  <a:lnTo>
                    <a:pt x="557" y="27"/>
                  </a:lnTo>
                  <a:lnTo>
                    <a:pt x="563" y="23"/>
                  </a:lnTo>
                  <a:lnTo>
                    <a:pt x="563" y="23"/>
                  </a:lnTo>
                  <a:lnTo>
                    <a:pt x="568" y="19"/>
                  </a:lnTo>
                  <a:lnTo>
                    <a:pt x="574" y="17"/>
                  </a:lnTo>
                  <a:lnTo>
                    <a:pt x="580" y="15"/>
                  </a:lnTo>
                  <a:lnTo>
                    <a:pt x="586" y="13"/>
                  </a:lnTo>
                  <a:lnTo>
                    <a:pt x="589" y="13"/>
                  </a:lnTo>
                  <a:lnTo>
                    <a:pt x="595" y="11"/>
                  </a:lnTo>
                  <a:lnTo>
                    <a:pt x="601" y="11"/>
                  </a:lnTo>
                  <a:lnTo>
                    <a:pt x="605" y="11"/>
                  </a:lnTo>
                  <a:lnTo>
                    <a:pt x="610" y="11"/>
                  </a:lnTo>
                  <a:lnTo>
                    <a:pt x="616" y="11"/>
                  </a:lnTo>
                  <a:lnTo>
                    <a:pt x="622" y="10"/>
                  </a:lnTo>
                  <a:lnTo>
                    <a:pt x="626" y="10"/>
                  </a:lnTo>
                  <a:lnTo>
                    <a:pt x="631" y="10"/>
                  </a:lnTo>
                  <a:lnTo>
                    <a:pt x="637" y="8"/>
                  </a:lnTo>
                  <a:lnTo>
                    <a:pt x="643" y="8"/>
                  </a:lnTo>
                  <a:lnTo>
                    <a:pt x="649" y="4"/>
                  </a:lnTo>
                  <a:lnTo>
                    <a:pt x="700" y="0"/>
                  </a:lnTo>
                  <a:lnTo>
                    <a:pt x="700" y="0"/>
                  </a:lnTo>
                  <a:lnTo>
                    <a:pt x="704" y="4"/>
                  </a:lnTo>
                  <a:lnTo>
                    <a:pt x="708" y="8"/>
                  </a:lnTo>
                  <a:lnTo>
                    <a:pt x="712" y="11"/>
                  </a:lnTo>
                  <a:lnTo>
                    <a:pt x="715" y="15"/>
                  </a:lnTo>
                  <a:lnTo>
                    <a:pt x="719" y="21"/>
                  </a:lnTo>
                  <a:lnTo>
                    <a:pt x="721" y="25"/>
                  </a:lnTo>
                  <a:lnTo>
                    <a:pt x="725" y="29"/>
                  </a:lnTo>
                  <a:lnTo>
                    <a:pt x="729" y="32"/>
                  </a:lnTo>
                  <a:lnTo>
                    <a:pt x="729" y="32"/>
                  </a:lnTo>
                  <a:lnTo>
                    <a:pt x="731" y="34"/>
                  </a:lnTo>
                  <a:lnTo>
                    <a:pt x="733" y="34"/>
                  </a:lnTo>
                  <a:lnTo>
                    <a:pt x="736" y="36"/>
                  </a:lnTo>
                  <a:lnTo>
                    <a:pt x="738" y="38"/>
                  </a:lnTo>
                  <a:lnTo>
                    <a:pt x="742" y="38"/>
                  </a:lnTo>
                  <a:lnTo>
                    <a:pt x="744" y="38"/>
                  </a:lnTo>
                  <a:lnTo>
                    <a:pt x="746" y="38"/>
                  </a:lnTo>
                  <a:lnTo>
                    <a:pt x="746" y="38"/>
                  </a:lnTo>
                  <a:lnTo>
                    <a:pt x="746" y="38"/>
                  </a:lnTo>
                  <a:lnTo>
                    <a:pt x="752" y="36"/>
                  </a:lnTo>
                  <a:lnTo>
                    <a:pt x="753" y="36"/>
                  </a:lnTo>
                  <a:lnTo>
                    <a:pt x="755" y="36"/>
                  </a:lnTo>
                  <a:lnTo>
                    <a:pt x="757" y="36"/>
                  </a:lnTo>
                  <a:lnTo>
                    <a:pt x="757" y="36"/>
                  </a:lnTo>
                  <a:lnTo>
                    <a:pt x="759" y="36"/>
                  </a:lnTo>
                  <a:lnTo>
                    <a:pt x="759" y="36"/>
                  </a:lnTo>
                  <a:lnTo>
                    <a:pt x="761" y="36"/>
                  </a:lnTo>
                  <a:lnTo>
                    <a:pt x="761" y="36"/>
                  </a:lnTo>
                  <a:lnTo>
                    <a:pt x="763" y="36"/>
                  </a:lnTo>
                  <a:lnTo>
                    <a:pt x="765" y="38"/>
                  </a:lnTo>
                  <a:lnTo>
                    <a:pt x="767" y="42"/>
                  </a:lnTo>
                  <a:lnTo>
                    <a:pt x="771" y="44"/>
                  </a:lnTo>
                  <a:lnTo>
                    <a:pt x="774" y="48"/>
                  </a:lnTo>
                  <a:lnTo>
                    <a:pt x="778" y="50"/>
                  </a:lnTo>
                  <a:lnTo>
                    <a:pt x="780" y="52"/>
                  </a:lnTo>
                  <a:lnTo>
                    <a:pt x="782" y="53"/>
                  </a:lnTo>
                  <a:lnTo>
                    <a:pt x="782" y="53"/>
                  </a:lnTo>
                  <a:lnTo>
                    <a:pt x="790" y="57"/>
                  </a:lnTo>
                  <a:lnTo>
                    <a:pt x="797" y="61"/>
                  </a:lnTo>
                  <a:lnTo>
                    <a:pt x="805" y="63"/>
                  </a:lnTo>
                  <a:lnTo>
                    <a:pt x="813" y="65"/>
                  </a:lnTo>
                  <a:lnTo>
                    <a:pt x="818" y="67"/>
                  </a:lnTo>
                  <a:lnTo>
                    <a:pt x="824" y="69"/>
                  </a:lnTo>
                  <a:lnTo>
                    <a:pt x="832" y="73"/>
                  </a:lnTo>
                  <a:lnTo>
                    <a:pt x="839" y="74"/>
                  </a:lnTo>
                  <a:lnTo>
                    <a:pt x="839" y="74"/>
                  </a:lnTo>
                  <a:lnTo>
                    <a:pt x="847" y="78"/>
                  </a:lnTo>
                  <a:lnTo>
                    <a:pt x="855" y="84"/>
                  </a:lnTo>
                  <a:lnTo>
                    <a:pt x="862" y="88"/>
                  </a:lnTo>
                  <a:lnTo>
                    <a:pt x="870" y="92"/>
                  </a:lnTo>
                  <a:lnTo>
                    <a:pt x="877" y="95"/>
                  </a:lnTo>
                  <a:lnTo>
                    <a:pt x="885" y="97"/>
                  </a:lnTo>
                  <a:lnTo>
                    <a:pt x="893" y="101"/>
                  </a:lnTo>
                  <a:lnTo>
                    <a:pt x="900" y="103"/>
                  </a:lnTo>
                  <a:lnTo>
                    <a:pt x="900" y="103"/>
                  </a:lnTo>
                  <a:lnTo>
                    <a:pt x="898" y="109"/>
                  </a:lnTo>
                  <a:lnTo>
                    <a:pt x="898" y="113"/>
                  </a:lnTo>
                  <a:lnTo>
                    <a:pt x="900" y="118"/>
                  </a:lnTo>
                  <a:lnTo>
                    <a:pt x="900" y="124"/>
                  </a:lnTo>
                  <a:lnTo>
                    <a:pt x="902" y="128"/>
                  </a:lnTo>
                  <a:lnTo>
                    <a:pt x="904" y="134"/>
                  </a:lnTo>
                  <a:lnTo>
                    <a:pt x="906" y="137"/>
                  </a:lnTo>
                  <a:lnTo>
                    <a:pt x="908" y="143"/>
                  </a:lnTo>
                  <a:lnTo>
                    <a:pt x="912" y="147"/>
                  </a:lnTo>
                  <a:lnTo>
                    <a:pt x="914" y="153"/>
                  </a:lnTo>
                  <a:lnTo>
                    <a:pt x="916" y="156"/>
                  </a:lnTo>
                  <a:lnTo>
                    <a:pt x="918" y="162"/>
                  </a:lnTo>
                  <a:lnTo>
                    <a:pt x="919" y="168"/>
                  </a:lnTo>
                  <a:lnTo>
                    <a:pt x="921" y="172"/>
                  </a:lnTo>
                  <a:lnTo>
                    <a:pt x="921" y="177"/>
                  </a:lnTo>
                  <a:lnTo>
                    <a:pt x="921" y="181"/>
                  </a:lnTo>
                  <a:lnTo>
                    <a:pt x="921" y="181"/>
                  </a:lnTo>
                  <a:lnTo>
                    <a:pt x="921" y="189"/>
                  </a:lnTo>
                  <a:lnTo>
                    <a:pt x="918" y="195"/>
                  </a:lnTo>
                  <a:lnTo>
                    <a:pt x="916" y="200"/>
                  </a:lnTo>
                  <a:lnTo>
                    <a:pt x="912" y="206"/>
                  </a:lnTo>
                  <a:lnTo>
                    <a:pt x="908" y="212"/>
                  </a:lnTo>
                  <a:lnTo>
                    <a:pt x="904" y="217"/>
                  </a:lnTo>
                  <a:lnTo>
                    <a:pt x="902" y="225"/>
                  </a:lnTo>
                  <a:lnTo>
                    <a:pt x="900" y="231"/>
                  </a:lnTo>
                  <a:lnTo>
                    <a:pt x="900" y="231"/>
                  </a:lnTo>
                  <a:lnTo>
                    <a:pt x="900" y="235"/>
                  </a:lnTo>
                  <a:lnTo>
                    <a:pt x="900" y="238"/>
                  </a:lnTo>
                  <a:lnTo>
                    <a:pt x="898" y="242"/>
                  </a:lnTo>
                  <a:lnTo>
                    <a:pt x="898" y="246"/>
                  </a:lnTo>
                  <a:lnTo>
                    <a:pt x="897" y="250"/>
                  </a:lnTo>
                  <a:lnTo>
                    <a:pt x="895" y="254"/>
                  </a:lnTo>
                  <a:lnTo>
                    <a:pt x="895" y="258"/>
                  </a:lnTo>
                  <a:lnTo>
                    <a:pt x="895" y="261"/>
                  </a:lnTo>
                  <a:lnTo>
                    <a:pt x="895" y="261"/>
                  </a:lnTo>
                  <a:lnTo>
                    <a:pt x="895" y="269"/>
                  </a:lnTo>
                  <a:lnTo>
                    <a:pt x="897" y="273"/>
                  </a:lnTo>
                  <a:lnTo>
                    <a:pt x="898" y="279"/>
                  </a:lnTo>
                  <a:lnTo>
                    <a:pt x="900" y="284"/>
                  </a:lnTo>
                  <a:lnTo>
                    <a:pt x="902" y="288"/>
                  </a:lnTo>
                  <a:lnTo>
                    <a:pt x="904" y="294"/>
                  </a:lnTo>
                  <a:lnTo>
                    <a:pt x="904" y="300"/>
                  </a:lnTo>
                  <a:lnTo>
                    <a:pt x="906" y="307"/>
                  </a:lnTo>
                  <a:lnTo>
                    <a:pt x="906" y="307"/>
                  </a:lnTo>
                  <a:lnTo>
                    <a:pt x="904" y="311"/>
                  </a:lnTo>
                  <a:lnTo>
                    <a:pt x="904" y="315"/>
                  </a:lnTo>
                  <a:lnTo>
                    <a:pt x="902" y="319"/>
                  </a:lnTo>
                  <a:lnTo>
                    <a:pt x="900" y="321"/>
                  </a:lnTo>
                  <a:lnTo>
                    <a:pt x="898" y="324"/>
                  </a:lnTo>
                  <a:lnTo>
                    <a:pt x="897" y="326"/>
                  </a:lnTo>
                  <a:lnTo>
                    <a:pt x="893" y="328"/>
                  </a:lnTo>
                  <a:lnTo>
                    <a:pt x="891" y="332"/>
                  </a:lnTo>
                  <a:lnTo>
                    <a:pt x="891" y="332"/>
                  </a:lnTo>
                  <a:lnTo>
                    <a:pt x="887" y="336"/>
                  </a:lnTo>
                  <a:lnTo>
                    <a:pt x="885" y="340"/>
                  </a:lnTo>
                  <a:lnTo>
                    <a:pt x="885" y="345"/>
                  </a:lnTo>
                  <a:lnTo>
                    <a:pt x="883" y="349"/>
                  </a:lnTo>
                  <a:lnTo>
                    <a:pt x="883" y="355"/>
                  </a:lnTo>
                  <a:lnTo>
                    <a:pt x="883" y="359"/>
                  </a:lnTo>
                  <a:lnTo>
                    <a:pt x="883" y="364"/>
                  </a:lnTo>
                  <a:lnTo>
                    <a:pt x="881" y="370"/>
                  </a:lnTo>
                  <a:lnTo>
                    <a:pt x="881" y="370"/>
                  </a:lnTo>
                  <a:lnTo>
                    <a:pt x="879" y="374"/>
                  </a:lnTo>
                  <a:lnTo>
                    <a:pt x="877" y="378"/>
                  </a:lnTo>
                  <a:lnTo>
                    <a:pt x="876" y="382"/>
                  </a:lnTo>
                  <a:lnTo>
                    <a:pt x="874" y="385"/>
                  </a:lnTo>
                  <a:lnTo>
                    <a:pt x="872" y="387"/>
                  </a:lnTo>
                  <a:lnTo>
                    <a:pt x="870" y="391"/>
                  </a:lnTo>
                  <a:lnTo>
                    <a:pt x="866" y="397"/>
                  </a:lnTo>
                  <a:lnTo>
                    <a:pt x="864" y="403"/>
                  </a:lnTo>
                  <a:lnTo>
                    <a:pt x="864" y="403"/>
                  </a:lnTo>
                  <a:lnTo>
                    <a:pt x="862" y="406"/>
                  </a:lnTo>
                  <a:lnTo>
                    <a:pt x="858" y="408"/>
                  </a:lnTo>
                  <a:lnTo>
                    <a:pt x="855" y="410"/>
                  </a:lnTo>
                  <a:lnTo>
                    <a:pt x="853" y="414"/>
                  </a:lnTo>
                  <a:lnTo>
                    <a:pt x="849" y="416"/>
                  </a:lnTo>
                  <a:lnTo>
                    <a:pt x="847" y="420"/>
                  </a:lnTo>
                  <a:lnTo>
                    <a:pt x="845" y="424"/>
                  </a:lnTo>
                  <a:lnTo>
                    <a:pt x="843" y="427"/>
                  </a:lnTo>
                  <a:lnTo>
                    <a:pt x="843" y="427"/>
                  </a:lnTo>
                  <a:lnTo>
                    <a:pt x="845" y="437"/>
                  </a:lnTo>
                  <a:lnTo>
                    <a:pt x="849" y="443"/>
                  </a:lnTo>
                  <a:lnTo>
                    <a:pt x="853" y="445"/>
                  </a:lnTo>
                  <a:lnTo>
                    <a:pt x="860" y="446"/>
                  </a:lnTo>
                  <a:lnTo>
                    <a:pt x="868" y="448"/>
                  </a:lnTo>
                  <a:lnTo>
                    <a:pt x="874" y="450"/>
                  </a:lnTo>
                  <a:lnTo>
                    <a:pt x="881" y="452"/>
                  </a:lnTo>
                  <a:lnTo>
                    <a:pt x="887" y="456"/>
                  </a:lnTo>
                  <a:lnTo>
                    <a:pt x="887" y="456"/>
                  </a:lnTo>
                  <a:lnTo>
                    <a:pt x="881" y="460"/>
                  </a:lnTo>
                  <a:lnTo>
                    <a:pt x="874" y="462"/>
                  </a:lnTo>
                  <a:lnTo>
                    <a:pt x="864" y="464"/>
                  </a:lnTo>
                  <a:lnTo>
                    <a:pt x="856" y="467"/>
                  </a:lnTo>
                  <a:lnTo>
                    <a:pt x="849" y="469"/>
                  </a:lnTo>
                  <a:lnTo>
                    <a:pt x="841" y="473"/>
                  </a:lnTo>
                  <a:lnTo>
                    <a:pt x="834" y="475"/>
                  </a:lnTo>
                  <a:lnTo>
                    <a:pt x="824" y="477"/>
                  </a:lnTo>
                  <a:lnTo>
                    <a:pt x="816" y="481"/>
                  </a:lnTo>
                  <a:lnTo>
                    <a:pt x="809" y="483"/>
                  </a:lnTo>
                  <a:lnTo>
                    <a:pt x="799" y="486"/>
                  </a:lnTo>
                  <a:lnTo>
                    <a:pt x="792" y="488"/>
                  </a:lnTo>
                  <a:lnTo>
                    <a:pt x="784" y="490"/>
                  </a:lnTo>
                  <a:lnTo>
                    <a:pt x="776" y="494"/>
                  </a:lnTo>
                  <a:lnTo>
                    <a:pt x="769" y="496"/>
                  </a:lnTo>
                  <a:lnTo>
                    <a:pt x="761" y="496"/>
                  </a:lnTo>
                  <a:lnTo>
                    <a:pt x="761" y="496"/>
                  </a:lnTo>
                  <a:lnTo>
                    <a:pt x="755" y="498"/>
                  </a:lnTo>
                  <a:lnTo>
                    <a:pt x="750" y="500"/>
                  </a:lnTo>
                  <a:lnTo>
                    <a:pt x="746" y="502"/>
                  </a:lnTo>
                  <a:lnTo>
                    <a:pt x="740" y="502"/>
                  </a:lnTo>
                  <a:lnTo>
                    <a:pt x="734" y="504"/>
                  </a:lnTo>
                  <a:lnTo>
                    <a:pt x="731" y="506"/>
                  </a:lnTo>
                  <a:lnTo>
                    <a:pt x="725" y="507"/>
                  </a:lnTo>
                  <a:lnTo>
                    <a:pt x="721" y="509"/>
                  </a:lnTo>
                  <a:lnTo>
                    <a:pt x="715" y="511"/>
                  </a:lnTo>
                  <a:lnTo>
                    <a:pt x="712" y="513"/>
                  </a:lnTo>
                  <a:lnTo>
                    <a:pt x="706" y="515"/>
                  </a:lnTo>
                  <a:lnTo>
                    <a:pt x="702" y="517"/>
                  </a:lnTo>
                  <a:lnTo>
                    <a:pt x="696" y="519"/>
                  </a:lnTo>
                  <a:lnTo>
                    <a:pt x="691" y="521"/>
                  </a:lnTo>
                  <a:lnTo>
                    <a:pt x="685" y="523"/>
                  </a:lnTo>
                  <a:lnTo>
                    <a:pt x="679" y="525"/>
                  </a:lnTo>
                  <a:lnTo>
                    <a:pt x="679" y="525"/>
                  </a:lnTo>
                  <a:lnTo>
                    <a:pt x="677" y="525"/>
                  </a:lnTo>
                  <a:lnTo>
                    <a:pt x="671" y="527"/>
                  </a:lnTo>
                  <a:lnTo>
                    <a:pt x="668" y="530"/>
                  </a:lnTo>
                  <a:lnTo>
                    <a:pt x="662" y="532"/>
                  </a:lnTo>
                  <a:lnTo>
                    <a:pt x="656" y="534"/>
                  </a:lnTo>
                  <a:lnTo>
                    <a:pt x="650" y="538"/>
                  </a:lnTo>
                  <a:lnTo>
                    <a:pt x="645" y="540"/>
                  </a:lnTo>
                  <a:lnTo>
                    <a:pt x="639" y="540"/>
                  </a:lnTo>
                  <a:lnTo>
                    <a:pt x="639" y="551"/>
                  </a:lnTo>
                  <a:lnTo>
                    <a:pt x="639" y="551"/>
                  </a:lnTo>
                  <a:lnTo>
                    <a:pt x="639" y="553"/>
                  </a:lnTo>
                  <a:lnTo>
                    <a:pt x="641" y="557"/>
                  </a:lnTo>
                  <a:lnTo>
                    <a:pt x="641" y="559"/>
                  </a:lnTo>
                  <a:lnTo>
                    <a:pt x="643" y="563"/>
                  </a:lnTo>
                  <a:lnTo>
                    <a:pt x="643" y="565"/>
                  </a:lnTo>
                  <a:lnTo>
                    <a:pt x="645" y="569"/>
                  </a:lnTo>
                  <a:lnTo>
                    <a:pt x="645" y="572"/>
                  </a:lnTo>
                  <a:lnTo>
                    <a:pt x="645" y="574"/>
                  </a:lnTo>
                  <a:lnTo>
                    <a:pt x="645" y="574"/>
                  </a:lnTo>
                  <a:lnTo>
                    <a:pt x="645" y="576"/>
                  </a:lnTo>
                  <a:lnTo>
                    <a:pt x="647" y="576"/>
                  </a:lnTo>
                  <a:lnTo>
                    <a:pt x="647" y="578"/>
                  </a:lnTo>
                  <a:lnTo>
                    <a:pt x="647" y="580"/>
                  </a:lnTo>
                  <a:lnTo>
                    <a:pt x="647" y="582"/>
                  </a:lnTo>
                  <a:lnTo>
                    <a:pt x="647" y="586"/>
                  </a:lnTo>
                  <a:lnTo>
                    <a:pt x="647" y="588"/>
                  </a:lnTo>
                  <a:lnTo>
                    <a:pt x="647" y="591"/>
                  </a:lnTo>
                  <a:lnTo>
                    <a:pt x="631" y="59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80" name="Freeform 224"/>
            <p:cNvSpPr>
              <a:spLocks/>
            </p:cNvSpPr>
            <p:nvPr/>
          </p:nvSpPr>
          <p:spPr bwMode="gray">
            <a:xfrm>
              <a:off x="2092" y="2622"/>
              <a:ext cx="548" cy="527"/>
            </a:xfrm>
            <a:custGeom>
              <a:avLst/>
              <a:gdLst/>
              <a:ahLst/>
              <a:cxnLst>
                <a:cxn ang="0">
                  <a:pos x="51" y="13"/>
                </a:cxn>
                <a:cxn ang="0">
                  <a:pos x="88" y="2"/>
                </a:cxn>
                <a:cxn ang="0">
                  <a:pos x="326" y="2"/>
                </a:cxn>
                <a:cxn ang="0">
                  <a:pos x="380" y="7"/>
                </a:cxn>
                <a:cxn ang="0">
                  <a:pos x="389" y="42"/>
                </a:cxn>
                <a:cxn ang="0">
                  <a:pos x="401" y="93"/>
                </a:cxn>
                <a:cxn ang="0">
                  <a:pos x="446" y="158"/>
                </a:cxn>
                <a:cxn ang="0">
                  <a:pos x="502" y="177"/>
                </a:cxn>
                <a:cxn ang="0">
                  <a:pos x="557" y="168"/>
                </a:cxn>
                <a:cxn ang="0">
                  <a:pos x="605" y="152"/>
                </a:cxn>
                <a:cxn ang="0">
                  <a:pos x="614" y="105"/>
                </a:cxn>
                <a:cxn ang="0">
                  <a:pos x="652" y="89"/>
                </a:cxn>
                <a:cxn ang="0">
                  <a:pos x="692" y="112"/>
                </a:cxn>
                <a:cxn ang="0">
                  <a:pos x="799" y="171"/>
                </a:cxn>
                <a:cxn ang="0">
                  <a:pos x="799" y="246"/>
                </a:cxn>
                <a:cxn ang="0">
                  <a:pos x="801" y="301"/>
                </a:cxn>
                <a:cxn ang="0">
                  <a:pos x="826" y="324"/>
                </a:cxn>
                <a:cxn ang="0">
                  <a:pos x="839" y="362"/>
                </a:cxn>
                <a:cxn ang="0">
                  <a:pos x="830" y="400"/>
                </a:cxn>
                <a:cxn ang="0">
                  <a:pos x="834" y="427"/>
                </a:cxn>
                <a:cxn ang="0">
                  <a:pos x="858" y="423"/>
                </a:cxn>
                <a:cxn ang="0">
                  <a:pos x="898" y="412"/>
                </a:cxn>
                <a:cxn ang="0">
                  <a:pos x="931" y="412"/>
                </a:cxn>
                <a:cxn ang="0">
                  <a:pos x="967" y="410"/>
                </a:cxn>
                <a:cxn ang="0">
                  <a:pos x="967" y="463"/>
                </a:cxn>
                <a:cxn ang="0">
                  <a:pos x="967" y="498"/>
                </a:cxn>
                <a:cxn ang="0">
                  <a:pos x="959" y="543"/>
                </a:cxn>
                <a:cxn ang="0">
                  <a:pos x="919" y="563"/>
                </a:cxn>
                <a:cxn ang="0">
                  <a:pos x="875" y="572"/>
                </a:cxn>
                <a:cxn ang="0">
                  <a:pos x="839" y="572"/>
                </a:cxn>
                <a:cxn ang="0">
                  <a:pos x="805" y="572"/>
                </a:cxn>
                <a:cxn ang="0">
                  <a:pos x="870" y="938"/>
                </a:cxn>
                <a:cxn ang="0">
                  <a:pos x="792" y="952"/>
                </a:cxn>
                <a:cxn ang="0">
                  <a:pos x="719" y="957"/>
                </a:cxn>
                <a:cxn ang="0">
                  <a:pos x="635" y="954"/>
                </a:cxn>
                <a:cxn ang="0">
                  <a:pos x="557" y="942"/>
                </a:cxn>
                <a:cxn ang="0">
                  <a:pos x="525" y="925"/>
                </a:cxn>
                <a:cxn ang="0">
                  <a:pos x="168" y="910"/>
                </a:cxn>
                <a:cxn ang="0">
                  <a:pos x="114" y="887"/>
                </a:cxn>
                <a:cxn ang="0">
                  <a:pos x="69" y="896"/>
                </a:cxn>
                <a:cxn ang="0">
                  <a:pos x="29" y="896"/>
                </a:cxn>
                <a:cxn ang="0">
                  <a:pos x="2" y="885"/>
                </a:cxn>
                <a:cxn ang="0">
                  <a:pos x="6" y="847"/>
                </a:cxn>
                <a:cxn ang="0">
                  <a:pos x="6" y="811"/>
                </a:cxn>
                <a:cxn ang="0">
                  <a:pos x="9" y="788"/>
                </a:cxn>
                <a:cxn ang="0">
                  <a:pos x="23" y="751"/>
                </a:cxn>
                <a:cxn ang="0">
                  <a:pos x="34" y="713"/>
                </a:cxn>
                <a:cxn ang="0">
                  <a:pos x="48" y="643"/>
                </a:cxn>
                <a:cxn ang="0">
                  <a:pos x="76" y="576"/>
                </a:cxn>
                <a:cxn ang="0">
                  <a:pos x="118" y="528"/>
                </a:cxn>
                <a:cxn ang="0">
                  <a:pos x="160" y="461"/>
                </a:cxn>
                <a:cxn ang="0">
                  <a:pos x="160" y="387"/>
                </a:cxn>
                <a:cxn ang="0">
                  <a:pos x="124" y="324"/>
                </a:cxn>
                <a:cxn ang="0">
                  <a:pos x="105" y="265"/>
                </a:cxn>
                <a:cxn ang="0">
                  <a:pos x="130" y="215"/>
                </a:cxn>
                <a:cxn ang="0">
                  <a:pos x="114" y="160"/>
                </a:cxn>
                <a:cxn ang="0">
                  <a:pos x="80" y="91"/>
                </a:cxn>
              </a:cxnLst>
              <a:rect l="0" t="0" r="r" b="b"/>
              <a:pathLst>
                <a:path w="967" h="957">
                  <a:moveTo>
                    <a:pt x="40" y="30"/>
                  </a:moveTo>
                  <a:lnTo>
                    <a:pt x="40" y="30"/>
                  </a:lnTo>
                  <a:lnTo>
                    <a:pt x="42" y="25"/>
                  </a:lnTo>
                  <a:lnTo>
                    <a:pt x="44" y="21"/>
                  </a:lnTo>
                  <a:lnTo>
                    <a:pt x="46" y="19"/>
                  </a:lnTo>
                  <a:lnTo>
                    <a:pt x="50" y="15"/>
                  </a:lnTo>
                  <a:lnTo>
                    <a:pt x="51" y="13"/>
                  </a:lnTo>
                  <a:lnTo>
                    <a:pt x="57" y="11"/>
                  </a:lnTo>
                  <a:lnTo>
                    <a:pt x="61" y="7"/>
                  </a:lnTo>
                  <a:lnTo>
                    <a:pt x="67" y="5"/>
                  </a:lnTo>
                  <a:lnTo>
                    <a:pt x="71" y="5"/>
                  </a:lnTo>
                  <a:lnTo>
                    <a:pt x="76" y="4"/>
                  </a:lnTo>
                  <a:lnTo>
                    <a:pt x="82" y="2"/>
                  </a:lnTo>
                  <a:lnTo>
                    <a:pt x="88" y="2"/>
                  </a:lnTo>
                  <a:lnTo>
                    <a:pt x="93" y="2"/>
                  </a:lnTo>
                  <a:lnTo>
                    <a:pt x="99" y="0"/>
                  </a:lnTo>
                  <a:lnTo>
                    <a:pt x="103" y="0"/>
                  </a:lnTo>
                  <a:lnTo>
                    <a:pt x="109" y="0"/>
                  </a:lnTo>
                  <a:lnTo>
                    <a:pt x="318" y="0"/>
                  </a:lnTo>
                  <a:lnTo>
                    <a:pt x="318" y="0"/>
                  </a:lnTo>
                  <a:lnTo>
                    <a:pt x="326" y="2"/>
                  </a:lnTo>
                  <a:lnTo>
                    <a:pt x="336" y="2"/>
                  </a:lnTo>
                  <a:lnTo>
                    <a:pt x="343" y="0"/>
                  </a:lnTo>
                  <a:lnTo>
                    <a:pt x="351" y="0"/>
                  </a:lnTo>
                  <a:lnTo>
                    <a:pt x="359" y="0"/>
                  </a:lnTo>
                  <a:lnTo>
                    <a:pt x="366" y="0"/>
                  </a:lnTo>
                  <a:lnTo>
                    <a:pt x="372" y="4"/>
                  </a:lnTo>
                  <a:lnTo>
                    <a:pt x="380" y="7"/>
                  </a:lnTo>
                  <a:lnTo>
                    <a:pt x="380" y="7"/>
                  </a:lnTo>
                  <a:lnTo>
                    <a:pt x="383" y="13"/>
                  </a:lnTo>
                  <a:lnTo>
                    <a:pt x="387" y="19"/>
                  </a:lnTo>
                  <a:lnTo>
                    <a:pt x="387" y="25"/>
                  </a:lnTo>
                  <a:lnTo>
                    <a:pt x="389" y="30"/>
                  </a:lnTo>
                  <a:lnTo>
                    <a:pt x="389" y="36"/>
                  </a:lnTo>
                  <a:lnTo>
                    <a:pt x="389" y="42"/>
                  </a:lnTo>
                  <a:lnTo>
                    <a:pt x="389" y="49"/>
                  </a:lnTo>
                  <a:lnTo>
                    <a:pt x="389" y="55"/>
                  </a:lnTo>
                  <a:lnTo>
                    <a:pt x="389" y="55"/>
                  </a:lnTo>
                  <a:lnTo>
                    <a:pt x="391" y="65"/>
                  </a:lnTo>
                  <a:lnTo>
                    <a:pt x="393" y="74"/>
                  </a:lnTo>
                  <a:lnTo>
                    <a:pt x="397" y="84"/>
                  </a:lnTo>
                  <a:lnTo>
                    <a:pt x="401" y="93"/>
                  </a:lnTo>
                  <a:lnTo>
                    <a:pt x="404" y="103"/>
                  </a:lnTo>
                  <a:lnTo>
                    <a:pt x="410" y="114"/>
                  </a:lnTo>
                  <a:lnTo>
                    <a:pt x="416" y="124"/>
                  </a:lnTo>
                  <a:lnTo>
                    <a:pt x="423" y="133"/>
                  </a:lnTo>
                  <a:lnTo>
                    <a:pt x="431" y="141"/>
                  </a:lnTo>
                  <a:lnTo>
                    <a:pt x="437" y="150"/>
                  </a:lnTo>
                  <a:lnTo>
                    <a:pt x="446" y="158"/>
                  </a:lnTo>
                  <a:lnTo>
                    <a:pt x="454" y="164"/>
                  </a:lnTo>
                  <a:lnTo>
                    <a:pt x="463" y="170"/>
                  </a:lnTo>
                  <a:lnTo>
                    <a:pt x="473" y="173"/>
                  </a:lnTo>
                  <a:lnTo>
                    <a:pt x="483" y="175"/>
                  </a:lnTo>
                  <a:lnTo>
                    <a:pt x="492" y="177"/>
                  </a:lnTo>
                  <a:lnTo>
                    <a:pt x="492" y="177"/>
                  </a:lnTo>
                  <a:lnTo>
                    <a:pt x="502" y="177"/>
                  </a:lnTo>
                  <a:lnTo>
                    <a:pt x="509" y="175"/>
                  </a:lnTo>
                  <a:lnTo>
                    <a:pt x="517" y="173"/>
                  </a:lnTo>
                  <a:lnTo>
                    <a:pt x="525" y="173"/>
                  </a:lnTo>
                  <a:lnTo>
                    <a:pt x="532" y="171"/>
                  </a:lnTo>
                  <a:lnTo>
                    <a:pt x="540" y="170"/>
                  </a:lnTo>
                  <a:lnTo>
                    <a:pt x="549" y="168"/>
                  </a:lnTo>
                  <a:lnTo>
                    <a:pt x="557" y="168"/>
                  </a:lnTo>
                  <a:lnTo>
                    <a:pt x="557" y="168"/>
                  </a:lnTo>
                  <a:lnTo>
                    <a:pt x="568" y="168"/>
                  </a:lnTo>
                  <a:lnTo>
                    <a:pt x="580" y="166"/>
                  </a:lnTo>
                  <a:lnTo>
                    <a:pt x="587" y="164"/>
                  </a:lnTo>
                  <a:lnTo>
                    <a:pt x="595" y="162"/>
                  </a:lnTo>
                  <a:lnTo>
                    <a:pt x="601" y="158"/>
                  </a:lnTo>
                  <a:lnTo>
                    <a:pt x="605" y="152"/>
                  </a:lnTo>
                  <a:lnTo>
                    <a:pt x="610" y="145"/>
                  </a:lnTo>
                  <a:lnTo>
                    <a:pt x="614" y="135"/>
                  </a:lnTo>
                  <a:lnTo>
                    <a:pt x="614" y="135"/>
                  </a:lnTo>
                  <a:lnTo>
                    <a:pt x="616" y="128"/>
                  </a:lnTo>
                  <a:lnTo>
                    <a:pt x="616" y="120"/>
                  </a:lnTo>
                  <a:lnTo>
                    <a:pt x="614" y="112"/>
                  </a:lnTo>
                  <a:lnTo>
                    <a:pt x="614" y="105"/>
                  </a:lnTo>
                  <a:lnTo>
                    <a:pt x="616" y="99"/>
                  </a:lnTo>
                  <a:lnTo>
                    <a:pt x="618" y="93"/>
                  </a:lnTo>
                  <a:lnTo>
                    <a:pt x="626" y="89"/>
                  </a:lnTo>
                  <a:lnTo>
                    <a:pt x="637" y="89"/>
                  </a:lnTo>
                  <a:lnTo>
                    <a:pt x="637" y="89"/>
                  </a:lnTo>
                  <a:lnTo>
                    <a:pt x="645" y="89"/>
                  </a:lnTo>
                  <a:lnTo>
                    <a:pt x="652" y="89"/>
                  </a:lnTo>
                  <a:lnTo>
                    <a:pt x="660" y="89"/>
                  </a:lnTo>
                  <a:lnTo>
                    <a:pt x="666" y="91"/>
                  </a:lnTo>
                  <a:lnTo>
                    <a:pt x="671" y="93"/>
                  </a:lnTo>
                  <a:lnTo>
                    <a:pt x="677" y="93"/>
                  </a:lnTo>
                  <a:lnTo>
                    <a:pt x="685" y="93"/>
                  </a:lnTo>
                  <a:lnTo>
                    <a:pt x="692" y="95"/>
                  </a:lnTo>
                  <a:lnTo>
                    <a:pt x="692" y="112"/>
                  </a:lnTo>
                  <a:lnTo>
                    <a:pt x="799" y="112"/>
                  </a:lnTo>
                  <a:lnTo>
                    <a:pt x="799" y="112"/>
                  </a:lnTo>
                  <a:lnTo>
                    <a:pt x="799" y="126"/>
                  </a:lnTo>
                  <a:lnTo>
                    <a:pt x="799" y="137"/>
                  </a:lnTo>
                  <a:lnTo>
                    <a:pt x="799" y="149"/>
                  </a:lnTo>
                  <a:lnTo>
                    <a:pt x="799" y="160"/>
                  </a:lnTo>
                  <a:lnTo>
                    <a:pt x="799" y="171"/>
                  </a:lnTo>
                  <a:lnTo>
                    <a:pt x="799" y="183"/>
                  </a:lnTo>
                  <a:lnTo>
                    <a:pt x="799" y="192"/>
                  </a:lnTo>
                  <a:lnTo>
                    <a:pt x="799" y="204"/>
                  </a:lnTo>
                  <a:lnTo>
                    <a:pt x="799" y="213"/>
                  </a:lnTo>
                  <a:lnTo>
                    <a:pt x="799" y="225"/>
                  </a:lnTo>
                  <a:lnTo>
                    <a:pt x="799" y="234"/>
                  </a:lnTo>
                  <a:lnTo>
                    <a:pt x="799" y="246"/>
                  </a:lnTo>
                  <a:lnTo>
                    <a:pt x="799" y="255"/>
                  </a:lnTo>
                  <a:lnTo>
                    <a:pt x="799" y="267"/>
                  </a:lnTo>
                  <a:lnTo>
                    <a:pt x="799" y="278"/>
                  </a:lnTo>
                  <a:lnTo>
                    <a:pt x="799" y="290"/>
                  </a:lnTo>
                  <a:lnTo>
                    <a:pt x="799" y="290"/>
                  </a:lnTo>
                  <a:lnTo>
                    <a:pt x="799" y="294"/>
                  </a:lnTo>
                  <a:lnTo>
                    <a:pt x="801" y="301"/>
                  </a:lnTo>
                  <a:lnTo>
                    <a:pt x="805" y="307"/>
                  </a:lnTo>
                  <a:lnTo>
                    <a:pt x="807" y="313"/>
                  </a:lnTo>
                  <a:lnTo>
                    <a:pt x="811" y="316"/>
                  </a:lnTo>
                  <a:lnTo>
                    <a:pt x="816" y="320"/>
                  </a:lnTo>
                  <a:lnTo>
                    <a:pt x="820" y="324"/>
                  </a:lnTo>
                  <a:lnTo>
                    <a:pt x="826" y="324"/>
                  </a:lnTo>
                  <a:lnTo>
                    <a:pt x="826" y="324"/>
                  </a:lnTo>
                  <a:lnTo>
                    <a:pt x="826" y="332"/>
                  </a:lnTo>
                  <a:lnTo>
                    <a:pt x="828" y="337"/>
                  </a:lnTo>
                  <a:lnTo>
                    <a:pt x="830" y="343"/>
                  </a:lnTo>
                  <a:lnTo>
                    <a:pt x="834" y="347"/>
                  </a:lnTo>
                  <a:lnTo>
                    <a:pt x="835" y="353"/>
                  </a:lnTo>
                  <a:lnTo>
                    <a:pt x="837" y="357"/>
                  </a:lnTo>
                  <a:lnTo>
                    <a:pt x="839" y="362"/>
                  </a:lnTo>
                  <a:lnTo>
                    <a:pt x="839" y="368"/>
                  </a:lnTo>
                  <a:lnTo>
                    <a:pt x="839" y="368"/>
                  </a:lnTo>
                  <a:lnTo>
                    <a:pt x="839" y="376"/>
                  </a:lnTo>
                  <a:lnTo>
                    <a:pt x="837" y="383"/>
                  </a:lnTo>
                  <a:lnTo>
                    <a:pt x="835" y="389"/>
                  </a:lnTo>
                  <a:lnTo>
                    <a:pt x="834" y="395"/>
                  </a:lnTo>
                  <a:lnTo>
                    <a:pt x="830" y="400"/>
                  </a:lnTo>
                  <a:lnTo>
                    <a:pt x="828" y="406"/>
                  </a:lnTo>
                  <a:lnTo>
                    <a:pt x="826" y="412"/>
                  </a:lnTo>
                  <a:lnTo>
                    <a:pt x="826" y="419"/>
                  </a:lnTo>
                  <a:lnTo>
                    <a:pt x="826" y="419"/>
                  </a:lnTo>
                  <a:lnTo>
                    <a:pt x="828" y="423"/>
                  </a:lnTo>
                  <a:lnTo>
                    <a:pt x="830" y="425"/>
                  </a:lnTo>
                  <a:lnTo>
                    <a:pt x="834" y="427"/>
                  </a:lnTo>
                  <a:lnTo>
                    <a:pt x="837" y="427"/>
                  </a:lnTo>
                  <a:lnTo>
                    <a:pt x="837" y="427"/>
                  </a:lnTo>
                  <a:lnTo>
                    <a:pt x="841" y="427"/>
                  </a:lnTo>
                  <a:lnTo>
                    <a:pt x="845" y="427"/>
                  </a:lnTo>
                  <a:lnTo>
                    <a:pt x="849" y="425"/>
                  </a:lnTo>
                  <a:lnTo>
                    <a:pt x="855" y="425"/>
                  </a:lnTo>
                  <a:lnTo>
                    <a:pt x="858" y="423"/>
                  </a:lnTo>
                  <a:lnTo>
                    <a:pt x="864" y="421"/>
                  </a:lnTo>
                  <a:lnTo>
                    <a:pt x="870" y="421"/>
                  </a:lnTo>
                  <a:lnTo>
                    <a:pt x="875" y="419"/>
                  </a:lnTo>
                  <a:lnTo>
                    <a:pt x="881" y="418"/>
                  </a:lnTo>
                  <a:lnTo>
                    <a:pt x="887" y="416"/>
                  </a:lnTo>
                  <a:lnTo>
                    <a:pt x="893" y="414"/>
                  </a:lnTo>
                  <a:lnTo>
                    <a:pt x="898" y="412"/>
                  </a:lnTo>
                  <a:lnTo>
                    <a:pt x="904" y="412"/>
                  </a:lnTo>
                  <a:lnTo>
                    <a:pt x="908" y="410"/>
                  </a:lnTo>
                  <a:lnTo>
                    <a:pt x="914" y="410"/>
                  </a:lnTo>
                  <a:lnTo>
                    <a:pt x="917" y="410"/>
                  </a:lnTo>
                  <a:lnTo>
                    <a:pt x="917" y="410"/>
                  </a:lnTo>
                  <a:lnTo>
                    <a:pt x="923" y="410"/>
                  </a:lnTo>
                  <a:lnTo>
                    <a:pt x="931" y="412"/>
                  </a:lnTo>
                  <a:lnTo>
                    <a:pt x="938" y="412"/>
                  </a:lnTo>
                  <a:lnTo>
                    <a:pt x="944" y="412"/>
                  </a:lnTo>
                  <a:lnTo>
                    <a:pt x="950" y="414"/>
                  </a:lnTo>
                  <a:lnTo>
                    <a:pt x="958" y="414"/>
                  </a:lnTo>
                  <a:lnTo>
                    <a:pt x="963" y="412"/>
                  </a:lnTo>
                  <a:lnTo>
                    <a:pt x="967" y="410"/>
                  </a:lnTo>
                  <a:lnTo>
                    <a:pt x="967" y="410"/>
                  </a:lnTo>
                  <a:lnTo>
                    <a:pt x="967" y="419"/>
                  </a:lnTo>
                  <a:lnTo>
                    <a:pt x="967" y="429"/>
                  </a:lnTo>
                  <a:lnTo>
                    <a:pt x="967" y="439"/>
                  </a:lnTo>
                  <a:lnTo>
                    <a:pt x="967" y="444"/>
                  </a:lnTo>
                  <a:lnTo>
                    <a:pt x="967" y="452"/>
                  </a:lnTo>
                  <a:lnTo>
                    <a:pt x="967" y="458"/>
                  </a:lnTo>
                  <a:lnTo>
                    <a:pt x="967" y="463"/>
                  </a:lnTo>
                  <a:lnTo>
                    <a:pt x="967" y="469"/>
                  </a:lnTo>
                  <a:lnTo>
                    <a:pt x="967" y="473"/>
                  </a:lnTo>
                  <a:lnTo>
                    <a:pt x="967" y="479"/>
                  </a:lnTo>
                  <a:lnTo>
                    <a:pt x="967" y="482"/>
                  </a:lnTo>
                  <a:lnTo>
                    <a:pt x="967" y="488"/>
                  </a:lnTo>
                  <a:lnTo>
                    <a:pt x="967" y="492"/>
                  </a:lnTo>
                  <a:lnTo>
                    <a:pt x="967" y="498"/>
                  </a:lnTo>
                  <a:lnTo>
                    <a:pt x="967" y="503"/>
                  </a:lnTo>
                  <a:lnTo>
                    <a:pt x="967" y="511"/>
                  </a:lnTo>
                  <a:lnTo>
                    <a:pt x="967" y="511"/>
                  </a:lnTo>
                  <a:lnTo>
                    <a:pt x="967" y="521"/>
                  </a:lnTo>
                  <a:lnTo>
                    <a:pt x="965" y="530"/>
                  </a:lnTo>
                  <a:lnTo>
                    <a:pt x="963" y="538"/>
                  </a:lnTo>
                  <a:lnTo>
                    <a:pt x="959" y="543"/>
                  </a:lnTo>
                  <a:lnTo>
                    <a:pt x="956" y="547"/>
                  </a:lnTo>
                  <a:lnTo>
                    <a:pt x="952" y="551"/>
                  </a:lnTo>
                  <a:lnTo>
                    <a:pt x="946" y="555"/>
                  </a:lnTo>
                  <a:lnTo>
                    <a:pt x="940" y="557"/>
                  </a:lnTo>
                  <a:lnTo>
                    <a:pt x="935" y="559"/>
                  </a:lnTo>
                  <a:lnTo>
                    <a:pt x="927" y="561"/>
                  </a:lnTo>
                  <a:lnTo>
                    <a:pt x="919" y="563"/>
                  </a:lnTo>
                  <a:lnTo>
                    <a:pt x="912" y="563"/>
                  </a:lnTo>
                  <a:lnTo>
                    <a:pt x="904" y="564"/>
                  </a:lnTo>
                  <a:lnTo>
                    <a:pt x="896" y="566"/>
                  </a:lnTo>
                  <a:lnTo>
                    <a:pt x="889" y="570"/>
                  </a:lnTo>
                  <a:lnTo>
                    <a:pt x="879" y="572"/>
                  </a:lnTo>
                  <a:lnTo>
                    <a:pt x="879" y="572"/>
                  </a:lnTo>
                  <a:lnTo>
                    <a:pt x="875" y="572"/>
                  </a:lnTo>
                  <a:lnTo>
                    <a:pt x="872" y="572"/>
                  </a:lnTo>
                  <a:lnTo>
                    <a:pt x="866" y="572"/>
                  </a:lnTo>
                  <a:lnTo>
                    <a:pt x="862" y="572"/>
                  </a:lnTo>
                  <a:lnTo>
                    <a:pt x="856" y="572"/>
                  </a:lnTo>
                  <a:lnTo>
                    <a:pt x="851" y="572"/>
                  </a:lnTo>
                  <a:lnTo>
                    <a:pt x="845" y="572"/>
                  </a:lnTo>
                  <a:lnTo>
                    <a:pt x="839" y="572"/>
                  </a:lnTo>
                  <a:lnTo>
                    <a:pt x="834" y="572"/>
                  </a:lnTo>
                  <a:lnTo>
                    <a:pt x="828" y="572"/>
                  </a:lnTo>
                  <a:lnTo>
                    <a:pt x="822" y="572"/>
                  </a:lnTo>
                  <a:lnTo>
                    <a:pt x="816" y="572"/>
                  </a:lnTo>
                  <a:lnTo>
                    <a:pt x="813" y="572"/>
                  </a:lnTo>
                  <a:lnTo>
                    <a:pt x="809" y="572"/>
                  </a:lnTo>
                  <a:lnTo>
                    <a:pt x="805" y="572"/>
                  </a:lnTo>
                  <a:lnTo>
                    <a:pt x="803" y="572"/>
                  </a:lnTo>
                  <a:lnTo>
                    <a:pt x="803" y="818"/>
                  </a:lnTo>
                  <a:lnTo>
                    <a:pt x="902" y="933"/>
                  </a:lnTo>
                  <a:lnTo>
                    <a:pt x="902" y="933"/>
                  </a:lnTo>
                  <a:lnTo>
                    <a:pt x="891" y="935"/>
                  </a:lnTo>
                  <a:lnTo>
                    <a:pt x="881" y="936"/>
                  </a:lnTo>
                  <a:lnTo>
                    <a:pt x="870" y="938"/>
                  </a:lnTo>
                  <a:lnTo>
                    <a:pt x="858" y="940"/>
                  </a:lnTo>
                  <a:lnTo>
                    <a:pt x="849" y="942"/>
                  </a:lnTo>
                  <a:lnTo>
                    <a:pt x="837" y="944"/>
                  </a:lnTo>
                  <a:lnTo>
                    <a:pt x="826" y="946"/>
                  </a:lnTo>
                  <a:lnTo>
                    <a:pt x="814" y="948"/>
                  </a:lnTo>
                  <a:lnTo>
                    <a:pt x="805" y="950"/>
                  </a:lnTo>
                  <a:lnTo>
                    <a:pt x="792" y="952"/>
                  </a:lnTo>
                  <a:lnTo>
                    <a:pt x="780" y="954"/>
                  </a:lnTo>
                  <a:lnTo>
                    <a:pt x="769" y="954"/>
                  </a:lnTo>
                  <a:lnTo>
                    <a:pt x="757" y="956"/>
                  </a:lnTo>
                  <a:lnTo>
                    <a:pt x="746" y="956"/>
                  </a:lnTo>
                  <a:lnTo>
                    <a:pt x="732" y="957"/>
                  </a:lnTo>
                  <a:lnTo>
                    <a:pt x="719" y="957"/>
                  </a:lnTo>
                  <a:lnTo>
                    <a:pt x="719" y="957"/>
                  </a:lnTo>
                  <a:lnTo>
                    <a:pt x="708" y="957"/>
                  </a:lnTo>
                  <a:lnTo>
                    <a:pt x="696" y="957"/>
                  </a:lnTo>
                  <a:lnTo>
                    <a:pt x="685" y="957"/>
                  </a:lnTo>
                  <a:lnTo>
                    <a:pt x="673" y="956"/>
                  </a:lnTo>
                  <a:lnTo>
                    <a:pt x="660" y="956"/>
                  </a:lnTo>
                  <a:lnTo>
                    <a:pt x="648" y="956"/>
                  </a:lnTo>
                  <a:lnTo>
                    <a:pt x="635" y="954"/>
                  </a:lnTo>
                  <a:lnTo>
                    <a:pt x="624" y="954"/>
                  </a:lnTo>
                  <a:lnTo>
                    <a:pt x="612" y="952"/>
                  </a:lnTo>
                  <a:lnTo>
                    <a:pt x="601" y="950"/>
                  </a:lnTo>
                  <a:lnTo>
                    <a:pt x="589" y="948"/>
                  </a:lnTo>
                  <a:lnTo>
                    <a:pt x="578" y="946"/>
                  </a:lnTo>
                  <a:lnTo>
                    <a:pt x="568" y="944"/>
                  </a:lnTo>
                  <a:lnTo>
                    <a:pt x="557" y="942"/>
                  </a:lnTo>
                  <a:lnTo>
                    <a:pt x="547" y="938"/>
                  </a:lnTo>
                  <a:lnTo>
                    <a:pt x="540" y="936"/>
                  </a:lnTo>
                  <a:lnTo>
                    <a:pt x="540" y="936"/>
                  </a:lnTo>
                  <a:lnTo>
                    <a:pt x="536" y="935"/>
                  </a:lnTo>
                  <a:lnTo>
                    <a:pt x="532" y="931"/>
                  </a:lnTo>
                  <a:lnTo>
                    <a:pt x="528" y="929"/>
                  </a:lnTo>
                  <a:lnTo>
                    <a:pt x="525" y="925"/>
                  </a:lnTo>
                  <a:lnTo>
                    <a:pt x="521" y="921"/>
                  </a:lnTo>
                  <a:lnTo>
                    <a:pt x="519" y="919"/>
                  </a:lnTo>
                  <a:lnTo>
                    <a:pt x="515" y="917"/>
                  </a:lnTo>
                  <a:lnTo>
                    <a:pt x="513" y="915"/>
                  </a:lnTo>
                  <a:lnTo>
                    <a:pt x="174" y="915"/>
                  </a:lnTo>
                  <a:lnTo>
                    <a:pt x="174" y="915"/>
                  </a:lnTo>
                  <a:lnTo>
                    <a:pt x="168" y="910"/>
                  </a:lnTo>
                  <a:lnTo>
                    <a:pt x="162" y="904"/>
                  </a:lnTo>
                  <a:lnTo>
                    <a:pt x="156" y="898"/>
                  </a:lnTo>
                  <a:lnTo>
                    <a:pt x="151" y="895"/>
                  </a:lnTo>
                  <a:lnTo>
                    <a:pt x="143" y="891"/>
                  </a:lnTo>
                  <a:lnTo>
                    <a:pt x="135" y="889"/>
                  </a:lnTo>
                  <a:lnTo>
                    <a:pt x="126" y="887"/>
                  </a:lnTo>
                  <a:lnTo>
                    <a:pt x="114" y="887"/>
                  </a:lnTo>
                  <a:lnTo>
                    <a:pt x="114" y="887"/>
                  </a:lnTo>
                  <a:lnTo>
                    <a:pt x="105" y="887"/>
                  </a:lnTo>
                  <a:lnTo>
                    <a:pt x="97" y="889"/>
                  </a:lnTo>
                  <a:lnTo>
                    <a:pt x="90" y="889"/>
                  </a:lnTo>
                  <a:lnTo>
                    <a:pt x="82" y="893"/>
                  </a:lnTo>
                  <a:lnTo>
                    <a:pt x="76" y="895"/>
                  </a:lnTo>
                  <a:lnTo>
                    <a:pt x="69" y="896"/>
                  </a:lnTo>
                  <a:lnTo>
                    <a:pt x="63" y="898"/>
                  </a:lnTo>
                  <a:lnTo>
                    <a:pt x="55" y="898"/>
                  </a:lnTo>
                  <a:lnTo>
                    <a:pt x="55" y="898"/>
                  </a:lnTo>
                  <a:lnTo>
                    <a:pt x="48" y="898"/>
                  </a:lnTo>
                  <a:lnTo>
                    <a:pt x="42" y="898"/>
                  </a:lnTo>
                  <a:lnTo>
                    <a:pt x="34" y="896"/>
                  </a:lnTo>
                  <a:lnTo>
                    <a:pt x="29" y="896"/>
                  </a:lnTo>
                  <a:lnTo>
                    <a:pt x="23" y="896"/>
                  </a:lnTo>
                  <a:lnTo>
                    <a:pt x="15" y="896"/>
                  </a:lnTo>
                  <a:lnTo>
                    <a:pt x="9" y="896"/>
                  </a:lnTo>
                  <a:lnTo>
                    <a:pt x="0" y="898"/>
                  </a:lnTo>
                  <a:lnTo>
                    <a:pt x="0" y="898"/>
                  </a:lnTo>
                  <a:lnTo>
                    <a:pt x="2" y="891"/>
                  </a:lnTo>
                  <a:lnTo>
                    <a:pt x="2" y="885"/>
                  </a:lnTo>
                  <a:lnTo>
                    <a:pt x="4" y="879"/>
                  </a:lnTo>
                  <a:lnTo>
                    <a:pt x="4" y="874"/>
                  </a:lnTo>
                  <a:lnTo>
                    <a:pt x="6" y="868"/>
                  </a:lnTo>
                  <a:lnTo>
                    <a:pt x="6" y="862"/>
                  </a:lnTo>
                  <a:lnTo>
                    <a:pt x="6" y="854"/>
                  </a:lnTo>
                  <a:lnTo>
                    <a:pt x="6" y="847"/>
                  </a:lnTo>
                  <a:lnTo>
                    <a:pt x="6" y="847"/>
                  </a:lnTo>
                  <a:lnTo>
                    <a:pt x="6" y="841"/>
                  </a:lnTo>
                  <a:lnTo>
                    <a:pt x="6" y="833"/>
                  </a:lnTo>
                  <a:lnTo>
                    <a:pt x="6" y="830"/>
                  </a:lnTo>
                  <a:lnTo>
                    <a:pt x="6" y="824"/>
                  </a:lnTo>
                  <a:lnTo>
                    <a:pt x="6" y="818"/>
                  </a:lnTo>
                  <a:lnTo>
                    <a:pt x="6" y="814"/>
                  </a:lnTo>
                  <a:lnTo>
                    <a:pt x="6" y="811"/>
                  </a:lnTo>
                  <a:lnTo>
                    <a:pt x="6" y="805"/>
                  </a:lnTo>
                  <a:lnTo>
                    <a:pt x="6" y="805"/>
                  </a:lnTo>
                  <a:lnTo>
                    <a:pt x="6" y="803"/>
                  </a:lnTo>
                  <a:lnTo>
                    <a:pt x="6" y="799"/>
                  </a:lnTo>
                  <a:lnTo>
                    <a:pt x="8" y="795"/>
                  </a:lnTo>
                  <a:lnTo>
                    <a:pt x="9" y="791"/>
                  </a:lnTo>
                  <a:lnTo>
                    <a:pt x="9" y="788"/>
                  </a:lnTo>
                  <a:lnTo>
                    <a:pt x="11" y="782"/>
                  </a:lnTo>
                  <a:lnTo>
                    <a:pt x="13" y="778"/>
                  </a:lnTo>
                  <a:lnTo>
                    <a:pt x="15" y="772"/>
                  </a:lnTo>
                  <a:lnTo>
                    <a:pt x="17" y="767"/>
                  </a:lnTo>
                  <a:lnTo>
                    <a:pt x="19" y="763"/>
                  </a:lnTo>
                  <a:lnTo>
                    <a:pt x="21" y="757"/>
                  </a:lnTo>
                  <a:lnTo>
                    <a:pt x="23" y="751"/>
                  </a:lnTo>
                  <a:lnTo>
                    <a:pt x="25" y="748"/>
                  </a:lnTo>
                  <a:lnTo>
                    <a:pt x="27" y="742"/>
                  </a:lnTo>
                  <a:lnTo>
                    <a:pt x="29" y="738"/>
                  </a:lnTo>
                  <a:lnTo>
                    <a:pt x="29" y="734"/>
                  </a:lnTo>
                  <a:lnTo>
                    <a:pt x="29" y="734"/>
                  </a:lnTo>
                  <a:lnTo>
                    <a:pt x="32" y="725"/>
                  </a:lnTo>
                  <a:lnTo>
                    <a:pt x="34" y="713"/>
                  </a:lnTo>
                  <a:lnTo>
                    <a:pt x="36" y="704"/>
                  </a:lnTo>
                  <a:lnTo>
                    <a:pt x="40" y="692"/>
                  </a:lnTo>
                  <a:lnTo>
                    <a:pt x="40" y="683"/>
                  </a:lnTo>
                  <a:lnTo>
                    <a:pt x="42" y="673"/>
                  </a:lnTo>
                  <a:lnTo>
                    <a:pt x="44" y="662"/>
                  </a:lnTo>
                  <a:lnTo>
                    <a:pt x="46" y="652"/>
                  </a:lnTo>
                  <a:lnTo>
                    <a:pt x="48" y="643"/>
                  </a:lnTo>
                  <a:lnTo>
                    <a:pt x="50" y="633"/>
                  </a:lnTo>
                  <a:lnTo>
                    <a:pt x="51" y="624"/>
                  </a:lnTo>
                  <a:lnTo>
                    <a:pt x="55" y="614"/>
                  </a:lnTo>
                  <a:lnTo>
                    <a:pt x="59" y="603"/>
                  </a:lnTo>
                  <a:lnTo>
                    <a:pt x="65" y="593"/>
                  </a:lnTo>
                  <a:lnTo>
                    <a:pt x="71" y="585"/>
                  </a:lnTo>
                  <a:lnTo>
                    <a:pt x="76" y="576"/>
                  </a:lnTo>
                  <a:lnTo>
                    <a:pt x="76" y="576"/>
                  </a:lnTo>
                  <a:lnTo>
                    <a:pt x="84" y="568"/>
                  </a:lnTo>
                  <a:lnTo>
                    <a:pt x="90" y="559"/>
                  </a:lnTo>
                  <a:lnTo>
                    <a:pt x="97" y="553"/>
                  </a:lnTo>
                  <a:lnTo>
                    <a:pt x="105" y="543"/>
                  </a:lnTo>
                  <a:lnTo>
                    <a:pt x="111" y="536"/>
                  </a:lnTo>
                  <a:lnTo>
                    <a:pt x="118" y="528"/>
                  </a:lnTo>
                  <a:lnTo>
                    <a:pt x="126" y="521"/>
                  </a:lnTo>
                  <a:lnTo>
                    <a:pt x="133" y="511"/>
                  </a:lnTo>
                  <a:lnTo>
                    <a:pt x="139" y="503"/>
                  </a:lnTo>
                  <a:lnTo>
                    <a:pt x="145" y="494"/>
                  </a:lnTo>
                  <a:lnTo>
                    <a:pt x="151" y="482"/>
                  </a:lnTo>
                  <a:lnTo>
                    <a:pt x="156" y="473"/>
                  </a:lnTo>
                  <a:lnTo>
                    <a:pt x="160" y="461"/>
                  </a:lnTo>
                  <a:lnTo>
                    <a:pt x="162" y="448"/>
                  </a:lnTo>
                  <a:lnTo>
                    <a:pt x="164" y="435"/>
                  </a:lnTo>
                  <a:lnTo>
                    <a:pt x="164" y="421"/>
                  </a:lnTo>
                  <a:lnTo>
                    <a:pt x="164" y="421"/>
                  </a:lnTo>
                  <a:lnTo>
                    <a:pt x="164" y="410"/>
                  </a:lnTo>
                  <a:lnTo>
                    <a:pt x="162" y="398"/>
                  </a:lnTo>
                  <a:lnTo>
                    <a:pt x="160" y="387"/>
                  </a:lnTo>
                  <a:lnTo>
                    <a:pt x="156" y="378"/>
                  </a:lnTo>
                  <a:lnTo>
                    <a:pt x="151" y="368"/>
                  </a:lnTo>
                  <a:lnTo>
                    <a:pt x="147" y="358"/>
                  </a:lnTo>
                  <a:lnTo>
                    <a:pt x="141" y="351"/>
                  </a:lnTo>
                  <a:lnTo>
                    <a:pt x="135" y="341"/>
                  </a:lnTo>
                  <a:lnTo>
                    <a:pt x="130" y="332"/>
                  </a:lnTo>
                  <a:lnTo>
                    <a:pt x="124" y="324"/>
                  </a:lnTo>
                  <a:lnTo>
                    <a:pt x="120" y="315"/>
                  </a:lnTo>
                  <a:lnTo>
                    <a:pt x="114" y="307"/>
                  </a:lnTo>
                  <a:lnTo>
                    <a:pt x="111" y="297"/>
                  </a:lnTo>
                  <a:lnTo>
                    <a:pt x="109" y="286"/>
                  </a:lnTo>
                  <a:lnTo>
                    <a:pt x="107" y="276"/>
                  </a:lnTo>
                  <a:lnTo>
                    <a:pt x="105" y="265"/>
                  </a:lnTo>
                  <a:lnTo>
                    <a:pt x="105" y="265"/>
                  </a:lnTo>
                  <a:lnTo>
                    <a:pt x="107" y="257"/>
                  </a:lnTo>
                  <a:lnTo>
                    <a:pt x="111" y="250"/>
                  </a:lnTo>
                  <a:lnTo>
                    <a:pt x="114" y="244"/>
                  </a:lnTo>
                  <a:lnTo>
                    <a:pt x="120" y="236"/>
                  </a:lnTo>
                  <a:lnTo>
                    <a:pt x="124" y="229"/>
                  </a:lnTo>
                  <a:lnTo>
                    <a:pt x="128" y="223"/>
                  </a:lnTo>
                  <a:lnTo>
                    <a:pt x="130" y="215"/>
                  </a:lnTo>
                  <a:lnTo>
                    <a:pt x="130" y="206"/>
                  </a:lnTo>
                  <a:lnTo>
                    <a:pt x="130" y="206"/>
                  </a:lnTo>
                  <a:lnTo>
                    <a:pt x="128" y="196"/>
                  </a:lnTo>
                  <a:lnTo>
                    <a:pt x="124" y="189"/>
                  </a:lnTo>
                  <a:lnTo>
                    <a:pt x="122" y="179"/>
                  </a:lnTo>
                  <a:lnTo>
                    <a:pt x="118" y="170"/>
                  </a:lnTo>
                  <a:lnTo>
                    <a:pt x="114" y="160"/>
                  </a:lnTo>
                  <a:lnTo>
                    <a:pt x="109" y="150"/>
                  </a:lnTo>
                  <a:lnTo>
                    <a:pt x="105" y="141"/>
                  </a:lnTo>
                  <a:lnTo>
                    <a:pt x="99" y="131"/>
                  </a:lnTo>
                  <a:lnTo>
                    <a:pt x="95" y="122"/>
                  </a:lnTo>
                  <a:lnTo>
                    <a:pt x="90" y="112"/>
                  </a:lnTo>
                  <a:lnTo>
                    <a:pt x="84" y="103"/>
                  </a:lnTo>
                  <a:lnTo>
                    <a:pt x="80" y="91"/>
                  </a:lnTo>
                  <a:lnTo>
                    <a:pt x="74" y="82"/>
                  </a:lnTo>
                  <a:lnTo>
                    <a:pt x="71" y="70"/>
                  </a:lnTo>
                  <a:lnTo>
                    <a:pt x="65" y="59"/>
                  </a:lnTo>
                  <a:lnTo>
                    <a:pt x="61" y="47"/>
                  </a:lnTo>
                  <a:lnTo>
                    <a:pt x="44" y="32"/>
                  </a:lnTo>
                  <a:lnTo>
                    <a:pt x="40" y="3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81" name="Freeform 225"/>
            <p:cNvSpPr>
              <a:spLocks/>
            </p:cNvSpPr>
            <p:nvPr/>
          </p:nvSpPr>
          <p:spPr bwMode="gray">
            <a:xfrm>
              <a:off x="2868" y="2464"/>
              <a:ext cx="83" cy="93"/>
            </a:xfrm>
            <a:custGeom>
              <a:avLst/>
              <a:gdLst/>
              <a:ahLst/>
              <a:cxnLst>
                <a:cxn ang="0">
                  <a:pos x="21" y="126"/>
                </a:cxn>
                <a:cxn ang="0">
                  <a:pos x="20" y="122"/>
                </a:cxn>
                <a:cxn ang="0">
                  <a:pos x="18" y="116"/>
                </a:cxn>
                <a:cxn ang="0">
                  <a:pos x="18" y="110"/>
                </a:cxn>
                <a:cxn ang="0">
                  <a:pos x="18" y="103"/>
                </a:cxn>
                <a:cxn ang="0">
                  <a:pos x="18" y="99"/>
                </a:cxn>
                <a:cxn ang="0">
                  <a:pos x="18" y="87"/>
                </a:cxn>
                <a:cxn ang="0">
                  <a:pos x="18" y="78"/>
                </a:cxn>
                <a:cxn ang="0">
                  <a:pos x="18" y="68"/>
                </a:cxn>
                <a:cxn ang="0">
                  <a:pos x="16" y="63"/>
                </a:cxn>
                <a:cxn ang="0">
                  <a:pos x="12" y="57"/>
                </a:cxn>
                <a:cxn ang="0">
                  <a:pos x="8" y="49"/>
                </a:cxn>
                <a:cxn ang="0">
                  <a:pos x="2" y="44"/>
                </a:cxn>
                <a:cxn ang="0">
                  <a:pos x="0" y="36"/>
                </a:cxn>
                <a:cxn ang="0">
                  <a:pos x="0" y="34"/>
                </a:cxn>
                <a:cxn ang="0">
                  <a:pos x="2" y="30"/>
                </a:cxn>
                <a:cxn ang="0">
                  <a:pos x="6" y="26"/>
                </a:cxn>
                <a:cxn ang="0">
                  <a:pos x="12" y="25"/>
                </a:cxn>
                <a:cxn ang="0">
                  <a:pos x="14" y="25"/>
                </a:cxn>
                <a:cxn ang="0">
                  <a:pos x="23" y="26"/>
                </a:cxn>
                <a:cxn ang="0">
                  <a:pos x="29" y="32"/>
                </a:cxn>
                <a:cxn ang="0">
                  <a:pos x="37" y="38"/>
                </a:cxn>
                <a:cxn ang="0">
                  <a:pos x="46" y="40"/>
                </a:cxn>
                <a:cxn ang="0">
                  <a:pos x="58" y="40"/>
                </a:cxn>
                <a:cxn ang="0">
                  <a:pos x="73" y="28"/>
                </a:cxn>
                <a:cxn ang="0">
                  <a:pos x="82" y="13"/>
                </a:cxn>
                <a:cxn ang="0">
                  <a:pos x="96" y="2"/>
                </a:cxn>
                <a:cxn ang="0">
                  <a:pos x="107" y="0"/>
                </a:cxn>
                <a:cxn ang="0">
                  <a:pos x="123" y="9"/>
                </a:cxn>
                <a:cxn ang="0">
                  <a:pos x="124" y="26"/>
                </a:cxn>
                <a:cxn ang="0">
                  <a:pos x="128" y="44"/>
                </a:cxn>
                <a:cxn ang="0">
                  <a:pos x="147" y="53"/>
                </a:cxn>
                <a:cxn ang="0">
                  <a:pos x="147" y="53"/>
                </a:cxn>
                <a:cxn ang="0">
                  <a:pos x="147" y="57"/>
                </a:cxn>
                <a:cxn ang="0">
                  <a:pos x="144" y="53"/>
                </a:cxn>
                <a:cxn ang="0">
                  <a:pos x="145" y="57"/>
                </a:cxn>
                <a:cxn ang="0">
                  <a:pos x="147" y="61"/>
                </a:cxn>
                <a:cxn ang="0">
                  <a:pos x="147" y="63"/>
                </a:cxn>
                <a:cxn ang="0">
                  <a:pos x="142" y="78"/>
                </a:cxn>
                <a:cxn ang="0">
                  <a:pos x="128" y="91"/>
                </a:cxn>
                <a:cxn ang="0">
                  <a:pos x="113" y="105"/>
                </a:cxn>
                <a:cxn ang="0">
                  <a:pos x="103" y="118"/>
                </a:cxn>
                <a:cxn ang="0">
                  <a:pos x="102" y="126"/>
                </a:cxn>
                <a:cxn ang="0">
                  <a:pos x="94" y="141"/>
                </a:cxn>
                <a:cxn ang="0">
                  <a:pos x="82" y="158"/>
                </a:cxn>
                <a:cxn ang="0">
                  <a:pos x="69" y="168"/>
                </a:cxn>
                <a:cxn ang="0">
                  <a:pos x="61" y="169"/>
                </a:cxn>
                <a:cxn ang="0">
                  <a:pos x="54" y="169"/>
                </a:cxn>
                <a:cxn ang="0">
                  <a:pos x="50" y="169"/>
                </a:cxn>
                <a:cxn ang="0">
                  <a:pos x="48" y="166"/>
                </a:cxn>
                <a:cxn ang="0">
                  <a:pos x="42" y="156"/>
                </a:cxn>
                <a:cxn ang="0">
                  <a:pos x="39" y="147"/>
                </a:cxn>
                <a:cxn ang="0">
                  <a:pos x="31" y="139"/>
                </a:cxn>
                <a:cxn ang="0">
                  <a:pos x="27" y="137"/>
                </a:cxn>
                <a:cxn ang="0">
                  <a:pos x="27" y="135"/>
                </a:cxn>
                <a:cxn ang="0">
                  <a:pos x="25" y="131"/>
                </a:cxn>
                <a:cxn ang="0">
                  <a:pos x="21" y="126"/>
                </a:cxn>
                <a:cxn ang="0">
                  <a:pos x="20" y="122"/>
                </a:cxn>
                <a:cxn ang="0">
                  <a:pos x="12" y="122"/>
                </a:cxn>
                <a:cxn ang="0">
                  <a:pos x="12" y="124"/>
                </a:cxn>
                <a:cxn ang="0">
                  <a:pos x="12" y="124"/>
                </a:cxn>
              </a:cxnLst>
              <a:rect l="0" t="0" r="r" b="b"/>
              <a:pathLst>
                <a:path w="147" h="169">
                  <a:moveTo>
                    <a:pt x="21" y="126"/>
                  </a:moveTo>
                  <a:lnTo>
                    <a:pt x="21" y="126"/>
                  </a:lnTo>
                  <a:lnTo>
                    <a:pt x="21" y="124"/>
                  </a:lnTo>
                  <a:lnTo>
                    <a:pt x="20" y="122"/>
                  </a:lnTo>
                  <a:lnTo>
                    <a:pt x="20" y="118"/>
                  </a:lnTo>
                  <a:lnTo>
                    <a:pt x="18" y="116"/>
                  </a:lnTo>
                  <a:lnTo>
                    <a:pt x="18" y="114"/>
                  </a:lnTo>
                  <a:lnTo>
                    <a:pt x="18" y="110"/>
                  </a:lnTo>
                  <a:lnTo>
                    <a:pt x="18" y="107"/>
                  </a:lnTo>
                  <a:lnTo>
                    <a:pt x="18" y="103"/>
                  </a:lnTo>
                  <a:lnTo>
                    <a:pt x="18" y="103"/>
                  </a:lnTo>
                  <a:lnTo>
                    <a:pt x="18" y="99"/>
                  </a:lnTo>
                  <a:lnTo>
                    <a:pt x="18" y="93"/>
                  </a:lnTo>
                  <a:lnTo>
                    <a:pt x="18" y="87"/>
                  </a:lnTo>
                  <a:lnTo>
                    <a:pt x="18" y="84"/>
                  </a:lnTo>
                  <a:lnTo>
                    <a:pt x="18" y="78"/>
                  </a:lnTo>
                  <a:lnTo>
                    <a:pt x="18" y="74"/>
                  </a:lnTo>
                  <a:lnTo>
                    <a:pt x="18" y="68"/>
                  </a:lnTo>
                  <a:lnTo>
                    <a:pt x="16" y="63"/>
                  </a:lnTo>
                  <a:lnTo>
                    <a:pt x="16" y="63"/>
                  </a:lnTo>
                  <a:lnTo>
                    <a:pt x="14" y="59"/>
                  </a:lnTo>
                  <a:lnTo>
                    <a:pt x="12" y="57"/>
                  </a:lnTo>
                  <a:lnTo>
                    <a:pt x="10" y="53"/>
                  </a:lnTo>
                  <a:lnTo>
                    <a:pt x="8" y="49"/>
                  </a:lnTo>
                  <a:lnTo>
                    <a:pt x="4" y="47"/>
                  </a:lnTo>
                  <a:lnTo>
                    <a:pt x="2" y="44"/>
                  </a:lnTo>
                  <a:lnTo>
                    <a:pt x="0" y="40"/>
                  </a:lnTo>
                  <a:lnTo>
                    <a:pt x="0" y="36"/>
                  </a:lnTo>
                  <a:lnTo>
                    <a:pt x="0" y="36"/>
                  </a:lnTo>
                  <a:lnTo>
                    <a:pt x="0" y="34"/>
                  </a:lnTo>
                  <a:lnTo>
                    <a:pt x="2" y="32"/>
                  </a:lnTo>
                  <a:lnTo>
                    <a:pt x="2" y="30"/>
                  </a:lnTo>
                  <a:lnTo>
                    <a:pt x="4" y="28"/>
                  </a:lnTo>
                  <a:lnTo>
                    <a:pt x="6" y="26"/>
                  </a:lnTo>
                  <a:lnTo>
                    <a:pt x="8" y="25"/>
                  </a:lnTo>
                  <a:lnTo>
                    <a:pt x="12" y="25"/>
                  </a:lnTo>
                  <a:lnTo>
                    <a:pt x="14" y="25"/>
                  </a:lnTo>
                  <a:lnTo>
                    <a:pt x="14" y="25"/>
                  </a:lnTo>
                  <a:lnTo>
                    <a:pt x="18" y="25"/>
                  </a:lnTo>
                  <a:lnTo>
                    <a:pt x="23" y="26"/>
                  </a:lnTo>
                  <a:lnTo>
                    <a:pt x="27" y="30"/>
                  </a:lnTo>
                  <a:lnTo>
                    <a:pt x="29" y="32"/>
                  </a:lnTo>
                  <a:lnTo>
                    <a:pt x="33" y="36"/>
                  </a:lnTo>
                  <a:lnTo>
                    <a:pt x="37" y="38"/>
                  </a:lnTo>
                  <a:lnTo>
                    <a:pt x="42" y="40"/>
                  </a:lnTo>
                  <a:lnTo>
                    <a:pt x="46" y="40"/>
                  </a:lnTo>
                  <a:lnTo>
                    <a:pt x="46" y="40"/>
                  </a:lnTo>
                  <a:lnTo>
                    <a:pt x="58" y="40"/>
                  </a:lnTo>
                  <a:lnTo>
                    <a:pt x="67" y="34"/>
                  </a:lnTo>
                  <a:lnTo>
                    <a:pt x="73" y="28"/>
                  </a:lnTo>
                  <a:lnTo>
                    <a:pt x="77" y="21"/>
                  </a:lnTo>
                  <a:lnTo>
                    <a:pt x="82" y="13"/>
                  </a:lnTo>
                  <a:lnTo>
                    <a:pt x="88" y="7"/>
                  </a:lnTo>
                  <a:lnTo>
                    <a:pt x="96" y="2"/>
                  </a:lnTo>
                  <a:lnTo>
                    <a:pt x="107" y="0"/>
                  </a:lnTo>
                  <a:lnTo>
                    <a:pt x="107" y="0"/>
                  </a:lnTo>
                  <a:lnTo>
                    <a:pt x="117" y="4"/>
                  </a:lnTo>
                  <a:lnTo>
                    <a:pt x="123" y="9"/>
                  </a:lnTo>
                  <a:lnTo>
                    <a:pt x="124" y="17"/>
                  </a:lnTo>
                  <a:lnTo>
                    <a:pt x="124" y="26"/>
                  </a:lnTo>
                  <a:lnTo>
                    <a:pt x="126" y="36"/>
                  </a:lnTo>
                  <a:lnTo>
                    <a:pt x="128" y="44"/>
                  </a:lnTo>
                  <a:lnTo>
                    <a:pt x="136" y="51"/>
                  </a:lnTo>
                  <a:lnTo>
                    <a:pt x="147" y="53"/>
                  </a:lnTo>
                  <a:lnTo>
                    <a:pt x="147" y="53"/>
                  </a:lnTo>
                  <a:lnTo>
                    <a:pt x="147" y="53"/>
                  </a:lnTo>
                  <a:lnTo>
                    <a:pt x="147" y="55"/>
                  </a:lnTo>
                  <a:lnTo>
                    <a:pt x="147" y="57"/>
                  </a:lnTo>
                  <a:lnTo>
                    <a:pt x="147" y="59"/>
                  </a:lnTo>
                  <a:lnTo>
                    <a:pt x="144" y="53"/>
                  </a:lnTo>
                  <a:lnTo>
                    <a:pt x="144" y="53"/>
                  </a:lnTo>
                  <a:lnTo>
                    <a:pt x="145" y="57"/>
                  </a:lnTo>
                  <a:lnTo>
                    <a:pt x="145" y="59"/>
                  </a:lnTo>
                  <a:lnTo>
                    <a:pt x="147" y="61"/>
                  </a:lnTo>
                  <a:lnTo>
                    <a:pt x="147" y="63"/>
                  </a:lnTo>
                  <a:lnTo>
                    <a:pt x="147" y="63"/>
                  </a:lnTo>
                  <a:lnTo>
                    <a:pt x="147" y="70"/>
                  </a:lnTo>
                  <a:lnTo>
                    <a:pt x="142" y="78"/>
                  </a:lnTo>
                  <a:lnTo>
                    <a:pt x="136" y="84"/>
                  </a:lnTo>
                  <a:lnTo>
                    <a:pt x="128" y="91"/>
                  </a:lnTo>
                  <a:lnTo>
                    <a:pt x="121" y="97"/>
                  </a:lnTo>
                  <a:lnTo>
                    <a:pt x="113" y="105"/>
                  </a:lnTo>
                  <a:lnTo>
                    <a:pt x="107" y="112"/>
                  </a:lnTo>
                  <a:lnTo>
                    <a:pt x="103" y="118"/>
                  </a:lnTo>
                  <a:lnTo>
                    <a:pt x="103" y="118"/>
                  </a:lnTo>
                  <a:lnTo>
                    <a:pt x="102" y="126"/>
                  </a:lnTo>
                  <a:lnTo>
                    <a:pt x="98" y="133"/>
                  </a:lnTo>
                  <a:lnTo>
                    <a:pt x="94" y="141"/>
                  </a:lnTo>
                  <a:lnTo>
                    <a:pt x="88" y="150"/>
                  </a:lnTo>
                  <a:lnTo>
                    <a:pt x="82" y="158"/>
                  </a:lnTo>
                  <a:lnTo>
                    <a:pt x="77" y="164"/>
                  </a:lnTo>
                  <a:lnTo>
                    <a:pt x="69" y="168"/>
                  </a:lnTo>
                  <a:lnTo>
                    <a:pt x="61" y="169"/>
                  </a:lnTo>
                  <a:lnTo>
                    <a:pt x="61" y="169"/>
                  </a:lnTo>
                  <a:lnTo>
                    <a:pt x="58" y="169"/>
                  </a:lnTo>
                  <a:lnTo>
                    <a:pt x="54" y="169"/>
                  </a:lnTo>
                  <a:lnTo>
                    <a:pt x="52" y="169"/>
                  </a:lnTo>
                  <a:lnTo>
                    <a:pt x="50" y="169"/>
                  </a:lnTo>
                  <a:lnTo>
                    <a:pt x="50" y="169"/>
                  </a:lnTo>
                  <a:lnTo>
                    <a:pt x="48" y="166"/>
                  </a:lnTo>
                  <a:lnTo>
                    <a:pt x="46" y="160"/>
                  </a:lnTo>
                  <a:lnTo>
                    <a:pt x="42" y="156"/>
                  </a:lnTo>
                  <a:lnTo>
                    <a:pt x="41" y="150"/>
                  </a:lnTo>
                  <a:lnTo>
                    <a:pt x="39" y="147"/>
                  </a:lnTo>
                  <a:lnTo>
                    <a:pt x="35" y="143"/>
                  </a:lnTo>
                  <a:lnTo>
                    <a:pt x="31" y="139"/>
                  </a:lnTo>
                  <a:lnTo>
                    <a:pt x="27" y="137"/>
                  </a:lnTo>
                  <a:lnTo>
                    <a:pt x="27" y="137"/>
                  </a:lnTo>
                  <a:lnTo>
                    <a:pt x="27" y="137"/>
                  </a:lnTo>
                  <a:lnTo>
                    <a:pt x="27" y="135"/>
                  </a:lnTo>
                  <a:lnTo>
                    <a:pt x="25" y="133"/>
                  </a:lnTo>
                  <a:lnTo>
                    <a:pt x="25" y="131"/>
                  </a:lnTo>
                  <a:lnTo>
                    <a:pt x="23" y="128"/>
                  </a:lnTo>
                  <a:lnTo>
                    <a:pt x="21" y="126"/>
                  </a:lnTo>
                  <a:lnTo>
                    <a:pt x="21" y="124"/>
                  </a:lnTo>
                  <a:lnTo>
                    <a:pt x="20" y="122"/>
                  </a:lnTo>
                  <a:lnTo>
                    <a:pt x="12" y="122"/>
                  </a:lnTo>
                  <a:lnTo>
                    <a:pt x="12" y="122"/>
                  </a:lnTo>
                  <a:lnTo>
                    <a:pt x="12" y="122"/>
                  </a:lnTo>
                  <a:lnTo>
                    <a:pt x="12" y="124"/>
                  </a:lnTo>
                  <a:lnTo>
                    <a:pt x="12" y="124"/>
                  </a:lnTo>
                  <a:lnTo>
                    <a:pt x="12" y="124"/>
                  </a:lnTo>
                  <a:lnTo>
                    <a:pt x="21" y="126"/>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82" name="Freeform 226"/>
            <p:cNvSpPr>
              <a:spLocks/>
            </p:cNvSpPr>
            <p:nvPr/>
          </p:nvSpPr>
          <p:spPr bwMode="gray">
            <a:xfrm>
              <a:off x="2113" y="2130"/>
              <a:ext cx="849" cy="820"/>
            </a:xfrm>
            <a:custGeom>
              <a:avLst/>
              <a:gdLst/>
              <a:ahLst/>
              <a:cxnLst>
                <a:cxn ang="0">
                  <a:pos x="511" y="170"/>
                </a:cxn>
                <a:cxn ang="0">
                  <a:pos x="513" y="80"/>
                </a:cxn>
                <a:cxn ang="0">
                  <a:pos x="612" y="27"/>
                </a:cxn>
                <a:cxn ang="0">
                  <a:pos x="734" y="92"/>
                </a:cxn>
                <a:cxn ang="0">
                  <a:pos x="828" y="67"/>
                </a:cxn>
                <a:cxn ang="0">
                  <a:pos x="883" y="55"/>
                </a:cxn>
                <a:cxn ang="0">
                  <a:pos x="965" y="23"/>
                </a:cxn>
                <a:cxn ang="0">
                  <a:pos x="1030" y="21"/>
                </a:cxn>
                <a:cxn ang="0">
                  <a:pos x="1116" y="19"/>
                </a:cxn>
                <a:cxn ang="0">
                  <a:pos x="1188" y="4"/>
                </a:cxn>
                <a:cxn ang="0">
                  <a:pos x="1242" y="57"/>
                </a:cxn>
                <a:cxn ang="0">
                  <a:pos x="1312" y="65"/>
                </a:cxn>
                <a:cxn ang="0">
                  <a:pos x="1375" y="52"/>
                </a:cxn>
                <a:cxn ang="0">
                  <a:pos x="1450" y="107"/>
                </a:cxn>
                <a:cxn ang="0">
                  <a:pos x="1471" y="147"/>
                </a:cxn>
                <a:cxn ang="0">
                  <a:pos x="1473" y="199"/>
                </a:cxn>
                <a:cxn ang="0">
                  <a:pos x="1499" y="248"/>
                </a:cxn>
                <a:cxn ang="0">
                  <a:pos x="1431" y="326"/>
                </a:cxn>
                <a:cxn ang="0">
                  <a:pos x="1396" y="395"/>
                </a:cxn>
                <a:cxn ang="0">
                  <a:pos x="1375" y="521"/>
                </a:cxn>
                <a:cxn ang="0">
                  <a:pos x="1347" y="578"/>
                </a:cxn>
                <a:cxn ang="0">
                  <a:pos x="1322" y="624"/>
                </a:cxn>
                <a:cxn ang="0">
                  <a:pos x="1345" y="666"/>
                </a:cxn>
                <a:cxn ang="0">
                  <a:pos x="1351" y="719"/>
                </a:cxn>
                <a:cxn ang="0">
                  <a:pos x="1345" y="733"/>
                </a:cxn>
                <a:cxn ang="0">
                  <a:pos x="1351" y="775"/>
                </a:cxn>
                <a:cxn ang="0">
                  <a:pos x="1349" y="843"/>
                </a:cxn>
                <a:cxn ang="0">
                  <a:pos x="1358" y="893"/>
                </a:cxn>
                <a:cxn ang="0">
                  <a:pos x="1377" y="964"/>
                </a:cxn>
                <a:cxn ang="0">
                  <a:pos x="1433" y="1028"/>
                </a:cxn>
                <a:cxn ang="0">
                  <a:pos x="1375" y="1089"/>
                </a:cxn>
                <a:cxn ang="0">
                  <a:pos x="1314" y="1131"/>
                </a:cxn>
                <a:cxn ang="0">
                  <a:pos x="1286" y="1181"/>
                </a:cxn>
                <a:cxn ang="0">
                  <a:pos x="1291" y="1257"/>
                </a:cxn>
                <a:cxn ang="0">
                  <a:pos x="1274" y="1341"/>
                </a:cxn>
                <a:cxn ang="0">
                  <a:pos x="1360" y="1419"/>
                </a:cxn>
                <a:cxn ang="0">
                  <a:pos x="1368" y="1484"/>
                </a:cxn>
                <a:cxn ang="0">
                  <a:pos x="1316" y="1488"/>
                </a:cxn>
                <a:cxn ang="0">
                  <a:pos x="1261" y="1416"/>
                </a:cxn>
                <a:cxn ang="0">
                  <a:pos x="1171" y="1351"/>
                </a:cxn>
                <a:cxn ang="0">
                  <a:pos x="1074" y="1370"/>
                </a:cxn>
                <a:cxn ang="0">
                  <a:pos x="1015" y="1322"/>
                </a:cxn>
                <a:cxn ang="0">
                  <a:pos x="954" y="1324"/>
                </a:cxn>
                <a:cxn ang="0">
                  <a:pos x="870" y="1307"/>
                </a:cxn>
                <a:cxn ang="0">
                  <a:pos x="796" y="1324"/>
                </a:cxn>
                <a:cxn ang="0">
                  <a:pos x="797" y="1250"/>
                </a:cxn>
                <a:cxn ang="0">
                  <a:pos x="761" y="1175"/>
                </a:cxn>
                <a:cxn ang="0">
                  <a:pos x="654" y="1009"/>
                </a:cxn>
                <a:cxn ang="0">
                  <a:pos x="576" y="1009"/>
                </a:cxn>
                <a:cxn ang="0">
                  <a:pos x="494" y="1068"/>
                </a:cxn>
                <a:cxn ang="0">
                  <a:pos x="372" y="1011"/>
                </a:cxn>
                <a:cxn ang="0">
                  <a:pos x="342" y="904"/>
                </a:cxn>
                <a:cxn ang="0">
                  <a:pos x="38" y="901"/>
                </a:cxn>
                <a:cxn ang="0">
                  <a:pos x="15" y="864"/>
                </a:cxn>
                <a:cxn ang="0">
                  <a:pos x="59" y="803"/>
                </a:cxn>
                <a:cxn ang="0">
                  <a:pos x="164" y="778"/>
                </a:cxn>
                <a:cxn ang="0">
                  <a:pos x="172" y="824"/>
                </a:cxn>
                <a:cxn ang="0">
                  <a:pos x="263" y="758"/>
                </a:cxn>
                <a:cxn ang="0">
                  <a:pos x="317" y="664"/>
                </a:cxn>
                <a:cxn ang="0">
                  <a:pos x="368" y="538"/>
                </a:cxn>
                <a:cxn ang="0">
                  <a:pos x="433" y="445"/>
                </a:cxn>
                <a:cxn ang="0">
                  <a:pos x="460" y="303"/>
                </a:cxn>
              </a:cxnLst>
              <a:rect l="0" t="0" r="r" b="b"/>
              <a:pathLst>
                <a:path w="1499" h="1494">
                  <a:moveTo>
                    <a:pt x="466" y="261"/>
                  </a:moveTo>
                  <a:lnTo>
                    <a:pt x="466" y="261"/>
                  </a:lnTo>
                  <a:lnTo>
                    <a:pt x="471" y="250"/>
                  </a:lnTo>
                  <a:lnTo>
                    <a:pt x="475" y="242"/>
                  </a:lnTo>
                  <a:lnTo>
                    <a:pt x="481" y="235"/>
                  </a:lnTo>
                  <a:lnTo>
                    <a:pt x="487" y="229"/>
                  </a:lnTo>
                  <a:lnTo>
                    <a:pt x="492" y="221"/>
                  </a:lnTo>
                  <a:lnTo>
                    <a:pt x="498" y="214"/>
                  </a:lnTo>
                  <a:lnTo>
                    <a:pt x="502" y="206"/>
                  </a:lnTo>
                  <a:lnTo>
                    <a:pt x="507" y="197"/>
                  </a:lnTo>
                  <a:lnTo>
                    <a:pt x="507" y="197"/>
                  </a:lnTo>
                  <a:lnTo>
                    <a:pt x="507" y="191"/>
                  </a:lnTo>
                  <a:lnTo>
                    <a:pt x="509" y="185"/>
                  </a:lnTo>
                  <a:lnTo>
                    <a:pt x="511" y="179"/>
                  </a:lnTo>
                  <a:lnTo>
                    <a:pt x="511" y="176"/>
                  </a:lnTo>
                  <a:lnTo>
                    <a:pt x="511" y="170"/>
                  </a:lnTo>
                  <a:lnTo>
                    <a:pt x="511" y="164"/>
                  </a:lnTo>
                  <a:lnTo>
                    <a:pt x="511" y="160"/>
                  </a:lnTo>
                  <a:lnTo>
                    <a:pt x="511" y="155"/>
                  </a:lnTo>
                  <a:lnTo>
                    <a:pt x="509" y="149"/>
                  </a:lnTo>
                  <a:lnTo>
                    <a:pt x="509" y="143"/>
                  </a:lnTo>
                  <a:lnTo>
                    <a:pt x="509" y="139"/>
                  </a:lnTo>
                  <a:lnTo>
                    <a:pt x="507" y="134"/>
                  </a:lnTo>
                  <a:lnTo>
                    <a:pt x="507" y="128"/>
                  </a:lnTo>
                  <a:lnTo>
                    <a:pt x="507" y="124"/>
                  </a:lnTo>
                  <a:lnTo>
                    <a:pt x="507" y="118"/>
                  </a:lnTo>
                  <a:lnTo>
                    <a:pt x="507" y="113"/>
                  </a:lnTo>
                  <a:lnTo>
                    <a:pt x="507" y="113"/>
                  </a:lnTo>
                  <a:lnTo>
                    <a:pt x="507" y="105"/>
                  </a:lnTo>
                  <a:lnTo>
                    <a:pt x="507" y="97"/>
                  </a:lnTo>
                  <a:lnTo>
                    <a:pt x="511" y="90"/>
                  </a:lnTo>
                  <a:lnTo>
                    <a:pt x="513" y="80"/>
                  </a:lnTo>
                  <a:lnTo>
                    <a:pt x="517" y="73"/>
                  </a:lnTo>
                  <a:lnTo>
                    <a:pt x="521" y="63"/>
                  </a:lnTo>
                  <a:lnTo>
                    <a:pt x="525" y="55"/>
                  </a:lnTo>
                  <a:lnTo>
                    <a:pt x="530" y="48"/>
                  </a:lnTo>
                  <a:lnTo>
                    <a:pt x="536" y="40"/>
                  </a:lnTo>
                  <a:lnTo>
                    <a:pt x="542" y="34"/>
                  </a:lnTo>
                  <a:lnTo>
                    <a:pt x="549" y="29"/>
                  </a:lnTo>
                  <a:lnTo>
                    <a:pt x="555" y="23"/>
                  </a:lnTo>
                  <a:lnTo>
                    <a:pt x="563" y="19"/>
                  </a:lnTo>
                  <a:lnTo>
                    <a:pt x="569" y="15"/>
                  </a:lnTo>
                  <a:lnTo>
                    <a:pt x="576" y="13"/>
                  </a:lnTo>
                  <a:lnTo>
                    <a:pt x="584" y="13"/>
                  </a:lnTo>
                  <a:lnTo>
                    <a:pt x="584" y="13"/>
                  </a:lnTo>
                  <a:lnTo>
                    <a:pt x="595" y="15"/>
                  </a:lnTo>
                  <a:lnTo>
                    <a:pt x="605" y="21"/>
                  </a:lnTo>
                  <a:lnTo>
                    <a:pt x="612" y="27"/>
                  </a:lnTo>
                  <a:lnTo>
                    <a:pt x="620" y="36"/>
                  </a:lnTo>
                  <a:lnTo>
                    <a:pt x="628" y="46"/>
                  </a:lnTo>
                  <a:lnTo>
                    <a:pt x="635" y="54"/>
                  </a:lnTo>
                  <a:lnTo>
                    <a:pt x="641" y="61"/>
                  </a:lnTo>
                  <a:lnTo>
                    <a:pt x="649" y="67"/>
                  </a:lnTo>
                  <a:lnTo>
                    <a:pt x="649" y="67"/>
                  </a:lnTo>
                  <a:lnTo>
                    <a:pt x="654" y="69"/>
                  </a:lnTo>
                  <a:lnTo>
                    <a:pt x="662" y="73"/>
                  </a:lnTo>
                  <a:lnTo>
                    <a:pt x="670" y="76"/>
                  </a:lnTo>
                  <a:lnTo>
                    <a:pt x="679" y="78"/>
                  </a:lnTo>
                  <a:lnTo>
                    <a:pt x="689" y="82"/>
                  </a:lnTo>
                  <a:lnTo>
                    <a:pt x="696" y="84"/>
                  </a:lnTo>
                  <a:lnTo>
                    <a:pt x="706" y="86"/>
                  </a:lnTo>
                  <a:lnTo>
                    <a:pt x="715" y="88"/>
                  </a:lnTo>
                  <a:lnTo>
                    <a:pt x="725" y="90"/>
                  </a:lnTo>
                  <a:lnTo>
                    <a:pt x="734" y="92"/>
                  </a:lnTo>
                  <a:lnTo>
                    <a:pt x="744" y="94"/>
                  </a:lnTo>
                  <a:lnTo>
                    <a:pt x="754" y="94"/>
                  </a:lnTo>
                  <a:lnTo>
                    <a:pt x="763" y="96"/>
                  </a:lnTo>
                  <a:lnTo>
                    <a:pt x="773" y="96"/>
                  </a:lnTo>
                  <a:lnTo>
                    <a:pt x="780" y="96"/>
                  </a:lnTo>
                  <a:lnTo>
                    <a:pt x="788" y="96"/>
                  </a:lnTo>
                  <a:lnTo>
                    <a:pt x="788" y="96"/>
                  </a:lnTo>
                  <a:lnTo>
                    <a:pt x="796" y="96"/>
                  </a:lnTo>
                  <a:lnTo>
                    <a:pt x="801" y="94"/>
                  </a:lnTo>
                  <a:lnTo>
                    <a:pt x="807" y="92"/>
                  </a:lnTo>
                  <a:lnTo>
                    <a:pt x="811" y="88"/>
                  </a:lnTo>
                  <a:lnTo>
                    <a:pt x="815" y="84"/>
                  </a:lnTo>
                  <a:lnTo>
                    <a:pt x="818" y="80"/>
                  </a:lnTo>
                  <a:lnTo>
                    <a:pt x="822" y="76"/>
                  </a:lnTo>
                  <a:lnTo>
                    <a:pt x="824" y="71"/>
                  </a:lnTo>
                  <a:lnTo>
                    <a:pt x="828" y="67"/>
                  </a:lnTo>
                  <a:lnTo>
                    <a:pt x="832" y="63"/>
                  </a:lnTo>
                  <a:lnTo>
                    <a:pt x="834" y="57"/>
                  </a:lnTo>
                  <a:lnTo>
                    <a:pt x="837" y="55"/>
                  </a:lnTo>
                  <a:lnTo>
                    <a:pt x="843" y="52"/>
                  </a:lnTo>
                  <a:lnTo>
                    <a:pt x="849" y="48"/>
                  </a:lnTo>
                  <a:lnTo>
                    <a:pt x="855" y="48"/>
                  </a:lnTo>
                  <a:lnTo>
                    <a:pt x="860" y="46"/>
                  </a:lnTo>
                  <a:lnTo>
                    <a:pt x="860" y="46"/>
                  </a:lnTo>
                  <a:lnTo>
                    <a:pt x="862" y="48"/>
                  </a:lnTo>
                  <a:lnTo>
                    <a:pt x="866" y="48"/>
                  </a:lnTo>
                  <a:lnTo>
                    <a:pt x="868" y="50"/>
                  </a:lnTo>
                  <a:lnTo>
                    <a:pt x="872" y="52"/>
                  </a:lnTo>
                  <a:lnTo>
                    <a:pt x="874" y="52"/>
                  </a:lnTo>
                  <a:lnTo>
                    <a:pt x="876" y="54"/>
                  </a:lnTo>
                  <a:lnTo>
                    <a:pt x="879" y="55"/>
                  </a:lnTo>
                  <a:lnTo>
                    <a:pt x="883" y="55"/>
                  </a:lnTo>
                  <a:lnTo>
                    <a:pt x="883" y="55"/>
                  </a:lnTo>
                  <a:lnTo>
                    <a:pt x="889" y="55"/>
                  </a:lnTo>
                  <a:lnTo>
                    <a:pt x="895" y="54"/>
                  </a:lnTo>
                  <a:lnTo>
                    <a:pt x="900" y="52"/>
                  </a:lnTo>
                  <a:lnTo>
                    <a:pt x="906" y="50"/>
                  </a:lnTo>
                  <a:lnTo>
                    <a:pt x="912" y="48"/>
                  </a:lnTo>
                  <a:lnTo>
                    <a:pt x="918" y="46"/>
                  </a:lnTo>
                  <a:lnTo>
                    <a:pt x="923" y="42"/>
                  </a:lnTo>
                  <a:lnTo>
                    <a:pt x="929" y="40"/>
                  </a:lnTo>
                  <a:lnTo>
                    <a:pt x="935" y="36"/>
                  </a:lnTo>
                  <a:lnTo>
                    <a:pt x="939" y="34"/>
                  </a:lnTo>
                  <a:lnTo>
                    <a:pt x="944" y="33"/>
                  </a:lnTo>
                  <a:lnTo>
                    <a:pt x="950" y="29"/>
                  </a:lnTo>
                  <a:lnTo>
                    <a:pt x="954" y="27"/>
                  </a:lnTo>
                  <a:lnTo>
                    <a:pt x="960" y="25"/>
                  </a:lnTo>
                  <a:lnTo>
                    <a:pt x="965" y="23"/>
                  </a:lnTo>
                  <a:lnTo>
                    <a:pt x="971" y="23"/>
                  </a:lnTo>
                  <a:lnTo>
                    <a:pt x="971" y="23"/>
                  </a:lnTo>
                  <a:lnTo>
                    <a:pt x="973" y="27"/>
                  </a:lnTo>
                  <a:lnTo>
                    <a:pt x="975" y="31"/>
                  </a:lnTo>
                  <a:lnTo>
                    <a:pt x="979" y="33"/>
                  </a:lnTo>
                  <a:lnTo>
                    <a:pt x="981" y="33"/>
                  </a:lnTo>
                  <a:lnTo>
                    <a:pt x="984" y="33"/>
                  </a:lnTo>
                  <a:lnTo>
                    <a:pt x="988" y="33"/>
                  </a:lnTo>
                  <a:lnTo>
                    <a:pt x="992" y="31"/>
                  </a:lnTo>
                  <a:lnTo>
                    <a:pt x="998" y="31"/>
                  </a:lnTo>
                  <a:lnTo>
                    <a:pt x="998" y="31"/>
                  </a:lnTo>
                  <a:lnTo>
                    <a:pt x="1007" y="31"/>
                  </a:lnTo>
                  <a:lnTo>
                    <a:pt x="1015" y="31"/>
                  </a:lnTo>
                  <a:lnTo>
                    <a:pt x="1023" y="29"/>
                  </a:lnTo>
                  <a:lnTo>
                    <a:pt x="1026" y="25"/>
                  </a:lnTo>
                  <a:lnTo>
                    <a:pt x="1030" y="21"/>
                  </a:lnTo>
                  <a:lnTo>
                    <a:pt x="1034" y="17"/>
                  </a:lnTo>
                  <a:lnTo>
                    <a:pt x="1036" y="10"/>
                  </a:lnTo>
                  <a:lnTo>
                    <a:pt x="1036" y="2"/>
                  </a:lnTo>
                  <a:lnTo>
                    <a:pt x="1036" y="2"/>
                  </a:lnTo>
                  <a:lnTo>
                    <a:pt x="1044" y="0"/>
                  </a:lnTo>
                  <a:lnTo>
                    <a:pt x="1051" y="0"/>
                  </a:lnTo>
                  <a:lnTo>
                    <a:pt x="1059" y="2"/>
                  </a:lnTo>
                  <a:lnTo>
                    <a:pt x="1064" y="2"/>
                  </a:lnTo>
                  <a:lnTo>
                    <a:pt x="1072" y="4"/>
                  </a:lnTo>
                  <a:lnTo>
                    <a:pt x="1078" y="6"/>
                  </a:lnTo>
                  <a:lnTo>
                    <a:pt x="1084" y="8"/>
                  </a:lnTo>
                  <a:lnTo>
                    <a:pt x="1091" y="10"/>
                  </a:lnTo>
                  <a:lnTo>
                    <a:pt x="1097" y="12"/>
                  </a:lnTo>
                  <a:lnTo>
                    <a:pt x="1103" y="13"/>
                  </a:lnTo>
                  <a:lnTo>
                    <a:pt x="1108" y="17"/>
                  </a:lnTo>
                  <a:lnTo>
                    <a:pt x="1116" y="19"/>
                  </a:lnTo>
                  <a:lnTo>
                    <a:pt x="1122" y="21"/>
                  </a:lnTo>
                  <a:lnTo>
                    <a:pt x="1129" y="21"/>
                  </a:lnTo>
                  <a:lnTo>
                    <a:pt x="1137" y="23"/>
                  </a:lnTo>
                  <a:lnTo>
                    <a:pt x="1145" y="23"/>
                  </a:lnTo>
                  <a:lnTo>
                    <a:pt x="1145" y="23"/>
                  </a:lnTo>
                  <a:lnTo>
                    <a:pt x="1152" y="23"/>
                  </a:lnTo>
                  <a:lnTo>
                    <a:pt x="1160" y="21"/>
                  </a:lnTo>
                  <a:lnTo>
                    <a:pt x="1166" y="21"/>
                  </a:lnTo>
                  <a:lnTo>
                    <a:pt x="1171" y="19"/>
                  </a:lnTo>
                  <a:lnTo>
                    <a:pt x="1175" y="17"/>
                  </a:lnTo>
                  <a:lnTo>
                    <a:pt x="1181" y="15"/>
                  </a:lnTo>
                  <a:lnTo>
                    <a:pt x="1187" y="15"/>
                  </a:lnTo>
                  <a:lnTo>
                    <a:pt x="1194" y="13"/>
                  </a:lnTo>
                  <a:lnTo>
                    <a:pt x="1188" y="2"/>
                  </a:lnTo>
                  <a:lnTo>
                    <a:pt x="1188" y="2"/>
                  </a:lnTo>
                  <a:lnTo>
                    <a:pt x="1188" y="4"/>
                  </a:lnTo>
                  <a:lnTo>
                    <a:pt x="1188" y="8"/>
                  </a:lnTo>
                  <a:lnTo>
                    <a:pt x="1190" y="12"/>
                  </a:lnTo>
                  <a:lnTo>
                    <a:pt x="1192" y="13"/>
                  </a:lnTo>
                  <a:lnTo>
                    <a:pt x="1192" y="13"/>
                  </a:lnTo>
                  <a:lnTo>
                    <a:pt x="1196" y="17"/>
                  </a:lnTo>
                  <a:lnTo>
                    <a:pt x="1200" y="19"/>
                  </a:lnTo>
                  <a:lnTo>
                    <a:pt x="1206" y="21"/>
                  </a:lnTo>
                  <a:lnTo>
                    <a:pt x="1209" y="25"/>
                  </a:lnTo>
                  <a:lnTo>
                    <a:pt x="1217" y="29"/>
                  </a:lnTo>
                  <a:lnTo>
                    <a:pt x="1221" y="31"/>
                  </a:lnTo>
                  <a:lnTo>
                    <a:pt x="1227" y="36"/>
                  </a:lnTo>
                  <a:lnTo>
                    <a:pt x="1230" y="40"/>
                  </a:lnTo>
                  <a:lnTo>
                    <a:pt x="1230" y="40"/>
                  </a:lnTo>
                  <a:lnTo>
                    <a:pt x="1234" y="46"/>
                  </a:lnTo>
                  <a:lnTo>
                    <a:pt x="1238" y="52"/>
                  </a:lnTo>
                  <a:lnTo>
                    <a:pt x="1242" y="57"/>
                  </a:lnTo>
                  <a:lnTo>
                    <a:pt x="1246" y="65"/>
                  </a:lnTo>
                  <a:lnTo>
                    <a:pt x="1251" y="71"/>
                  </a:lnTo>
                  <a:lnTo>
                    <a:pt x="1257" y="75"/>
                  </a:lnTo>
                  <a:lnTo>
                    <a:pt x="1265" y="76"/>
                  </a:lnTo>
                  <a:lnTo>
                    <a:pt x="1274" y="78"/>
                  </a:lnTo>
                  <a:lnTo>
                    <a:pt x="1274" y="78"/>
                  </a:lnTo>
                  <a:lnTo>
                    <a:pt x="1280" y="78"/>
                  </a:lnTo>
                  <a:lnTo>
                    <a:pt x="1284" y="76"/>
                  </a:lnTo>
                  <a:lnTo>
                    <a:pt x="1288" y="73"/>
                  </a:lnTo>
                  <a:lnTo>
                    <a:pt x="1290" y="71"/>
                  </a:lnTo>
                  <a:lnTo>
                    <a:pt x="1293" y="69"/>
                  </a:lnTo>
                  <a:lnTo>
                    <a:pt x="1297" y="67"/>
                  </a:lnTo>
                  <a:lnTo>
                    <a:pt x="1301" y="65"/>
                  </a:lnTo>
                  <a:lnTo>
                    <a:pt x="1307" y="65"/>
                  </a:lnTo>
                  <a:lnTo>
                    <a:pt x="1307" y="65"/>
                  </a:lnTo>
                  <a:lnTo>
                    <a:pt x="1312" y="65"/>
                  </a:lnTo>
                  <a:lnTo>
                    <a:pt x="1318" y="65"/>
                  </a:lnTo>
                  <a:lnTo>
                    <a:pt x="1324" y="67"/>
                  </a:lnTo>
                  <a:lnTo>
                    <a:pt x="1330" y="67"/>
                  </a:lnTo>
                  <a:lnTo>
                    <a:pt x="1335" y="69"/>
                  </a:lnTo>
                  <a:lnTo>
                    <a:pt x="1339" y="71"/>
                  </a:lnTo>
                  <a:lnTo>
                    <a:pt x="1345" y="71"/>
                  </a:lnTo>
                  <a:lnTo>
                    <a:pt x="1351" y="73"/>
                  </a:lnTo>
                  <a:lnTo>
                    <a:pt x="1351" y="73"/>
                  </a:lnTo>
                  <a:lnTo>
                    <a:pt x="1354" y="71"/>
                  </a:lnTo>
                  <a:lnTo>
                    <a:pt x="1358" y="69"/>
                  </a:lnTo>
                  <a:lnTo>
                    <a:pt x="1360" y="65"/>
                  </a:lnTo>
                  <a:lnTo>
                    <a:pt x="1362" y="61"/>
                  </a:lnTo>
                  <a:lnTo>
                    <a:pt x="1366" y="59"/>
                  </a:lnTo>
                  <a:lnTo>
                    <a:pt x="1368" y="55"/>
                  </a:lnTo>
                  <a:lnTo>
                    <a:pt x="1372" y="54"/>
                  </a:lnTo>
                  <a:lnTo>
                    <a:pt x="1375" y="52"/>
                  </a:lnTo>
                  <a:lnTo>
                    <a:pt x="1375" y="52"/>
                  </a:lnTo>
                  <a:lnTo>
                    <a:pt x="1385" y="55"/>
                  </a:lnTo>
                  <a:lnTo>
                    <a:pt x="1393" y="59"/>
                  </a:lnTo>
                  <a:lnTo>
                    <a:pt x="1400" y="67"/>
                  </a:lnTo>
                  <a:lnTo>
                    <a:pt x="1406" y="75"/>
                  </a:lnTo>
                  <a:lnTo>
                    <a:pt x="1412" y="84"/>
                  </a:lnTo>
                  <a:lnTo>
                    <a:pt x="1417" y="94"/>
                  </a:lnTo>
                  <a:lnTo>
                    <a:pt x="1423" y="99"/>
                  </a:lnTo>
                  <a:lnTo>
                    <a:pt x="1431" y="105"/>
                  </a:lnTo>
                  <a:lnTo>
                    <a:pt x="1431" y="105"/>
                  </a:lnTo>
                  <a:lnTo>
                    <a:pt x="1435" y="105"/>
                  </a:lnTo>
                  <a:lnTo>
                    <a:pt x="1438" y="105"/>
                  </a:lnTo>
                  <a:lnTo>
                    <a:pt x="1442" y="107"/>
                  </a:lnTo>
                  <a:lnTo>
                    <a:pt x="1444" y="107"/>
                  </a:lnTo>
                  <a:lnTo>
                    <a:pt x="1448" y="107"/>
                  </a:lnTo>
                  <a:lnTo>
                    <a:pt x="1450" y="107"/>
                  </a:lnTo>
                  <a:lnTo>
                    <a:pt x="1454" y="109"/>
                  </a:lnTo>
                  <a:lnTo>
                    <a:pt x="1456" y="111"/>
                  </a:lnTo>
                  <a:lnTo>
                    <a:pt x="1456" y="111"/>
                  </a:lnTo>
                  <a:lnTo>
                    <a:pt x="1456" y="115"/>
                  </a:lnTo>
                  <a:lnTo>
                    <a:pt x="1456" y="117"/>
                  </a:lnTo>
                  <a:lnTo>
                    <a:pt x="1456" y="120"/>
                  </a:lnTo>
                  <a:lnTo>
                    <a:pt x="1456" y="124"/>
                  </a:lnTo>
                  <a:lnTo>
                    <a:pt x="1457" y="128"/>
                  </a:lnTo>
                  <a:lnTo>
                    <a:pt x="1459" y="132"/>
                  </a:lnTo>
                  <a:lnTo>
                    <a:pt x="1461" y="134"/>
                  </a:lnTo>
                  <a:lnTo>
                    <a:pt x="1467" y="136"/>
                  </a:lnTo>
                  <a:lnTo>
                    <a:pt x="1469" y="134"/>
                  </a:lnTo>
                  <a:lnTo>
                    <a:pt x="1469" y="134"/>
                  </a:lnTo>
                  <a:lnTo>
                    <a:pt x="1471" y="139"/>
                  </a:lnTo>
                  <a:lnTo>
                    <a:pt x="1471" y="143"/>
                  </a:lnTo>
                  <a:lnTo>
                    <a:pt x="1471" y="147"/>
                  </a:lnTo>
                  <a:lnTo>
                    <a:pt x="1471" y="151"/>
                  </a:lnTo>
                  <a:lnTo>
                    <a:pt x="1471" y="157"/>
                  </a:lnTo>
                  <a:lnTo>
                    <a:pt x="1469" y="160"/>
                  </a:lnTo>
                  <a:lnTo>
                    <a:pt x="1469" y="166"/>
                  </a:lnTo>
                  <a:lnTo>
                    <a:pt x="1469" y="172"/>
                  </a:lnTo>
                  <a:lnTo>
                    <a:pt x="1469" y="172"/>
                  </a:lnTo>
                  <a:lnTo>
                    <a:pt x="1469" y="176"/>
                  </a:lnTo>
                  <a:lnTo>
                    <a:pt x="1469" y="179"/>
                  </a:lnTo>
                  <a:lnTo>
                    <a:pt x="1469" y="181"/>
                  </a:lnTo>
                  <a:lnTo>
                    <a:pt x="1471" y="183"/>
                  </a:lnTo>
                  <a:lnTo>
                    <a:pt x="1471" y="185"/>
                  </a:lnTo>
                  <a:lnTo>
                    <a:pt x="1473" y="187"/>
                  </a:lnTo>
                  <a:lnTo>
                    <a:pt x="1473" y="191"/>
                  </a:lnTo>
                  <a:lnTo>
                    <a:pt x="1473" y="195"/>
                  </a:lnTo>
                  <a:lnTo>
                    <a:pt x="1473" y="195"/>
                  </a:lnTo>
                  <a:lnTo>
                    <a:pt x="1473" y="199"/>
                  </a:lnTo>
                  <a:lnTo>
                    <a:pt x="1471" y="200"/>
                  </a:lnTo>
                  <a:lnTo>
                    <a:pt x="1471" y="202"/>
                  </a:lnTo>
                  <a:lnTo>
                    <a:pt x="1469" y="204"/>
                  </a:lnTo>
                  <a:lnTo>
                    <a:pt x="1467" y="208"/>
                  </a:lnTo>
                  <a:lnTo>
                    <a:pt x="1465" y="210"/>
                  </a:lnTo>
                  <a:lnTo>
                    <a:pt x="1465" y="214"/>
                  </a:lnTo>
                  <a:lnTo>
                    <a:pt x="1465" y="220"/>
                  </a:lnTo>
                  <a:lnTo>
                    <a:pt x="1465" y="220"/>
                  </a:lnTo>
                  <a:lnTo>
                    <a:pt x="1467" y="225"/>
                  </a:lnTo>
                  <a:lnTo>
                    <a:pt x="1471" y="229"/>
                  </a:lnTo>
                  <a:lnTo>
                    <a:pt x="1477" y="231"/>
                  </a:lnTo>
                  <a:lnTo>
                    <a:pt x="1482" y="233"/>
                  </a:lnTo>
                  <a:lnTo>
                    <a:pt x="1490" y="235"/>
                  </a:lnTo>
                  <a:lnTo>
                    <a:pt x="1496" y="239"/>
                  </a:lnTo>
                  <a:lnTo>
                    <a:pt x="1499" y="242"/>
                  </a:lnTo>
                  <a:lnTo>
                    <a:pt x="1499" y="248"/>
                  </a:lnTo>
                  <a:lnTo>
                    <a:pt x="1499" y="248"/>
                  </a:lnTo>
                  <a:lnTo>
                    <a:pt x="1499" y="254"/>
                  </a:lnTo>
                  <a:lnTo>
                    <a:pt x="1498" y="260"/>
                  </a:lnTo>
                  <a:lnTo>
                    <a:pt x="1494" y="263"/>
                  </a:lnTo>
                  <a:lnTo>
                    <a:pt x="1490" y="269"/>
                  </a:lnTo>
                  <a:lnTo>
                    <a:pt x="1486" y="273"/>
                  </a:lnTo>
                  <a:lnTo>
                    <a:pt x="1480" y="277"/>
                  </a:lnTo>
                  <a:lnTo>
                    <a:pt x="1475" y="281"/>
                  </a:lnTo>
                  <a:lnTo>
                    <a:pt x="1471" y="284"/>
                  </a:lnTo>
                  <a:lnTo>
                    <a:pt x="1471" y="284"/>
                  </a:lnTo>
                  <a:lnTo>
                    <a:pt x="1463" y="292"/>
                  </a:lnTo>
                  <a:lnTo>
                    <a:pt x="1457" y="298"/>
                  </a:lnTo>
                  <a:lnTo>
                    <a:pt x="1450" y="305"/>
                  </a:lnTo>
                  <a:lnTo>
                    <a:pt x="1444" y="313"/>
                  </a:lnTo>
                  <a:lnTo>
                    <a:pt x="1436" y="319"/>
                  </a:lnTo>
                  <a:lnTo>
                    <a:pt x="1431" y="326"/>
                  </a:lnTo>
                  <a:lnTo>
                    <a:pt x="1423" y="334"/>
                  </a:lnTo>
                  <a:lnTo>
                    <a:pt x="1415" y="340"/>
                  </a:lnTo>
                  <a:lnTo>
                    <a:pt x="1415" y="340"/>
                  </a:lnTo>
                  <a:lnTo>
                    <a:pt x="1414" y="342"/>
                  </a:lnTo>
                  <a:lnTo>
                    <a:pt x="1412" y="345"/>
                  </a:lnTo>
                  <a:lnTo>
                    <a:pt x="1408" y="347"/>
                  </a:lnTo>
                  <a:lnTo>
                    <a:pt x="1406" y="349"/>
                  </a:lnTo>
                  <a:lnTo>
                    <a:pt x="1404" y="351"/>
                  </a:lnTo>
                  <a:lnTo>
                    <a:pt x="1402" y="355"/>
                  </a:lnTo>
                  <a:lnTo>
                    <a:pt x="1400" y="359"/>
                  </a:lnTo>
                  <a:lnTo>
                    <a:pt x="1400" y="361"/>
                  </a:lnTo>
                  <a:lnTo>
                    <a:pt x="1400" y="361"/>
                  </a:lnTo>
                  <a:lnTo>
                    <a:pt x="1400" y="370"/>
                  </a:lnTo>
                  <a:lnTo>
                    <a:pt x="1398" y="378"/>
                  </a:lnTo>
                  <a:lnTo>
                    <a:pt x="1398" y="387"/>
                  </a:lnTo>
                  <a:lnTo>
                    <a:pt x="1396" y="395"/>
                  </a:lnTo>
                  <a:lnTo>
                    <a:pt x="1394" y="405"/>
                  </a:lnTo>
                  <a:lnTo>
                    <a:pt x="1393" y="412"/>
                  </a:lnTo>
                  <a:lnTo>
                    <a:pt x="1391" y="422"/>
                  </a:lnTo>
                  <a:lnTo>
                    <a:pt x="1389" y="431"/>
                  </a:lnTo>
                  <a:lnTo>
                    <a:pt x="1385" y="441"/>
                  </a:lnTo>
                  <a:lnTo>
                    <a:pt x="1383" y="450"/>
                  </a:lnTo>
                  <a:lnTo>
                    <a:pt x="1381" y="460"/>
                  </a:lnTo>
                  <a:lnTo>
                    <a:pt x="1379" y="469"/>
                  </a:lnTo>
                  <a:lnTo>
                    <a:pt x="1377" y="479"/>
                  </a:lnTo>
                  <a:lnTo>
                    <a:pt x="1377" y="490"/>
                  </a:lnTo>
                  <a:lnTo>
                    <a:pt x="1377" y="502"/>
                  </a:lnTo>
                  <a:lnTo>
                    <a:pt x="1375" y="513"/>
                  </a:lnTo>
                  <a:lnTo>
                    <a:pt x="1375" y="513"/>
                  </a:lnTo>
                  <a:lnTo>
                    <a:pt x="1375" y="515"/>
                  </a:lnTo>
                  <a:lnTo>
                    <a:pt x="1375" y="519"/>
                  </a:lnTo>
                  <a:lnTo>
                    <a:pt x="1375" y="521"/>
                  </a:lnTo>
                  <a:lnTo>
                    <a:pt x="1375" y="525"/>
                  </a:lnTo>
                  <a:lnTo>
                    <a:pt x="1377" y="527"/>
                  </a:lnTo>
                  <a:lnTo>
                    <a:pt x="1377" y="530"/>
                  </a:lnTo>
                  <a:lnTo>
                    <a:pt x="1377" y="532"/>
                  </a:lnTo>
                  <a:lnTo>
                    <a:pt x="1377" y="536"/>
                  </a:lnTo>
                  <a:lnTo>
                    <a:pt x="1377" y="536"/>
                  </a:lnTo>
                  <a:lnTo>
                    <a:pt x="1372" y="540"/>
                  </a:lnTo>
                  <a:lnTo>
                    <a:pt x="1366" y="544"/>
                  </a:lnTo>
                  <a:lnTo>
                    <a:pt x="1360" y="548"/>
                  </a:lnTo>
                  <a:lnTo>
                    <a:pt x="1356" y="553"/>
                  </a:lnTo>
                  <a:lnTo>
                    <a:pt x="1353" y="559"/>
                  </a:lnTo>
                  <a:lnTo>
                    <a:pt x="1349" y="563"/>
                  </a:lnTo>
                  <a:lnTo>
                    <a:pt x="1347" y="569"/>
                  </a:lnTo>
                  <a:lnTo>
                    <a:pt x="1347" y="574"/>
                  </a:lnTo>
                  <a:lnTo>
                    <a:pt x="1347" y="574"/>
                  </a:lnTo>
                  <a:lnTo>
                    <a:pt x="1347" y="578"/>
                  </a:lnTo>
                  <a:lnTo>
                    <a:pt x="1347" y="580"/>
                  </a:lnTo>
                  <a:lnTo>
                    <a:pt x="1349" y="584"/>
                  </a:lnTo>
                  <a:lnTo>
                    <a:pt x="1349" y="588"/>
                  </a:lnTo>
                  <a:lnTo>
                    <a:pt x="1349" y="590"/>
                  </a:lnTo>
                  <a:lnTo>
                    <a:pt x="1349" y="593"/>
                  </a:lnTo>
                  <a:lnTo>
                    <a:pt x="1347" y="595"/>
                  </a:lnTo>
                  <a:lnTo>
                    <a:pt x="1345" y="597"/>
                  </a:lnTo>
                  <a:lnTo>
                    <a:pt x="1345" y="597"/>
                  </a:lnTo>
                  <a:lnTo>
                    <a:pt x="1341" y="599"/>
                  </a:lnTo>
                  <a:lnTo>
                    <a:pt x="1337" y="601"/>
                  </a:lnTo>
                  <a:lnTo>
                    <a:pt x="1333" y="603"/>
                  </a:lnTo>
                  <a:lnTo>
                    <a:pt x="1330" y="605"/>
                  </a:lnTo>
                  <a:lnTo>
                    <a:pt x="1328" y="609"/>
                  </a:lnTo>
                  <a:lnTo>
                    <a:pt x="1326" y="613"/>
                  </a:lnTo>
                  <a:lnTo>
                    <a:pt x="1324" y="618"/>
                  </a:lnTo>
                  <a:lnTo>
                    <a:pt x="1322" y="624"/>
                  </a:lnTo>
                  <a:lnTo>
                    <a:pt x="1322" y="624"/>
                  </a:lnTo>
                  <a:lnTo>
                    <a:pt x="1324" y="628"/>
                  </a:lnTo>
                  <a:lnTo>
                    <a:pt x="1324" y="630"/>
                  </a:lnTo>
                  <a:lnTo>
                    <a:pt x="1326" y="634"/>
                  </a:lnTo>
                  <a:lnTo>
                    <a:pt x="1326" y="635"/>
                  </a:lnTo>
                  <a:lnTo>
                    <a:pt x="1328" y="637"/>
                  </a:lnTo>
                  <a:lnTo>
                    <a:pt x="1330" y="641"/>
                  </a:lnTo>
                  <a:lnTo>
                    <a:pt x="1332" y="643"/>
                  </a:lnTo>
                  <a:lnTo>
                    <a:pt x="1333" y="645"/>
                  </a:lnTo>
                  <a:lnTo>
                    <a:pt x="1333" y="645"/>
                  </a:lnTo>
                  <a:lnTo>
                    <a:pt x="1333" y="649"/>
                  </a:lnTo>
                  <a:lnTo>
                    <a:pt x="1335" y="653"/>
                  </a:lnTo>
                  <a:lnTo>
                    <a:pt x="1337" y="656"/>
                  </a:lnTo>
                  <a:lnTo>
                    <a:pt x="1341" y="658"/>
                  </a:lnTo>
                  <a:lnTo>
                    <a:pt x="1343" y="662"/>
                  </a:lnTo>
                  <a:lnTo>
                    <a:pt x="1345" y="666"/>
                  </a:lnTo>
                  <a:lnTo>
                    <a:pt x="1347" y="668"/>
                  </a:lnTo>
                  <a:lnTo>
                    <a:pt x="1349" y="672"/>
                  </a:lnTo>
                  <a:lnTo>
                    <a:pt x="1349" y="672"/>
                  </a:lnTo>
                  <a:lnTo>
                    <a:pt x="1351" y="677"/>
                  </a:lnTo>
                  <a:lnTo>
                    <a:pt x="1351" y="683"/>
                  </a:lnTo>
                  <a:lnTo>
                    <a:pt x="1351" y="687"/>
                  </a:lnTo>
                  <a:lnTo>
                    <a:pt x="1351" y="693"/>
                  </a:lnTo>
                  <a:lnTo>
                    <a:pt x="1351" y="696"/>
                  </a:lnTo>
                  <a:lnTo>
                    <a:pt x="1351" y="702"/>
                  </a:lnTo>
                  <a:lnTo>
                    <a:pt x="1351" y="708"/>
                  </a:lnTo>
                  <a:lnTo>
                    <a:pt x="1351" y="712"/>
                  </a:lnTo>
                  <a:lnTo>
                    <a:pt x="1351" y="712"/>
                  </a:lnTo>
                  <a:lnTo>
                    <a:pt x="1351" y="714"/>
                  </a:lnTo>
                  <a:lnTo>
                    <a:pt x="1351" y="716"/>
                  </a:lnTo>
                  <a:lnTo>
                    <a:pt x="1351" y="717"/>
                  </a:lnTo>
                  <a:lnTo>
                    <a:pt x="1351" y="719"/>
                  </a:lnTo>
                  <a:lnTo>
                    <a:pt x="1351" y="721"/>
                  </a:lnTo>
                  <a:lnTo>
                    <a:pt x="1351" y="723"/>
                  </a:lnTo>
                  <a:lnTo>
                    <a:pt x="1351" y="725"/>
                  </a:lnTo>
                  <a:lnTo>
                    <a:pt x="1351" y="725"/>
                  </a:lnTo>
                  <a:lnTo>
                    <a:pt x="1351" y="725"/>
                  </a:lnTo>
                  <a:lnTo>
                    <a:pt x="1351" y="727"/>
                  </a:lnTo>
                  <a:lnTo>
                    <a:pt x="1353" y="729"/>
                  </a:lnTo>
                  <a:lnTo>
                    <a:pt x="1353" y="731"/>
                  </a:lnTo>
                  <a:lnTo>
                    <a:pt x="1353" y="733"/>
                  </a:lnTo>
                  <a:lnTo>
                    <a:pt x="1353" y="733"/>
                  </a:lnTo>
                  <a:lnTo>
                    <a:pt x="1351" y="733"/>
                  </a:lnTo>
                  <a:lnTo>
                    <a:pt x="1349" y="733"/>
                  </a:lnTo>
                  <a:lnTo>
                    <a:pt x="1347" y="731"/>
                  </a:lnTo>
                  <a:lnTo>
                    <a:pt x="1345" y="731"/>
                  </a:lnTo>
                  <a:lnTo>
                    <a:pt x="1345" y="731"/>
                  </a:lnTo>
                  <a:lnTo>
                    <a:pt x="1345" y="733"/>
                  </a:lnTo>
                  <a:lnTo>
                    <a:pt x="1345" y="735"/>
                  </a:lnTo>
                  <a:lnTo>
                    <a:pt x="1345" y="735"/>
                  </a:lnTo>
                  <a:lnTo>
                    <a:pt x="1345" y="737"/>
                  </a:lnTo>
                  <a:lnTo>
                    <a:pt x="1345" y="738"/>
                  </a:lnTo>
                  <a:lnTo>
                    <a:pt x="1345" y="740"/>
                  </a:lnTo>
                  <a:lnTo>
                    <a:pt x="1345" y="742"/>
                  </a:lnTo>
                  <a:lnTo>
                    <a:pt x="1345" y="744"/>
                  </a:lnTo>
                  <a:lnTo>
                    <a:pt x="1345" y="744"/>
                  </a:lnTo>
                  <a:lnTo>
                    <a:pt x="1345" y="748"/>
                  </a:lnTo>
                  <a:lnTo>
                    <a:pt x="1345" y="752"/>
                  </a:lnTo>
                  <a:lnTo>
                    <a:pt x="1347" y="756"/>
                  </a:lnTo>
                  <a:lnTo>
                    <a:pt x="1347" y="759"/>
                  </a:lnTo>
                  <a:lnTo>
                    <a:pt x="1349" y="761"/>
                  </a:lnTo>
                  <a:lnTo>
                    <a:pt x="1349" y="765"/>
                  </a:lnTo>
                  <a:lnTo>
                    <a:pt x="1351" y="771"/>
                  </a:lnTo>
                  <a:lnTo>
                    <a:pt x="1351" y="775"/>
                  </a:lnTo>
                  <a:lnTo>
                    <a:pt x="1351" y="775"/>
                  </a:lnTo>
                  <a:lnTo>
                    <a:pt x="1351" y="780"/>
                  </a:lnTo>
                  <a:lnTo>
                    <a:pt x="1349" y="784"/>
                  </a:lnTo>
                  <a:lnTo>
                    <a:pt x="1349" y="790"/>
                  </a:lnTo>
                  <a:lnTo>
                    <a:pt x="1347" y="794"/>
                  </a:lnTo>
                  <a:lnTo>
                    <a:pt x="1347" y="798"/>
                  </a:lnTo>
                  <a:lnTo>
                    <a:pt x="1345" y="803"/>
                  </a:lnTo>
                  <a:lnTo>
                    <a:pt x="1345" y="809"/>
                  </a:lnTo>
                  <a:lnTo>
                    <a:pt x="1345" y="815"/>
                  </a:lnTo>
                  <a:lnTo>
                    <a:pt x="1345" y="815"/>
                  </a:lnTo>
                  <a:lnTo>
                    <a:pt x="1345" y="820"/>
                  </a:lnTo>
                  <a:lnTo>
                    <a:pt x="1345" y="824"/>
                  </a:lnTo>
                  <a:lnTo>
                    <a:pt x="1345" y="830"/>
                  </a:lnTo>
                  <a:lnTo>
                    <a:pt x="1347" y="834"/>
                  </a:lnTo>
                  <a:lnTo>
                    <a:pt x="1347" y="840"/>
                  </a:lnTo>
                  <a:lnTo>
                    <a:pt x="1349" y="843"/>
                  </a:lnTo>
                  <a:lnTo>
                    <a:pt x="1351" y="847"/>
                  </a:lnTo>
                  <a:lnTo>
                    <a:pt x="1351" y="851"/>
                  </a:lnTo>
                  <a:lnTo>
                    <a:pt x="1353" y="855"/>
                  </a:lnTo>
                  <a:lnTo>
                    <a:pt x="1354" y="859"/>
                  </a:lnTo>
                  <a:lnTo>
                    <a:pt x="1354" y="862"/>
                  </a:lnTo>
                  <a:lnTo>
                    <a:pt x="1356" y="866"/>
                  </a:lnTo>
                  <a:lnTo>
                    <a:pt x="1356" y="870"/>
                  </a:lnTo>
                  <a:lnTo>
                    <a:pt x="1358" y="874"/>
                  </a:lnTo>
                  <a:lnTo>
                    <a:pt x="1358" y="878"/>
                  </a:lnTo>
                  <a:lnTo>
                    <a:pt x="1358" y="880"/>
                  </a:lnTo>
                  <a:lnTo>
                    <a:pt x="1358" y="880"/>
                  </a:lnTo>
                  <a:lnTo>
                    <a:pt x="1358" y="883"/>
                  </a:lnTo>
                  <a:lnTo>
                    <a:pt x="1358" y="885"/>
                  </a:lnTo>
                  <a:lnTo>
                    <a:pt x="1358" y="887"/>
                  </a:lnTo>
                  <a:lnTo>
                    <a:pt x="1358" y="889"/>
                  </a:lnTo>
                  <a:lnTo>
                    <a:pt x="1358" y="893"/>
                  </a:lnTo>
                  <a:lnTo>
                    <a:pt x="1358" y="897"/>
                  </a:lnTo>
                  <a:lnTo>
                    <a:pt x="1358" y="901"/>
                  </a:lnTo>
                  <a:lnTo>
                    <a:pt x="1358" y="904"/>
                  </a:lnTo>
                  <a:lnTo>
                    <a:pt x="1358" y="904"/>
                  </a:lnTo>
                  <a:lnTo>
                    <a:pt x="1358" y="910"/>
                  </a:lnTo>
                  <a:lnTo>
                    <a:pt x="1360" y="914"/>
                  </a:lnTo>
                  <a:lnTo>
                    <a:pt x="1360" y="918"/>
                  </a:lnTo>
                  <a:lnTo>
                    <a:pt x="1362" y="923"/>
                  </a:lnTo>
                  <a:lnTo>
                    <a:pt x="1362" y="929"/>
                  </a:lnTo>
                  <a:lnTo>
                    <a:pt x="1364" y="933"/>
                  </a:lnTo>
                  <a:lnTo>
                    <a:pt x="1366" y="939"/>
                  </a:lnTo>
                  <a:lnTo>
                    <a:pt x="1370" y="944"/>
                  </a:lnTo>
                  <a:lnTo>
                    <a:pt x="1372" y="948"/>
                  </a:lnTo>
                  <a:lnTo>
                    <a:pt x="1374" y="954"/>
                  </a:lnTo>
                  <a:lnTo>
                    <a:pt x="1375" y="958"/>
                  </a:lnTo>
                  <a:lnTo>
                    <a:pt x="1377" y="964"/>
                  </a:lnTo>
                  <a:lnTo>
                    <a:pt x="1381" y="967"/>
                  </a:lnTo>
                  <a:lnTo>
                    <a:pt x="1383" y="971"/>
                  </a:lnTo>
                  <a:lnTo>
                    <a:pt x="1385" y="973"/>
                  </a:lnTo>
                  <a:lnTo>
                    <a:pt x="1387" y="977"/>
                  </a:lnTo>
                  <a:lnTo>
                    <a:pt x="1387" y="977"/>
                  </a:lnTo>
                  <a:lnTo>
                    <a:pt x="1391" y="981"/>
                  </a:lnTo>
                  <a:lnTo>
                    <a:pt x="1396" y="985"/>
                  </a:lnTo>
                  <a:lnTo>
                    <a:pt x="1402" y="988"/>
                  </a:lnTo>
                  <a:lnTo>
                    <a:pt x="1408" y="992"/>
                  </a:lnTo>
                  <a:lnTo>
                    <a:pt x="1414" y="996"/>
                  </a:lnTo>
                  <a:lnTo>
                    <a:pt x="1417" y="1002"/>
                  </a:lnTo>
                  <a:lnTo>
                    <a:pt x="1421" y="1006"/>
                  </a:lnTo>
                  <a:lnTo>
                    <a:pt x="1425" y="1011"/>
                  </a:lnTo>
                  <a:lnTo>
                    <a:pt x="1425" y="1011"/>
                  </a:lnTo>
                  <a:lnTo>
                    <a:pt x="1429" y="1021"/>
                  </a:lnTo>
                  <a:lnTo>
                    <a:pt x="1433" y="1028"/>
                  </a:lnTo>
                  <a:lnTo>
                    <a:pt x="1435" y="1038"/>
                  </a:lnTo>
                  <a:lnTo>
                    <a:pt x="1436" y="1046"/>
                  </a:lnTo>
                  <a:lnTo>
                    <a:pt x="1440" y="1051"/>
                  </a:lnTo>
                  <a:lnTo>
                    <a:pt x="1444" y="1059"/>
                  </a:lnTo>
                  <a:lnTo>
                    <a:pt x="1450" y="1065"/>
                  </a:lnTo>
                  <a:lnTo>
                    <a:pt x="1457" y="1070"/>
                  </a:lnTo>
                  <a:lnTo>
                    <a:pt x="1465" y="1078"/>
                  </a:lnTo>
                  <a:lnTo>
                    <a:pt x="1414" y="1082"/>
                  </a:lnTo>
                  <a:lnTo>
                    <a:pt x="1414" y="1082"/>
                  </a:lnTo>
                  <a:lnTo>
                    <a:pt x="1408" y="1086"/>
                  </a:lnTo>
                  <a:lnTo>
                    <a:pt x="1402" y="1086"/>
                  </a:lnTo>
                  <a:lnTo>
                    <a:pt x="1396" y="1088"/>
                  </a:lnTo>
                  <a:lnTo>
                    <a:pt x="1391" y="1088"/>
                  </a:lnTo>
                  <a:lnTo>
                    <a:pt x="1387" y="1088"/>
                  </a:lnTo>
                  <a:lnTo>
                    <a:pt x="1381" y="1089"/>
                  </a:lnTo>
                  <a:lnTo>
                    <a:pt x="1375" y="1089"/>
                  </a:lnTo>
                  <a:lnTo>
                    <a:pt x="1370" y="1089"/>
                  </a:lnTo>
                  <a:lnTo>
                    <a:pt x="1366" y="1089"/>
                  </a:lnTo>
                  <a:lnTo>
                    <a:pt x="1360" y="1089"/>
                  </a:lnTo>
                  <a:lnTo>
                    <a:pt x="1354" y="1091"/>
                  </a:lnTo>
                  <a:lnTo>
                    <a:pt x="1351" y="1091"/>
                  </a:lnTo>
                  <a:lnTo>
                    <a:pt x="1345" y="1093"/>
                  </a:lnTo>
                  <a:lnTo>
                    <a:pt x="1339" y="1095"/>
                  </a:lnTo>
                  <a:lnTo>
                    <a:pt x="1333" y="1097"/>
                  </a:lnTo>
                  <a:lnTo>
                    <a:pt x="1328" y="1101"/>
                  </a:lnTo>
                  <a:lnTo>
                    <a:pt x="1328" y="1101"/>
                  </a:lnTo>
                  <a:lnTo>
                    <a:pt x="1322" y="1105"/>
                  </a:lnTo>
                  <a:lnTo>
                    <a:pt x="1320" y="1109"/>
                  </a:lnTo>
                  <a:lnTo>
                    <a:pt x="1318" y="1114"/>
                  </a:lnTo>
                  <a:lnTo>
                    <a:pt x="1316" y="1120"/>
                  </a:lnTo>
                  <a:lnTo>
                    <a:pt x="1316" y="1126"/>
                  </a:lnTo>
                  <a:lnTo>
                    <a:pt x="1314" y="1131"/>
                  </a:lnTo>
                  <a:lnTo>
                    <a:pt x="1312" y="1135"/>
                  </a:lnTo>
                  <a:lnTo>
                    <a:pt x="1307" y="1141"/>
                  </a:lnTo>
                  <a:lnTo>
                    <a:pt x="1307" y="1141"/>
                  </a:lnTo>
                  <a:lnTo>
                    <a:pt x="1305" y="1143"/>
                  </a:lnTo>
                  <a:lnTo>
                    <a:pt x="1301" y="1145"/>
                  </a:lnTo>
                  <a:lnTo>
                    <a:pt x="1297" y="1149"/>
                  </a:lnTo>
                  <a:lnTo>
                    <a:pt x="1291" y="1151"/>
                  </a:lnTo>
                  <a:lnTo>
                    <a:pt x="1288" y="1154"/>
                  </a:lnTo>
                  <a:lnTo>
                    <a:pt x="1284" y="1158"/>
                  </a:lnTo>
                  <a:lnTo>
                    <a:pt x="1282" y="1164"/>
                  </a:lnTo>
                  <a:lnTo>
                    <a:pt x="1280" y="1170"/>
                  </a:lnTo>
                  <a:lnTo>
                    <a:pt x="1280" y="1170"/>
                  </a:lnTo>
                  <a:lnTo>
                    <a:pt x="1280" y="1173"/>
                  </a:lnTo>
                  <a:lnTo>
                    <a:pt x="1282" y="1175"/>
                  </a:lnTo>
                  <a:lnTo>
                    <a:pt x="1284" y="1179"/>
                  </a:lnTo>
                  <a:lnTo>
                    <a:pt x="1286" y="1181"/>
                  </a:lnTo>
                  <a:lnTo>
                    <a:pt x="1288" y="1185"/>
                  </a:lnTo>
                  <a:lnTo>
                    <a:pt x="1290" y="1187"/>
                  </a:lnTo>
                  <a:lnTo>
                    <a:pt x="1291" y="1191"/>
                  </a:lnTo>
                  <a:lnTo>
                    <a:pt x="1291" y="1194"/>
                  </a:lnTo>
                  <a:lnTo>
                    <a:pt x="1291" y="1194"/>
                  </a:lnTo>
                  <a:lnTo>
                    <a:pt x="1291" y="1198"/>
                  </a:lnTo>
                  <a:lnTo>
                    <a:pt x="1291" y="1202"/>
                  </a:lnTo>
                  <a:lnTo>
                    <a:pt x="1291" y="1208"/>
                  </a:lnTo>
                  <a:lnTo>
                    <a:pt x="1291" y="1213"/>
                  </a:lnTo>
                  <a:lnTo>
                    <a:pt x="1291" y="1217"/>
                  </a:lnTo>
                  <a:lnTo>
                    <a:pt x="1291" y="1223"/>
                  </a:lnTo>
                  <a:lnTo>
                    <a:pt x="1291" y="1231"/>
                  </a:lnTo>
                  <a:lnTo>
                    <a:pt x="1291" y="1236"/>
                  </a:lnTo>
                  <a:lnTo>
                    <a:pt x="1291" y="1244"/>
                  </a:lnTo>
                  <a:lnTo>
                    <a:pt x="1291" y="1250"/>
                  </a:lnTo>
                  <a:lnTo>
                    <a:pt x="1291" y="1257"/>
                  </a:lnTo>
                  <a:lnTo>
                    <a:pt x="1291" y="1263"/>
                  </a:lnTo>
                  <a:lnTo>
                    <a:pt x="1291" y="1271"/>
                  </a:lnTo>
                  <a:lnTo>
                    <a:pt x="1291" y="1278"/>
                  </a:lnTo>
                  <a:lnTo>
                    <a:pt x="1291" y="1286"/>
                  </a:lnTo>
                  <a:lnTo>
                    <a:pt x="1291" y="1294"/>
                  </a:lnTo>
                  <a:lnTo>
                    <a:pt x="1291" y="1294"/>
                  </a:lnTo>
                  <a:lnTo>
                    <a:pt x="1290" y="1297"/>
                  </a:lnTo>
                  <a:lnTo>
                    <a:pt x="1286" y="1301"/>
                  </a:lnTo>
                  <a:lnTo>
                    <a:pt x="1282" y="1305"/>
                  </a:lnTo>
                  <a:lnTo>
                    <a:pt x="1280" y="1309"/>
                  </a:lnTo>
                  <a:lnTo>
                    <a:pt x="1278" y="1315"/>
                  </a:lnTo>
                  <a:lnTo>
                    <a:pt x="1276" y="1320"/>
                  </a:lnTo>
                  <a:lnTo>
                    <a:pt x="1274" y="1328"/>
                  </a:lnTo>
                  <a:lnTo>
                    <a:pt x="1274" y="1334"/>
                  </a:lnTo>
                  <a:lnTo>
                    <a:pt x="1274" y="1334"/>
                  </a:lnTo>
                  <a:lnTo>
                    <a:pt x="1274" y="1341"/>
                  </a:lnTo>
                  <a:lnTo>
                    <a:pt x="1276" y="1347"/>
                  </a:lnTo>
                  <a:lnTo>
                    <a:pt x="1278" y="1353"/>
                  </a:lnTo>
                  <a:lnTo>
                    <a:pt x="1280" y="1360"/>
                  </a:lnTo>
                  <a:lnTo>
                    <a:pt x="1284" y="1366"/>
                  </a:lnTo>
                  <a:lnTo>
                    <a:pt x="1288" y="1372"/>
                  </a:lnTo>
                  <a:lnTo>
                    <a:pt x="1291" y="1378"/>
                  </a:lnTo>
                  <a:lnTo>
                    <a:pt x="1295" y="1385"/>
                  </a:lnTo>
                  <a:lnTo>
                    <a:pt x="1301" y="1391"/>
                  </a:lnTo>
                  <a:lnTo>
                    <a:pt x="1307" y="1395"/>
                  </a:lnTo>
                  <a:lnTo>
                    <a:pt x="1311" y="1400"/>
                  </a:lnTo>
                  <a:lnTo>
                    <a:pt x="1316" y="1404"/>
                  </a:lnTo>
                  <a:lnTo>
                    <a:pt x="1322" y="1410"/>
                  </a:lnTo>
                  <a:lnTo>
                    <a:pt x="1328" y="1414"/>
                  </a:lnTo>
                  <a:lnTo>
                    <a:pt x="1332" y="1416"/>
                  </a:lnTo>
                  <a:lnTo>
                    <a:pt x="1337" y="1419"/>
                  </a:lnTo>
                  <a:lnTo>
                    <a:pt x="1360" y="1419"/>
                  </a:lnTo>
                  <a:lnTo>
                    <a:pt x="1360" y="1419"/>
                  </a:lnTo>
                  <a:lnTo>
                    <a:pt x="1362" y="1416"/>
                  </a:lnTo>
                  <a:lnTo>
                    <a:pt x="1364" y="1412"/>
                  </a:lnTo>
                  <a:lnTo>
                    <a:pt x="1366" y="1410"/>
                  </a:lnTo>
                  <a:lnTo>
                    <a:pt x="1370" y="1406"/>
                  </a:lnTo>
                  <a:lnTo>
                    <a:pt x="1372" y="1404"/>
                  </a:lnTo>
                  <a:lnTo>
                    <a:pt x="1375" y="1402"/>
                  </a:lnTo>
                  <a:lnTo>
                    <a:pt x="1379" y="1400"/>
                  </a:lnTo>
                  <a:lnTo>
                    <a:pt x="1385" y="1399"/>
                  </a:lnTo>
                  <a:lnTo>
                    <a:pt x="1385" y="1484"/>
                  </a:lnTo>
                  <a:lnTo>
                    <a:pt x="1385" y="1484"/>
                  </a:lnTo>
                  <a:lnTo>
                    <a:pt x="1381" y="1484"/>
                  </a:lnTo>
                  <a:lnTo>
                    <a:pt x="1377" y="1484"/>
                  </a:lnTo>
                  <a:lnTo>
                    <a:pt x="1374" y="1484"/>
                  </a:lnTo>
                  <a:lnTo>
                    <a:pt x="1370" y="1484"/>
                  </a:lnTo>
                  <a:lnTo>
                    <a:pt x="1368" y="1484"/>
                  </a:lnTo>
                  <a:lnTo>
                    <a:pt x="1364" y="1484"/>
                  </a:lnTo>
                  <a:lnTo>
                    <a:pt x="1360" y="1484"/>
                  </a:lnTo>
                  <a:lnTo>
                    <a:pt x="1354" y="1484"/>
                  </a:lnTo>
                  <a:lnTo>
                    <a:pt x="1354" y="1484"/>
                  </a:lnTo>
                  <a:lnTo>
                    <a:pt x="1351" y="1484"/>
                  </a:lnTo>
                  <a:lnTo>
                    <a:pt x="1347" y="1486"/>
                  </a:lnTo>
                  <a:lnTo>
                    <a:pt x="1345" y="1486"/>
                  </a:lnTo>
                  <a:lnTo>
                    <a:pt x="1341" y="1488"/>
                  </a:lnTo>
                  <a:lnTo>
                    <a:pt x="1337" y="1490"/>
                  </a:lnTo>
                  <a:lnTo>
                    <a:pt x="1335" y="1492"/>
                  </a:lnTo>
                  <a:lnTo>
                    <a:pt x="1332" y="1494"/>
                  </a:lnTo>
                  <a:lnTo>
                    <a:pt x="1328" y="1494"/>
                  </a:lnTo>
                  <a:lnTo>
                    <a:pt x="1328" y="1494"/>
                  </a:lnTo>
                  <a:lnTo>
                    <a:pt x="1324" y="1494"/>
                  </a:lnTo>
                  <a:lnTo>
                    <a:pt x="1320" y="1492"/>
                  </a:lnTo>
                  <a:lnTo>
                    <a:pt x="1316" y="1488"/>
                  </a:lnTo>
                  <a:lnTo>
                    <a:pt x="1312" y="1484"/>
                  </a:lnTo>
                  <a:lnTo>
                    <a:pt x="1309" y="1481"/>
                  </a:lnTo>
                  <a:lnTo>
                    <a:pt x="1307" y="1477"/>
                  </a:lnTo>
                  <a:lnTo>
                    <a:pt x="1303" y="1471"/>
                  </a:lnTo>
                  <a:lnTo>
                    <a:pt x="1299" y="1465"/>
                  </a:lnTo>
                  <a:lnTo>
                    <a:pt x="1295" y="1460"/>
                  </a:lnTo>
                  <a:lnTo>
                    <a:pt x="1293" y="1454"/>
                  </a:lnTo>
                  <a:lnTo>
                    <a:pt x="1290" y="1448"/>
                  </a:lnTo>
                  <a:lnTo>
                    <a:pt x="1288" y="1442"/>
                  </a:lnTo>
                  <a:lnTo>
                    <a:pt x="1284" y="1437"/>
                  </a:lnTo>
                  <a:lnTo>
                    <a:pt x="1280" y="1433"/>
                  </a:lnTo>
                  <a:lnTo>
                    <a:pt x="1278" y="1429"/>
                  </a:lnTo>
                  <a:lnTo>
                    <a:pt x="1274" y="1425"/>
                  </a:lnTo>
                  <a:lnTo>
                    <a:pt x="1274" y="1425"/>
                  </a:lnTo>
                  <a:lnTo>
                    <a:pt x="1267" y="1419"/>
                  </a:lnTo>
                  <a:lnTo>
                    <a:pt x="1261" y="1416"/>
                  </a:lnTo>
                  <a:lnTo>
                    <a:pt x="1253" y="1414"/>
                  </a:lnTo>
                  <a:lnTo>
                    <a:pt x="1244" y="1412"/>
                  </a:lnTo>
                  <a:lnTo>
                    <a:pt x="1236" y="1410"/>
                  </a:lnTo>
                  <a:lnTo>
                    <a:pt x="1229" y="1408"/>
                  </a:lnTo>
                  <a:lnTo>
                    <a:pt x="1219" y="1404"/>
                  </a:lnTo>
                  <a:lnTo>
                    <a:pt x="1209" y="1399"/>
                  </a:lnTo>
                  <a:lnTo>
                    <a:pt x="1209" y="1399"/>
                  </a:lnTo>
                  <a:lnTo>
                    <a:pt x="1204" y="1395"/>
                  </a:lnTo>
                  <a:lnTo>
                    <a:pt x="1200" y="1387"/>
                  </a:lnTo>
                  <a:lnTo>
                    <a:pt x="1196" y="1381"/>
                  </a:lnTo>
                  <a:lnTo>
                    <a:pt x="1192" y="1376"/>
                  </a:lnTo>
                  <a:lnTo>
                    <a:pt x="1188" y="1368"/>
                  </a:lnTo>
                  <a:lnTo>
                    <a:pt x="1185" y="1362"/>
                  </a:lnTo>
                  <a:lnTo>
                    <a:pt x="1179" y="1357"/>
                  </a:lnTo>
                  <a:lnTo>
                    <a:pt x="1171" y="1351"/>
                  </a:lnTo>
                  <a:lnTo>
                    <a:pt x="1171" y="1351"/>
                  </a:lnTo>
                  <a:lnTo>
                    <a:pt x="1169" y="1357"/>
                  </a:lnTo>
                  <a:lnTo>
                    <a:pt x="1166" y="1362"/>
                  </a:lnTo>
                  <a:lnTo>
                    <a:pt x="1164" y="1366"/>
                  </a:lnTo>
                  <a:lnTo>
                    <a:pt x="1160" y="1372"/>
                  </a:lnTo>
                  <a:lnTo>
                    <a:pt x="1154" y="1376"/>
                  </a:lnTo>
                  <a:lnTo>
                    <a:pt x="1150" y="1378"/>
                  </a:lnTo>
                  <a:lnTo>
                    <a:pt x="1143" y="1381"/>
                  </a:lnTo>
                  <a:lnTo>
                    <a:pt x="1137" y="1381"/>
                  </a:lnTo>
                  <a:lnTo>
                    <a:pt x="1137" y="1381"/>
                  </a:lnTo>
                  <a:lnTo>
                    <a:pt x="1127" y="1381"/>
                  </a:lnTo>
                  <a:lnTo>
                    <a:pt x="1120" y="1381"/>
                  </a:lnTo>
                  <a:lnTo>
                    <a:pt x="1110" y="1379"/>
                  </a:lnTo>
                  <a:lnTo>
                    <a:pt x="1101" y="1378"/>
                  </a:lnTo>
                  <a:lnTo>
                    <a:pt x="1093" y="1376"/>
                  </a:lnTo>
                  <a:lnTo>
                    <a:pt x="1084" y="1374"/>
                  </a:lnTo>
                  <a:lnTo>
                    <a:pt x="1074" y="1370"/>
                  </a:lnTo>
                  <a:lnTo>
                    <a:pt x="1066" y="1368"/>
                  </a:lnTo>
                  <a:lnTo>
                    <a:pt x="1059" y="1364"/>
                  </a:lnTo>
                  <a:lnTo>
                    <a:pt x="1051" y="1358"/>
                  </a:lnTo>
                  <a:lnTo>
                    <a:pt x="1045" y="1355"/>
                  </a:lnTo>
                  <a:lnTo>
                    <a:pt x="1040" y="1349"/>
                  </a:lnTo>
                  <a:lnTo>
                    <a:pt x="1036" y="1343"/>
                  </a:lnTo>
                  <a:lnTo>
                    <a:pt x="1034" y="1337"/>
                  </a:lnTo>
                  <a:lnTo>
                    <a:pt x="1030" y="1330"/>
                  </a:lnTo>
                  <a:lnTo>
                    <a:pt x="1030" y="1322"/>
                  </a:lnTo>
                  <a:lnTo>
                    <a:pt x="1030" y="1322"/>
                  </a:lnTo>
                  <a:lnTo>
                    <a:pt x="1026" y="1322"/>
                  </a:lnTo>
                  <a:lnTo>
                    <a:pt x="1024" y="1324"/>
                  </a:lnTo>
                  <a:lnTo>
                    <a:pt x="1023" y="1324"/>
                  </a:lnTo>
                  <a:lnTo>
                    <a:pt x="1021" y="1322"/>
                  </a:lnTo>
                  <a:lnTo>
                    <a:pt x="1019" y="1322"/>
                  </a:lnTo>
                  <a:lnTo>
                    <a:pt x="1015" y="1322"/>
                  </a:lnTo>
                  <a:lnTo>
                    <a:pt x="1013" y="1322"/>
                  </a:lnTo>
                  <a:lnTo>
                    <a:pt x="1009" y="1322"/>
                  </a:lnTo>
                  <a:lnTo>
                    <a:pt x="1009" y="1322"/>
                  </a:lnTo>
                  <a:lnTo>
                    <a:pt x="1002" y="1322"/>
                  </a:lnTo>
                  <a:lnTo>
                    <a:pt x="996" y="1326"/>
                  </a:lnTo>
                  <a:lnTo>
                    <a:pt x="990" y="1328"/>
                  </a:lnTo>
                  <a:lnTo>
                    <a:pt x="984" y="1332"/>
                  </a:lnTo>
                  <a:lnTo>
                    <a:pt x="981" y="1334"/>
                  </a:lnTo>
                  <a:lnTo>
                    <a:pt x="975" y="1337"/>
                  </a:lnTo>
                  <a:lnTo>
                    <a:pt x="971" y="1339"/>
                  </a:lnTo>
                  <a:lnTo>
                    <a:pt x="965" y="1339"/>
                  </a:lnTo>
                  <a:lnTo>
                    <a:pt x="965" y="1339"/>
                  </a:lnTo>
                  <a:lnTo>
                    <a:pt x="960" y="1339"/>
                  </a:lnTo>
                  <a:lnTo>
                    <a:pt x="956" y="1336"/>
                  </a:lnTo>
                  <a:lnTo>
                    <a:pt x="954" y="1330"/>
                  </a:lnTo>
                  <a:lnTo>
                    <a:pt x="954" y="1324"/>
                  </a:lnTo>
                  <a:lnTo>
                    <a:pt x="954" y="1316"/>
                  </a:lnTo>
                  <a:lnTo>
                    <a:pt x="950" y="1313"/>
                  </a:lnTo>
                  <a:lnTo>
                    <a:pt x="942" y="1309"/>
                  </a:lnTo>
                  <a:lnTo>
                    <a:pt x="929" y="1307"/>
                  </a:lnTo>
                  <a:lnTo>
                    <a:pt x="929" y="1307"/>
                  </a:lnTo>
                  <a:lnTo>
                    <a:pt x="925" y="1309"/>
                  </a:lnTo>
                  <a:lnTo>
                    <a:pt x="920" y="1311"/>
                  </a:lnTo>
                  <a:lnTo>
                    <a:pt x="912" y="1311"/>
                  </a:lnTo>
                  <a:lnTo>
                    <a:pt x="906" y="1309"/>
                  </a:lnTo>
                  <a:lnTo>
                    <a:pt x="900" y="1309"/>
                  </a:lnTo>
                  <a:lnTo>
                    <a:pt x="893" y="1309"/>
                  </a:lnTo>
                  <a:lnTo>
                    <a:pt x="885" y="1307"/>
                  </a:lnTo>
                  <a:lnTo>
                    <a:pt x="879" y="1307"/>
                  </a:lnTo>
                  <a:lnTo>
                    <a:pt x="879" y="1307"/>
                  </a:lnTo>
                  <a:lnTo>
                    <a:pt x="876" y="1307"/>
                  </a:lnTo>
                  <a:lnTo>
                    <a:pt x="870" y="1307"/>
                  </a:lnTo>
                  <a:lnTo>
                    <a:pt x="866" y="1309"/>
                  </a:lnTo>
                  <a:lnTo>
                    <a:pt x="860" y="1309"/>
                  </a:lnTo>
                  <a:lnTo>
                    <a:pt x="855" y="1311"/>
                  </a:lnTo>
                  <a:lnTo>
                    <a:pt x="849" y="1313"/>
                  </a:lnTo>
                  <a:lnTo>
                    <a:pt x="843" y="1315"/>
                  </a:lnTo>
                  <a:lnTo>
                    <a:pt x="837" y="1316"/>
                  </a:lnTo>
                  <a:lnTo>
                    <a:pt x="832" y="1318"/>
                  </a:lnTo>
                  <a:lnTo>
                    <a:pt x="826" y="1318"/>
                  </a:lnTo>
                  <a:lnTo>
                    <a:pt x="820" y="1320"/>
                  </a:lnTo>
                  <a:lnTo>
                    <a:pt x="817" y="1322"/>
                  </a:lnTo>
                  <a:lnTo>
                    <a:pt x="811" y="1322"/>
                  </a:lnTo>
                  <a:lnTo>
                    <a:pt x="807" y="1324"/>
                  </a:lnTo>
                  <a:lnTo>
                    <a:pt x="803" y="1324"/>
                  </a:lnTo>
                  <a:lnTo>
                    <a:pt x="799" y="1324"/>
                  </a:lnTo>
                  <a:lnTo>
                    <a:pt x="799" y="1324"/>
                  </a:lnTo>
                  <a:lnTo>
                    <a:pt x="796" y="1324"/>
                  </a:lnTo>
                  <a:lnTo>
                    <a:pt x="792" y="1322"/>
                  </a:lnTo>
                  <a:lnTo>
                    <a:pt x="790" y="1320"/>
                  </a:lnTo>
                  <a:lnTo>
                    <a:pt x="788" y="1316"/>
                  </a:lnTo>
                  <a:lnTo>
                    <a:pt x="788" y="1316"/>
                  </a:lnTo>
                  <a:lnTo>
                    <a:pt x="788" y="1309"/>
                  </a:lnTo>
                  <a:lnTo>
                    <a:pt x="790" y="1303"/>
                  </a:lnTo>
                  <a:lnTo>
                    <a:pt x="792" y="1297"/>
                  </a:lnTo>
                  <a:lnTo>
                    <a:pt x="796" y="1292"/>
                  </a:lnTo>
                  <a:lnTo>
                    <a:pt x="797" y="1286"/>
                  </a:lnTo>
                  <a:lnTo>
                    <a:pt x="799" y="1280"/>
                  </a:lnTo>
                  <a:lnTo>
                    <a:pt x="801" y="1273"/>
                  </a:lnTo>
                  <a:lnTo>
                    <a:pt x="801" y="1265"/>
                  </a:lnTo>
                  <a:lnTo>
                    <a:pt x="801" y="1265"/>
                  </a:lnTo>
                  <a:lnTo>
                    <a:pt x="801" y="1259"/>
                  </a:lnTo>
                  <a:lnTo>
                    <a:pt x="799" y="1254"/>
                  </a:lnTo>
                  <a:lnTo>
                    <a:pt x="797" y="1250"/>
                  </a:lnTo>
                  <a:lnTo>
                    <a:pt x="796" y="1244"/>
                  </a:lnTo>
                  <a:lnTo>
                    <a:pt x="792" y="1240"/>
                  </a:lnTo>
                  <a:lnTo>
                    <a:pt x="790" y="1234"/>
                  </a:lnTo>
                  <a:lnTo>
                    <a:pt x="788" y="1229"/>
                  </a:lnTo>
                  <a:lnTo>
                    <a:pt x="788" y="1221"/>
                  </a:lnTo>
                  <a:lnTo>
                    <a:pt x="788" y="1221"/>
                  </a:lnTo>
                  <a:lnTo>
                    <a:pt x="782" y="1221"/>
                  </a:lnTo>
                  <a:lnTo>
                    <a:pt x="778" y="1217"/>
                  </a:lnTo>
                  <a:lnTo>
                    <a:pt x="773" y="1213"/>
                  </a:lnTo>
                  <a:lnTo>
                    <a:pt x="769" y="1210"/>
                  </a:lnTo>
                  <a:lnTo>
                    <a:pt x="767" y="1204"/>
                  </a:lnTo>
                  <a:lnTo>
                    <a:pt x="763" y="1198"/>
                  </a:lnTo>
                  <a:lnTo>
                    <a:pt x="761" y="1191"/>
                  </a:lnTo>
                  <a:lnTo>
                    <a:pt x="761" y="1187"/>
                  </a:lnTo>
                  <a:lnTo>
                    <a:pt x="761" y="1187"/>
                  </a:lnTo>
                  <a:lnTo>
                    <a:pt x="761" y="1175"/>
                  </a:lnTo>
                  <a:lnTo>
                    <a:pt x="761" y="1164"/>
                  </a:lnTo>
                  <a:lnTo>
                    <a:pt x="761" y="1152"/>
                  </a:lnTo>
                  <a:lnTo>
                    <a:pt x="761" y="1143"/>
                  </a:lnTo>
                  <a:lnTo>
                    <a:pt x="761" y="1131"/>
                  </a:lnTo>
                  <a:lnTo>
                    <a:pt x="761" y="1122"/>
                  </a:lnTo>
                  <a:lnTo>
                    <a:pt x="761" y="1110"/>
                  </a:lnTo>
                  <a:lnTo>
                    <a:pt x="761" y="1101"/>
                  </a:lnTo>
                  <a:lnTo>
                    <a:pt x="761" y="1089"/>
                  </a:lnTo>
                  <a:lnTo>
                    <a:pt x="761" y="1080"/>
                  </a:lnTo>
                  <a:lnTo>
                    <a:pt x="761" y="1068"/>
                  </a:lnTo>
                  <a:lnTo>
                    <a:pt x="761" y="1057"/>
                  </a:lnTo>
                  <a:lnTo>
                    <a:pt x="761" y="1046"/>
                  </a:lnTo>
                  <a:lnTo>
                    <a:pt x="761" y="1034"/>
                  </a:lnTo>
                  <a:lnTo>
                    <a:pt x="761" y="1023"/>
                  </a:lnTo>
                  <a:lnTo>
                    <a:pt x="761" y="1009"/>
                  </a:lnTo>
                  <a:lnTo>
                    <a:pt x="654" y="1009"/>
                  </a:lnTo>
                  <a:lnTo>
                    <a:pt x="654" y="992"/>
                  </a:lnTo>
                  <a:lnTo>
                    <a:pt x="654" y="992"/>
                  </a:lnTo>
                  <a:lnTo>
                    <a:pt x="647" y="990"/>
                  </a:lnTo>
                  <a:lnTo>
                    <a:pt x="639" y="990"/>
                  </a:lnTo>
                  <a:lnTo>
                    <a:pt x="633" y="990"/>
                  </a:lnTo>
                  <a:lnTo>
                    <a:pt x="628" y="988"/>
                  </a:lnTo>
                  <a:lnTo>
                    <a:pt x="622" y="986"/>
                  </a:lnTo>
                  <a:lnTo>
                    <a:pt x="614" y="986"/>
                  </a:lnTo>
                  <a:lnTo>
                    <a:pt x="607" y="986"/>
                  </a:lnTo>
                  <a:lnTo>
                    <a:pt x="599" y="986"/>
                  </a:lnTo>
                  <a:lnTo>
                    <a:pt x="599" y="986"/>
                  </a:lnTo>
                  <a:lnTo>
                    <a:pt x="588" y="986"/>
                  </a:lnTo>
                  <a:lnTo>
                    <a:pt x="580" y="990"/>
                  </a:lnTo>
                  <a:lnTo>
                    <a:pt x="578" y="996"/>
                  </a:lnTo>
                  <a:lnTo>
                    <a:pt x="576" y="1002"/>
                  </a:lnTo>
                  <a:lnTo>
                    <a:pt x="576" y="1009"/>
                  </a:lnTo>
                  <a:lnTo>
                    <a:pt x="578" y="1017"/>
                  </a:lnTo>
                  <a:lnTo>
                    <a:pt x="578" y="1025"/>
                  </a:lnTo>
                  <a:lnTo>
                    <a:pt x="576" y="1032"/>
                  </a:lnTo>
                  <a:lnTo>
                    <a:pt x="576" y="1032"/>
                  </a:lnTo>
                  <a:lnTo>
                    <a:pt x="572" y="1042"/>
                  </a:lnTo>
                  <a:lnTo>
                    <a:pt x="567" y="1049"/>
                  </a:lnTo>
                  <a:lnTo>
                    <a:pt x="563" y="1055"/>
                  </a:lnTo>
                  <a:lnTo>
                    <a:pt x="557" y="1059"/>
                  </a:lnTo>
                  <a:lnTo>
                    <a:pt x="549" y="1061"/>
                  </a:lnTo>
                  <a:lnTo>
                    <a:pt x="542" y="1063"/>
                  </a:lnTo>
                  <a:lnTo>
                    <a:pt x="530" y="1065"/>
                  </a:lnTo>
                  <a:lnTo>
                    <a:pt x="519" y="1065"/>
                  </a:lnTo>
                  <a:lnTo>
                    <a:pt x="519" y="1065"/>
                  </a:lnTo>
                  <a:lnTo>
                    <a:pt x="511" y="1065"/>
                  </a:lnTo>
                  <a:lnTo>
                    <a:pt x="502" y="1067"/>
                  </a:lnTo>
                  <a:lnTo>
                    <a:pt x="494" y="1068"/>
                  </a:lnTo>
                  <a:lnTo>
                    <a:pt x="487" y="1070"/>
                  </a:lnTo>
                  <a:lnTo>
                    <a:pt x="479" y="1070"/>
                  </a:lnTo>
                  <a:lnTo>
                    <a:pt x="471" y="1072"/>
                  </a:lnTo>
                  <a:lnTo>
                    <a:pt x="464" y="1074"/>
                  </a:lnTo>
                  <a:lnTo>
                    <a:pt x="454" y="1074"/>
                  </a:lnTo>
                  <a:lnTo>
                    <a:pt x="454" y="1074"/>
                  </a:lnTo>
                  <a:lnTo>
                    <a:pt x="445" y="1072"/>
                  </a:lnTo>
                  <a:lnTo>
                    <a:pt x="435" y="1070"/>
                  </a:lnTo>
                  <a:lnTo>
                    <a:pt x="425" y="1067"/>
                  </a:lnTo>
                  <a:lnTo>
                    <a:pt x="416" y="1061"/>
                  </a:lnTo>
                  <a:lnTo>
                    <a:pt x="408" y="1055"/>
                  </a:lnTo>
                  <a:lnTo>
                    <a:pt x="399" y="1047"/>
                  </a:lnTo>
                  <a:lnTo>
                    <a:pt x="393" y="1038"/>
                  </a:lnTo>
                  <a:lnTo>
                    <a:pt x="385" y="1030"/>
                  </a:lnTo>
                  <a:lnTo>
                    <a:pt x="378" y="1021"/>
                  </a:lnTo>
                  <a:lnTo>
                    <a:pt x="372" y="1011"/>
                  </a:lnTo>
                  <a:lnTo>
                    <a:pt x="366" y="1000"/>
                  </a:lnTo>
                  <a:lnTo>
                    <a:pt x="363" y="990"/>
                  </a:lnTo>
                  <a:lnTo>
                    <a:pt x="359" y="981"/>
                  </a:lnTo>
                  <a:lnTo>
                    <a:pt x="355" y="971"/>
                  </a:lnTo>
                  <a:lnTo>
                    <a:pt x="353" y="962"/>
                  </a:lnTo>
                  <a:lnTo>
                    <a:pt x="351" y="952"/>
                  </a:lnTo>
                  <a:lnTo>
                    <a:pt x="351" y="952"/>
                  </a:lnTo>
                  <a:lnTo>
                    <a:pt x="351" y="946"/>
                  </a:lnTo>
                  <a:lnTo>
                    <a:pt x="351" y="939"/>
                  </a:lnTo>
                  <a:lnTo>
                    <a:pt x="351" y="933"/>
                  </a:lnTo>
                  <a:lnTo>
                    <a:pt x="351" y="927"/>
                  </a:lnTo>
                  <a:lnTo>
                    <a:pt x="349" y="922"/>
                  </a:lnTo>
                  <a:lnTo>
                    <a:pt x="349" y="916"/>
                  </a:lnTo>
                  <a:lnTo>
                    <a:pt x="345" y="910"/>
                  </a:lnTo>
                  <a:lnTo>
                    <a:pt x="342" y="904"/>
                  </a:lnTo>
                  <a:lnTo>
                    <a:pt x="342" y="904"/>
                  </a:lnTo>
                  <a:lnTo>
                    <a:pt x="334" y="901"/>
                  </a:lnTo>
                  <a:lnTo>
                    <a:pt x="328" y="897"/>
                  </a:lnTo>
                  <a:lnTo>
                    <a:pt x="321" y="897"/>
                  </a:lnTo>
                  <a:lnTo>
                    <a:pt x="313" y="897"/>
                  </a:lnTo>
                  <a:lnTo>
                    <a:pt x="305" y="897"/>
                  </a:lnTo>
                  <a:lnTo>
                    <a:pt x="298" y="899"/>
                  </a:lnTo>
                  <a:lnTo>
                    <a:pt x="288" y="899"/>
                  </a:lnTo>
                  <a:lnTo>
                    <a:pt x="280" y="897"/>
                  </a:lnTo>
                  <a:lnTo>
                    <a:pt x="71" y="897"/>
                  </a:lnTo>
                  <a:lnTo>
                    <a:pt x="71" y="897"/>
                  </a:lnTo>
                  <a:lnTo>
                    <a:pt x="65" y="897"/>
                  </a:lnTo>
                  <a:lnTo>
                    <a:pt x="61" y="897"/>
                  </a:lnTo>
                  <a:lnTo>
                    <a:pt x="55" y="899"/>
                  </a:lnTo>
                  <a:lnTo>
                    <a:pt x="50" y="899"/>
                  </a:lnTo>
                  <a:lnTo>
                    <a:pt x="44" y="899"/>
                  </a:lnTo>
                  <a:lnTo>
                    <a:pt x="38" y="901"/>
                  </a:lnTo>
                  <a:lnTo>
                    <a:pt x="33" y="902"/>
                  </a:lnTo>
                  <a:lnTo>
                    <a:pt x="29" y="902"/>
                  </a:lnTo>
                  <a:lnTo>
                    <a:pt x="23" y="904"/>
                  </a:lnTo>
                  <a:lnTo>
                    <a:pt x="19" y="908"/>
                  </a:lnTo>
                  <a:lnTo>
                    <a:pt x="13" y="910"/>
                  </a:lnTo>
                  <a:lnTo>
                    <a:pt x="12" y="912"/>
                  </a:lnTo>
                  <a:lnTo>
                    <a:pt x="8" y="916"/>
                  </a:lnTo>
                  <a:lnTo>
                    <a:pt x="6" y="918"/>
                  </a:lnTo>
                  <a:lnTo>
                    <a:pt x="4" y="922"/>
                  </a:lnTo>
                  <a:lnTo>
                    <a:pt x="2" y="927"/>
                  </a:lnTo>
                  <a:lnTo>
                    <a:pt x="0" y="887"/>
                  </a:lnTo>
                  <a:lnTo>
                    <a:pt x="0" y="887"/>
                  </a:lnTo>
                  <a:lnTo>
                    <a:pt x="8" y="885"/>
                  </a:lnTo>
                  <a:lnTo>
                    <a:pt x="12" y="880"/>
                  </a:lnTo>
                  <a:lnTo>
                    <a:pt x="15" y="874"/>
                  </a:lnTo>
                  <a:lnTo>
                    <a:pt x="15" y="864"/>
                  </a:lnTo>
                  <a:lnTo>
                    <a:pt x="15" y="855"/>
                  </a:lnTo>
                  <a:lnTo>
                    <a:pt x="15" y="845"/>
                  </a:lnTo>
                  <a:lnTo>
                    <a:pt x="15" y="836"/>
                  </a:lnTo>
                  <a:lnTo>
                    <a:pt x="17" y="828"/>
                  </a:lnTo>
                  <a:lnTo>
                    <a:pt x="17" y="828"/>
                  </a:lnTo>
                  <a:lnTo>
                    <a:pt x="21" y="822"/>
                  </a:lnTo>
                  <a:lnTo>
                    <a:pt x="25" y="819"/>
                  </a:lnTo>
                  <a:lnTo>
                    <a:pt x="29" y="815"/>
                  </a:lnTo>
                  <a:lnTo>
                    <a:pt x="34" y="813"/>
                  </a:lnTo>
                  <a:lnTo>
                    <a:pt x="38" y="809"/>
                  </a:lnTo>
                  <a:lnTo>
                    <a:pt x="44" y="807"/>
                  </a:lnTo>
                  <a:lnTo>
                    <a:pt x="48" y="803"/>
                  </a:lnTo>
                  <a:lnTo>
                    <a:pt x="52" y="799"/>
                  </a:lnTo>
                  <a:lnTo>
                    <a:pt x="52" y="799"/>
                  </a:lnTo>
                  <a:lnTo>
                    <a:pt x="55" y="801"/>
                  </a:lnTo>
                  <a:lnTo>
                    <a:pt x="59" y="803"/>
                  </a:lnTo>
                  <a:lnTo>
                    <a:pt x="63" y="805"/>
                  </a:lnTo>
                  <a:lnTo>
                    <a:pt x="67" y="807"/>
                  </a:lnTo>
                  <a:lnTo>
                    <a:pt x="71" y="809"/>
                  </a:lnTo>
                  <a:lnTo>
                    <a:pt x="74" y="809"/>
                  </a:lnTo>
                  <a:lnTo>
                    <a:pt x="78" y="811"/>
                  </a:lnTo>
                  <a:lnTo>
                    <a:pt x="82" y="811"/>
                  </a:lnTo>
                  <a:lnTo>
                    <a:pt x="82" y="811"/>
                  </a:lnTo>
                  <a:lnTo>
                    <a:pt x="90" y="809"/>
                  </a:lnTo>
                  <a:lnTo>
                    <a:pt x="97" y="807"/>
                  </a:lnTo>
                  <a:lnTo>
                    <a:pt x="105" y="801"/>
                  </a:lnTo>
                  <a:lnTo>
                    <a:pt x="113" y="798"/>
                  </a:lnTo>
                  <a:lnTo>
                    <a:pt x="122" y="792"/>
                  </a:lnTo>
                  <a:lnTo>
                    <a:pt x="130" y="786"/>
                  </a:lnTo>
                  <a:lnTo>
                    <a:pt x="136" y="782"/>
                  </a:lnTo>
                  <a:lnTo>
                    <a:pt x="141" y="778"/>
                  </a:lnTo>
                  <a:lnTo>
                    <a:pt x="164" y="778"/>
                  </a:lnTo>
                  <a:lnTo>
                    <a:pt x="164" y="778"/>
                  </a:lnTo>
                  <a:lnTo>
                    <a:pt x="162" y="780"/>
                  </a:lnTo>
                  <a:lnTo>
                    <a:pt x="160" y="784"/>
                  </a:lnTo>
                  <a:lnTo>
                    <a:pt x="158" y="786"/>
                  </a:lnTo>
                  <a:lnTo>
                    <a:pt x="157" y="790"/>
                  </a:lnTo>
                  <a:lnTo>
                    <a:pt x="155" y="792"/>
                  </a:lnTo>
                  <a:lnTo>
                    <a:pt x="155" y="796"/>
                  </a:lnTo>
                  <a:lnTo>
                    <a:pt x="153" y="799"/>
                  </a:lnTo>
                  <a:lnTo>
                    <a:pt x="153" y="801"/>
                  </a:lnTo>
                  <a:lnTo>
                    <a:pt x="153" y="801"/>
                  </a:lnTo>
                  <a:lnTo>
                    <a:pt x="155" y="809"/>
                  </a:lnTo>
                  <a:lnTo>
                    <a:pt x="155" y="813"/>
                  </a:lnTo>
                  <a:lnTo>
                    <a:pt x="158" y="819"/>
                  </a:lnTo>
                  <a:lnTo>
                    <a:pt x="162" y="820"/>
                  </a:lnTo>
                  <a:lnTo>
                    <a:pt x="166" y="822"/>
                  </a:lnTo>
                  <a:lnTo>
                    <a:pt x="172" y="824"/>
                  </a:lnTo>
                  <a:lnTo>
                    <a:pt x="177" y="826"/>
                  </a:lnTo>
                  <a:lnTo>
                    <a:pt x="181" y="826"/>
                  </a:lnTo>
                  <a:lnTo>
                    <a:pt x="181" y="826"/>
                  </a:lnTo>
                  <a:lnTo>
                    <a:pt x="191" y="824"/>
                  </a:lnTo>
                  <a:lnTo>
                    <a:pt x="200" y="820"/>
                  </a:lnTo>
                  <a:lnTo>
                    <a:pt x="212" y="817"/>
                  </a:lnTo>
                  <a:lnTo>
                    <a:pt x="221" y="811"/>
                  </a:lnTo>
                  <a:lnTo>
                    <a:pt x="229" y="803"/>
                  </a:lnTo>
                  <a:lnTo>
                    <a:pt x="237" y="796"/>
                  </a:lnTo>
                  <a:lnTo>
                    <a:pt x="240" y="788"/>
                  </a:lnTo>
                  <a:lnTo>
                    <a:pt x="240" y="780"/>
                  </a:lnTo>
                  <a:lnTo>
                    <a:pt x="240" y="780"/>
                  </a:lnTo>
                  <a:lnTo>
                    <a:pt x="242" y="773"/>
                  </a:lnTo>
                  <a:lnTo>
                    <a:pt x="246" y="767"/>
                  </a:lnTo>
                  <a:lnTo>
                    <a:pt x="254" y="761"/>
                  </a:lnTo>
                  <a:lnTo>
                    <a:pt x="263" y="758"/>
                  </a:lnTo>
                  <a:lnTo>
                    <a:pt x="273" y="754"/>
                  </a:lnTo>
                  <a:lnTo>
                    <a:pt x="282" y="750"/>
                  </a:lnTo>
                  <a:lnTo>
                    <a:pt x="290" y="746"/>
                  </a:lnTo>
                  <a:lnTo>
                    <a:pt x="298" y="740"/>
                  </a:lnTo>
                  <a:lnTo>
                    <a:pt x="298" y="740"/>
                  </a:lnTo>
                  <a:lnTo>
                    <a:pt x="301" y="737"/>
                  </a:lnTo>
                  <a:lnTo>
                    <a:pt x="303" y="731"/>
                  </a:lnTo>
                  <a:lnTo>
                    <a:pt x="305" y="725"/>
                  </a:lnTo>
                  <a:lnTo>
                    <a:pt x="309" y="719"/>
                  </a:lnTo>
                  <a:lnTo>
                    <a:pt x="311" y="712"/>
                  </a:lnTo>
                  <a:lnTo>
                    <a:pt x="313" y="706"/>
                  </a:lnTo>
                  <a:lnTo>
                    <a:pt x="313" y="696"/>
                  </a:lnTo>
                  <a:lnTo>
                    <a:pt x="315" y="689"/>
                  </a:lnTo>
                  <a:lnTo>
                    <a:pt x="315" y="681"/>
                  </a:lnTo>
                  <a:lnTo>
                    <a:pt x="317" y="674"/>
                  </a:lnTo>
                  <a:lnTo>
                    <a:pt x="317" y="664"/>
                  </a:lnTo>
                  <a:lnTo>
                    <a:pt x="317" y="656"/>
                  </a:lnTo>
                  <a:lnTo>
                    <a:pt x="319" y="649"/>
                  </a:lnTo>
                  <a:lnTo>
                    <a:pt x="319" y="641"/>
                  </a:lnTo>
                  <a:lnTo>
                    <a:pt x="319" y="634"/>
                  </a:lnTo>
                  <a:lnTo>
                    <a:pt x="319" y="628"/>
                  </a:lnTo>
                  <a:lnTo>
                    <a:pt x="319" y="628"/>
                  </a:lnTo>
                  <a:lnTo>
                    <a:pt x="319" y="616"/>
                  </a:lnTo>
                  <a:lnTo>
                    <a:pt x="321" y="607"/>
                  </a:lnTo>
                  <a:lnTo>
                    <a:pt x="324" y="597"/>
                  </a:lnTo>
                  <a:lnTo>
                    <a:pt x="328" y="588"/>
                  </a:lnTo>
                  <a:lnTo>
                    <a:pt x="334" y="578"/>
                  </a:lnTo>
                  <a:lnTo>
                    <a:pt x="340" y="571"/>
                  </a:lnTo>
                  <a:lnTo>
                    <a:pt x="345" y="561"/>
                  </a:lnTo>
                  <a:lnTo>
                    <a:pt x="353" y="553"/>
                  </a:lnTo>
                  <a:lnTo>
                    <a:pt x="361" y="546"/>
                  </a:lnTo>
                  <a:lnTo>
                    <a:pt x="368" y="538"/>
                  </a:lnTo>
                  <a:lnTo>
                    <a:pt x="374" y="530"/>
                  </a:lnTo>
                  <a:lnTo>
                    <a:pt x="382" y="523"/>
                  </a:lnTo>
                  <a:lnTo>
                    <a:pt x="389" y="517"/>
                  </a:lnTo>
                  <a:lnTo>
                    <a:pt x="395" y="510"/>
                  </a:lnTo>
                  <a:lnTo>
                    <a:pt x="401" y="504"/>
                  </a:lnTo>
                  <a:lnTo>
                    <a:pt x="406" y="498"/>
                  </a:lnTo>
                  <a:lnTo>
                    <a:pt x="406" y="498"/>
                  </a:lnTo>
                  <a:lnTo>
                    <a:pt x="410" y="492"/>
                  </a:lnTo>
                  <a:lnTo>
                    <a:pt x="414" y="487"/>
                  </a:lnTo>
                  <a:lnTo>
                    <a:pt x="416" y="481"/>
                  </a:lnTo>
                  <a:lnTo>
                    <a:pt x="420" y="475"/>
                  </a:lnTo>
                  <a:lnTo>
                    <a:pt x="424" y="469"/>
                  </a:lnTo>
                  <a:lnTo>
                    <a:pt x="425" y="464"/>
                  </a:lnTo>
                  <a:lnTo>
                    <a:pt x="429" y="456"/>
                  </a:lnTo>
                  <a:lnTo>
                    <a:pt x="431" y="450"/>
                  </a:lnTo>
                  <a:lnTo>
                    <a:pt x="433" y="445"/>
                  </a:lnTo>
                  <a:lnTo>
                    <a:pt x="437" y="437"/>
                  </a:lnTo>
                  <a:lnTo>
                    <a:pt x="439" y="431"/>
                  </a:lnTo>
                  <a:lnTo>
                    <a:pt x="441" y="426"/>
                  </a:lnTo>
                  <a:lnTo>
                    <a:pt x="445" y="418"/>
                  </a:lnTo>
                  <a:lnTo>
                    <a:pt x="446" y="412"/>
                  </a:lnTo>
                  <a:lnTo>
                    <a:pt x="448" y="406"/>
                  </a:lnTo>
                  <a:lnTo>
                    <a:pt x="452" y="401"/>
                  </a:lnTo>
                  <a:lnTo>
                    <a:pt x="452" y="338"/>
                  </a:lnTo>
                  <a:lnTo>
                    <a:pt x="452" y="338"/>
                  </a:lnTo>
                  <a:lnTo>
                    <a:pt x="452" y="332"/>
                  </a:lnTo>
                  <a:lnTo>
                    <a:pt x="454" y="326"/>
                  </a:lnTo>
                  <a:lnTo>
                    <a:pt x="456" y="323"/>
                  </a:lnTo>
                  <a:lnTo>
                    <a:pt x="458" y="317"/>
                  </a:lnTo>
                  <a:lnTo>
                    <a:pt x="458" y="313"/>
                  </a:lnTo>
                  <a:lnTo>
                    <a:pt x="458" y="307"/>
                  </a:lnTo>
                  <a:lnTo>
                    <a:pt x="460" y="303"/>
                  </a:lnTo>
                  <a:lnTo>
                    <a:pt x="460" y="300"/>
                  </a:lnTo>
                  <a:lnTo>
                    <a:pt x="462" y="294"/>
                  </a:lnTo>
                  <a:lnTo>
                    <a:pt x="462" y="290"/>
                  </a:lnTo>
                  <a:lnTo>
                    <a:pt x="462" y="286"/>
                  </a:lnTo>
                  <a:lnTo>
                    <a:pt x="464" y="282"/>
                  </a:lnTo>
                  <a:lnTo>
                    <a:pt x="466" y="277"/>
                  </a:lnTo>
                  <a:lnTo>
                    <a:pt x="466" y="273"/>
                  </a:lnTo>
                  <a:lnTo>
                    <a:pt x="467" y="267"/>
                  </a:lnTo>
                  <a:lnTo>
                    <a:pt x="469" y="261"/>
                  </a:lnTo>
                  <a:lnTo>
                    <a:pt x="466" y="261"/>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83" name="Freeform 227"/>
            <p:cNvSpPr>
              <a:spLocks/>
            </p:cNvSpPr>
            <p:nvPr/>
          </p:nvSpPr>
          <p:spPr bwMode="gray">
            <a:xfrm>
              <a:off x="2208" y="1884"/>
              <a:ext cx="580" cy="370"/>
            </a:xfrm>
            <a:custGeom>
              <a:avLst/>
              <a:gdLst/>
              <a:ahLst/>
              <a:cxnLst>
                <a:cxn ang="0">
                  <a:pos x="1022" y="431"/>
                </a:cxn>
                <a:cxn ang="0">
                  <a:pos x="994" y="398"/>
                </a:cxn>
                <a:cxn ang="0">
                  <a:pos x="958" y="375"/>
                </a:cxn>
                <a:cxn ang="0">
                  <a:pos x="942" y="333"/>
                </a:cxn>
                <a:cxn ang="0">
                  <a:pos x="916" y="307"/>
                </a:cxn>
                <a:cxn ang="0">
                  <a:pos x="870" y="278"/>
                </a:cxn>
                <a:cxn ang="0">
                  <a:pos x="856" y="253"/>
                </a:cxn>
                <a:cxn ang="0">
                  <a:pos x="855" y="236"/>
                </a:cxn>
                <a:cxn ang="0">
                  <a:pos x="803" y="215"/>
                </a:cxn>
                <a:cxn ang="0">
                  <a:pos x="776" y="173"/>
                </a:cxn>
                <a:cxn ang="0">
                  <a:pos x="748" y="173"/>
                </a:cxn>
                <a:cxn ang="0">
                  <a:pos x="719" y="152"/>
                </a:cxn>
                <a:cxn ang="0">
                  <a:pos x="729" y="116"/>
                </a:cxn>
                <a:cxn ang="0">
                  <a:pos x="729" y="76"/>
                </a:cxn>
                <a:cxn ang="0">
                  <a:pos x="692" y="34"/>
                </a:cxn>
                <a:cxn ang="0">
                  <a:pos x="666" y="9"/>
                </a:cxn>
                <a:cxn ang="0">
                  <a:pos x="624" y="3"/>
                </a:cxn>
                <a:cxn ang="0">
                  <a:pos x="586" y="36"/>
                </a:cxn>
                <a:cxn ang="0">
                  <a:pos x="540" y="85"/>
                </a:cxn>
                <a:cxn ang="0">
                  <a:pos x="469" y="141"/>
                </a:cxn>
                <a:cxn ang="0">
                  <a:pos x="368" y="162"/>
                </a:cxn>
                <a:cxn ang="0">
                  <a:pos x="378" y="175"/>
                </a:cxn>
                <a:cxn ang="0">
                  <a:pos x="353" y="219"/>
                </a:cxn>
                <a:cxn ang="0">
                  <a:pos x="305" y="242"/>
                </a:cxn>
                <a:cxn ang="0">
                  <a:pos x="242" y="250"/>
                </a:cxn>
                <a:cxn ang="0">
                  <a:pos x="204" y="265"/>
                </a:cxn>
                <a:cxn ang="0">
                  <a:pos x="175" y="269"/>
                </a:cxn>
                <a:cxn ang="0">
                  <a:pos x="154" y="261"/>
                </a:cxn>
                <a:cxn ang="0">
                  <a:pos x="101" y="278"/>
                </a:cxn>
                <a:cxn ang="0">
                  <a:pos x="69" y="292"/>
                </a:cxn>
                <a:cxn ang="0">
                  <a:pos x="32" y="347"/>
                </a:cxn>
                <a:cxn ang="0">
                  <a:pos x="0" y="393"/>
                </a:cxn>
                <a:cxn ang="0">
                  <a:pos x="13" y="408"/>
                </a:cxn>
                <a:cxn ang="0">
                  <a:pos x="13" y="433"/>
                </a:cxn>
                <a:cxn ang="0">
                  <a:pos x="29" y="505"/>
                </a:cxn>
                <a:cxn ang="0">
                  <a:pos x="74" y="583"/>
                </a:cxn>
                <a:cxn ang="0">
                  <a:pos x="107" y="618"/>
                </a:cxn>
                <a:cxn ang="0">
                  <a:pos x="137" y="650"/>
                </a:cxn>
                <a:cxn ang="0">
                  <a:pos x="154" y="635"/>
                </a:cxn>
                <a:cxn ang="0">
                  <a:pos x="191" y="581"/>
                </a:cxn>
                <a:cxn ang="0">
                  <a:pos x="254" y="574"/>
                </a:cxn>
                <a:cxn ang="0">
                  <a:pos x="339" y="578"/>
                </a:cxn>
                <a:cxn ang="0">
                  <a:pos x="339" y="557"/>
                </a:cxn>
                <a:cxn ang="0">
                  <a:pos x="362" y="492"/>
                </a:cxn>
                <a:cxn ang="0">
                  <a:pos x="416" y="457"/>
                </a:cxn>
                <a:cxn ang="0">
                  <a:pos x="473" y="505"/>
                </a:cxn>
                <a:cxn ang="0">
                  <a:pos x="528" y="528"/>
                </a:cxn>
                <a:cxn ang="0">
                  <a:pos x="605" y="540"/>
                </a:cxn>
                <a:cxn ang="0">
                  <a:pos x="647" y="528"/>
                </a:cxn>
                <a:cxn ang="0">
                  <a:pos x="675" y="496"/>
                </a:cxn>
                <a:cxn ang="0">
                  <a:pos x="704" y="496"/>
                </a:cxn>
                <a:cxn ang="0">
                  <a:pos x="732" y="496"/>
                </a:cxn>
                <a:cxn ang="0">
                  <a:pos x="776" y="477"/>
                </a:cxn>
                <a:cxn ang="0">
                  <a:pos x="807" y="475"/>
                </a:cxn>
                <a:cxn ang="0">
                  <a:pos x="839" y="475"/>
                </a:cxn>
                <a:cxn ang="0">
                  <a:pos x="868" y="446"/>
                </a:cxn>
                <a:cxn ang="0">
                  <a:pos x="923" y="454"/>
                </a:cxn>
                <a:cxn ang="0">
                  <a:pos x="977" y="467"/>
                </a:cxn>
                <a:cxn ang="0">
                  <a:pos x="1017" y="457"/>
                </a:cxn>
              </a:cxnLst>
              <a:rect l="0" t="0" r="r" b="b"/>
              <a:pathLst>
                <a:path w="1024" h="671">
                  <a:moveTo>
                    <a:pt x="1024" y="457"/>
                  </a:moveTo>
                  <a:lnTo>
                    <a:pt x="1024" y="457"/>
                  </a:lnTo>
                  <a:lnTo>
                    <a:pt x="1020" y="454"/>
                  </a:lnTo>
                  <a:lnTo>
                    <a:pt x="1020" y="450"/>
                  </a:lnTo>
                  <a:lnTo>
                    <a:pt x="1020" y="444"/>
                  </a:lnTo>
                  <a:lnTo>
                    <a:pt x="1020" y="440"/>
                  </a:lnTo>
                  <a:lnTo>
                    <a:pt x="1020" y="435"/>
                  </a:lnTo>
                  <a:lnTo>
                    <a:pt x="1022" y="431"/>
                  </a:lnTo>
                  <a:lnTo>
                    <a:pt x="1022" y="425"/>
                  </a:lnTo>
                  <a:lnTo>
                    <a:pt x="1020" y="421"/>
                  </a:lnTo>
                  <a:lnTo>
                    <a:pt x="1020" y="421"/>
                  </a:lnTo>
                  <a:lnTo>
                    <a:pt x="1017" y="416"/>
                  </a:lnTo>
                  <a:lnTo>
                    <a:pt x="1013" y="410"/>
                  </a:lnTo>
                  <a:lnTo>
                    <a:pt x="1007" y="406"/>
                  </a:lnTo>
                  <a:lnTo>
                    <a:pt x="1001" y="402"/>
                  </a:lnTo>
                  <a:lnTo>
                    <a:pt x="994" y="398"/>
                  </a:lnTo>
                  <a:lnTo>
                    <a:pt x="988" y="395"/>
                  </a:lnTo>
                  <a:lnTo>
                    <a:pt x="980" y="393"/>
                  </a:lnTo>
                  <a:lnTo>
                    <a:pt x="975" y="391"/>
                  </a:lnTo>
                  <a:lnTo>
                    <a:pt x="975" y="391"/>
                  </a:lnTo>
                  <a:lnTo>
                    <a:pt x="969" y="387"/>
                  </a:lnTo>
                  <a:lnTo>
                    <a:pt x="965" y="385"/>
                  </a:lnTo>
                  <a:lnTo>
                    <a:pt x="961" y="381"/>
                  </a:lnTo>
                  <a:lnTo>
                    <a:pt x="958" y="375"/>
                  </a:lnTo>
                  <a:lnTo>
                    <a:pt x="956" y="372"/>
                  </a:lnTo>
                  <a:lnTo>
                    <a:pt x="954" y="366"/>
                  </a:lnTo>
                  <a:lnTo>
                    <a:pt x="952" y="360"/>
                  </a:lnTo>
                  <a:lnTo>
                    <a:pt x="950" y="354"/>
                  </a:lnTo>
                  <a:lnTo>
                    <a:pt x="948" y="349"/>
                  </a:lnTo>
                  <a:lnTo>
                    <a:pt x="946" y="343"/>
                  </a:lnTo>
                  <a:lnTo>
                    <a:pt x="944" y="339"/>
                  </a:lnTo>
                  <a:lnTo>
                    <a:pt x="942" y="333"/>
                  </a:lnTo>
                  <a:lnTo>
                    <a:pt x="940" y="328"/>
                  </a:lnTo>
                  <a:lnTo>
                    <a:pt x="937" y="324"/>
                  </a:lnTo>
                  <a:lnTo>
                    <a:pt x="933" y="320"/>
                  </a:lnTo>
                  <a:lnTo>
                    <a:pt x="929" y="316"/>
                  </a:lnTo>
                  <a:lnTo>
                    <a:pt x="929" y="316"/>
                  </a:lnTo>
                  <a:lnTo>
                    <a:pt x="925" y="313"/>
                  </a:lnTo>
                  <a:lnTo>
                    <a:pt x="921" y="311"/>
                  </a:lnTo>
                  <a:lnTo>
                    <a:pt x="916" y="307"/>
                  </a:lnTo>
                  <a:lnTo>
                    <a:pt x="910" y="303"/>
                  </a:lnTo>
                  <a:lnTo>
                    <a:pt x="904" y="299"/>
                  </a:lnTo>
                  <a:lnTo>
                    <a:pt x="898" y="297"/>
                  </a:lnTo>
                  <a:lnTo>
                    <a:pt x="891" y="293"/>
                  </a:lnTo>
                  <a:lnTo>
                    <a:pt x="885" y="290"/>
                  </a:lnTo>
                  <a:lnTo>
                    <a:pt x="879" y="286"/>
                  </a:lnTo>
                  <a:lnTo>
                    <a:pt x="874" y="282"/>
                  </a:lnTo>
                  <a:lnTo>
                    <a:pt x="870" y="278"/>
                  </a:lnTo>
                  <a:lnTo>
                    <a:pt x="864" y="274"/>
                  </a:lnTo>
                  <a:lnTo>
                    <a:pt x="860" y="271"/>
                  </a:lnTo>
                  <a:lnTo>
                    <a:pt x="858" y="267"/>
                  </a:lnTo>
                  <a:lnTo>
                    <a:pt x="856" y="263"/>
                  </a:lnTo>
                  <a:lnTo>
                    <a:pt x="856" y="259"/>
                  </a:lnTo>
                  <a:lnTo>
                    <a:pt x="856" y="259"/>
                  </a:lnTo>
                  <a:lnTo>
                    <a:pt x="856" y="255"/>
                  </a:lnTo>
                  <a:lnTo>
                    <a:pt x="856" y="253"/>
                  </a:lnTo>
                  <a:lnTo>
                    <a:pt x="856" y="251"/>
                  </a:lnTo>
                  <a:lnTo>
                    <a:pt x="856" y="250"/>
                  </a:lnTo>
                  <a:lnTo>
                    <a:pt x="856" y="248"/>
                  </a:lnTo>
                  <a:lnTo>
                    <a:pt x="856" y="248"/>
                  </a:lnTo>
                  <a:lnTo>
                    <a:pt x="856" y="246"/>
                  </a:lnTo>
                  <a:lnTo>
                    <a:pt x="856" y="242"/>
                  </a:lnTo>
                  <a:lnTo>
                    <a:pt x="856" y="242"/>
                  </a:lnTo>
                  <a:lnTo>
                    <a:pt x="855" y="236"/>
                  </a:lnTo>
                  <a:lnTo>
                    <a:pt x="853" y="232"/>
                  </a:lnTo>
                  <a:lnTo>
                    <a:pt x="847" y="229"/>
                  </a:lnTo>
                  <a:lnTo>
                    <a:pt x="841" y="225"/>
                  </a:lnTo>
                  <a:lnTo>
                    <a:pt x="835" y="223"/>
                  </a:lnTo>
                  <a:lnTo>
                    <a:pt x="828" y="221"/>
                  </a:lnTo>
                  <a:lnTo>
                    <a:pt x="818" y="219"/>
                  </a:lnTo>
                  <a:lnTo>
                    <a:pt x="811" y="217"/>
                  </a:lnTo>
                  <a:lnTo>
                    <a:pt x="803" y="215"/>
                  </a:lnTo>
                  <a:lnTo>
                    <a:pt x="795" y="211"/>
                  </a:lnTo>
                  <a:lnTo>
                    <a:pt x="788" y="209"/>
                  </a:lnTo>
                  <a:lnTo>
                    <a:pt x="782" y="208"/>
                  </a:lnTo>
                  <a:lnTo>
                    <a:pt x="778" y="204"/>
                  </a:lnTo>
                  <a:lnTo>
                    <a:pt x="774" y="200"/>
                  </a:lnTo>
                  <a:lnTo>
                    <a:pt x="774" y="194"/>
                  </a:lnTo>
                  <a:lnTo>
                    <a:pt x="776" y="188"/>
                  </a:lnTo>
                  <a:lnTo>
                    <a:pt x="776" y="173"/>
                  </a:lnTo>
                  <a:lnTo>
                    <a:pt x="776" y="173"/>
                  </a:lnTo>
                  <a:lnTo>
                    <a:pt x="771" y="173"/>
                  </a:lnTo>
                  <a:lnTo>
                    <a:pt x="765" y="173"/>
                  </a:lnTo>
                  <a:lnTo>
                    <a:pt x="761" y="173"/>
                  </a:lnTo>
                  <a:lnTo>
                    <a:pt x="757" y="173"/>
                  </a:lnTo>
                  <a:lnTo>
                    <a:pt x="753" y="173"/>
                  </a:lnTo>
                  <a:lnTo>
                    <a:pt x="750" y="173"/>
                  </a:lnTo>
                  <a:lnTo>
                    <a:pt x="748" y="173"/>
                  </a:lnTo>
                  <a:lnTo>
                    <a:pt x="744" y="173"/>
                  </a:lnTo>
                  <a:lnTo>
                    <a:pt x="744" y="173"/>
                  </a:lnTo>
                  <a:lnTo>
                    <a:pt x="738" y="173"/>
                  </a:lnTo>
                  <a:lnTo>
                    <a:pt x="734" y="171"/>
                  </a:lnTo>
                  <a:lnTo>
                    <a:pt x="729" y="168"/>
                  </a:lnTo>
                  <a:lnTo>
                    <a:pt x="725" y="164"/>
                  </a:lnTo>
                  <a:lnTo>
                    <a:pt x="723" y="158"/>
                  </a:lnTo>
                  <a:lnTo>
                    <a:pt x="719" y="152"/>
                  </a:lnTo>
                  <a:lnTo>
                    <a:pt x="717" y="147"/>
                  </a:lnTo>
                  <a:lnTo>
                    <a:pt x="717" y="139"/>
                  </a:lnTo>
                  <a:lnTo>
                    <a:pt x="717" y="139"/>
                  </a:lnTo>
                  <a:lnTo>
                    <a:pt x="717" y="133"/>
                  </a:lnTo>
                  <a:lnTo>
                    <a:pt x="719" y="127"/>
                  </a:lnTo>
                  <a:lnTo>
                    <a:pt x="723" y="124"/>
                  </a:lnTo>
                  <a:lnTo>
                    <a:pt x="725" y="120"/>
                  </a:lnTo>
                  <a:lnTo>
                    <a:pt x="729" y="116"/>
                  </a:lnTo>
                  <a:lnTo>
                    <a:pt x="732" y="110"/>
                  </a:lnTo>
                  <a:lnTo>
                    <a:pt x="734" y="106"/>
                  </a:lnTo>
                  <a:lnTo>
                    <a:pt x="734" y="101"/>
                  </a:lnTo>
                  <a:lnTo>
                    <a:pt x="734" y="101"/>
                  </a:lnTo>
                  <a:lnTo>
                    <a:pt x="734" y="95"/>
                  </a:lnTo>
                  <a:lnTo>
                    <a:pt x="732" y="87"/>
                  </a:lnTo>
                  <a:lnTo>
                    <a:pt x="731" y="82"/>
                  </a:lnTo>
                  <a:lnTo>
                    <a:pt x="729" y="76"/>
                  </a:lnTo>
                  <a:lnTo>
                    <a:pt x="725" y="70"/>
                  </a:lnTo>
                  <a:lnTo>
                    <a:pt x="721" y="64"/>
                  </a:lnTo>
                  <a:lnTo>
                    <a:pt x="717" y="59"/>
                  </a:lnTo>
                  <a:lnTo>
                    <a:pt x="711" y="53"/>
                  </a:lnTo>
                  <a:lnTo>
                    <a:pt x="708" y="49"/>
                  </a:lnTo>
                  <a:lnTo>
                    <a:pt x="702" y="44"/>
                  </a:lnTo>
                  <a:lnTo>
                    <a:pt x="698" y="38"/>
                  </a:lnTo>
                  <a:lnTo>
                    <a:pt x="692" y="34"/>
                  </a:lnTo>
                  <a:lnTo>
                    <a:pt x="689" y="28"/>
                  </a:lnTo>
                  <a:lnTo>
                    <a:pt x="685" y="23"/>
                  </a:lnTo>
                  <a:lnTo>
                    <a:pt x="681" y="19"/>
                  </a:lnTo>
                  <a:lnTo>
                    <a:pt x="677" y="13"/>
                  </a:lnTo>
                  <a:lnTo>
                    <a:pt x="677" y="13"/>
                  </a:lnTo>
                  <a:lnTo>
                    <a:pt x="673" y="13"/>
                  </a:lnTo>
                  <a:lnTo>
                    <a:pt x="669" y="11"/>
                  </a:lnTo>
                  <a:lnTo>
                    <a:pt x="666" y="9"/>
                  </a:lnTo>
                  <a:lnTo>
                    <a:pt x="660" y="5"/>
                  </a:lnTo>
                  <a:lnTo>
                    <a:pt x="654" y="3"/>
                  </a:lnTo>
                  <a:lnTo>
                    <a:pt x="649" y="2"/>
                  </a:lnTo>
                  <a:lnTo>
                    <a:pt x="643" y="0"/>
                  </a:lnTo>
                  <a:lnTo>
                    <a:pt x="637" y="0"/>
                  </a:lnTo>
                  <a:lnTo>
                    <a:pt x="637" y="0"/>
                  </a:lnTo>
                  <a:lnTo>
                    <a:pt x="629" y="2"/>
                  </a:lnTo>
                  <a:lnTo>
                    <a:pt x="624" y="3"/>
                  </a:lnTo>
                  <a:lnTo>
                    <a:pt x="616" y="7"/>
                  </a:lnTo>
                  <a:lnTo>
                    <a:pt x="610" y="11"/>
                  </a:lnTo>
                  <a:lnTo>
                    <a:pt x="605" y="15"/>
                  </a:lnTo>
                  <a:lnTo>
                    <a:pt x="599" y="19"/>
                  </a:lnTo>
                  <a:lnTo>
                    <a:pt x="591" y="23"/>
                  </a:lnTo>
                  <a:lnTo>
                    <a:pt x="584" y="24"/>
                  </a:lnTo>
                  <a:lnTo>
                    <a:pt x="584" y="24"/>
                  </a:lnTo>
                  <a:lnTo>
                    <a:pt x="586" y="36"/>
                  </a:lnTo>
                  <a:lnTo>
                    <a:pt x="582" y="45"/>
                  </a:lnTo>
                  <a:lnTo>
                    <a:pt x="578" y="55"/>
                  </a:lnTo>
                  <a:lnTo>
                    <a:pt x="570" y="61"/>
                  </a:lnTo>
                  <a:lnTo>
                    <a:pt x="563" y="68"/>
                  </a:lnTo>
                  <a:lnTo>
                    <a:pt x="555" y="74"/>
                  </a:lnTo>
                  <a:lnTo>
                    <a:pt x="547" y="80"/>
                  </a:lnTo>
                  <a:lnTo>
                    <a:pt x="540" y="85"/>
                  </a:lnTo>
                  <a:lnTo>
                    <a:pt x="540" y="85"/>
                  </a:lnTo>
                  <a:lnTo>
                    <a:pt x="530" y="93"/>
                  </a:lnTo>
                  <a:lnTo>
                    <a:pt x="523" y="103"/>
                  </a:lnTo>
                  <a:lnTo>
                    <a:pt x="513" y="110"/>
                  </a:lnTo>
                  <a:lnTo>
                    <a:pt x="505" y="118"/>
                  </a:lnTo>
                  <a:lnTo>
                    <a:pt x="496" y="126"/>
                  </a:lnTo>
                  <a:lnTo>
                    <a:pt x="488" y="131"/>
                  </a:lnTo>
                  <a:lnTo>
                    <a:pt x="479" y="137"/>
                  </a:lnTo>
                  <a:lnTo>
                    <a:pt x="469" y="141"/>
                  </a:lnTo>
                  <a:lnTo>
                    <a:pt x="460" y="147"/>
                  </a:lnTo>
                  <a:lnTo>
                    <a:pt x="450" y="150"/>
                  </a:lnTo>
                  <a:lnTo>
                    <a:pt x="439" y="154"/>
                  </a:lnTo>
                  <a:lnTo>
                    <a:pt x="427" y="156"/>
                  </a:lnTo>
                  <a:lnTo>
                    <a:pt x="414" y="160"/>
                  </a:lnTo>
                  <a:lnTo>
                    <a:pt x="399" y="160"/>
                  </a:lnTo>
                  <a:lnTo>
                    <a:pt x="385" y="162"/>
                  </a:lnTo>
                  <a:lnTo>
                    <a:pt x="368" y="162"/>
                  </a:lnTo>
                  <a:lnTo>
                    <a:pt x="368" y="162"/>
                  </a:lnTo>
                  <a:lnTo>
                    <a:pt x="370" y="164"/>
                  </a:lnTo>
                  <a:lnTo>
                    <a:pt x="370" y="166"/>
                  </a:lnTo>
                  <a:lnTo>
                    <a:pt x="372" y="168"/>
                  </a:lnTo>
                  <a:lnTo>
                    <a:pt x="374" y="169"/>
                  </a:lnTo>
                  <a:lnTo>
                    <a:pt x="374" y="171"/>
                  </a:lnTo>
                  <a:lnTo>
                    <a:pt x="376" y="173"/>
                  </a:lnTo>
                  <a:lnTo>
                    <a:pt x="378" y="175"/>
                  </a:lnTo>
                  <a:lnTo>
                    <a:pt x="380" y="177"/>
                  </a:lnTo>
                  <a:lnTo>
                    <a:pt x="380" y="177"/>
                  </a:lnTo>
                  <a:lnTo>
                    <a:pt x="374" y="185"/>
                  </a:lnTo>
                  <a:lnTo>
                    <a:pt x="370" y="190"/>
                  </a:lnTo>
                  <a:lnTo>
                    <a:pt x="366" y="198"/>
                  </a:lnTo>
                  <a:lnTo>
                    <a:pt x="362" y="206"/>
                  </a:lnTo>
                  <a:lnTo>
                    <a:pt x="359" y="211"/>
                  </a:lnTo>
                  <a:lnTo>
                    <a:pt x="353" y="219"/>
                  </a:lnTo>
                  <a:lnTo>
                    <a:pt x="347" y="225"/>
                  </a:lnTo>
                  <a:lnTo>
                    <a:pt x="339" y="230"/>
                  </a:lnTo>
                  <a:lnTo>
                    <a:pt x="339" y="230"/>
                  </a:lnTo>
                  <a:lnTo>
                    <a:pt x="332" y="234"/>
                  </a:lnTo>
                  <a:lnTo>
                    <a:pt x="326" y="236"/>
                  </a:lnTo>
                  <a:lnTo>
                    <a:pt x="319" y="238"/>
                  </a:lnTo>
                  <a:lnTo>
                    <a:pt x="311" y="240"/>
                  </a:lnTo>
                  <a:lnTo>
                    <a:pt x="305" y="242"/>
                  </a:lnTo>
                  <a:lnTo>
                    <a:pt x="298" y="244"/>
                  </a:lnTo>
                  <a:lnTo>
                    <a:pt x="290" y="244"/>
                  </a:lnTo>
                  <a:lnTo>
                    <a:pt x="280" y="244"/>
                  </a:lnTo>
                  <a:lnTo>
                    <a:pt x="273" y="246"/>
                  </a:lnTo>
                  <a:lnTo>
                    <a:pt x="265" y="246"/>
                  </a:lnTo>
                  <a:lnTo>
                    <a:pt x="257" y="246"/>
                  </a:lnTo>
                  <a:lnTo>
                    <a:pt x="250" y="248"/>
                  </a:lnTo>
                  <a:lnTo>
                    <a:pt x="242" y="250"/>
                  </a:lnTo>
                  <a:lnTo>
                    <a:pt x="235" y="250"/>
                  </a:lnTo>
                  <a:lnTo>
                    <a:pt x="225" y="251"/>
                  </a:lnTo>
                  <a:lnTo>
                    <a:pt x="219" y="253"/>
                  </a:lnTo>
                  <a:lnTo>
                    <a:pt x="219" y="253"/>
                  </a:lnTo>
                  <a:lnTo>
                    <a:pt x="214" y="255"/>
                  </a:lnTo>
                  <a:lnTo>
                    <a:pt x="210" y="259"/>
                  </a:lnTo>
                  <a:lnTo>
                    <a:pt x="206" y="263"/>
                  </a:lnTo>
                  <a:lnTo>
                    <a:pt x="204" y="265"/>
                  </a:lnTo>
                  <a:lnTo>
                    <a:pt x="200" y="269"/>
                  </a:lnTo>
                  <a:lnTo>
                    <a:pt x="196" y="271"/>
                  </a:lnTo>
                  <a:lnTo>
                    <a:pt x="191" y="271"/>
                  </a:lnTo>
                  <a:lnTo>
                    <a:pt x="185" y="272"/>
                  </a:lnTo>
                  <a:lnTo>
                    <a:pt x="185" y="272"/>
                  </a:lnTo>
                  <a:lnTo>
                    <a:pt x="181" y="271"/>
                  </a:lnTo>
                  <a:lnTo>
                    <a:pt x="179" y="271"/>
                  </a:lnTo>
                  <a:lnTo>
                    <a:pt x="175" y="269"/>
                  </a:lnTo>
                  <a:lnTo>
                    <a:pt x="174" y="265"/>
                  </a:lnTo>
                  <a:lnTo>
                    <a:pt x="172" y="263"/>
                  </a:lnTo>
                  <a:lnTo>
                    <a:pt x="170" y="259"/>
                  </a:lnTo>
                  <a:lnTo>
                    <a:pt x="166" y="257"/>
                  </a:lnTo>
                  <a:lnTo>
                    <a:pt x="164" y="253"/>
                  </a:lnTo>
                  <a:lnTo>
                    <a:pt x="164" y="253"/>
                  </a:lnTo>
                  <a:lnTo>
                    <a:pt x="160" y="257"/>
                  </a:lnTo>
                  <a:lnTo>
                    <a:pt x="154" y="261"/>
                  </a:lnTo>
                  <a:lnTo>
                    <a:pt x="149" y="265"/>
                  </a:lnTo>
                  <a:lnTo>
                    <a:pt x="141" y="267"/>
                  </a:lnTo>
                  <a:lnTo>
                    <a:pt x="135" y="269"/>
                  </a:lnTo>
                  <a:lnTo>
                    <a:pt x="128" y="271"/>
                  </a:lnTo>
                  <a:lnTo>
                    <a:pt x="120" y="272"/>
                  </a:lnTo>
                  <a:lnTo>
                    <a:pt x="114" y="274"/>
                  </a:lnTo>
                  <a:lnTo>
                    <a:pt x="107" y="276"/>
                  </a:lnTo>
                  <a:lnTo>
                    <a:pt x="101" y="278"/>
                  </a:lnTo>
                  <a:lnTo>
                    <a:pt x="93" y="278"/>
                  </a:lnTo>
                  <a:lnTo>
                    <a:pt x="88" y="280"/>
                  </a:lnTo>
                  <a:lnTo>
                    <a:pt x="84" y="282"/>
                  </a:lnTo>
                  <a:lnTo>
                    <a:pt x="80" y="282"/>
                  </a:lnTo>
                  <a:lnTo>
                    <a:pt x="76" y="284"/>
                  </a:lnTo>
                  <a:lnTo>
                    <a:pt x="72" y="286"/>
                  </a:lnTo>
                  <a:lnTo>
                    <a:pt x="72" y="286"/>
                  </a:lnTo>
                  <a:lnTo>
                    <a:pt x="69" y="292"/>
                  </a:lnTo>
                  <a:lnTo>
                    <a:pt x="63" y="299"/>
                  </a:lnTo>
                  <a:lnTo>
                    <a:pt x="57" y="305"/>
                  </a:lnTo>
                  <a:lnTo>
                    <a:pt x="53" y="313"/>
                  </a:lnTo>
                  <a:lnTo>
                    <a:pt x="50" y="318"/>
                  </a:lnTo>
                  <a:lnTo>
                    <a:pt x="46" y="326"/>
                  </a:lnTo>
                  <a:lnTo>
                    <a:pt x="42" y="333"/>
                  </a:lnTo>
                  <a:lnTo>
                    <a:pt x="38" y="339"/>
                  </a:lnTo>
                  <a:lnTo>
                    <a:pt x="32" y="347"/>
                  </a:lnTo>
                  <a:lnTo>
                    <a:pt x="29" y="353"/>
                  </a:lnTo>
                  <a:lnTo>
                    <a:pt x="25" y="360"/>
                  </a:lnTo>
                  <a:lnTo>
                    <a:pt x="21" y="368"/>
                  </a:lnTo>
                  <a:lnTo>
                    <a:pt x="17" y="374"/>
                  </a:lnTo>
                  <a:lnTo>
                    <a:pt x="11" y="379"/>
                  </a:lnTo>
                  <a:lnTo>
                    <a:pt x="6" y="387"/>
                  </a:lnTo>
                  <a:lnTo>
                    <a:pt x="0" y="393"/>
                  </a:lnTo>
                  <a:lnTo>
                    <a:pt x="0" y="393"/>
                  </a:lnTo>
                  <a:lnTo>
                    <a:pt x="2" y="395"/>
                  </a:lnTo>
                  <a:lnTo>
                    <a:pt x="4" y="396"/>
                  </a:lnTo>
                  <a:lnTo>
                    <a:pt x="8" y="398"/>
                  </a:lnTo>
                  <a:lnTo>
                    <a:pt x="9" y="400"/>
                  </a:lnTo>
                  <a:lnTo>
                    <a:pt x="11" y="402"/>
                  </a:lnTo>
                  <a:lnTo>
                    <a:pt x="13" y="404"/>
                  </a:lnTo>
                  <a:lnTo>
                    <a:pt x="13" y="406"/>
                  </a:lnTo>
                  <a:lnTo>
                    <a:pt x="13" y="408"/>
                  </a:lnTo>
                  <a:lnTo>
                    <a:pt x="13" y="408"/>
                  </a:lnTo>
                  <a:lnTo>
                    <a:pt x="15" y="412"/>
                  </a:lnTo>
                  <a:lnTo>
                    <a:pt x="15" y="414"/>
                  </a:lnTo>
                  <a:lnTo>
                    <a:pt x="15" y="417"/>
                  </a:lnTo>
                  <a:lnTo>
                    <a:pt x="15" y="419"/>
                  </a:lnTo>
                  <a:lnTo>
                    <a:pt x="15" y="423"/>
                  </a:lnTo>
                  <a:lnTo>
                    <a:pt x="15" y="427"/>
                  </a:lnTo>
                  <a:lnTo>
                    <a:pt x="13" y="433"/>
                  </a:lnTo>
                  <a:lnTo>
                    <a:pt x="13" y="437"/>
                  </a:lnTo>
                  <a:lnTo>
                    <a:pt x="13" y="437"/>
                  </a:lnTo>
                  <a:lnTo>
                    <a:pt x="15" y="448"/>
                  </a:lnTo>
                  <a:lnTo>
                    <a:pt x="17" y="459"/>
                  </a:lnTo>
                  <a:lnTo>
                    <a:pt x="19" y="471"/>
                  </a:lnTo>
                  <a:lnTo>
                    <a:pt x="21" y="482"/>
                  </a:lnTo>
                  <a:lnTo>
                    <a:pt x="25" y="494"/>
                  </a:lnTo>
                  <a:lnTo>
                    <a:pt x="29" y="505"/>
                  </a:lnTo>
                  <a:lnTo>
                    <a:pt x="34" y="517"/>
                  </a:lnTo>
                  <a:lnTo>
                    <a:pt x="40" y="526"/>
                  </a:lnTo>
                  <a:lnTo>
                    <a:pt x="46" y="538"/>
                  </a:lnTo>
                  <a:lnTo>
                    <a:pt x="51" y="547"/>
                  </a:lnTo>
                  <a:lnTo>
                    <a:pt x="57" y="557"/>
                  </a:lnTo>
                  <a:lnTo>
                    <a:pt x="63" y="566"/>
                  </a:lnTo>
                  <a:lnTo>
                    <a:pt x="69" y="576"/>
                  </a:lnTo>
                  <a:lnTo>
                    <a:pt x="74" y="583"/>
                  </a:lnTo>
                  <a:lnTo>
                    <a:pt x="80" y="591"/>
                  </a:lnTo>
                  <a:lnTo>
                    <a:pt x="86" y="599"/>
                  </a:lnTo>
                  <a:lnTo>
                    <a:pt x="86" y="599"/>
                  </a:lnTo>
                  <a:lnTo>
                    <a:pt x="90" y="602"/>
                  </a:lnTo>
                  <a:lnTo>
                    <a:pt x="93" y="606"/>
                  </a:lnTo>
                  <a:lnTo>
                    <a:pt x="97" y="610"/>
                  </a:lnTo>
                  <a:lnTo>
                    <a:pt x="101" y="614"/>
                  </a:lnTo>
                  <a:lnTo>
                    <a:pt x="107" y="618"/>
                  </a:lnTo>
                  <a:lnTo>
                    <a:pt x="111" y="620"/>
                  </a:lnTo>
                  <a:lnTo>
                    <a:pt x="116" y="623"/>
                  </a:lnTo>
                  <a:lnTo>
                    <a:pt x="120" y="627"/>
                  </a:lnTo>
                  <a:lnTo>
                    <a:pt x="124" y="631"/>
                  </a:lnTo>
                  <a:lnTo>
                    <a:pt x="130" y="635"/>
                  </a:lnTo>
                  <a:lnTo>
                    <a:pt x="132" y="639"/>
                  </a:lnTo>
                  <a:lnTo>
                    <a:pt x="135" y="644"/>
                  </a:lnTo>
                  <a:lnTo>
                    <a:pt x="137" y="650"/>
                  </a:lnTo>
                  <a:lnTo>
                    <a:pt x="141" y="656"/>
                  </a:lnTo>
                  <a:lnTo>
                    <a:pt x="141" y="664"/>
                  </a:lnTo>
                  <a:lnTo>
                    <a:pt x="141" y="671"/>
                  </a:lnTo>
                  <a:lnTo>
                    <a:pt x="141" y="671"/>
                  </a:lnTo>
                  <a:lnTo>
                    <a:pt x="145" y="662"/>
                  </a:lnTo>
                  <a:lnTo>
                    <a:pt x="149" y="654"/>
                  </a:lnTo>
                  <a:lnTo>
                    <a:pt x="151" y="644"/>
                  </a:lnTo>
                  <a:lnTo>
                    <a:pt x="154" y="635"/>
                  </a:lnTo>
                  <a:lnTo>
                    <a:pt x="156" y="627"/>
                  </a:lnTo>
                  <a:lnTo>
                    <a:pt x="160" y="620"/>
                  </a:lnTo>
                  <a:lnTo>
                    <a:pt x="164" y="612"/>
                  </a:lnTo>
                  <a:lnTo>
                    <a:pt x="168" y="604"/>
                  </a:lnTo>
                  <a:lnTo>
                    <a:pt x="172" y="597"/>
                  </a:lnTo>
                  <a:lnTo>
                    <a:pt x="177" y="591"/>
                  </a:lnTo>
                  <a:lnTo>
                    <a:pt x="183" y="585"/>
                  </a:lnTo>
                  <a:lnTo>
                    <a:pt x="191" y="581"/>
                  </a:lnTo>
                  <a:lnTo>
                    <a:pt x="198" y="578"/>
                  </a:lnTo>
                  <a:lnTo>
                    <a:pt x="210" y="576"/>
                  </a:lnTo>
                  <a:lnTo>
                    <a:pt x="219" y="574"/>
                  </a:lnTo>
                  <a:lnTo>
                    <a:pt x="233" y="574"/>
                  </a:lnTo>
                  <a:lnTo>
                    <a:pt x="233" y="574"/>
                  </a:lnTo>
                  <a:lnTo>
                    <a:pt x="240" y="574"/>
                  </a:lnTo>
                  <a:lnTo>
                    <a:pt x="246" y="574"/>
                  </a:lnTo>
                  <a:lnTo>
                    <a:pt x="254" y="574"/>
                  </a:lnTo>
                  <a:lnTo>
                    <a:pt x="259" y="574"/>
                  </a:lnTo>
                  <a:lnTo>
                    <a:pt x="265" y="576"/>
                  </a:lnTo>
                  <a:lnTo>
                    <a:pt x="271" y="578"/>
                  </a:lnTo>
                  <a:lnTo>
                    <a:pt x="277" y="580"/>
                  </a:lnTo>
                  <a:lnTo>
                    <a:pt x="284" y="581"/>
                  </a:lnTo>
                  <a:lnTo>
                    <a:pt x="339" y="581"/>
                  </a:lnTo>
                  <a:lnTo>
                    <a:pt x="339" y="581"/>
                  </a:lnTo>
                  <a:lnTo>
                    <a:pt x="339" y="578"/>
                  </a:lnTo>
                  <a:lnTo>
                    <a:pt x="339" y="576"/>
                  </a:lnTo>
                  <a:lnTo>
                    <a:pt x="339" y="572"/>
                  </a:lnTo>
                  <a:lnTo>
                    <a:pt x="339" y="570"/>
                  </a:lnTo>
                  <a:lnTo>
                    <a:pt x="339" y="566"/>
                  </a:lnTo>
                  <a:lnTo>
                    <a:pt x="339" y="564"/>
                  </a:lnTo>
                  <a:lnTo>
                    <a:pt x="339" y="561"/>
                  </a:lnTo>
                  <a:lnTo>
                    <a:pt x="339" y="557"/>
                  </a:lnTo>
                  <a:lnTo>
                    <a:pt x="339" y="557"/>
                  </a:lnTo>
                  <a:lnTo>
                    <a:pt x="339" y="549"/>
                  </a:lnTo>
                  <a:lnTo>
                    <a:pt x="339" y="541"/>
                  </a:lnTo>
                  <a:lnTo>
                    <a:pt x="343" y="534"/>
                  </a:lnTo>
                  <a:lnTo>
                    <a:pt x="345" y="524"/>
                  </a:lnTo>
                  <a:lnTo>
                    <a:pt x="349" y="517"/>
                  </a:lnTo>
                  <a:lnTo>
                    <a:pt x="353" y="507"/>
                  </a:lnTo>
                  <a:lnTo>
                    <a:pt x="357" y="499"/>
                  </a:lnTo>
                  <a:lnTo>
                    <a:pt x="362" y="492"/>
                  </a:lnTo>
                  <a:lnTo>
                    <a:pt x="368" y="484"/>
                  </a:lnTo>
                  <a:lnTo>
                    <a:pt x="374" y="478"/>
                  </a:lnTo>
                  <a:lnTo>
                    <a:pt x="381" y="473"/>
                  </a:lnTo>
                  <a:lnTo>
                    <a:pt x="387" y="467"/>
                  </a:lnTo>
                  <a:lnTo>
                    <a:pt x="395" y="463"/>
                  </a:lnTo>
                  <a:lnTo>
                    <a:pt x="401" y="459"/>
                  </a:lnTo>
                  <a:lnTo>
                    <a:pt x="408" y="457"/>
                  </a:lnTo>
                  <a:lnTo>
                    <a:pt x="416" y="457"/>
                  </a:lnTo>
                  <a:lnTo>
                    <a:pt x="416" y="457"/>
                  </a:lnTo>
                  <a:lnTo>
                    <a:pt x="427" y="459"/>
                  </a:lnTo>
                  <a:lnTo>
                    <a:pt x="437" y="465"/>
                  </a:lnTo>
                  <a:lnTo>
                    <a:pt x="444" y="471"/>
                  </a:lnTo>
                  <a:lnTo>
                    <a:pt x="452" y="480"/>
                  </a:lnTo>
                  <a:lnTo>
                    <a:pt x="460" y="490"/>
                  </a:lnTo>
                  <a:lnTo>
                    <a:pt x="467" y="498"/>
                  </a:lnTo>
                  <a:lnTo>
                    <a:pt x="473" y="505"/>
                  </a:lnTo>
                  <a:lnTo>
                    <a:pt x="481" y="511"/>
                  </a:lnTo>
                  <a:lnTo>
                    <a:pt x="481" y="511"/>
                  </a:lnTo>
                  <a:lnTo>
                    <a:pt x="486" y="513"/>
                  </a:lnTo>
                  <a:lnTo>
                    <a:pt x="494" y="517"/>
                  </a:lnTo>
                  <a:lnTo>
                    <a:pt x="502" y="520"/>
                  </a:lnTo>
                  <a:lnTo>
                    <a:pt x="511" y="522"/>
                  </a:lnTo>
                  <a:lnTo>
                    <a:pt x="521" y="526"/>
                  </a:lnTo>
                  <a:lnTo>
                    <a:pt x="528" y="528"/>
                  </a:lnTo>
                  <a:lnTo>
                    <a:pt x="538" y="530"/>
                  </a:lnTo>
                  <a:lnTo>
                    <a:pt x="547" y="532"/>
                  </a:lnTo>
                  <a:lnTo>
                    <a:pt x="557" y="534"/>
                  </a:lnTo>
                  <a:lnTo>
                    <a:pt x="566" y="536"/>
                  </a:lnTo>
                  <a:lnTo>
                    <a:pt x="576" y="538"/>
                  </a:lnTo>
                  <a:lnTo>
                    <a:pt x="586" y="538"/>
                  </a:lnTo>
                  <a:lnTo>
                    <a:pt x="595" y="540"/>
                  </a:lnTo>
                  <a:lnTo>
                    <a:pt x="605" y="540"/>
                  </a:lnTo>
                  <a:lnTo>
                    <a:pt x="612" y="540"/>
                  </a:lnTo>
                  <a:lnTo>
                    <a:pt x="620" y="540"/>
                  </a:lnTo>
                  <a:lnTo>
                    <a:pt x="620" y="540"/>
                  </a:lnTo>
                  <a:lnTo>
                    <a:pt x="628" y="540"/>
                  </a:lnTo>
                  <a:lnTo>
                    <a:pt x="633" y="538"/>
                  </a:lnTo>
                  <a:lnTo>
                    <a:pt x="639" y="536"/>
                  </a:lnTo>
                  <a:lnTo>
                    <a:pt x="643" y="532"/>
                  </a:lnTo>
                  <a:lnTo>
                    <a:pt x="647" y="528"/>
                  </a:lnTo>
                  <a:lnTo>
                    <a:pt x="650" y="524"/>
                  </a:lnTo>
                  <a:lnTo>
                    <a:pt x="654" y="520"/>
                  </a:lnTo>
                  <a:lnTo>
                    <a:pt x="656" y="515"/>
                  </a:lnTo>
                  <a:lnTo>
                    <a:pt x="660" y="511"/>
                  </a:lnTo>
                  <a:lnTo>
                    <a:pt x="664" y="507"/>
                  </a:lnTo>
                  <a:lnTo>
                    <a:pt x="666" y="501"/>
                  </a:lnTo>
                  <a:lnTo>
                    <a:pt x="669" y="499"/>
                  </a:lnTo>
                  <a:lnTo>
                    <a:pt x="675" y="496"/>
                  </a:lnTo>
                  <a:lnTo>
                    <a:pt x="681" y="492"/>
                  </a:lnTo>
                  <a:lnTo>
                    <a:pt x="687" y="492"/>
                  </a:lnTo>
                  <a:lnTo>
                    <a:pt x="692" y="490"/>
                  </a:lnTo>
                  <a:lnTo>
                    <a:pt x="692" y="490"/>
                  </a:lnTo>
                  <a:lnTo>
                    <a:pt x="694" y="492"/>
                  </a:lnTo>
                  <a:lnTo>
                    <a:pt x="698" y="492"/>
                  </a:lnTo>
                  <a:lnTo>
                    <a:pt x="700" y="494"/>
                  </a:lnTo>
                  <a:lnTo>
                    <a:pt x="704" y="496"/>
                  </a:lnTo>
                  <a:lnTo>
                    <a:pt x="706" y="496"/>
                  </a:lnTo>
                  <a:lnTo>
                    <a:pt x="708" y="498"/>
                  </a:lnTo>
                  <a:lnTo>
                    <a:pt x="711" y="499"/>
                  </a:lnTo>
                  <a:lnTo>
                    <a:pt x="715" y="499"/>
                  </a:lnTo>
                  <a:lnTo>
                    <a:pt x="715" y="499"/>
                  </a:lnTo>
                  <a:lnTo>
                    <a:pt x="721" y="499"/>
                  </a:lnTo>
                  <a:lnTo>
                    <a:pt x="727" y="498"/>
                  </a:lnTo>
                  <a:lnTo>
                    <a:pt x="732" y="496"/>
                  </a:lnTo>
                  <a:lnTo>
                    <a:pt x="738" y="494"/>
                  </a:lnTo>
                  <a:lnTo>
                    <a:pt x="744" y="492"/>
                  </a:lnTo>
                  <a:lnTo>
                    <a:pt x="750" y="490"/>
                  </a:lnTo>
                  <a:lnTo>
                    <a:pt x="755" y="486"/>
                  </a:lnTo>
                  <a:lnTo>
                    <a:pt x="761" y="484"/>
                  </a:lnTo>
                  <a:lnTo>
                    <a:pt x="767" y="480"/>
                  </a:lnTo>
                  <a:lnTo>
                    <a:pt x="771" y="478"/>
                  </a:lnTo>
                  <a:lnTo>
                    <a:pt x="776" y="477"/>
                  </a:lnTo>
                  <a:lnTo>
                    <a:pt x="782" y="473"/>
                  </a:lnTo>
                  <a:lnTo>
                    <a:pt x="786" y="471"/>
                  </a:lnTo>
                  <a:lnTo>
                    <a:pt x="792" y="469"/>
                  </a:lnTo>
                  <a:lnTo>
                    <a:pt x="797" y="467"/>
                  </a:lnTo>
                  <a:lnTo>
                    <a:pt x="803" y="467"/>
                  </a:lnTo>
                  <a:lnTo>
                    <a:pt x="803" y="467"/>
                  </a:lnTo>
                  <a:lnTo>
                    <a:pt x="805" y="471"/>
                  </a:lnTo>
                  <a:lnTo>
                    <a:pt x="807" y="475"/>
                  </a:lnTo>
                  <a:lnTo>
                    <a:pt x="811" y="477"/>
                  </a:lnTo>
                  <a:lnTo>
                    <a:pt x="813" y="477"/>
                  </a:lnTo>
                  <a:lnTo>
                    <a:pt x="816" y="477"/>
                  </a:lnTo>
                  <a:lnTo>
                    <a:pt x="820" y="477"/>
                  </a:lnTo>
                  <a:lnTo>
                    <a:pt x="824" y="475"/>
                  </a:lnTo>
                  <a:lnTo>
                    <a:pt x="830" y="475"/>
                  </a:lnTo>
                  <a:lnTo>
                    <a:pt x="830" y="475"/>
                  </a:lnTo>
                  <a:lnTo>
                    <a:pt x="839" y="475"/>
                  </a:lnTo>
                  <a:lnTo>
                    <a:pt x="847" y="475"/>
                  </a:lnTo>
                  <a:lnTo>
                    <a:pt x="855" y="473"/>
                  </a:lnTo>
                  <a:lnTo>
                    <a:pt x="858" y="469"/>
                  </a:lnTo>
                  <a:lnTo>
                    <a:pt x="862" y="465"/>
                  </a:lnTo>
                  <a:lnTo>
                    <a:pt x="866" y="461"/>
                  </a:lnTo>
                  <a:lnTo>
                    <a:pt x="868" y="454"/>
                  </a:lnTo>
                  <a:lnTo>
                    <a:pt x="868" y="446"/>
                  </a:lnTo>
                  <a:lnTo>
                    <a:pt x="868" y="446"/>
                  </a:lnTo>
                  <a:lnTo>
                    <a:pt x="876" y="444"/>
                  </a:lnTo>
                  <a:lnTo>
                    <a:pt x="883" y="444"/>
                  </a:lnTo>
                  <a:lnTo>
                    <a:pt x="891" y="446"/>
                  </a:lnTo>
                  <a:lnTo>
                    <a:pt x="896" y="446"/>
                  </a:lnTo>
                  <a:lnTo>
                    <a:pt x="904" y="448"/>
                  </a:lnTo>
                  <a:lnTo>
                    <a:pt x="910" y="450"/>
                  </a:lnTo>
                  <a:lnTo>
                    <a:pt x="916" y="452"/>
                  </a:lnTo>
                  <a:lnTo>
                    <a:pt x="923" y="454"/>
                  </a:lnTo>
                  <a:lnTo>
                    <a:pt x="929" y="456"/>
                  </a:lnTo>
                  <a:lnTo>
                    <a:pt x="935" y="457"/>
                  </a:lnTo>
                  <a:lnTo>
                    <a:pt x="940" y="461"/>
                  </a:lnTo>
                  <a:lnTo>
                    <a:pt x="948" y="463"/>
                  </a:lnTo>
                  <a:lnTo>
                    <a:pt x="954" y="465"/>
                  </a:lnTo>
                  <a:lnTo>
                    <a:pt x="961" y="465"/>
                  </a:lnTo>
                  <a:lnTo>
                    <a:pt x="969" y="467"/>
                  </a:lnTo>
                  <a:lnTo>
                    <a:pt x="977" y="467"/>
                  </a:lnTo>
                  <a:lnTo>
                    <a:pt x="977" y="467"/>
                  </a:lnTo>
                  <a:lnTo>
                    <a:pt x="984" y="467"/>
                  </a:lnTo>
                  <a:lnTo>
                    <a:pt x="992" y="465"/>
                  </a:lnTo>
                  <a:lnTo>
                    <a:pt x="996" y="465"/>
                  </a:lnTo>
                  <a:lnTo>
                    <a:pt x="1001" y="463"/>
                  </a:lnTo>
                  <a:lnTo>
                    <a:pt x="1007" y="461"/>
                  </a:lnTo>
                  <a:lnTo>
                    <a:pt x="1011" y="459"/>
                  </a:lnTo>
                  <a:lnTo>
                    <a:pt x="1017" y="457"/>
                  </a:lnTo>
                  <a:lnTo>
                    <a:pt x="1024" y="457"/>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84" name="Freeform 228"/>
            <p:cNvSpPr>
              <a:spLocks/>
            </p:cNvSpPr>
            <p:nvPr/>
          </p:nvSpPr>
          <p:spPr bwMode="gray">
            <a:xfrm>
              <a:off x="2052" y="2200"/>
              <a:ext cx="351" cy="386"/>
            </a:xfrm>
            <a:custGeom>
              <a:avLst/>
              <a:gdLst/>
              <a:ahLst/>
              <a:cxnLst>
                <a:cxn ang="0">
                  <a:pos x="409" y="126"/>
                </a:cxn>
                <a:cxn ang="0">
                  <a:pos x="391" y="143"/>
                </a:cxn>
                <a:cxn ang="0">
                  <a:pos x="357" y="133"/>
                </a:cxn>
                <a:cxn ang="0">
                  <a:pos x="306" y="120"/>
                </a:cxn>
                <a:cxn ang="0">
                  <a:pos x="254" y="109"/>
                </a:cxn>
                <a:cxn ang="0">
                  <a:pos x="206" y="111"/>
                </a:cxn>
                <a:cxn ang="0">
                  <a:pos x="176" y="131"/>
                </a:cxn>
                <a:cxn ang="0">
                  <a:pos x="170" y="168"/>
                </a:cxn>
                <a:cxn ang="0">
                  <a:pos x="170" y="208"/>
                </a:cxn>
                <a:cxn ang="0">
                  <a:pos x="201" y="200"/>
                </a:cxn>
                <a:cxn ang="0">
                  <a:pos x="229" y="191"/>
                </a:cxn>
                <a:cxn ang="0">
                  <a:pos x="262" y="204"/>
                </a:cxn>
                <a:cxn ang="0">
                  <a:pos x="264" y="248"/>
                </a:cxn>
                <a:cxn ang="0">
                  <a:pos x="224" y="294"/>
                </a:cxn>
                <a:cxn ang="0">
                  <a:pos x="277" y="338"/>
                </a:cxn>
                <a:cxn ang="0">
                  <a:pos x="275" y="385"/>
                </a:cxn>
                <a:cxn ang="0">
                  <a:pos x="262" y="442"/>
                </a:cxn>
                <a:cxn ang="0">
                  <a:pos x="252" y="473"/>
                </a:cxn>
                <a:cxn ang="0">
                  <a:pos x="239" y="488"/>
                </a:cxn>
                <a:cxn ang="0">
                  <a:pos x="225" y="469"/>
                </a:cxn>
                <a:cxn ang="0">
                  <a:pos x="203" y="479"/>
                </a:cxn>
                <a:cxn ang="0">
                  <a:pos x="163" y="471"/>
                </a:cxn>
                <a:cxn ang="0">
                  <a:pos x="132" y="444"/>
                </a:cxn>
                <a:cxn ang="0">
                  <a:pos x="105" y="477"/>
                </a:cxn>
                <a:cxn ang="0">
                  <a:pos x="54" y="484"/>
                </a:cxn>
                <a:cxn ang="0">
                  <a:pos x="46" y="524"/>
                </a:cxn>
                <a:cxn ang="0">
                  <a:pos x="50" y="549"/>
                </a:cxn>
                <a:cxn ang="0">
                  <a:pos x="73" y="566"/>
                </a:cxn>
                <a:cxn ang="0">
                  <a:pos x="63" y="586"/>
                </a:cxn>
                <a:cxn ang="0">
                  <a:pos x="50" y="578"/>
                </a:cxn>
                <a:cxn ang="0">
                  <a:pos x="25" y="582"/>
                </a:cxn>
                <a:cxn ang="0">
                  <a:pos x="2" y="607"/>
                </a:cxn>
                <a:cxn ang="0">
                  <a:pos x="40" y="650"/>
                </a:cxn>
                <a:cxn ang="0">
                  <a:pos x="84" y="694"/>
                </a:cxn>
                <a:cxn ang="0">
                  <a:pos x="122" y="671"/>
                </a:cxn>
                <a:cxn ang="0">
                  <a:pos x="149" y="662"/>
                </a:cxn>
                <a:cxn ang="0">
                  <a:pos x="164" y="671"/>
                </a:cxn>
                <a:cxn ang="0">
                  <a:pos x="191" y="681"/>
                </a:cxn>
                <a:cxn ang="0">
                  <a:pos x="239" y="656"/>
                </a:cxn>
                <a:cxn ang="0">
                  <a:pos x="267" y="656"/>
                </a:cxn>
                <a:cxn ang="0">
                  <a:pos x="264" y="679"/>
                </a:cxn>
                <a:cxn ang="0">
                  <a:pos x="290" y="696"/>
                </a:cxn>
                <a:cxn ang="0">
                  <a:pos x="346" y="666"/>
                </a:cxn>
                <a:cxn ang="0">
                  <a:pos x="372" y="628"/>
                </a:cxn>
                <a:cxn ang="0">
                  <a:pos x="412" y="601"/>
                </a:cxn>
                <a:cxn ang="0">
                  <a:pos x="424" y="551"/>
                </a:cxn>
                <a:cxn ang="0">
                  <a:pos x="428" y="498"/>
                </a:cxn>
                <a:cxn ang="0">
                  <a:pos x="449" y="441"/>
                </a:cxn>
                <a:cxn ang="0">
                  <a:pos x="498" y="387"/>
                </a:cxn>
                <a:cxn ang="0">
                  <a:pos x="525" y="351"/>
                </a:cxn>
                <a:cxn ang="0">
                  <a:pos x="546" y="307"/>
                </a:cxn>
                <a:cxn ang="0">
                  <a:pos x="561" y="208"/>
                </a:cxn>
                <a:cxn ang="0">
                  <a:pos x="567" y="177"/>
                </a:cxn>
                <a:cxn ang="0">
                  <a:pos x="575" y="147"/>
                </a:cxn>
                <a:cxn ang="0">
                  <a:pos x="584" y="112"/>
                </a:cxn>
                <a:cxn ang="0">
                  <a:pos x="616" y="67"/>
                </a:cxn>
                <a:cxn ang="0">
                  <a:pos x="618" y="15"/>
                </a:cxn>
                <a:cxn ang="0">
                  <a:pos x="536" y="0"/>
                </a:cxn>
                <a:cxn ang="0">
                  <a:pos x="487" y="2"/>
                </a:cxn>
                <a:cxn ang="0">
                  <a:pos x="441" y="38"/>
                </a:cxn>
                <a:cxn ang="0">
                  <a:pos x="418" y="97"/>
                </a:cxn>
              </a:cxnLst>
              <a:rect l="0" t="0" r="r" b="b"/>
              <a:pathLst>
                <a:path w="620" h="702">
                  <a:moveTo>
                    <a:pt x="418" y="90"/>
                  </a:moveTo>
                  <a:lnTo>
                    <a:pt x="418" y="90"/>
                  </a:lnTo>
                  <a:lnTo>
                    <a:pt x="414" y="97"/>
                  </a:lnTo>
                  <a:lnTo>
                    <a:pt x="412" y="103"/>
                  </a:lnTo>
                  <a:lnTo>
                    <a:pt x="410" y="111"/>
                  </a:lnTo>
                  <a:lnTo>
                    <a:pt x="409" y="118"/>
                  </a:lnTo>
                  <a:lnTo>
                    <a:pt x="409" y="126"/>
                  </a:lnTo>
                  <a:lnTo>
                    <a:pt x="407" y="133"/>
                  </a:lnTo>
                  <a:lnTo>
                    <a:pt x="405" y="141"/>
                  </a:lnTo>
                  <a:lnTo>
                    <a:pt x="401" y="149"/>
                  </a:lnTo>
                  <a:lnTo>
                    <a:pt x="401" y="149"/>
                  </a:lnTo>
                  <a:lnTo>
                    <a:pt x="399" y="147"/>
                  </a:lnTo>
                  <a:lnTo>
                    <a:pt x="395" y="145"/>
                  </a:lnTo>
                  <a:lnTo>
                    <a:pt x="391" y="143"/>
                  </a:lnTo>
                  <a:lnTo>
                    <a:pt x="388" y="139"/>
                  </a:lnTo>
                  <a:lnTo>
                    <a:pt x="382" y="137"/>
                  </a:lnTo>
                  <a:lnTo>
                    <a:pt x="376" y="137"/>
                  </a:lnTo>
                  <a:lnTo>
                    <a:pt x="370" y="135"/>
                  </a:lnTo>
                  <a:lnTo>
                    <a:pt x="365" y="135"/>
                  </a:lnTo>
                  <a:lnTo>
                    <a:pt x="365" y="135"/>
                  </a:lnTo>
                  <a:lnTo>
                    <a:pt x="357" y="133"/>
                  </a:lnTo>
                  <a:lnTo>
                    <a:pt x="348" y="133"/>
                  </a:lnTo>
                  <a:lnTo>
                    <a:pt x="340" y="131"/>
                  </a:lnTo>
                  <a:lnTo>
                    <a:pt x="332" y="130"/>
                  </a:lnTo>
                  <a:lnTo>
                    <a:pt x="325" y="128"/>
                  </a:lnTo>
                  <a:lnTo>
                    <a:pt x="319" y="126"/>
                  </a:lnTo>
                  <a:lnTo>
                    <a:pt x="313" y="124"/>
                  </a:lnTo>
                  <a:lnTo>
                    <a:pt x="306" y="120"/>
                  </a:lnTo>
                  <a:lnTo>
                    <a:pt x="300" y="118"/>
                  </a:lnTo>
                  <a:lnTo>
                    <a:pt x="292" y="116"/>
                  </a:lnTo>
                  <a:lnTo>
                    <a:pt x="286" y="114"/>
                  </a:lnTo>
                  <a:lnTo>
                    <a:pt x="279" y="112"/>
                  </a:lnTo>
                  <a:lnTo>
                    <a:pt x="271" y="111"/>
                  </a:lnTo>
                  <a:lnTo>
                    <a:pt x="264" y="109"/>
                  </a:lnTo>
                  <a:lnTo>
                    <a:pt x="254" y="109"/>
                  </a:lnTo>
                  <a:lnTo>
                    <a:pt x="245" y="107"/>
                  </a:lnTo>
                  <a:lnTo>
                    <a:pt x="245" y="107"/>
                  </a:lnTo>
                  <a:lnTo>
                    <a:pt x="235" y="107"/>
                  </a:lnTo>
                  <a:lnTo>
                    <a:pt x="227" y="109"/>
                  </a:lnTo>
                  <a:lnTo>
                    <a:pt x="220" y="109"/>
                  </a:lnTo>
                  <a:lnTo>
                    <a:pt x="214" y="109"/>
                  </a:lnTo>
                  <a:lnTo>
                    <a:pt x="206" y="111"/>
                  </a:lnTo>
                  <a:lnTo>
                    <a:pt x="201" y="112"/>
                  </a:lnTo>
                  <a:lnTo>
                    <a:pt x="195" y="114"/>
                  </a:lnTo>
                  <a:lnTo>
                    <a:pt x="191" y="116"/>
                  </a:lnTo>
                  <a:lnTo>
                    <a:pt x="185" y="120"/>
                  </a:lnTo>
                  <a:lnTo>
                    <a:pt x="182" y="124"/>
                  </a:lnTo>
                  <a:lnTo>
                    <a:pt x="180" y="128"/>
                  </a:lnTo>
                  <a:lnTo>
                    <a:pt x="176" y="131"/>
                  </a:lnTo>
                  <a:lnTo>
                    <a:pt x="174" y="137"/>
                  </a:lnTo>
                  <a:lnTo>
                    <a:pt x="172" y="143"/>
                  </a:lnTo>
                  <a:lnTo>
                    <a:pt x="172" y="151"/>
                  </a:lnTo>
                  <a:lnTo>
                    <a:pt x="170" y="158"/>
                  </a:lnTo>
                  <a:lnTo>
                    <a:pt x="170" y="158"/>
                  </a:lnTo>
                  <a:lnTo>
                    <a:pt x="170" y="162"/>
                  </a:lnTo>
                  <a:lnTo>
                    <a:pt x="170" y="168"/>
                  </a:lnTo>
                  <a:lnTo>
                    <a:pt x="170" y="173"/>
                  </a:lnTo>
                  <a:lnTo>
                    <a:pt x="170" y="179"/>
                  </a:lnTo>
                  <a:lnTo>
                    <a:pt x="170" y="187"/>
                  </a:lnTo>
                  <a:lnTo>
                    <a:pt x="170" y="193"/>
                  </a:lnTo>
                  <a:lnTo>
                    <a:pt x="170" y="200"/>
                  </a:lnTo>
                  <a:lnTo>
                    <a:pt x="170" y="208"/>
                  </a:lnTo>
                  <a:lnTo>
                    <a:pt x="170" y="208"/>
                  </a:lnTo>
                  <a:lnTo>
                    <a:pt x="176" y="208"/>
                  </a:lnTo>
                  <a:lnTo>
                    <a:pt x="180" y="208"/>
                  </a:lnTo>
                  <a:lnTo>
                    <a:pt x="185" y="206"/>
                  </a:lnTo>
                  <a:lnTo>
                    <a:pt x="189" y="206"/>
                  </a:lnTo>
                  <a:lnTo>
                    <a:pt x="193" y="204"/>
                  </a:lnTo>
                  <a:lnTo>
                    <a:pt x="197" y="202"/>
                  </a:lnTo>
                  <a:lnTo>
                    <a:pt x="201" y="200"/>
                  </a:lnTo>
                  <a:lnTo>
                    <a:pt x="204" y="198"/>
                  </a:lnTo>
                  <a:lnTo>
                    <a:pt x="208" y="196"/>
                  </a:lnTo>
                  <a:lnTo>
                    <a:pt x="212" y="196"/>
                  </a:lnTo>
                  <a:lnTo>
                    <a:pt x="216" y="194"/>
                  </a:lnTo>
                  <a:lnTo>
                    <a:pt x="220" y="193"/>
                  </a:lnTo>
                  <a:lnTo>
                    <a:pt x="225" y="193"/>
                  </a:lnTo>
                  <a:lnTo>
                    <a:pt x="229" y="191"/>
                  </a:lnTo>
                  <a:lnTo>
                    <a:pt x="233" y="191"/>
                  </a:lnTo>
                  <a:lnTo>
                    <a:pt x="239" y="191"/>
                  </a:lnTo>
                  <a:lnTo>
                    <a:pt x="239" y="191"/>
                  </a:lnTo>
                  <a:lnTo>
                    <a:pt x="245" y="191"/>
                  </a:lnTo>
                  <a:lnTo>
                    <a:pt x="252" y="194"/>
                  </a:lnTo>
                  <a:lnTo>
                    <a:pt x="258" y="198"/>
                  </a:lnTo>
                  <a:lnTo>
                    <a:pt x="262" y="204"/>
                  </a:lnTo>
                  <a:lnTo>
                    <a:pt x="266" y="210"/>
                  </a:lnTo>
                  <a:lnTo>
                    <a:pt x="269" y="217"/>
                  </a:lnTo>
                  <a:lnTo>
                    <a:pt x="271" y="223"/>
                  </a:lnTo>
                  <a:lnTo>
                    <a:pt x="271" y="231"/>
                  </a:lnTo>
                  <a:lnTo>
                    <a:pt x="271" y="231"/>
                  </a:lnTo>
                  <a:lnTo>
                    <a:pt x="269" y="240"/>
                  </a:lnTo>
                  <a:lnTo>
                    <a:pt x="264" y="248"/>
                  </a:lnTo>
                  <a:lnTo>
                    <a:pt x="256" y="254"/>
                  </a:lnTo>
                  <a:lnTo>
                    <a:pt x="248" y="259"/>
                  </a:lnTo>
                  <a:lnTo>
                    <a:pt x="239" y="265"/>
                  </a:lnTo>
                  <a:lnTo>
                    <a:pt x="231" y="273"/>
                  </a:lnTo>
                  <a:lnTo>
                    <a:pt x="225" y="282"/>
                  </a:lnTo>
                  <a:lnTo>
                    <a:pt x="224" y="294"/>
                  </a:lnTo>
                  <a:lnTo>
                    <a:pt x="224" y="294"/>
                  </a:lnTo>
                  <a:lnTo>
                    <a:pt x="227" y="303"/>
                  </a:lnTo>
                  <a:lnTo>
                    <a:pt x="233" y="309"/>
                  </a:lnTo>
                  <a:lnTo>
                    <a:pt x="241" y="315"/>
                  </a:lnTo>
                  <a:lnTo>
                    <a:pt x="252" y="320"/>
                  </a:lnTo>
                  <a:lnTo>
                    <a:pt x="262" y="324"/>
                  </a:lnTo>
                  <a:lnTo>
                    <a:pt x="271" y="330"/>
                  </a:lnTo>
                  <a:lnTo>
                    <a:pt x="277" y="338"/>
                  </a:lnTo>
                  <a:lnTo>
                    <a:pt x="279" y="347"/>
                  </a:lnTo>
                  <a:lnTo>
                    <a:pt x="279" y="347"/>
                  </a:lnTo>
                  <a:lnTo>
                    <a:pt x="279" y="355"/>
                  </a:lnTo>
                  <a:lnTo>
                    <a:pt x="279" y="362"/>
                  </a:lnTo>
                  <a:lnTo>
                    <a:pt x="279" y="370"/>
                  </a:lnTo>
                  <a:lnTo>
                    <a:pt x="277" y="378"/>
                  </a:lnTo>
                  <a:lnTo>
                    <a:pt x="275" y="385"/>
                  </a:lnTo>
                  <a:lnTo>
                    <a:pt x="273" y="393"/>
                  </a:lnTo>
                  <a:lnTo>
                    <a:pt x="271" y="402"/>
                  </a:lnTo>
                  <a:lnTo>
                    <a:pt x="269" y="410"/>
                  </a:lnTo>
                  <a:lnTo>
                    <a:pt x="267" y="420"/>
                  </a:lnTo>
                  <a:lnTo>
                    <a:pt x="266" y="427"/>
                  </a:lnTo>
                  <a:lnTo>
                    <a:pt x="264" y="435"/>
                  </a:lnTo>
                  <a:lnTo>
                    <a:pt x="262" y="442"/>
                  </a:lnTo>
                  <a:lnTo>
                    <a:pt x="260" y="448"/>
                  </a:lnTo>
                  <a:lnTo>
                    <a:pt x="256" y="454"/>
                  </a:lnTo>
                  <a:lnTo>
                    <a:pt x="256" y="460"/>
                  </a:lnTo>
                  <a:lnTo>
                    <a:pt x="254" y="465"/>
                  </a:lnTo>
                  <a:lnTo>
                    <a:pt x="254" y="465"/>
                  </a:lnTo>
                  <a:lnTo>
                    <a:pt x="252" y="469"/>
                  </a:lnTo>
                  <a:lnTo>
                    <a:pt x="252" y="473"/>
                  </a:lnTo>
                  <a:lnTo>
                    <a:pt x="252" y="477"/>
                  </a:lnTo>
                  <a:lnTo>
                    <a:pt x="250" y="481"/>
                  </a:lnTo>
                  <a:lnTo>
                    <a:pt x="248" y="483"/>
                  </a:lnTo>
                  <a:lnTo>
                    <a:pt x="246" y="486"/>
                  </a:lnTo>
                  <a:lnTo>
                    <a:pt x="243" y="488"/>
                  </a:lnTo>
                  <a:lnTo>
                    <a:pt x="239" y="488"/>
                  </a:lnTo>
                  <a:lnTo>
                    <a:pt x="239" y="488"/>
                  </a:lnTo>
                  <a:lnTo>
                    <a:pt x="239" y="488"/>
                  </a:lnTo>
                  <a:lnTo>
                    <a:pt x="237" y="486"/>
                  </a:lnTo>
                  <a:lnTo>
                    <a:pt x="233" y="483"/>
                  </a:lnTo>
                  <a:lnTo>
                    <a:pt x="231" y="479"/>
                  </a:lnTo>
                  <a:lnTo>
                    <a:pt x="229" y="475"/>
                  </a:lnTo>
                  <a:lnTo>
                    <a:pt x="225" y="473"/>
                  </a:lnTo>
                  <a:lnTo>
                    <a:pt x="225" y="469"/>
                  </a:lnTo>
                  <a:lnTo>
                    <a:pt x="224" y="467"/>
                  </a:lnTo>
                  <a:lnTo>
                    <a:pt x="224" y="467"/>
                  </a:lnTo>
                  <a:lnTo>
                    <a:pt x="218" y="469"/>
                  </a:lnTo>
                  <a:lnTo>
                    <a:pt x="214" y="471"/>
                  </a:lnTo>
                  <a:lnTo>
                    <a:pt x="210" y="473"/>
                  </a:lnTo>
                  <a:lnTo>
                    <a:pt x="206" y="477"/>
                  </a:lnTo>
                  <a:lnTo>
                    <a:pt x="203" y="479"/>
                  </a:lnTo>
                  <a:lnTo>
                    <a:pt x="199" y="481"/>
                  </a:lnTo>
                  <a:lnTo>
                    <a:pt x="193" y="483"/>
                  </a:lnTo>
                  <a:lnTo>
                    <a:pt x="185" y="483"/>
                  </a:lnTo>
                  <a:lnTo>
                    <a:pt x="185" y="483"/>
                  </a:lnTo>
                  <a:lnTo>
                    <a:pt x="176" y="483"/>
                  </a:lnTo>
                  <a:lnTo>
                    <a:pt x="168" y="477"/>
                  </a:lnTo>
                  <a:lnTo>
                    <a:pt x="163" y="471"/>
                  </a:lnTo>
                  <a:lnTo>
                    <a:pt x="159" y="463"/>
                  </a:lnTo>
                  <a:lnTo>
                    <a:pt x="153" y="458"/>
                  </a:lnTo>
                  <a:lnTo>
                    <a:pt x="149" y="450"/>
                  </a:lnTo>
                  <a:lnTo>
                    <a:pt x="143" y="446"/>
                  </a:lnTo>
                  <a:lnTo>
                    <a:pt x="138" y="444"/>
                  </a:lnTo>
                  <a:lnTo>
                    <a:pt x="138" y="444"/>
                  </a:lnTo>
                  <a:lnTo>
                    <a:pt x="132" y="444"/>
                  </a:lnTo>
                  <a:lnTo>
                    <a:pt x="126" y="448"/>
                  </a:lnTo>
                  <a:lnTo>
                    <a:pt x="122" y="452"/>
                  </a:lnTo>
                  <a:lnTo>
                    <a:pt x="119" y="456"/>
                  </a:lnTo>
                  <a:lnTo>
                    <a:pt x="117" y="462"/>
                  </a:lnTo>
                  <a:lnTo>
                    <a:pt x="113" y="467"/>
                  </a:lnTo>
                  <a:lnTo>
                    <a:pt x="109" y="473"/>
                  </a:lnTo>
                  <a:lnTo>
                    <a:pt x="105" y="477"/>
                  </a:lnTo>
                  <a:lnTo>
                    <a:pt x="105" y="477"/>
                  </a:lnTo>
                  <a:lnTo>
                    <a:pt x="98" y="483"/>
                  </a:lnTo>
                  <a:lnTo>
                    <a:pt x="90" y="484"/>
                  </a:lnTo>
                  <a:lnTo>
                    <a:pt x="80" y="483"/>
                  </a:lnTo>
                  <a:lnTo>
                    <a:pt x="71" y="481"/>
                  </a:lnTo>
                  <a:lnTo>
                    <a:pt x="61" y="481"/>
                  </a:lnTo>
                  <a:lnTo>
                    <a:pt x="54" y="484"/>
                  </a:lnTo>
                  <a:lnTo>
                    <a:pt x="48" y="494"/>
                  </a:lnTo>
                  <a:lnTo>
                    <a:pt x="46" y="513"/>
                  </a:lnTo>
                  <a:lnTo>
                    <a:pt x="46" y="513"/>
                  </a:lnTo>
                  <a:lnTo>
                    <a:pt x="46" y="515"/>
                  </a:lnTo>
                  <a:lnTo>
                    <a:pt x="46" y="519"/>
                  </a:lnTo>
                  <a:lnTo>
                    <a:pt x="46" y="523"/>
                  </a:lnTo>
                  <a:lnTo>
                    <a:pt x="46" y="524"/>
                  </a:lnTo>
                  <a:lnTo>
                    <a:pt x="46" y="528"/>
                  </a:lnTo>
                  <a:lnTo>
                    <a:pt x="46" y="532"/>
                  </a:lnTo>
                  <a:lnTo>
                    <a:pt x="46" y="538"/>
                  </a:lnTo>
                  <a:lnTo>
                    <a:pt x="46" y="542"/>
                  </a:lnTo>
                  <a:lnTo>
                    <a:pt x="46" y="542"/>
                  </a:lnTo>
                  <a:lnTo>
                    <a:pt x="48" y="545"/>
                  </a:lnTo>
                  <a:lnTo>
                    <a:pt x="50" y="549"/>
                  </a:lnTo>
                  <a:lnTo>
                    <a:pt x="54" y="553"/>
                  </a:lnTo>
                  <a:lnTo>
                    <a:pt x="58" y="557"/>
                  </a:lnTo>
                  <a:lnTo>
                    <a:pt x="61" y="561"/>
                  </a:lnTo>
                  <a:lnTo>
                    <a:pt x="65" y="563"/>
                  </a:lnTo>
                  <a:lnTo>
                    <a:pt x="69" y="565"/>
                  </a:lnTo>
                  <a:lnTo>
                    <a:pt x="73" y="566"/>
                  </a:lnTo>
                  <a:lnTo>
                    <a:pt x="73" y="566"/>
                  </a:lnTo>
                  <a:lnTo>
                    <a:pt x="71" y="568"/>
                  </a:lnTo>
                  <a:lnTo>
                    <a:pt x="71" y="570"/>
                  </a:lnTo>
                  <a:lnTo>
                    <a:pt x="69" y="572"/>
                  </a:lnTo>
                  <a:lnTo>
                    <a:pt x="67" y="576"/>
                  </a:lnTo>
                  <a:lnTo>
                    <a:pt x="65" y="578"/>
                  </a:lnTo>
                  <a:lnTo>
                    <a:pt x="65" y="582"/>
                  </a:lnTo>
                  <a:lnTo>
                    <a:pt x="63" y="586"/>
                  </a:lnTo>
                  <a:lnTo>
                    <a:pt x="61" y="589"/>
                  </a:lnTo>
                  <a:lnTo>
                    <a:pt x="61" y="589"/>
                  </a:lnTo>
                  <a:lnTo>
                    <a:pt x="61" y="589"/>
                  </a:lnTo>
                  <a:lnTo>
                    <a:pt x="59" y="587"/>
                  </a:lnTo>
                  <a:lnTo>
                    <a:pt x="56" y="584"/>
                  </a:lnTo>
                  <a:lnTo>
                    <a:pt x="54" y="582"/>
                  </a:lnTo>
                  <a:lnTo>
                    <a:pt x="50" y="578"/>
                  </a:lnTo>
                  <a:lnTo>
                    <a:pt x="46" y="576"/>
                  </a:lnTo>
                  <a:lnTo>
                    <a:pt x="44" y="574"/>
                  </a:lnTo>
                  <a:lnTo>
                    <a:pt x="40" y="574"/>
                  </a:lnTo>
                  <a:lnTo>
                    <a:pt x="40" y="574"/>
                  </a:lnTo>
                  <a:lnTo>
                    <a:pt x="35" y="576"/>
                  </a:lnTo>
                  <a:lnTo>
                    <a:pt x="29" y="578"/>
                  </a:lnTo>
                  <a:lnTo>
                    <a:pt x="25" y="582"/>
                  </a:lnTo>
                  <a:lnTo>
                    <a:pt x="21" y="586"/>
                  </a:lnTo>
                  <a:lnTo>
                    <a:pt x="16" y="591"/>
                  </a:lnTo>
                  <a:lnTo>
                    <a:pt x="12" y="595"/>
                  </a:lnTo>
                  <a:lnTo>
                    <a:pt x="6" y="597"/>
                  </a:lnTo>
                  <a:lnTo>
                    <a:pt x="0" y="597"/>
                  </a:lnTo>
                  <a:lnTo>
                    <a:pt x="0" y="597"/>
                  </a:lnTo>
                  <a:lnTo>
                    <a:pt x="2" y="607"/>
                  </a:lnTo>
                  <a:lnTo>
                    <a:pt x="6" y="612"/>
                  </a:lnTo>
                  <a:lnTo>
                    <a:pt x="12" y="620"/>
                  </a:lnTo>
                  <a:lnTo>
                    <a:pt x="16" y="626"/>
                  </a:lnTo>
                  <a:lnTo>
                    <a:pt x="21" y="633"/>
                  </a:lnTo>
                  <a:lnTo>
                    <a:pt x="27" y="639"/>
                  </a:lnTo>
                  <a:lnTo>
                    <a:pt x="35" y="645"/>
                  </a:lnTo>
                  <a:lnTo>
                    <a:pt x="40" y="650"/>
                  </a:lnTo>
                  <a:lnTo>
                    <a:pt x="46" y="656"/>
                  </a:lnTo>
                  <a:lnTo>
                    <a:pt x="54" y="662"/>
                  </a:lnTo>
                  <a:lnTo>
                    <a:pt x="59" y="669"/>
                  </a:lnTo>
                  <a:lnTo>
                    <a:pt x="67" y="675"/>
                  </a:lnTo>
                  <a:lnTo>
                    <a:pt x="73" y="681"/>
                  </a:lnTo>
                  <a:lnTo>
                    <a:pt x="79" y="689"/>
                  </a:lnTo>
                  <a:lnTo>
                    <a:pt x="84" y="694"/>
                  </a:lnTo>
                  <a:lnTo>
                    <a:pt x="88" y="702"/>
                  </a:lnTo>
                  <a:lnTo>
                    <a:pt x="88" y="702"/>
                  </a:lnTo>
                  <a:lnTo>
                    <a:pt x="92" y="696"/>
                  </a:lnTo>
                  <a:lnTo>
                    <a:pt x="98" y="690"/>
                  </a:lnTo>
                  <a:lnTo>
                    <a:pt x="105" y="685"/>
                  </a:lnTo>
                  <a:lnTo>
                    <a:pt x="113" y="677"/>
                  </a:lnTo>
                  <a:lnTo>
                    <a:pt x="122" y="671"/>
                  </a:lnTo>
                  <a:lnTo>
                    <a:pt x="130" y="666"/>
                  </a:lnTo>
                  <a:lnTo>
                    <a:pt x="136" y="662"/>
                  </a:lnTo>
                  <a:lnTo>
                    <a:pt x="142" y="660"/>
                  </a:lnTo>
                  <a:lnTo>
                    <a:pt x="142" y="660"/>
                  </a:lnTo>
                  <a:lnTo>
                    <a:pt x="143" y="660"/>
                  </a:lnTo>
                  <a:lnTo>
                    <a:pt x="145" y="662"/>
                  </a:lnTo>
                  <a:lnTo>
                    <a:pt x="149" y="662"/>
                  </a:lnTo>
                  <a:lnTo>
                    <a:pt x="153" y="664"/>
                  </a:lnTo>
                  <a:lnTo>
                    <a:pt x="155" y="666"/>
                  </a:lnTo>
                  <a:lnTo>
                    <a:pt x="159" y="668"/>
                  </a:lnTo>
                  <a:lnTo>
                    <a:pt x="161" y="668"/>
                  </a:lnTo>
                  <a:lnTo>
                    <a:pt x="161" y="669"/>
                  </a:lnTo>
                  <a:lnTo>
                    <a:pt x="161" y="669"/>
                  </a:lnTo>
                  <a:lnTo>
                    <a:pt x="164" y="671"/>
                  </a:lnTo>
                  <a:lnTo>
                    <a:pt x="168" y="673"/>
                  </a:lnTo>
                  <a:lnTo>
                    <a:pt x="172" y="675"/>
                  </a:lnTo>
                  <a:lnTo>
                    <a:pt x="176" y="677"/>
                  </a:lnTo>
                  <a:lnTo>
                    <a:pt x="180" y="679"/>
                  </a:lnTo>
                  <a:lnTo>
                    <a:pt x="183" y="679"/>
                  </a:lnTo>
                  <a:lnTo>
                    <a:pt x="187" y="681"/>
                  </a:lnTo>
                  <a:lnTo>
                    <a:pt x="191" y="681"/>
                  </a:lnTo>
                  <a:lnTo>
                    <a:pt x="191" y="681"/>
                  </a:lnTo>
                  <a:lnTo>
                    <a:pt x="199" y="679"/>
                  </a:lnTo>
                  <a:lnTo>
                    <a:pt x="206" y="677"/>
                  </a:lnTo>
                  <a:lnTo>
                    <a:pt x="214" y="671"/>
                  </a:lnTo>
                  <a:lnTo>
                    <a:pt x="222" y="668"/>
                  </a:lnTo>
                  <a:lnTo>
                    <a:pt x="231" y="662"/>
                  </a:lnTo>
                  <a:lnTo>
                    <a:pt x="239" y="656"/>
                  </a:lnTo>
                  <a:lnTo>
                    <a:pt x="245" y="652"/>
                  </a:lnTo>
                  <a:lnTo>
                    <a:pt x="250" y="648"/>
                  </a:lnTo>
                  <a:lnTo>
                    <a:pt x="273" y="648"/>
                  </a:lnTo>
                  <a:lnTo>
                    <a:pt x="273" y="648"/>
                  </a:lnTo>
                  <a:lnTo>
                    <a:pt x="271" y="650"/>
                  </a:lnTo>
                  <a:lnTo>
                    <a:pt x="269" y="654"/>
                  </a:lnTo>
                  <a:lnTo>
                    <a:pt x="267" y="656"/>
                  </a:lnTo>
                  <a:lnTo>
                    <a:pt x="266" y="660"/>
                  </a:lnTo>
                  <a:lnTo>
                    <a:pt x="264" y="662"/>
                  </a:lnTo>
                  <a:lnTo>
                    <a:pt x="264" y="666"/>
                  </a:lnTo>
                  <a:lnTo>
                    <a:pt x="262" y="669"/>
                  </a:lnTo>
                  <a:lnTo>
                    <a:pt x="262" y="671"/>
                  </a:lnTo>
                  <a:lnTo>
                    <a:pt x="262" y="671"/>
                  </a:lnTo>
                  <a:lnTo>
                    <a:pt x="264" y="679"/>
                  </a:lnTo>
                  <a:lnTo>
                    <a:pt x="264" y="683"/>
                  </a:lnTo>
                  <a:lnTo>
                    <a:pt x="267" y="689"/>
                  </a:lnTo>
                  <a:lnTo>
                    <a:pt x="271" y="690"/>
                  </a:lnTo>
                  <a:lnTo>
                    <a:pt x="275" y="692"/>
                  </a:lnTo>
                  <a:lnTo>
                    <a:pt x="281" y="694"/>
                  </a:lnTo>
                  <a:lnTo>
                    <a:pt x="286" y="696"/>
                  </a:lnTo>
                  <a:lnTo>
                    <a:pt x="290" y="696"/>
                  </a:lnTo>
                  <a:lnTo>
                    <a:pt x="290" y="696"/>
                  </a:lnTo>
                  <a:lnTo>
                    <a:pt x="300" y="694"/>
                  </a:lnTo>
                  <a:lnTo>
                    <a:pt x="309" y="690"/>
                  </a:lnTo>
                  <a:lnTo>
                    <a:pt x="321" y="687"/>
                  </a:lnTo>
                  <a:lnTo>
                    <a:pt x="330" y="681"/>
                  </a:lnTo>
                  <a:lnTo>
                    <a:pt x="338" y="673"/>
                  </a:lnTo>
                  <a:lnTo>
                    <a:pt x="346" y="666"/>
                  </a:lnTo>
                  <a:lnTo>
                    <a:pt x="349" y="658"/>
                  </a:lnTo>
                  <a:lnTo>
                    <a:pt x="349" y="650"/>
                  </a:lnTo>
                  <a:lnTo>
                    <a:pt x="349" y="650"/>
                  </a:lnTo>
                  <a:lnTo>
                    <a:pt x="351" y="643"/>
                  </a:lnTo>
                  <a:lnTo>
                    <a:pt x="355" y="637"/>
                  </a:lnTo>
                  <a:lnTo>
                    <a:pt x="363" y="631"/>
                  </a:lnTo>
                  <a:lnTo>
                    <a:pt x="372" y="628"/>
                  </a:lnTo>
                  <a:lnTo>
                    <a:pt x="382" y="624"/>
                  </a:lnTo>
                  <a:lnTo>
                    <a:pt x="391" y="620"/>
                  </a:lnTo>
                  <a:lnTo>
                    <a:pt x="399" y="616"/>
                  </a:lnTo>
                  <a:lnTo>
                    <a:pt x="407" y="610"/>
                  </a:lnTo>
                  <a:lnTo>
                    <a:pt x="407" y="610"/>
                  </a:lnTo>
                  <a:lnTo>
                    <a:pt x="410" y="607"/>
                  </a:lnTo>
                  <a:lnTo>
                    <a:pt x="412" y="601"/>
                  </a:lnTo>
                  <a:lnTo>
                    <a:pt x="414" y="595"/>
                  </a:lnTo>
                  <a:lnTo>
                    <a:pt x="418" y="589"/>
                  </a:lnTo>
                  <a:lnTo>
                    <a:pt x="420" y="582"/>
                  </a:lnTo>
                  <a:lnTo>
                    <a:pt x="422" y="576"/>
                  </a:lnTo>
                  <a:lnTo>
                    <a:pt x="422" y="566"/>
                  </a:lnTo>
                  <a:lnTo>
                    <a:pt x="424" y="559"/>
                  </a:lnTo>
                  <a:lnTo>
                    <a:pt x="424" y="551"/>
                  </a:lnTo>
                  <a:lnTo>
                    <a:pt x="426" y="544"/>
                  </a:lnTo>
                  <a:lnTo>
                    <a:pt x="426" y="534"/>
                  </a:lnTo>
                  <a:lnTo>
                    <a:pt x="426" y="526"/>
                  </a:lnTo>
                  <a:lnTo>
                    <a:pt x="428" y="519"/>
                  </a:lnTo>
                  <a:lnTo>
                    <a:pt x="428" y="511"/>
                  </a:lnTo>
                  <a:lnTo>
                    <a:pt x="428" y="504"/>
                  </a:lnTo>
                  <a:lnTo>
                    <a:pt x="428" y="498"/>
                  </a:lnTo>
                  <a:lnTo>
                    <a:pt x="428" y="498"/>
                  </a:lnTo>
                  <a:lnTo>
                    <a:pt x="428" y="486"/>
                  </a:lnTo>
                  <a:lnTo>
                    <a:pt x="430" y="477"/>
                  </a:lnTo>
                  <a:lnTo>
                    <a:pt x="433" y="467"/>
                  </a:lnTo>
                  <a:lnTo>
                    <a:pt x="437" y="458"/>
                  </a:lnTo>
                  <a:lnTo>
                    <a:pt x="443" y="448"/>
                  </a:lnTo>
                  <a:lnTo>
                    <a:pt x="449" y="441"/>
                  </a:lnTo>
                  <a:lnTo>
                    <a:pt x="454" y="431"/>
                  </a:lnTo>
                  <a:lnTo>
                    <a:pt x="462" y="423"/>
                  </a:lnTo>
                  <a:lnTo>
                    <a:pt x="470" y="416"/>
                  </a:lnTo>
                  <a:lnTo>
                    <a:pt x="477" y="408"/>
                  </a:lnTo>
                  <a:lnTo>
                    <a:pt x="483" y="400"/>
                  </a:lnTo>
                  <a:lnTo>
                    <a:pt x="491" y="393"/>
                  </a:lnTo>
                  <a:lnTo>
                    <a:pt x="498" y="387"/>
                  </a:lnTo>
                  <a:lnTo>
                    <a:pt x="504" y="380"/>
                  </a:lnTo>
                  <a:lnTo>
                    <a:pt x="510" y="374"/>
                  </a:lnTo>
                  <a:lnTo>
                    <a:pt x="515" y="368"/>
                  </a:lnTo>
                  <a:lnTo>
                    <a:pt x="515" y="368"/>
                  </a:lnTo>
                  <a:lnTo>
                    <a:pt x="519" y="362"/>
                  </a:lnTo>
                  <a:lnTo>
                    <a:pt x="523" y="357"/>
                  </a:lnTo>
                  <a:lnTo>
                    <a:pt x="525" y="351"/>
                  </a:lnTo>
                  <a:lnTo>
                    <a:pt x="529" y="345"/>
                  </a:lnTo>
                  <a:lnTo>
                    <a:pt x="533" y="339"/>
                  </a:lnTo>
                  <a:lnTo>
                    <a:pt x="534" y="334"/>
                  </a:lnTo>
                  <a:lnTo>
                    <a:pt x="538" y="326"/>
                  </a:lnTo>
                  <a:lnTo>
                    <a:pt x="540" y="320"/>
                  </a:lnTo>
                  <a:lnTo>
                    <a:pt x="542" y="315"/>
                  </a:lnTo>
                  <a:lnTo>
                    <a:pt x="546" y="307"/>
                  </a:lnTo>
                  <a:lnTo>
                    <a:pt x="548" y="301"/>
                  </a:lnTo>
                  <a:lnTo>
                    <a:pt x="550" y="296"/>
                  </a:lnTo>
                  <a:lnTo>
                    <a:pt x="554" y="288"/>
                  </a:lnTo>
                  <a:lnTo>
                    <a:pt x="555" y="282"/>
                  </a:lnTo>
                  <a:lnTo>
                    <a:pt x="557" y="276"/>
                  </a:lnTo>
                  <a:lnTo>
                    <a:pt x="561" y="271"/>
                  </a:lnTo>
                  <a:lnTo>
                    <a:pt x="561" y="208"/>
                  </a:lnTo>
                  <a:lnTo>
                    <a:pt x="561" y="208"/>
                  </a:lnTo>
                  <a:lnTo>
                    <a:pt x="561" y="202"/>
                  </a:lnTo>
                  <a:lnTo>
                    <a:pt x="563" y="196"/>
                  </a:lnTo>
                  <a:lnTo>
                    <a:pt x="565" y="193"/>
                  </a:lnTo>
                  <a:lnTo>
                    <a:pt x="567" y="187"/>
                  </a:lnTo>
                  <a:lnTo>
                    <a:pt x="567" y="183"/>
                  </a:lnTo>
                  <a:lnTo>
                    <a:pt x="567" y="177"/>
                  </a:lnTo>
                  <a:lnTo>
                    <a:pt x="569" y="173"/>
                  </a:lnTo>
                  <a:lnTo>
                    <a:pt x="569" y="170"/>
                  </a:lnTo>
                  <a:lnTo>
                    <a:pt x="571" y="164"/>
                  </a:lnTo>
                  <a:lnTo>
                    <a:pt x="571" y="160"/>
                  </a:lnTo>
                  <a:lnTo>
                    <a:pt x="571" y="156"/>
                  </a:lnTo>
                  <a:lnTo>
                    <a:pt x="573" y="152"/>
                  </a:lnTo>
                  <a:lnTo>
                    <a:pt x="575" y="147"/>
                  </a:lnTo>
                  <a:lnTo>
                    <a:pt x="575" y="143"/>
                  </a:lnTo>
                  <a:lnTo>
                    <a:pt x="576" y="137"/>
                  </a:lnTo>
                  <a:lnTo>
                    <a:pt x="578" y="131"/>
                  </a:lnTo>
                  <a:lnTo>
                    <a:pt x="575" y="131"/>
                  </a:lnTo>
                  <a:lnTo>
                    <a:pt x="575" y="131"/>
                  </a:lnTo>
                  <a:lnTo>
                    <a:pt x="580" y="120"/>
                  </a:lnTo>
                  <a:lnTo>
                    <a:pt x="584" y="112"/>
                  </a:lnTo>
                  <a:lnTo>
                    <a:pt x="590" y="105"/>
                  </a:lnTo>
                  <a:lnTo>
                    <a:pt x="596" y="99"/>
                  </a:lnTo>
                  <a:lnTo>
                    <a:pt x="601" y="91"/>
                  </a:lnTo>
                  <a:lnTo>
                    <a:pt x="607" y="84"/>
                  </a:lnTo>
                  <a:lnTo>
                    <a:pt x="611" y="76"/>
                  </a:lnTo>
                  <a:lnTo>
                    <a:pt x="616" y="67"/>
                  </a:lnTo>
                  <a:lnTo>
                    <a:pt x="616" y="67"/>
                  </a:lnTo>
                  <a:lnTo>
                    <a:pt x="618" y="59"/>
                  </a:lnTo>
                  <a:lnTo>
                    <a:pt x="618" y="51"/>
                  </a:lnTo>
                  <a:lnTo>
                    <a:pt x="620" y="44"/>
                  </a:lnTo>
                  <a:lnTo>
                    <a:pt x="620" y="36"/>
                  </a:lnTo>
                  <a:lnTo>
                    <a:pt x="620" y="28"/>
                  </a:lnTo>
                  <a:lnTo>
                    <a:pt x="618" y="21"/>
                  </a:lnTo>
                  <a:lnTo>
                    <a:pt x="618" y="15"/>
                  </a:lnTo>
                  <a:lnTo>
                    <a:pt x="616" y="7"/>
                  </a:lnTo>
                  <a:lnTo>
                    <a:pt x="561" y="7"/>
                  </a:lnTo>
                  <a:lnTo>
                    <a:pt x="561" y="7"/>
                  </a:lnTo>
                  <a:lnTo>
                    <a:pt x="554" y="6"/>
                  </a:lnTo>
                  <a:lnTo>
                    <a:pt x="548" y="4"/>
                  </a:lnTo>
                  <a:lnTo>
                    <a:pt x="542" y="2"/>
                  </a:lnTo>
                  <a:lnTo>
                    <a:pt x="536" y="0"/>
                  </a:lnTo>
                  <a:lnTo>
                    <a:pt x="531" y="0"/>
                  </a:lnTo>
                  <a:lnTo>
                    <a:pt x="523" y="0"/>
                  </a:lnTo>
                  <a:lnTo>
                    <a:pt x="517" y="0"/>
                  </a:lnTo>
                  <a:lnTo>
                    <a:pt x="510" y="0"/>
                  </a:lnTo>
                  <a:lnTo>
                    <a:pt x="510" y="0"/>
                  </a:lnTo>
                  <a:lnTo>
                    <a:pt x="496" y="0"/>
                  </a:lnTo>
                  <a:lnTo>
                    <a:pt x="487" y="2"/>
                  </a:lnTo>
                  <a:lnTo>
                    <a:pt x="475" y="4"/>
                  </a:lnTo>
                  <a:lnTo>
                    <a:pt x="468" y="7"/>
                  </a:lnTo>
                  <a:lnTo>
                    <a:pt x="460" y="11"/>
                  </a:lnTo>
                  <a:lnTo>
                    <a:pt x="454" y="17"/>
                  </a:lnTo>
                  <a:lnTo>
                    <a:pt x="449" y="23"/>
                  </a:lnTo>
                  <a:lnTo>
                    <a:pt x="445" y="30"/>
                  </a:lnTo>
                  <a:lnTo>
                    <a:pt x="441" y="38"/>
                  </a:lnTo>
                  <a:lnTo>
                    <a:pt x="437" y="46"/>
                  </a:lnTo>
                  <a:lnTo>
                    <a:pt x="433" y="53"/>
                  </a:lnTo>
                  <a:lnTo>
                    <a:pt x="431" y="61"/>
                  </a:lnTo>
                  <a:lnTo>
                    <a:pt x="428" y="70"/>
                  </a:lnTo>
                  <a:lnTo>
                    <a:pt x="426" y="80"/>
                  </a:lnTo>
                  <a:lnTo>
                    <a:pt x="422" y="88"/>
                  </a:lnTo>
                  <a:lnTo>
                    <a:pt x="418" y="97"/>
                  </a:lnTo>
                  <a:lnTo>
                    <a:pt x="418" y="9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85" name="Freeform 229"/>
            <p:cNvSpPr>
              <a:spLocks/>
            </p:cNvSpPr>
            <p:nvPr/>
          </p:nvSpPr>
          <p:spPr bwMode="gray">
            <a:xfrm>
              <a:off x="2102" y="2563"/>
              <a:ext cx="41" cy="56"/>
            </a:xfrm>
            <a:custGeom>
              <a:avLst/>
              <a:gdLst/>
              <a:ahLst/>
              <a:cxnLst>
                <a:cxn ang="0">
                  <a:pos x="21" y="97"/>
                </a:cxn>
                <a:cxn ang="0">
                  <a:pos x="29" y="95"/>
                </a:cxn>
                <a:cxn ang="0">
                  <a:pos x="33" y="90"/>
                </a:cxn>
                <a:cxn ang="0">
                  <a:pos x="36" y="84"/>
                </a:cxn>
                <a:cxn ang="0">
                  <a:pos x="36" y="74"/>
                </a:cxn>
                <a:cxn ang="0">
                  <a:pos x="36" y="65"/>
                </a:cxn>
                <a:cxn ang="0">
                  <a:pos x="36" y="55"/>
                </a:cxn>
                <a:cxn ang="0">
                  <a:pos x="36" y="46"/>
                </a:cxn>
                <a:cxn ang="0">
                  <a:pos x="38" y="38"/>
                </a:cxn>
                <a:cxn ang="0">
                  <a:pos x="42" y="32"/>
                </a:cxn>
                <a:cxn ang="0">
                  <a:pos x="46" y="29"/>
                </a:cxn>
                <a:cxn ang="0">
                  <a:pos x="50" y="25"/>
                </a:cxn>
                <a:cxn ang="0">
                  <a:pos x="55" y="23"/>
                </a:cxn>
                <a:cxn ang="0">
                  <a:pos x="59" y="19"/>
                </a:cxn>
                <a:cxn ang="0">
                  <a:pos x="65" y="17"/>
                </a:cxn>
                <a:cxn ang="0">
                  <a:pos x="69" y="13"/>
                </a:cxn>
                <a:cxn ang="0">
                  <a:pos x="73" y="9"/>
                </a:cxn>
                <a:cxn ang="0">
                  <a:pos x="73" y="8"/>
                </a:cxn>
                <a:cxn ang="0">
                  <a:pos x="71" y="8"/>
                </a:cxn>
                <a:cxn ang="0">
                  <a:pos x="67" y="6"/>
                </a:cxn>
                <a:cxn ang="0">
                  <a:pos x="65" y="4"/>
                </a:cxn>
                <a:cxn ang="0">
                  <a:pos x="61" y="2"/>
                </a:cxn>
                <a:cxn ang="0">
                  <a:pos x="57" y="2"/>
                </a:cxn>
                <a:cxn ang="0">
                  <a:pos x="55" y="0"/>
                </a:cxn>
                <a:cxn ang="0">
                  <a:pos x="54" y="0"/>
                </a:cxn>
                <a:cxn ang="0">
                  <a:pos x="48" y="2"/>
                </a:cxn>
                <a:cxn ang="0">
                  <a:pos x="42" y="6"/>
                </a:cxn>
                <a:cxn ang="0">
                  <a:pos x="34" y="11"/>
                </a:cxn>
                <a:cxn ang="0">
                  <a:pos x="25" y="17"/>
                </a:cxn>
                <a:cxn ang="0">
                  <a:pos x="17" y="25"/>
                </a:cxn>
                <a:cxn ang="0">
                  <a:pos x="10" y="30"/>
                </a:cxn>
                <a:cxn ang="0">
                  <a:pos x="4" y="36"/>
                </a:cxn>
                <a:cxn ang="0">
                  <a:pos x="0" y="42"/>
                </a:cxn>
                <a:cxn ang="0">
                  <a:pos x="2" y="42"/>
                </a:cxn>
                <a:cxn ang="0">
                  <a:pos x="4" y="50"/>
                </a:cxn>
                <a:cxn ang="0">
                  <a:pos x="6" y="55"/>
                </a:cxn>
                <a:cxn ang="0">
                  <a:pos x="8" y="63"/>
                </a:cxn>
                <a:cxn ang="0">
                  <a:pos x="10" y="69"/>
                </a:cxn>
                <a:cxn ang="0">
                  <a:pos x="13" y="76"/>
                </a:cxn>
                <a:cxn ang="0">
                  <a:pos x="15" y="82"/>
                </a:cxn>
                <a:cxn ang="0">
                  <a:pos x="19" y="92"/>
                </a:cxn>
                <a:cxn ang="0">
                  <a:pos x="21" y="101"/>
                </a:cxn>
                <a:cxn ang="0">
                  <a:pos x="21" y="97"/>
                </a:cxn>
              </a:cxnLst>
              <a:rect l="0" t="0" r="r" b="b"/>
              <a:pathLst>
                <a:path w="73" h="101">
                  <a:moveTo>
                    <a:pt x="21" y="97"/>
                  </a:moveTo>
                  <a:lnTo>
                    <a:pt x="29" y="95"/>
                  </a:lnTo>
                  <a:lnTo>
                    <a:pt x="33" y="90"/>
                  </a:lnTo>
                  <a:lnTo>
                    <a:pt x="36" y="84"/>
                  </a:lnTo>
                  <a:lnTo>
                    <a:pt x="36" y="74"/>
                  </a:lnTo>
                  <a:lnTo>
                    <a:pt x="36" y="65"/>
                  </a:lnTo>
                  <a:lnTo>
                    <a:pt x="36" y="55"/>
                  </a:lnTo>
                  <a:lnTo>
                    <a:pt x="36" y="46"/>
                  </a:lnTo>
                  <a:lnTo>
                    <a:pt x="38" y="38"/>
                  </a:lnTo>
                  <a:lnTo>
                    <a:pt x="42" y="32"/>
                  </a:lnTo>
                  <a:lnTo>
                    <a:pt x="46" y="29"/>
                  </a:lnTo>
                  <a:lnTo>
                    <a:pt x="50" y="25"/>
                  </a:lnTo>
                  <a:lnTo>
                    <a:pt x="55" y="23"/>
                  </a:lnTo>
                  <a:lnTo>
                    <a:pt x="59" y="19"/>
                  </a:lnTo>
                  <a:lnTo>
                    <a:pt x="65" y="17"/>
                  </a:lnTo>
                  <a:lnTo>
                    <a:pt x="69" y="13"/>
                  </a:lnTo>
                  <a:lnTo>
                    <a:pt x="73" y="9"/>
                  </a:lnTo>
                  <a:lnTo>
                    <a:pt x="73" y="8"/>
                  </a:lnTo>
                  <a:lnTo>
                    <a:pt x="71" y="8"/>
                  </a:lnTo>
                  <a:lnTo>
                    <a:pt x="67" y="6"/>
                  </a:lnTo>
                  <a:lnTo>
                    <a:pt x="65" y="4"/>
                  </a:lnTo>
                  <a:lnTo>
                    <a:pt x="61" y="2"/>
                  </a:lnTo>
                  <a:lnTo>
                    <a:pt x="57" y="2"/>
                  </a:lnTo>
                  <a:lnTo>
                    <a:pt x="55" y="0"/>
                  </a:lnTo>
                  <a:lnTo>
                    <a:pt x="54" y="0"/>
                  </a:lnTo>
                  <a:lnTo>
                    <a:pt x="48" y="2"/>
                  </a:lnTo>
                  <a:lnTo>
                    <a:pt x="42" y="6"/>
                  </a:lnTo>
                  <a:lnTo>
                    <a:pt x="34" y="11"/>
                  </a:lnTo>
                  <a:lnTo>
                    <a:pt x="25" y="17"/>
                  </a:lnTo>
                  <a:lnTo>
                    <a:pt x="17" y="25"/>
                  </a:lnTo>
                  <a:lnTo>
                    <a:pt x="10" y="30"/>
                  </a:lnTo>
                  <a:lnTo>
                    <a:pt x="4" y="36"/>
                  </a:lnTo>
                  <a:lnTo>
                    <a:pt x="0" y="42"/>
                  </a:lnTo>
                  <a:lnTo>
                    <a:pt x="2" y="42"/>
                  </a:lnTo>
                  <a:lnTo>
                    <a:pt x="4" y="50"/>
                  </a:lnTo>
                  <a:lnTo>
                    <a:pt x="6" y="55"/>
                  </a:lnTo>
                  <a:lnTo>
                    <a:pt x="8" y="63"/>
                  </a:lnTo>
                  <a:lnTo>
                    <a:pt x="10" y="69"/>
                  </a:lnTo>
                  <a:lnTo>
                    <a:pt x="13" y="76"/>
                  </a:lnTo>
                  <a:lnTo>
                    <a:pt x="15" y="82"/>
                  </a:lnTo>
                  <a:lnTo>
                    <a:pt x="19" y="92"/>
                  </a:lnTo>
                  <a:lnTo>
                    <a:pt x="21" y="101"/>
                  </a:lnTo>
                  <a:lnTo>
                    <a:pt x="21" y="97"/>
                  </a:lnTo>
                  <a:close/>
                </a:path>
              </a:pathLst>
            </a:custGeom>
            <a:solidFill>
              <a:schemeClr val="accent2"/>
            </a:solid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486" name="Freeform 230"/>
            <p:cNvSpPr>
              <a:spLocks/>
            </p:cNvSpPr>
            <p:nvPr/>
          </p:nvSpPr>
          <p:spPr bwMode="gray">
            <a:xfrm>
              <a:off x="1952" y="2267"/>
              <a:ext cx="257" cy="262"/>
            </a:xfrm>
            <a:custGeom>
              <a:avLst/>
              <a:gdLst/>
              <a:ahLst/>
              <a:cxnLst>
                <a:cxn ang="0">
                  <a:pos x="351" y="11"/>
                </a:cxn>
                <a:cxn ang="0">
                  <a:pos x="347" y="27"/>
                </a:cxn>
                <a:cxn ang="0">
                  <a:pos x="345" y="42"/>
                </a:cxn>
                <a:cxn ang="0">
                  <a:pos x="345" y="67"/>
                </a:cxn>
                <a:cxn ang="0">
                  <a:pos x="345" y="88"/>
                </a:cxn>
                <a:cxn ang="0">
                  <a:pos x="364" y="86"/>
                </a:cxn>
                <a:cxn ang="0">
                  <a:pos x="379" y="78"/>
                </a:cxn>
                <a:cxn ang="0">
                  <a:pos x="395" y="73"/>
                </a:cxn>
                <a:cxn ang="0">
                  <a:pos x="414" y="71"/>
                </a:cxn>
                <a:cxn ang="0">
                  <a:pos x="433" y="78"/>
                </a:cxn>
                <a:cxn ang="0">
                  <a:pos x="446" y="103"/>
                </a:cxn>
                <a:cxn ang="0">
                  <a:pos x="439" y="128"/>
                </a:cxn>
                <a:cxn ang="0">
                  <a:pos x="406" y="153"/>
                </a:cxn>
                <a:cxn ang="0">
                  <a:pos x="402" y="183"/>
                </a:cxn>
                <a:cxn ang="0">
                  <a:pos x="437" y="204"/>
                </a:cxn>
                <a:cxn ang="0">
                  <a:pos x="454" y="227"/>
                </a:cxn>
                <a:cxn ang="0">
                  <a:pos x="452" y="258"/>
                </a:cxn>
                <a:cxn ang="0">
                  <a:pos x="444" y="290"/>
                </a:cxn>
                <a:cxn ang="0">
                  <a:pos x="437" y="322"/>
                </a:cxn>
                <a:cxn ang="0">
                  <a:pos x="429" y="345"/>
                </a:cxn>
                <a:cxn ang="0">
                  <a:pos x="427" y="357"/>
                </a:cxn>
                <a:cxn ang="0">
                  <a:pos x="418" y="368"/>
                </a:cxn>
                <a:cxn ang="0">
                  <a:pos x="412" y="366"/>
                </a:cxn>
                <a:cxn ang="0">
                  <a:pos x="400" y="353"/>
                </a:cxn>
                <a:cxn ang="0">
                  <a:pos x="393" y="349"/>
                </a:cxn>
                <a:cxn ang="0">
                  <a:pos x="378" y="359"/>
                </a:cxn>
                <a:cxn ang="0">
                  <a:pos x="360" y="363"/>
                </a:cxn>
                <a:cxn ang="0">
                  <a:pos x="334" y="343"/>
                </a:cxn>
                <a:cxn ang="0">
                  <a:pos x="313" y="324"/>
                </a:cxn>
                <a:cxn ang="0">
                  <a:pos x="297" y="332"/>
                </a:cxn>
                <a:cxn ang="0">
                  <a:pos x="284" y="353"/>
                </a:cxn>
                <a:cxn ang="0">
                  <a:pos x="265" y="364"/>
                </a:cxn>
                <a:cxn ang="0">
                  <a:pos x="229" y="364"/>
                </a:cxn>
                <a:cxn ang="0">
                  <a:pos x="221" y="395"/>
                </a:cxn>
                <a:cxn ang="0">
                  <a:pos x="221" y="408"/>
                </a:cxn>
                <a:cxn ang="0">
                  <a:pos x="221" y="422"/>
                </a:cxn>
                <a:cxn ang="0">
                  <a:pos x="233" y="437"/>
                </a:cxn>
                <a:cxn ang="0">
                  <a:pos x="248" y="446"/>
                </a:cxn>
                <a:cxn ang="0">
                  <a:pos x="244" y="452"/>
                </a:cxn>
                <a:cxn ang="0">
                  <a:pos x="238" y="466"/>
                </a:cxn>
                <a:cxn ang="0">
                  <a:pos x="234" y="467"/>
                </a:cxn>
                <a:cxn ang="0">
                  <a:pos x="221" y="456"/>
                </a:cxn>
                <a:cxn ang="0">
                  <a:pos x="210" y="456"/>
                </a:cxn>
                <a:cxn ang="0">
                  <a:pos x="191" y="471"/>
                </a:cxn>
                <a:cxn ang="0">
                  <a:pos x="175" y="477"/>
                </a:cxn>
                <a:cxn ang="0">
                  <a:pos x="158" y="452"/>
                </a:cxn>
                <a:cxn ang="0">
                  <a:pos x="139" y="431"/>
                </a:cxn>
                <a:cxn ang="0">
                  <a:pos x="118" y="414"/>
                </a:cxn>
                <a:cxn ang="0">
                  <a:pos x="95" y="393"/>
                </a:cxn>
                <a:cxn ang="0">
                  <a:pos x="78" y="368"/>
                </a:cxn>
                <a:cxn ang="0">
                  <a:pos x="63" y="336"/>
                </a:cxn>
                <a:cxn ang="0">
                  <a:pos x="49" y="319"/>
                </a:cxn>
                <a:cxn ang="0">
                  <a:pos x="30" y="296"/>
                </a:cxn>
                <a:cxn ang="0">
                  <a:pos x="13" y="269"/>
                </a:cxn>
                <a:cxn ang="0">
                  <a:pos x="2" y="242"/>
                </a:cxn>
                <a:cxn ang="0">
                  <a:pos x="6" y="231"/>
                </a:cxn>
                <a:cxn ang="0">
                  <a:pos x="27" y="208"/>
                </a:cxn>
                <a:cxn ang="0">
                  <a:pos x="46" y="160"/>
                </a:cxn>
                <a:cxn ang="0">
                  <a:pos x="61" y="113"/>
                </a:cxn>
                <a:cxn ang="0">
                  <a:pos x="204" y="94"/>
                </a:cxn>
                <a:cxn ang="0">
                  <a:pos x="360" y="4"/>
                </a:cxn>
              </a:cxnLst>
              <a:rect l="0" t="0" r="r" b="b"/>
              <a:pathLst>
                <a:path w="454" h="477">
                  <a:moveTo>
                    <a:pt x="357" y="4"/>
                  </a:moveTo>
                  <a:lnTo>
                    <a:pt x="357" y="4"/>
                  </a:lnTo>
                  <a:lnTo>
                    <a:pt x="355" y="8"/>
                  </a:lnTo>
                  <a:lnTo>
                    <a:pt x="351" y="11"/>
                  </a:lnTo>
                  <a:lnTo>
                    <a:pt x="351" y="15"/>
                  </a:lnTo>
                  <a:lnTo>
                    <a:pt x="349" y="19"/>
                  </a:lnTo>
                  <a:lnTo>
                    <a:pt x="347" y="23"/>
                  </a:lnTo>
                  <a:lnTo>
                    <a:pt x="347" y="27"/>
                  </a:lnTo>
                  <a:lnTo>
                    <a:pt x="345" y="32"/>
                  </a:lnTo>
                  <a:lnTo>
                    <a:pt x="345" y="38"/>
                  </a:lnTo>
                  <a:lnTo>
                    <a:pt x="345" y="38"/>
                  </a:lnTo>
                  <a:lnTo>
                    <a:pt x="345" y="42"/>
                  </a:lnTo>
                  <a:lnTo>
                    <a:pt x="345" y="48"/>
                  </a:lnTo>
                  <a:lnTo>
                    <a:pt x="345" y="53"/>
                  </a:lnTo>
                  <a:lnTo>
                    <a:pt x="345" y="59"/>
                  </a:lnTo>
                  <a:lnTo>
                    <a:pt x="345" y="67"/>
                  </a:lnTo>
                  <a:lnTo>
                    <a:pt x="345" y="73"/>
                  </a:lnTo>
                  <a:lnTo>
                    <a:pt x="345" y="80"/>
                  </a:lnTo>
                  <a:lnTo>
                    <a:pt x="345" y="88"/>
                  </a:lnTo>
                  <a:lnTo>
                    <a:pt x="345" y="88"/>
                  </a:lnTo>
                  <a:lnTo>
                    <a:pt x="351" y="88"/>
                  </a:lnTo>
                  <a:lnTo>
                    <a:pt x="355" y="88"/>
                  </a:lnTo>
                  <a:lnTo>
                    <a:pt x="360" y="86"/>
                  </a:lnTo>
                  <a:lnTo>
                    <a:pt x="364" y="86"/>
                  </a:lnTo>
                  <a:lnTo>
                    <a:pt x="368" y="84"/>
                  </a:lnTo>
                  <a:lnTo>
                    <a:pt x="372" y="82"/>
                  </a:lnTo>
                  <a:lnTo>
                    <a:pt x="376" y="80"/>
                  </a:lnTo>
                  <a:lnTo>
                    <a:pt x="379" y="78"/>
                  </a:lnTo>
                  <a:lnTo>
                    <a:pt x="383" y="76"/>
                  </a:lnTo>
                  <a:lnTo>
                    <a:pt x="387" y="76"/>
                  </a:lnTo>
                  <a:lnTo>
                    <a:pt x="391" y="74"/>
                  </a:lnTo>
                  <a:lnTo>
                    <a:pt x="395" y="73"/>
                  </a:lnTo>
                  <a:lnTo>
                    <a:pt x="400" y="73"/>
                  </a:lnTo>
                  <a:lnTo>
                    <a:pt x="404" y="71"/>
                  </a:lnTo>
                  <a:lnTo>
                    <a:pt x="408" y="71"/>
                  </a:lnTo>
                  <a:lnTo>
                    <a:pt x="414" y="71"/>
                  </a:lnTo>
                  <a:lnTo>
                    <a:pt x="414" y="71"/>
                  </a:lnTo>
                  <a:lnTo>
                    <a:pt x="420" y="71"/>
                  </a:lnTo>
                  <a:lnTo>
                    <a:pt x="427" y="74"/>
                  </a:lnTo>
                  <a:lnTo>
                    <a:pt x="433" y="78"/>
                  </a:lnTo>
                  <a:lnTo>
                    <a:pt x="437" y="84"/>
                  </a:lnTo>
                  <a:lnTo>
                    <a:pt x="441" y="90"/>
                  </a:lnTo>
                  <a:lnTo>
                    <a:pt x="444" y="97"/>
                  </a:lnTo>
                  <a:lnTo>
                    <a:pt x="446" y="103"/>
                  </a:lnTo>
                  <a:lnTo>
                    <a:pt x="446" y="111"/>
                  </a:lnTo>
                  <a:lnTo>
                    <a:pt x="446" y="111"/>
                  </a:lnTo>
                  <a:lnTo>
                    <a:pt x="444" y="120"/>
                  </a:lnTo>
                  <a:lnTo>
                    <a:pt x="439" y="128"/>
                  </a:lnTo>
                  <a:lnTo>
                    <a:pt x="431" y="134"/>
                  </a:lnTo>
                  <a:lnTo>
                    <a:pt x="423" y="139"/>
                  </a:lnTo>
                  <a:lnTo>
                    <a:pt x="414" y="145"/>
                  </a:lnTo>
                  <a:lnTo>
                    <a:pt x="406" y="153"/>
                  </a:lnTo>
                  <a:lnTo>
                    <a:pt x="400" y="162"/>
                  </a:lnTo>
                  <a:lnTo>
                    <a:pt x="399" y="174"/>
                  </a:lnTo>
                  <a:lnTo>
                    <a:pt x="399" y="174"/>
                  </a:lnTo>
                  <a:lnTo>
                    <a:pt x="402" y="183"/>
                  </a:lnTo>
                  <a:lnTo>
                    <a:pt x="408" y="189"/>
                  </a:lnTo>
                  <a:lnTo>
                    <a:pt x="416" y="195"/>
                  </a:lnTo>
                  <a:lnTo>
                    <a:pt x="427" y="200"/>
                  </a:lnTo>
                  <a:lnTo>
                    <a:pt x="437" y="204"/>
                  </a:lnTo>
                  <a:lnTo>
                    <a:pt x="446" y="210"/>
                  </a:lnTo>
                  <a:lnTo>
                    <a:pt x="452" y="218"/>
                  </a:lnTo>
                  <a:lnTo>
                    <a:pt x="454" y="227"/>
                  </a:lnTo>
                  <a:lnTo>
                    <a:pt x="454" y="227"/>
                  </a:lnTo>
                  <a:lnTo>
                    <a:pt x="454" y="235"/>
                  </a:lnTo>
                  <a:lnTo>
                    <a:pt x="454" y="242"/>
                  </a:lnTo>
                  <a:lnTo>
                    <a:pt x="454" y="250"/>
                  </a:lnTo>
                  <a:lnTo>
                    <a:pt x="452" y="258"/>
                  </a:lnTo>
                  <a:lnTo>
                    <a:pt x="450" y="265"/>
                  </a:lnTo>
                  <a:lnTo>
                    <a:pt x="448" y="273"/>
                  </a:lnTo>
                  <a:lnTo>
                    <a:pt x="446" y="282"/>
                  </a:lnTo>
                  <a:lnTo>
                    <a:pt x="444" y="290"/>
                  </a:lnTo>
                  <a:lnTo>
                    <a:pt x="442" y="300"/>
                  </a:lnTo>
                  <a:lnTo>
                    <a:pt x="441" y="307"/>
                  </a:lnTo>
                  <a:lnTo>
                    <a:pt x="439" y="315"/>
                  </a:lnTo>
                  <a:lnTo>
                    <a:pt x="437" y="322"/>
                  </a:lnTo>
                  <a:lnTo>
                    <a:pt x="435" y="328"/>
                  </a:lnTo>
                  <a:lnTo>
                    <a:pt x="431" y="334"/>
                  </a:lnTo>
                  <a:lnTo>
                    <a:pt x="431" y="340"/>
                  </a:lnTo>
                  <a:lnTo>
                    <a:pt x="429" y="345"/>
                  </a:lnTo>
                  <a:lnTo>
                    <a:pt x="429" y="345"/>
                  </a:lnTo>
                  <a:lnTo>
                    <a:pt x="427" y="349"/>
                  </a:lnTo>
                  <a:lnTo>
                    <a:pt x="427" y="353"/>
                  </a:lnTo>
                  <a:lnTo>
                    <a:pt x="427" y="357"/>
                  </a:lnTo>
                  <a:lnTo>
                    <a:pt x="425" y="361"/>
                  </a:lnTo>
                  <a:lnTo>
                    <a:pt x="423" y="363"/>
                  </a:lnTo>
                  <a:lnTo>
                    <a:pt x="421" y="366"/>
                  </a:lnTo>
                  <a:lnTo>
                    <a:pt x="418" y="368"/>
                  </a:lnTo>
                  <a:lnTo>
                    <a:pt x="414" y="368"/>
                  </a:lnTo>
                  <a:lnTo>
                    <a:pt x="414" y="368"/>
                  </a:lnTo>
                  <a:lnTo>
                    <a:pt x="414" y="368"/>
                  </a:lnTo>
                  <a:lnTo>
                    <a:pt x="412" y="366"/>
                  </a:lnTo>
                  <a:lnTo>
                    <a:pt x="408" y="363"/>
                  </a:lnTo>
                  <a:lnTo>
                    <a:pt x="406" y="359"/>
                  </a:lnTo>
                  <a:lnTo>
                    <a:pt x="404" y="355"/>
                  </a:lnTo>
                  <a:lnTo>
                    <a:pt x="400" y="353"/>
                  </a:lnTo>
                  <a:lnTo>
                    <a:pt x="400" y="349"/>
                  </a:lnTo>
                  <a:lnTo>
                    <a:pt x="399" y="347"/>
                  </a:lnTo>
                  <a:lnTo>
                    <a:pt x="399" y="347"/>
                  </a:lnTo>
                  <a:lnTo>
                    <a:pt x="393" y="349"/>
                  </a:lnTo>
                  <a:lnTo>
                    <a:pt x="389" y="351"/>
                  </a:lnTo>
                  <a:lnTo>
                    <a:pt x="385" y="353"/>
                  </a:lnTo>
                  <a:lnTo>
                    <a:pt x="381" y="357"/>
                  </a:lnTo>
                  <a:lnTo>
                    <a:pt x="378" y="359"/>
                  </a:lnTo>
                  <a:lnTo>
                    <a:pt x="374" y="361"/>
                  </a:lnTo>
                  <a:lnTo>
                    <a:pt x="368" y="363"/>
                  </a:lnTo>
                  <a:lnTo>
                    <a:pt x="360" y="363"/>
                  </a:lnTo>
                  <a:lnTo>
                    <a:pt x="360" y="363"/>
                  </a:lnTo>
                  <a:lnTo>
                    <a:pt x="351" y="363"/>
                  </a:lnTo>
                  <a:lnTo>
                    <a:pt x="343" y="357"/>
                  </a:lnTo>
                  <a:lnTo>
                    <a:pt x="338" y="351"/>
                  </a:lnTo>
                  <a:lnTo>
                    <a:pt x="334" y="343"/>
                  </a:lnTo>
                  <a:lnTo>
                    <a:pt x="328" y="338"/>
                  </a:lnTo>
                  <a:lnTo>
                    <a:pt x="324" y="330"/>
                  </a:lnTo>
                  <a:lnTo>
                    <a:pt x="318" y="326"/>
                  </a:lnTo>
                  <a:lnTo>
                    <a:pt x="313" y="324"/>
                  </a:lnTo>
                  <a:lnTo>
                    <a:pt x="313" y="324"/>
                  </a:lnTo>
                  <a:lnTo>
                    <a:pt x="307" y="324"/>
                  </a:lnTo>
                  <a:lnTo>
                    <a:pt x="301" y="328"/>
                  </a:lnTo>
                  <a:lnTo>
                    <a:pt x="297" y="332"/>
                  </a:lnTo>
                  <a:lnTo>
                    <a:pt x="294" y="336"/>
                  </a:lnTo>
                  <a:lnTo>
                    <a:pt x="292" y="342"/>
                  </a:lnTo>
                  <a:lnTo>
                    <a:pt x="288" y="347"/>
                  </a:lnTo>
                  <a:lnTo>
                    <a:pt x="284" y="353"/>
                  </a:lnTo>
                  <a:lnTo>
                    <a:pt x="280" y="357"/>
                  </a:lnTo>
                  <a:lnTo>
                    <a:pt x="280" y="357"/>
                  </a:lnTo>
                  <a:lnTo>
                    <a:pt x="273" y="363"/>
                  </a:lnTo>
                  <a:lnTo>
                    <a:pt x="265" y="364"/>
                  </a:lnTo>
                  <a:lnTo>
                    <a:pt x="255" y="363"/>
                  </a:lnTo>
                  <a:lnTo>
                    <a:pt x="246" y="361"/>
                  </a:lnTo>
                  <a:lnTo>
                    <a:pt x="236" y="361"/>
                  </a:lnTo>
                  <a:lnTo>
                    <a:pt x="229" y="364"/>
                  </a:lnTo>
                  <a:lnTo>
                    <a:pt x="223" y="374"/>
                  </a:lnTo>
                  <a:lnTo>
                    <a:pt x="221" y="393"/>
                  </a:lnTo>
                  <a:lnTo>
                    <a:pt x="221" y="393"/>
                  </a:lnTo>
                  <a:lnTo>
                    <a:pt x="221" y="395"/>
                  </a:lnTo>
                  <a:lnTo>
                    <a:pt x="221" y="399"/>
                  </a:lnTo>
                  <a:lnTo>
                    <a:pt x="221" y="403"/>
                  </a:lnTo>
                  <a:lnTo>
                    <a:pt x="221" y="404"/>
                  </a:lnTo>
                  <a:lnTo>
                    <a:pt x="221" y="408"/>
                  </a:lnTo>
                  <a:lnTo>
                    <a:pt x="221" y="412"/>
                  </a:lnTo>
                  <a:lnTo>
                    <a:pt x="221" y="418"/>
                  </a:lnTo>
                  <a:lnTo>
                    <a:pt x="221" y="422"/>
                  </a:lnTo>
                  <a:lnTo>
                    <a:pt x="221" y="422"/>
                  </a:lnTo>
                  <a:lnTo>
                    <a:pt x="223" y="425"/>
                  </a:lnTo>
                  <a:lnTo>
                    <a:pt x="225" y="429"/>
                  </a:lnTo>
                  <a:lnTo>
                    <a:pt x="229" y="433"/>
                  </a:lnTo>
                  <a:lnTo>
                    <a:pt x="233" y="437"/>
                  </a:lnTo>
                  <a:lnTo>
                    <a:pt x="236" y="441"/>
                  </a:lnTo>
                  <a:lnTo>
                    <a:pt x="240" y="443"/>
                  </a:lnTo>
                  <a:lnTo>
                    <a:pt x="244" y="445"/>
                  </a:lnTo>
                  <a:lnTo>
                    <a:pt x="248" y="446"/>
                  </a:lnTo>
                  <a:lnTo>
                    <a:pt x="248" y="446"/>
                  </a:lnTo>
                  <a:lnTo>
                    <a:pt x="246" y="448"/>
                  </a:lnTo>
                  <a:lnTo>
                    <a:pt x="246" y="450"/>
                  </a:lnTo>
                  <a:lnTo>
                    <a:pt x="244" y="452"/>
                  </a:lnTo>
                  <a:lnTo>
                    <a:pt x="242" y="456"/>
                  </a:lnTo>
                  <a:lnTo>
                    <a:pt x="240" y="458"/>
                  </a:lnTo>
                  <a:lnTo>
                    <a:pt x="240" y="462"/>
                  </a:lnTo>
                  <a:lnTo>
                    <a:pt x="238" y="466"/>
                  </a:lnTo>
                  <a:lnTo>
                    <a:pt x="236" y="469"/>
                  </a:lnTo>
                  <a:lnTo>
                    <a:pt x="236" y="469"/>
                  </a:lnTo>
                  <a:lnTo>
                    <a:pt x="236" y="469"/>
                  </a:lnTo>
                  <a:lnTo>
                    <a:pt x="234" y="467"/>
                  </a:lnTo>
                  <a:lnTo>
                    <a:pt x="231" y="464"/>
                  </a:lnTo>
                  <a:lnTo>
                    <a:pt x="229" y="462"/>
                  </a:lnTo>
                  <a:lnTo>
                    <a:pt x="225" y="458"/>
                  </a:lnTo>
                  <a:lnTo>
                    <a:pt x="221" y="456"/>
                  </a:lnTo>
                  <a:lnTo>
                    <a:pt x="219" y="454"/>
                  </a:lnTo>
                  <a:lnTo>
                    <a:pt x="215" y="454"/>
                  </a:lnTo>
                  <a:lnTo>
                    <a:pt x="215" y="454"/>
                  </a:lnTo>
                  <a:lnTo>
                    <a:pt x="210" y="456"/>
                  </a:lnTo>
                  <a:lnTo>
                    <a:pt x="204" y="458"/>
                  </a:lnTo>
                  <a:lnTo>
                    <a:pt x="200" y="462"/>
                  </a:lnTo>
                  <a:lnTo>
                    <a:pt x="196" y="466"/>
                  </a:lnTo>
                  <a:lnTo>
                    <a:pt x="191" y="471"/>
                  </a:lnTo>
                  <a:lnTo>
                    <a:pt x="187" y="475"/>
                  </a:lnTo>
                  <a:lnTo>
                    <a:pt x="181" y="477"/>
                  </a:lnTo>
                  <a:lnTo>
                    <a:pt x="175" y="477"/>
                  </a:lnTo>
                  <a:lnTo>
                    <a:pt x="175" y="477"/>
                  </a:lnTo>
                  <a:lnTo>
                    <a:pt x="172" y="471"/>
                  </a:lnTo>
                  <a:lnTo>
                    <a:pt x="168" y="464"/>
                  </a:lnTo>
                  <a:lnTo>
                    <a:pt x="162" y="458"/>
                  </a:lnTo>
                  <a:lnTo>
                    <a:pt x="158" y="452"/>
                  </a:lnTo>
                  <a:lnTo>
                    <a:pt x="152" y="446"/>
                  </a:lnTo>
                  <a:lnTo>
                    <a:pt x="149" y="441"/>
                  </a:lnTo>
                  <a:lnTo>
                    <a:pt x="143" y="437"/>
                  </a:lnTo>
                  <a:lnTo>
                    <a:pt x="139" y="431"/>
                  </a:lnTo>
                  <a:lnTo>
                    <a:pt x="133" y="427"/>
                  </a:lnTo>
                  <a:lnTo>
                    <a:pt x="128" y="422"/>
                  </a:lnTo>
                  <a:lnTo>
                    <a:pt x="122" y="418"/>
                  </a:lnTo>
                  <a:lnTo>
                    <a:pt x="118" y="414"/>
                  </a:lnTo>
                  <a:lnTo>
                    <a:pt x="112" y="408"/>
                  </a:lnTo>
                  <a:lnTo>
                    <a:pt x="107" y="403"/>
                  </a:lnTo>
                  <a:lnTo>
                    <a:pt x="101" y="399"/>
                  </a:lnTo>
                  <a:lnTo>
                    <a:pt x="95" y="393"/>
                  </a:lnTo>
                  <a:lnTo>
                    <a:pt x="95" y="393"/>
                  </a:lnTo>
                  <a:lnTo>
                    <a:pt x="88" y="385"/>
                  </a:lnTo>
                  <a:lnTo>
                    <a:pt x="82" y="378"/>
                  </a:lnTo>
                  <a:lnTo>
                    <a:pt x="78" y="368"/>
                  </a:lnTo>
                  <a:lnTo>
                    <a:pt x="74" y="361"/>
                  </a:lnTo>
                  <a:lnTo>
                    <a:pt x="70" y="353"/>
                  </a:lnTo>
                  <a:lnTo>
                    <a:pt x="67" y="345"/>
                  </a:lnTo>
                  <a:lnTo>
                    <a:pt x="63" y="336"/>
                  </a:lnTo>
                  <a:lnTo>
                    <a:pt x="57" y="328"/>
                  </a:lnTo>
                  <a:lnTo>
                    <a:pt x="57" y="328"/>
                  </a:lnTo>
                  <a:lnTo>
                    <a:pt x="53" y="322"/>
                  </a:lnTo>
                  <a:lnTo>
                    <a:pt x="49" y="319"/>
                  </a:lnTo>
                  <a:lnTo>
                    <a:pt x="44" y="313"/>
                  </a:lnTo>
                  <a:lnTo>
                    <a:pt x="40" y="307"/>
                  </a:lnTo>
                  <a:lnTo>
                    <a:pt x="36" y="301"/>
                  </a:lnTo>
                  <a:lnTo>
                    <a:pt x="30" y="296"/>
                  </a:lnTo>
                  <a:lnTo>
                    <a:pt x="27" y="288"/>
                  </a:lnTo>
                  <a:lnTo>
                    <a:pt x="21" y="282"/>
                  </a:lnTo>
                  <a:lnTo>
                    <a:pt x="17" y="275"/>
                  </a:lnTo>
                  <a:lnTo>
                    <a:pt x="13" y="269"/>
                  </a:lnTo>
                  <a:lnTo>
                    <a:pt x="9" y="261"/>
                  </a:lnTo>
                  <a:lnTo>
                    <a:pt x="6" y="256"/>
                  </a:lnTo>
                  <a:lnTo>
                    <a:pt x="4" y="248"/>
                  </a:lnTo>
                  <a:lnTo>
                    <a:pt x="2" y="242"/>
                  </a:lnTo>
                  <a:lnTo>
                    <a:pt x="0" y="235"/>
                  </a:lnTo>
                  <a:lnTo>
                    <a:pt x="0" y="229"/>
                  </a:lnTo>
                  <a:lnTo>
                    <a:pt x="0" y="229"/>
                  </a:lnTo>
                  <a:lnTo>
                    <a:pt x="6" y="231"/>
                  </a:lnTo>
                  <a:lnTo>
                    <a:pt x="9" y="229"/>
                  </a:lnTo>
                  <a:lnTo>
                    <a:pt x="15" y="225"/>
                  </a:lnTo>
                  <a:lnTo>
                    <a:pt x="21" y="218"/>
                  </a:lnTo>
                  <a:lnTo>
                    <a:pt x="27" y="208"/>
                  </a:lnTo>
                  <a:lnTo>
                    <a:pt x="32" y="198"/>
                  </a:lnTo>
                  <a:lnTo>
                    <a:pt x="36" y="187"/>
                  </a:lnTo>
                  <a:lnTo>
                    <a:pt x="42" y="174"/>
                  </a:lnTo>
                  <a:lnTo>
                    <a:pt x="46" y="160"/>
                  </a:lnTo>
                  <a:lnTo>
                    <a:pt x="51" y="147"/>
                  </a:lnTo>
                  <a:lnTo>
                    <a:pt x="55" y="136"/>
                  </a:lnTo>
                  <a:lnTo>
                    <a:pt x="57" y="124"/>
                  </a:lnTo>
                  <a:lnTo>
                    <a:pt x="61" y="113"/>
                  </a:lnTo>
                  <a:lnTo>
                    <a:pt x="63" y="105"/>
                  </a:lnTo>
                  <a:lnTo>
                    <a:pt x="65" y="97"/>
                  </a:lnTo>
                  <a:lnTo>
                    <a:pt x="65" y="94"/>
                  </a:lnTo>
                  <a:lnTo>
                    <a:pt x="204" y="94"/>
                  </a:lnTo>
                  <a:lnTo>
                    <a:pt x="204" y="0"/>
                  </a:lnTo>
                  <a:lnTo>
                    <a:pt x="349" y="0"/>
                  </a:lnTo>
                  <a:lnTo>
                    <a:pt x="360" y="6"/>
                  </a:lnTo>
                  <a:lnTo>
                    <a:pt x="360" y="4"/>
                  </a:lnTo>
                  <a:lnTo>
                    <a:pt x="357" y="4"/>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87" name="Freeform 231"/>
            <p:cNvSpPr>
              <a:spLocks/>
            </p:cNvSpPr>
            <p:nvPr/>
          </p:nvSpPr>
          <p:spPr bwMode="gray">
            <a:xfrm>
              <a:off x="1985" y="2267"/>
              <a:ext cx="83" cy="51"/>
            </a:xfrm>
            <a:custGeom>
              <a:avLst/>
              <a:gdLst/>
              <a:ahLst/>
              <a:cxnLst>
                <a:cxn ang="0">
                  <a:pos x="147" y="0"/>
                </a:cxn>
                <a:cxn ang="0">
                  <a:pos x="25" y="0"/>
                </a:cxn>
                <a:cxn ang="0">
                  <a:pos x="25" y="0"/>
                </a:cxn>
                <a:cxn ang="0">
                  <a:pos x="25" y="4"/>
                </a:cxn>
                <a:cxn ang="0">
                  <a:pos x="23" y="10"/>
                </a:cxn>
                <a:cxn ang="0">
                  <a:pos x="23" y="15"/>
                </a:cxn>
                <a:cxn ang="0">
                  <a:pos x="21" y="19"/>
                </a:cxn>
                <a:cxn ang="0">
                  <a:pos x="19" y="23"/>
                </a:cxn>
                <a:cxn ang="0">
                  <a:pos x="15" y="27"/>
                </a:cxn>
                <a:cxn ang="0">
                  <a:pos x="13" y="31"/>
                </a:cxn>
                <a:cxn ang="0">
                  <a:pos x="12" y="34"/>
                </a:cxn>
                <a:cxn ang="0">
                  <a:pos x="10" y="38"/>
                </a:cxn>
                <a:cxn ang="0">
                  <a:pos x="8" y="42"/>
                </a:cxn>
                <a:cxn ang="0">
                  <a:pos x="6" y="46"/>
                </a:cxn>
                <a:cxn ang="0">
                  <a:pos x="4" y="50"/>
                </a:cxn>
                <a:cxn ang="0">
                  <a:pos x="2" y="53"/>
                </a:cxn>
                <a:cxn ang="0">
                  <a:pos x="0" y="59"/>
                </a:cxn>
                <a:cxn ang="0">
                  <a:pos x="0" y="63"/>
                </a:cxn>
                <a:cxn ang="0">
                  <a:pos x="0" y="69"/>
                </a:cxn>
                <a:cxn ang="0">
                  <a:pos x="0" y="69"/>
                </a:cxn>
                <a:cxn ang="0">
                  <a:pos x="0" y="71"/>
                </a:cxn>
                <a:cxn ang="0">
                  <a:pos x="0" y="74"/>
                </a:cxn>
                <a:cxn ang="0">
                  <a:pos x="2" y="78"/>
                </a:cxn>
                <a:cxn ang="0">
                  <a:pos x="2" y="82"/>
                </a:cxn>
                <a:cxn ang="0">
                  <a:pos x="4" y="84"/>
                </a:cxn>
                <a:cxn ang="0">
                  <a:pos x="6" y="88"/>
                </a:cxn>
                <a:cxn ang="0">
                  <a:pos x="6" y="90"/>
                </a:cxn>
                <a:cxn ang="0">
                  <a:pos x="8" y="94"/>
                </a:cxn>
                <a:cxn ang="0">
                  <a:pos x="147" y="94"/>
                </a:cxn>
                <a:cxn ang="0">
                  <a:pos x="147" y="0"/>
                </a:cxn>
                <a:cxn ang="0">
                  <a:pos x="147" y="0"/>
                </a:cxn>
              </a:cxnLst>
              <a:rect l="0" t="0" r="r" b="b"/>
              <a:pathLst>
                <a:path w="147" h="94">
                  <a:moveTo>
                    <a:pt x="147" y="0"/>
                  </a:moveTo>
                  <a:lnTo>
                    <a:pt x="25" y="0"/>
                  </a:lnTo>
                  <a:lnTo>
                    <a:pt x="25" y="0"/>
                  </a:lnTo>
                  <a:lnTo>
                    <a:pt x="25" y="4"/>
                  </a:lnTo>
                  <a:lnTo>
                    <a:pt x="23" y="10"/>
                  </a:lnTo>
                  <a:lnTo>
                    <a:pt x="23" y="15"/>
                  </a:lnTo>
                  <a:lnTo>
                    <a:pt x="21" y="19"/>
                  </a:lnTo>
                  <a:lnTo>
                    <a:pt x="19" y="23"/>
                  </a:lnTo>
                  <a:lnTo>
                    <a:pt x="15" y="27"/>
                  </a:lnTo>
                  <a:lnTo>
                    <a:pt x="13" y="31"/>
                  </a:lnTo>
                  <a:lnTo>
                    <a:pt x="12" y="34"/>
                  </a:lnTo>
                  <a:lnTo>
                    <a:pt x="10" y="38"/>
                  </a:lnTo>
                  <a:lnTo>
                    <a:pt x="8" y="42"/>
                  </a:lnTo>
                  <a:lnTo>
                    <a:pt x="6" y="46"/>
                  </a:lnTo>
                  <a:lnTo>
                    <a:pt x="4" y="50"/>
                  </a:lnTo>
                  <a:lnTo>
                    <a:pt x="2" y="53"/>
                  </a:lnTo>
                  <a:lnTo>
                    <a:pt x="0" y="59"/>
                  </a:lnTo>
                  <a:lnTo>
                    <a:pt x="0" y="63"/>
                  </a:lnTo>
                  <a:lnTo>
                    <a:pt x="0" y="69"/>
                  </a:lnTo>
                  <a:lnTo>
                    <a:pt x="0" y="69"/>
                  </a:lnTo>
                  <a:lnTo>
                    <a:pt x="0" y="71"/>
                  </a:lnTo>
                  <a:lnTo>
                    <a:pt x="0" y="74"/>
                  </a:lnTo>
                  <a:lnTo>
                    <a:pt x="2" y="78"/>
                  </a:lnTo>
                  <a:lnTo>
                    <a:pt x="2" y="82"/>
                  </a:lnTo>
                  <a:lnTo>
                    <a:pt x="4" y="84"/>
                  </a:lnTo>
                  <a:lnTo>
                    <a:pt x="6" y="88"/>
                  </a:lnTo>
                  <a:lnTo>
                    <a:pt x="6" y="90"/>
                  </a:lnTo>
                  <a:lnTo>
                    <a:pt x="8" y="94"/>
                  </a:lnTo>
                  <a:lnTo>
                    <a:pt x="147" y="94"/>
                  </a:lnTo>
                  <a:lnTo>
                    <a:pt x="147" y="0"/>
                  </a:lnTo>
                  <a:lnTo>
                    <a:pt x="147" y="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88" name="Freeform 232"/>
            <p:cNvSpPr>
              <a:spLocks/>
            </p:cNvSpPr>
            <p:nvPr/>
          </p:nvSpPr>
          <p:spPr bwMode="gray">
            <a:xfrm>
              <a:off x="1942" y="1790"/>
              <a:ext cx="347" cy="492"/>
            </a:xfrm>
            <a:custGeom>
              <a:avLst/>
              <a:gdLst/>
              <a:ahLst/>
              <a:cxnLst>
                <a:cxn ang="0">
                  <a:pos x="101" y="857"/>
                </a:cxn>
                <a:cxn ang="0">
                  <a:pos x="107" y="826"/>
                </a:cxn>
                <a:cxn ang="0">
                  <a:pos x="112" y="797"/>
                </a:cxn>
                <a:cxn ang="0">
                  <a:pos x="93" y="755"/>
                </a:cxn>
                <a:cxn ang="0">
                  <a:pos x="49" y="723"/>
                </a:cxn>
                <a:cxn ang="0">
                  <a:pos x="21" y="698"/>
                </a:cxn>
                <a:cxn ang="0">
                  <a:pos x="2" y="660"/>
                </a:cxn>
                <a:cxn ang="0">
                  <a:pos x="13" y="628"/>
                </a:cxn>
                <a:cxn ang="0">
                  <a:pos x="21" y="593"/>
                </a:cxn>
                <a:cxn ang="0">
                  <a:pos x="49" y="549"/>
                </a:cxn>
                <a:cxn ang="0">
                  <a:pos x="110" y="504"/>
                </a:cxn>
                <a:cxn ang="0">
                  <a:pos x="150" y="494"/>
                </a:cxn>
                <a:cxn ang="0">
                  <a:pos x="164" y="477"/>
                </a:cxn>
                <a:cxn ang="0">
                  <a:pos x="208" y="527"/>
                </a:cxn>
                <a:cxn ang="0">
                  <a:pos x="238" y="509"/>
                </a:cxn>
                <a:cxn ang="0">
                  <a:pos x="272" y="450"/>
                </a:cxn>
                <a:cxn ang="0">
                  <a:pos x="286" y="410"/>
                </a:cxn>
                <a:cxn ang="0">
                  <a:pos x="305" y="374"/>
                </a:cxn>
                <a:cxn ang="0">
                  <a:pos x="335" y="347"/>
                </a:cxn>
                <a:cxn ang="0">
                  <a:pos x="343" y="321"/>
                </a:cxn>
                <a:cxn ang="0">
                  <a:pos x="362" y="294"/>
                </a:cxn>
                <a:cxn ang="0">
                  <a:pos x="379" y="273"/>
                </a:cxn>
                <a:cxn ang="0">
                  <a:pos x="377" y="244"/>
                </a:cxn>
                <a:cxn ang="0">
                  <a:pos x="398" y="206"/>
                </a:cxn>
                <a:cxn ang="0">
                  <a:pos x="429" y="166"/>
                </a:cxn>
                <a:cxn ang="0">
                  <a:pos x="477" y="132"/>
                </a:cxn>
                <a:cxn ang="0">
                  <a:pos x="486" y="88"/>
                </a:cxn>
                <a:cxn ang="0">
                  <a:pos x="486" y="65"/>
                </a:cxn>
                <a:cxn ang="0">
                  <a:pos x="452" y="55"/>
                </a:cxn>
                <a:cxn ang="0">
                  <a:pos x="477" y="31"/>
                </a:cxn>
                <a:cxn ang="0">
                  <a:pos x="505" y="128"/>
                </a:cxn>
                <a:cxn ang="0">
                  <a:pos x="522" y="179"/>
                </a:cxn>
                <a:cxn ang="0">
                  <a:pos x="538" y="227"/>
                </a:cxn>
                <a:cxn ang="0">
                  <a:pos x="498" y="235"/>
                </a:cxn>
                <a:cxn ang="0">
                  <a:pos x="446" y="246"/>
                </a:cxn>
                <a:cxn ang="0">
                  <a:pos x="438" y="286"/>
                </a:cxn>
                <a:cxn ang="0">
                  <a:pos x="461" y="319"/>
                </a:cxn>
                <a:cxn ang="0">
                  <a:pos x="492" y="342"/>
                </a:cxn>
                <a:cxn ang="0">
                  <a:pos x="522" y="378"/>
                </a:cxn>
                <a:cxn ang="0">
                  <a:pos x="549" y="427"/>
                </a:cxn>
                <a:cxn ang="0">
                  <a:pos x="551" y="456"/>
                </a:cxn>
                <a:cxn ang="0">
                  <a:pos x="536" y="466"/>
                </a:cxn>
                <a:cxn ang="0">
                  <a:pos x="505" y="513"/>
                </a:cxn>
                <a:cxn ang="0">
                  <a:pos x="475" y="561"/>
                </a:cxn>
                <a:cxn ang="0">
                  <a:pos x="480" y="576"/>
                </a:cxn>
                <a:cxn ang="0">
                  <a:pos x="484" y="591"/>
                </a:cxn>
                <a:cxn ang="0">
                  <a:pos x="484" y="622"/>
                </a:cxn>
                <a:cxn ang="0">
                  <a:pos x="509" y="700"/>
                </a:cxn>
                <a:cxn ang="0">
                  <a:pos x="549" y="765"/>
                </a:cxn>
                <a:cxn ang="0">
                  <a:pos x="576" y="792"/>
                </a:cxn>
                <a:cxn ang="0">
                  <a:pos x="604" y="818"/>
                </a:cxn>
                <a:cxn ang="0">
                  <a:pos x="610" y="845"/>
                </a:cxn>
                <a:cxn ang="0">
                  <a:pos x="602" y="859"/>
                </a:cxn>
                <a:cxn ang="0">
                  <a:pos x="591" y="895"/>
                </a:cxn>
                <a:cxn ang="0">
                  <a:pos x="557" y="883"/>
                </a:cxn>
                <a:cxn ang="0">
                  <a:pos x="511" y="874"/>
                </a:cxn>
                <a:cxn ang="0">
                  <a:pos x="463" y="859"/>
                </a:cxn>
                <a:cxn ang="0">
                  <a:pos x="406" y="857"/>
                </a:cxn>
              </a:cxnLst>
              <a:rect l="0" t="0" r="r" b="b"/>
              <a:pathLst>
                <a:path w="610" h="897">
                  <a:moveTo>
                    <a:pt x="366" y="868"/>
                  </a:moveTo>
                  <a:lnTo>
                    <a:pt x="221" y="868"/>
                  </a:lnTo>
                  <a:lnTo>
                    <a:pt x="221" y="868"/>
                  </a:lnTo>
                  <a:lnTo>
                    <a:pt x="99" y="868"/>
                  </a:lnTo>
                  <a:lnTo>
                    <a:pt x="99" y="868"/>
                  </a:lnTo>
                  <a:lnTo>
                    <a:pt x="99" y="862"/>
                  </a:lnTo>
                  <a:lnTo>
                    <a:pt x="101" y="857"/>
                  </a:lnTo>
                  <a:lnTo>
                    <a:pt x="101" y="851"/>
                  </a:lnTo>
                  <a:lnTo>
                    <a:pt x="101" y="847"/>
                  </a:lnTo>
                  <a:lnTo>
                    <a:pt x="103" y="841"/>
                  </a:lnTo>
                  <a:lnTo>
                    <a:pt x="103" y="838"/>
                  </a:lnTo>
                  <a:lnTo>
                    <a:pt x="105" y="834"/>
                  </a:lnTo>
                  <a:lnTo>
                    <a:pt x="107" y="830"/>
                  </a:lnTo>
                  <a:lnTo>
                    <a:pt x="107" y="826"/>
                  </a:lnTo>
                  <a:lnTo>
                    <a:pt x="108" y="822"/>
                  </a:lnTo>
                  <a:lnTo>
                    <a:pt x="108" y="818"/>
                  </a:lnTo>
                  <a:lnTo>
                    <a:pt x="110" y="813"/>
                  </a:lnTo>
                  <a:lnTo>
                    <a:pt x="110" y="809"/>
                  </a:lnTo>
                  <a:lnTo>
                    <a:pt x="110" y="805"/>
                  </a:lnTo>
                  <a:lnTo>
                    <a:pt x="112" y="801"/>
                  </a:lnTo>
                  <a:lnTo>
                    <a:pt x="112" y="797"/>
                  </a:lnTo>
                  <a:lnTo>
                    <a:pt x="112" y="797"/>
                  </a:lnTo>
                  <a:lnTo>
                    <a:pt x="110" y="790"/>
                  </a:lnTo>
                  <a:lnTo>
                    <a:pt x="108" y="782"/>
                  </a:lnTo>
                  <a:lnTo>
                    <a:pt x="107" y="775"/>
                  </a:lnTo>
                  <a:lnTo>
                    <a:pt x="103" y="769"/>
                  </a:lnTo>
                  <a:lnTo>
                    <a:pt x="99" y="761"/>
                  </a:lnTo>
                  <a:lnTo>
                    <a:pt x="93" y="755"/>
                  </a:lnTo>
                  <a:lnTo>
                    <a:pt x="87" y="750"/>
                  </a:lnTo>
                  <a:lnTo>
                    <a:pt x="82" y="744"/>
                  </a:lnTo>
                  <a:lnTo>
                    <a:pt x="76" y="740"/>
                  </a:lnTo>
                  <a:lnTo>
                    <a:pt x="68" y="735"/>
                  </a:lnTo>
                  <a:lnTo>
                    <a:pt x="63" y="731"/>
                  </a:lnTo>
                  <a:lnTo>
                    <a:pt x="57" y="727"/>
                  </a:lnTo>
                  <a:lnTo>
                    <a:pt x="49" y="723"/>
                  </a:lnTo>
                  <a:lnTo>
                    <a:pt x="44" y="719"/>
                  </a:lnTo>
                  <a:lnTo>
                    <a:pt x="40" y="715"/>
                  </a:lnTo>
                  <a:lnTo>
                    <a:pt x="34" y="714"/>
                  </a:lnTo>
                  <a:lnTo>
                    <a:pt x="34" y="714"/>
                  </a:lnTo>
                  <a:lnTo>
                    <a:pt x="30" y="710"/>
                  </a:lnTo>
                  <a:lnTo>
                    <a:pt x="26" y="704"/>
                  </a:lnTo>
                  <a:lnTo>
                    <a:pt x="21" y="698"/>
                  </a:lnTo>
                  <a:lnTo>
                    <a:pt x="17" y="691"/>
                  </a:lnTo>
                  <a:lnTo>
                    <a:pt x="13" y="683"/>
                  </a:lnTo>
                  <a:lnTo>
                    <a:pt x="7" y="675"/>
                  </a:lnTo>
                  <a:lnTo>
                    <a:pt x="4" y="670"/>
                  </a:lnTo>
                  <a:lnTo>
                    <a:pt x="0" y="666"/>
                  </a:lnTo>
                  <a:lnTo>
                    <a:pt x="0" y="666"/>
                  </a:lnTo>
                  <a:lnTo>
                    <a:pt x="2" y="660"/>
                  </a:lnTo>
                  <a:lnTo>
                    <a:pt x="4" y="656"/>
                  </a:lnTo>
                  <a:lnTo>
                    <a:pt x="5" y="652"/>
                  </a:lnTo>
                  <a:lnTo>
                    <a:pt x="7" y="647"/>
                  </a:lnTo>
                  <a:lnTo>
                    <a:pt x="9" y="643"/>
                  </a:lnTo>
                  <a:lnTo>
                    <a:pt x="9" y="637"/>
                  </a:lnTo>
                  <a:lnTo>
                    <a:pt x="11" y="631"/>
                  </a:lnTo>
                  <a:lnTo>
                    <a:pt x="13" y="628"/>
                  </a:lnTo>
                  <a:lnTo>
                    <a:pt x="13" y="622"/>
                  </a:lnTo>
                  <a:lnTo>
                    <a:pt x="15" y="618"/>
                  </a:lnTo>
                  <a:lnTo>
                    <a:pt x="15" y="612"/>
                  </a:lnTo>
                  <a:lnTo>
                    <a:pt x="17" y="607"/>
                  </a:lnTo>
                  <a:lnTo>
                    <a:pt x="19" y="603"/>
                  </a:lnTo>
                  <a:lnTo>
                    <a:pt x="19" y="597"/>
                  </a:lnTo>
                  <a:lnTo>
                    <a:pt x="21" y="593"/>
                  </a:lnTo>
                  <a:lnTo>
                    <a:pt x="23" y="588"/>
                  </a:lnTo>
                  <a:lnTo>
                    <a:pt x="23" y="588"/>
                  </a:lnTo>
                  <a:lnTo>
                    <a:pt x="26" y="580"/>
                  </a:lnTo>
                  <a:lnTo>
                    <a:pt x="30" y="572"/>
                  </a:lnTo>
                  <a:lnTo>
                    <a:pt x="36" y="565"/>
                  </a:lnTo>
                  <a:lnTo>
                    <a:pt x="42" y="557"/>
                  </a:lnTo>
                  <a:lnTo>
                    <a:pt x="49" y="549"/>
                  </a:lnTo>
                  <a:lnTo>
                    <a:pt x="57" y="542"/>
                  </a:lnTo>
                  <a:lnTo>
                    <a:pt x="65" y="534"/>
                  </a:lnTo>
                  <a:lnTo>
                    <a:pt x="74" y="527"/>
                  </a:lnTo>
                  <a:lnTo>
                    <a:pt x="82" y="521"/>
                  </a:lnTo>
                  <a:lnTo>
                    <a:pt x="91" y="515"/>
                  </a:lnTo>
                  <a:lnTo>
                    <a:pt x="101" y="509"/>
                  </a:lnTo>
                  <a:lnTo>
                    <a:pt x="110" y="504"/>
                  </a:lnTo>
                  <a:lnTo>
                    <a:pt x="120" y="502"/>
                  </a:lnTo>
                  <a:lnTo>
                    <a:pt x="128" y="498"/>
                  </a:lnTo>
                  <a:lnTo>
                    <a:pt x="137" y="496"/>
                  </a:lnTo>
                  <a:lnTo>
                    <a:pt x="145" y="496"/>
                  </a:lnTo>
                  <a:lnTo>
                    <a:pt x="145" y="496"/>
                  </a:lnTo>
                  <a:lnTo>
                    <a:pt x="148" y="496"/>
                  </a:lnTo>
                  <a:lnTo>
                    <a:pt x="150" y="494"/>
                  </a:lnTo>
                  <a:lnTo>
                    <a:pt x="154" y="490"/>
                  </a:lnTo>
                  <a:lnTo>
                    <a:pt x="156" y="488"/>
                  </a:lnTo>
                  <a:lnTo>
                    <a:pt x="160" y="485"/>
                  </a:lnTo>
                  <a:lnTo>
                    <a:pt x="162" y="483"/>
                  </a:lnTo>
                  <a:lnTo>
                    <a:pt x="164" y="479"/>
                  </a:lnTo>
                  <a:lnTo>
                    <a:pt x="164" y="477"/>
                  </a:lnTo>
                  <a:lnTo>
                    <a:pt x="164" y="477"/>
                  </a:lnTo>
                  <a:lnTo>
                    <a:pt x="171" y="485"/>
                  </a:lnTo>
                  <a:lnTo>
                    <a:pt x="179" y="492"/>
                  </a:lnTo>
                  <a:lnTo>
                    <a:pt x="185" y="500"/>
                  </a:lnTo>
                  <a:lnTo>
                    <a:pt x="190" y="509"/>
                  </a:lnTo>
                  <a:lnTo>
                    <a:pt x="196" y="517"/>
                  </a:lnTo>
                  <a:lnTo>
                    <a:pt x="202" y="523"/>
                  </a:lnTo>
                  <a:lnTo>
                    <a:pt x="208" y="527"/>
                  </a:lnTo>
                  <a:lnTo>
                    <a:pt x="215" y="528"/>
                  </a:lnTo>
                  <a:lnTo>
                    <a:pt x="215" y="528"/>
                  </a:lnTo>
                  <a:lnTo>
                    <a:pt x="219" y="528"/>
                  </a:lnTo>
                  <a:lnTo>
                    <a:pt x="223" y="525"/>
                  </a:lnTo>
                  <a:lnTo>
                    <a:pt x="229" y="521"/>
                  </a:lnTo>
                  <a:lnTo>
                    <a:pt x="234" y="515"/>
                  </a:lnTo>
                  <a:lnTo>
                    <a:pt x="238" y="509"/>
                  </a:lnTo>
                  <a:lnTo>
                    <a:pt x="244" y="502"/>
                  </a:lnTo>
                  <a:lnTo>
                    <a:pt x="250" y="494"/>
                  </a:lnTo>
                  <a:lnTo>
                    <a:pt x="255" y="487"/>
                  </a:lnTo>
                  <a:lnTo>
                    <a:pt x="259" y="477"/>
                  </a:lnTo>
                  <a:lnTo>
                    <a:pt x="265" y="467"/>
                  </a:lnTo>
                  <a:lnTo>
                    <a:pt x="269" y="460"/>
                  </a:lnTo>
                  <a:lnTo>
                    <a:pt x="272" y="450"/>
                  </a:lnTo>
                  <a:lnTo>
                    <a:pt x="276" y="443"/>
                  </a:lnTo>
                  <a:lnTo>
                    <a:pt x="280" y="437"/>
                  </a:lnTo>
                  <a:lnTo>
                    <a:pt x="282" y="429"/>
                  </a:lnTo>
                  <a:lnTo>
                    <a:pt x="282" y="425"/>
                  </a:lnTo>
                  <a:lnTo>
                    <a:pt x="282" y="425"/>
                  </a:lnTo>
                  <a:lnTo>
                    <a:pt x="284" y="418"/>
                  </a:lnTo>
                  <a:lnTo>
                    <a:pt x="286" y="410"/>
                  </a:lnTo>
                  <a:lnTo>
                    <a:pt x="288" y="404"/>
                  </a:lnTo>
                  <a:lnTo>
                    <a:pt x="290" y="399"/>
                  </a:lnTo>
                  <a:lnTo>
                    <a:pt x="293" y="393"/>
                  </a:lnTo>
                  <a:lnTo>
                    <a:pt x="295" y="387"/>
                  </a:lnTo>
                  <a:lnTo>
                    <a:pt x="299" y="383"/>
                  </a:lnTo>
                  <a:lnTo>
                    <a:pt x="303" y="378"/>
                  </a:lnTo>
                  <a:lnTo>
                    <a:pt x="305" y="374"/>
                  </a:lnTo>
                  <a:lnTo>
                    <a:pt x="309" y="370"/>
                  </a:lnTo>
                  <a:lnTo>
                    <a:pt x="314" y="366"/>
                  </a:lnTo>
                  <a:lnTo>
                    <a:pt x="318" y="362"/>
                  </a:lnTo>
                  <a:lnTo>
                    <a:pt x="322" y="359"/>
                  </a:lnTo>
                  <a:lnTo>
                    <a:pt x="326" y="355"/>
                  </a:lnTo>
                  <a:lnTo>
                    <a:pt x="332" y="351"/>
                  </a:lnTo>
                  <a:lnTo>
                    <a:pt x="335" y="347"/>
                  </a:lnTo>
                  <a:lnTo>
                    <a:pt x="335" y="347"/>
                  </a:lnTo>
                  <a:lnTo>
                    <a:pt x="339" y="345"/>
                  </a:lnTo>
                  <a:lnTo>
                    <a:pt x="341" y="340"/>
                  </a:lnTo>
                  <a:lnTo>
                    <a:pt x="343" y="336"/>
                  </a:lnTo>
                  <a:lnTo>
                    <a:pt x="343" y="330"/>
                  </a:lnTo>
                  <a:lnTo>
                    <a:pt x="343" y="324"/>
                  </a:lnTo>
                  <a:lnTo>
                    <a:pt x="343" y="321"/>
                  </a:lnTo>
                  <a:lnTo>
                    <a:pt x="345" y="315"/>
                  </a:lnTo>
                  <a:lnTo>
                    <a:pt x="345" y="313"/>
                  </a:lnTo>
                  <a:lnTo>
                    <a:pt x="345" y="313"/>
                  </a:lnTo>
                  <a:lnTo>
                    <a:pt x="349" y="307"/>
                  </a:lnTo>
                  <a:lnTo>
                    <a:pt x="353" y="303"/>
                  </a:lnTo>
                  <a:lnTo>
                    <a:pt x="356" y="298"/>
                  </a:lnTo>
                  <a:lnTo>
                    <a:pt x="362" y="294"/>
                  </a:lnTo>
                  <a:lnTo>
                    <a:pt x="368" y="290"/>
                  </a:lnTo>
                  <a:lnTo>
                    <a:pt x="372" y="286"/>
                  </a:lnTo>
                  <a:lnTo>
                    <a:pt x="375" y="282"/>
                  </a:lnTo>
                  <a:lnTo>
                    <a:pt x="377" y="280"/>
                  </a:lnTo>
                  <a:lnTo>
                    <a:pt x="377" y="280"/>
                  </a:lnTo>
                  <a:lnTo>
                    <a:pt x="377" y="277"/>
                  </a:lnTo>
                  <a:lnTo>
                    <a:pt x="379" y="273"/>
                  </a:lnTo>
                  <a:lnTo>
                    <a:pt x="377" y="269"/>
                  </a:lnTo>
                  <a:lnTo>
                    <a:pt x="377" y="263"/>
                  </a:lnTo>
                  <a:lnTo>
                    <a:pt x="377" y="258"/>
                  </a:lnTo>
                  <a:lnTo>
                    <a:pt x="377" y="254"/>
                  </a:lnTo>
                  <a:lnTo>
                    <a:pt x="377" y="248"/>
                  </a:lnTo>
                  <a:lnTo>
                    <a:pt x="377" y="244"/>
                  </a:lnTo>
                  <a:lnTo>
                    <a:pt x="377" y="244"/>
                  </a:lnTo>
                  <a:lnTo>
                    <a:pt x="377" y="240"/>
                  </a:lnTo>
                  <a:lnTo>
                    <a:pt x="381" y="237"/>
                  </a:lnTo>
                  <a:lnTo>
                    <a:pt x="383" y="231"/>
                  </a:lnTo>
                  <a:lnTo>
                    <a:pt x="387" y="223"/>
                  </a:lnTo>
                  <a:lnTo>
                    <a:pt x="391" y="218"/>
                  </a:lnTo>
                  <a:lnTo>
                    <a:pt x="395" y="212"/>
                  </a:lnTo>
                  <a:lnTo>
                    <a:pt x="398" y="206"/>
                  </a:lnTo>
                  <a:lnTo>
                    <a:pt x="400" y="200"/>
                  </a:lnTo>
                  <a:lnTo>
                    <a:pt x="400" y="200"/>
                  </a:lnTo>
                  <a:lnTo>
                    <a:pt x="406" y="191"/>
                  </a:lnTo>
                  <a:lnTo>
                    <a:pt x="410" y="183"/>
                  </a:lnTo>
                  <a:lnTo>
                    <a:pt x="416" y="177"/>
                  </a:lnTo>
                  <a:lnTo>
                    <a:pt x="421" y="172"/>
                  </a:lnTo>
                  <a:lnTo>
                    <a:pt x="429" y="166"/>
                  </a:lnTo>
                  <a:lnTo>
                    <a:pt x="437" y="162"/>
                  </a:lnTo>
                  <a:lnTo>
                    <a:pt x="444" y="156"/>
                  </a:lnTo>
                  <a:lnTo>
                    <a:pt x="452" y="153"/>
                  </a:lnTo>
                  <a:lnTo>
                    <a:pt x="458" y="149"/>
                  </a:lnTo>
                  <a:lnTo>
                    <a:pt x="465" y="143"/>
                  </a:lnTo>
                  <a:lnTo>
                    <a:pt x="471" y="137"/>
                  </a:lnTo>
                  <a:lnTo>
                    <a:pt x="477" y="132"/>
                  </a:lnTo>
                  <a:lnTo>
                    <a:pt x="480" y="126"/>
                  </a:lnTo>
                  <a:lnTo>
                    <a:pt x="484" y="118"/>
                  </a:lnTo>
                  <a:lnTo>
                    <a:pt x="486" y="109"/>
                  </a:lnTo>
                  <a:lnTo>
                    <a:pt x="486" y="99"/>
                  </a:lnTo>
                  <a:lnTo>
                    <a:pt x="486" y="99"/>
                  </a:lnTo>
                  <a:lnTo>
                    <a:pt x="486" y="94"/>
                  </a:lnTo>
                  <a:lnTo>
                    <a:pt x="486" y="88"/>
                  </a:lnTo>
                  <a:lnTo>
                    <a:pt x="486" y="84"/>
                  </a:lnTo>
                  <a:lnTo>
                    <a:pt x="484" y="80"/>
                  </a:lnTo>
                  <a:lnTo>
                    <a:pt x="484" y="76"/>
                  </a:lnTo>
                  <a:lnTo>
                    <a:pt x="484" y="73"/>
                  </a:lnTo>
                  <a:lnTo>
                    <a:pt x="486" y="69"/>
                  </a:lnTo>
                  <a:lnTo>
                    <a:pt x="486" y="65"/>
                  </a:lnTo>
                  <a:lnTo>
                    <a:pt x="486" y="65"/>
                  </a:lnTo>
                  <a:lnTo>
                    <a:pt x="480" y="63"/>
                  </a:lnTo>
                  <a:lnTo>
                    <a:pt x="475" y="63"/>
                  </a:lnTo>
                  <a:lnTo>
                    <a:pt x="469" y="61"/>
                  </a:lnTo>
                  <a:lnTo>
                    <a:pt x="463" y="59"/>
                  </a:lnTo>
                  <a:lnTo>
                    <a:pt x="459" y="59"/>
                  </a:lnTo>
                  <a:lnTo>
                    <a:pt x="454" y="57"/>
                  </a:lnTo>
                  <a:lnTo>
                    <a:pt x="452" y="55"/>
                  </a:lnTo>
                  <a:lnTo>
                    <a:pt x="448" y="53"/>
                  </a:lnTo>
                  <a:lnTo>
                    <a:pt x="448" y="0"/>
                  </a:lnTo>
                  <a:lnTo>
                    <a:pt x="448" y="0"/>
                  </a:lnTo>
                  <a:lnTo>
                    <a:pt x="458" y="8"/>
                  </a:lnTo>
                  <a:lnTo>
                    <a:pt x="465" y="15"/>
                  </a:lnTo>
                  <a:lnTo>
                    <a:pt x="471" y="21"/>
                  </a:lnTo>
                  <a:lnTo>
                    <a:pt x="477" y="31"/>
                  </a:lnTo>
                  <a:lnTo>
                    <a:pt x="482" y="38"/>
                  </a:lnTo>
                  <a:lnTo>
                    <a:pt x="488" y="46"/>
                  </a:lnTo>
                  <a:lnTo>
                    <a:pt x="496" y="55"/>
                  </a:lnTo>
                  <a:lnTo>
                    <a:pt x="501" y="65"/>
                  </a:lnTo>
                  <a:lnTo>
                    <a:pt x="501" y="120"/>
                  </a:lnTo>
                  <a:lnTo>
                    <a:pt x="501" y="120"/>
                  </a:lnTo>
                  <a:lnTo>
                    <a:pt x="505" y="128"/>
                  </a:lnTo>
                  <a:lnTo>
                    <a:pt x="509" y="135"/>
                  </a:lnTo>
                  <a:lnTo>
                    <a:pt x="511" y="143"/>
                  </a:lnTo>
                  <a:lnTo>
                    <a:pt x="515" y="151"/>
                  </a:lnTo>
                  <a:lnTo>
                    <a:pt x="517" y="156"/>
                  </a:lnTo>
                  <a:lnTo>
                    <a:pt x="519" y="164"/>
                  </a:lnTo>
                  <a:lnTo>
                    <a:pt x="520" y="172"/>
                  </a:lnTo>
                  <a:lnTo>
                    <a:pt x="522" y="179"/>
                  </a:lnTo>
                  <a:lnTo>
                    <a:pt x="524" y="185"/>
                  </a:lnTo>
                  <a:lnTo>
                    <a:pt x="526" y="193"/>
                  </a:lnTo>
                  <a:lnTo>
                    <a:pt x="528" y="200"/>
                  </a:lnTo>
                  <a:lnTo>
                    <a:pt x="530" y="206"/>
                  </a:lnTo>
                  <a:lnTo>
                    <a:pt x="532" y="214"/>
                  </a:lnTo>
                  <a:lnTo>
                    <a:pt x="534" y="221"/>
                  </a:lnTo>
                  <a:lnTo>
                    <a:pt x="538" y="227"/>
                  </a:lnTo>
                  <a:lnTo>
                    <a:pt x="540" y="235"/>
                  </a:lnTo>
                  <a:lnTo>
                    <a:pt x="540" y="235"/>
                  </a:lnTo>
                  <a:lnTo>
                    <a:pt x="532" y="235"/>
                  </a:lnTo>
                  <a:lnTo>
                    <a:pt x="524" y="235"/>
                  </a:lnTo>
                  <a:lnTo>
                    <a:pt x="515" y="235"/>
                  </a:lnTo>
                  <a:lnTo>
                    <a:pt x="507" y="235"/>
                  </a:lnTo>
                  <a:lnTo>
                    <a:pt x="498" y="235"/>
                  </a:lnTo>
                  <a:lnTo>
                    <a:pt x="490" y="237"/>
                  </a:lnTo>
                  <a:lnTo>
                    <a:pt x="480" y="237"/>
                  </a:lnTo>
                  <a:lnTo>
                    <a:pt x="473" y="237"/>
                  </a:lnTo>
                  <a:lnTo>
                    <a:pt x="465" y="238"/>
                  </a:lnTo>
                  <a:lnTo>
                    <a:pt x="458" y="240"/>
                  </a:lnTo>
                  <a:lnTo>
                    <a:pt x="452" y="242"/>
                  </a:lnTo>
                  <a:lnTo>
                    <a:pt x="446" y="246"/>
                  </a:lnTo>
                  <a:lnTo>
                    <a:pt x="442" y="250"/>
                  </a:lnTo>
                  <a:lnTo>
                    <a:pt x="438" y="256"/>
                  </a:lnTo>
                  <a:lnTo>
                    <a:pt x="437" y="263"/>
                  </a:lnTo>
                  <a:lnTo>
                    <a:pt x="437" y="271"/>
                  </a:lnTo>
                  <a:lnTo>
                    <a:pt x="437" y="271"/>
                  </a:lnTo>
                  <a:lnTo>
                    <a:pt x="437" y="279"/>
                  </a:lnTo>
                  <a:lnTo>
                    <a:pt x="438" y="286"/>
                  </a:lnTo>
                  <a:lnTo>
                    <a:pt x="440" y="292"/>
                  </a:lnTo>
                  <a:lnTo>
                    <a:pt x="442" y="298"/>
                  </a:lnTo>
                  <a:lnTo>
                    <a:pt x="446" y="303"/>
                  </a:lnTo>
                  <a:lnTo>
                    <a:pt x="448" y="307"/>
                  </a:lnTo>
                  <a:lnTo>
                    <a:pt x="452" y="311"/>
                  </a:lnTo>
                  <a:lnTo>
                    <a:pt x="458" y="315"/>
                  </a:lnTo>
                  <a:lnTo>
                    <a:pt x="461" y="319"/>
                  </a:lnTo>
                  <a:lnTo>
                    <a:pt x="467" y="322"/>
                  </a:lnTo>
                  <a:lnTo>
                    <a:pt x="471" y="326"/>
                  </a:lnTo>
                  <a:lnTo>
                    <a:pt x="475" y="328"/>
                  </a:lnTo>
                  <a:lnTo>
                    <a:pt x="480" y="332"/>
                  </a:lnTo>
                  <a:lnTo>
                    <a:pt x="484" y="336"/>
                  </a:lnTo>
                  <a:lnTo>
                    <a:pt x="490" y="338"/>
                  </a:lnTo>
                  <a:lnTo>
                    <a:pt x="492" y="342"/>
                  </a:lnTo>
                  <a:lnTo>
                    <a:pt x="492" y="342"/>
                  </a:lnTo>
                  <a:lnTo>
                    <a:pt x="498" y="347"/>
                  </a:lnTo>
                  <a:lnTo>
                    <a:pt x="503" y="355"/>
                  </a:lnTo>
                  <a:lnTo>
                    <a:pt x="509" y="361"/>
                  </a:lnTo>
                  <a:lnTo>
                    <a:pt x="515" y="366"/>
                  </a:lnTo>
                  <a:lnTo>
                    <a:pt x="519" y="372"/>
                  </a:lnTo>
                  <a:lnTo>
                    <a:pt x="522" y="378"/>
                  </a:lnTo>
                  <a:lnTo>
                    <a:pt x="528" y="385"/>
                  </a:lnTo>
                  <a:lnTo>
                    <a:pt x="532" y="391"/>
                  </a:lnTo>
                  <a:lnTo>
                    <a:pt x="536" y="399"/>
                  </a:lnTo>
                  <a:lnTo>
                    <a:pt x="540" y="404"/>
                  </a:lnTo>
                  <a:lnTo>
                    <a:pt x="541" y="412"/>
                  </a:lnTo>
                  <a:lnTo>
                    <a:pt x="545" y="420"/>
                  </a:lnTo>
                  <a:lnTo>
                    <a:pt x="549" y="427"/>
                  </a:lnTo>
                  <a:lnTo>
                    <a:pt x="551" y="437"/>
                  </a:lnTo>
                  <a:lnTo>
                    <a:pt x="555" y="445"/>
                  </a:lnTo>
                  <a:lnTo>
                    <a:pt x="557" y="454"/>
                  </a:lnTo>
                  <a:lnTo>
                    <a:pt x="557" y="454"/>
                  </a:lnTo>
                  <a:lnTo>
                    <a:pt x="555" y="454"/>
                  </a:lnTo>
                  <a:lnTo>
                    <a:pt x="553" y="454"/>
                  </a:lnTo>
                  <a:lnTo>
                    <a:pt x="551" y="456"/>
                  </a:lnTo>
                  <a:lnTo>
                    <a:pt x="551" y="456"/>
                  </a:lnTo>
                  <a:lnTo>
                    <a:pt x="549" y="458"/>
                  </a:lnTo>
                  <a:lnTo>
                    <a:pt x="547" y="458"/>
                  </a:lnTo>
                  <a:lnTo>
                    <a:pt x="545" y="458"/>
                  </a:lnTo>
                  <a:lnTo>
                    <a:pt x="541" y="460"/>
                  </a:lnTo>
                  <a:lnTo>
                    <a:pt x="541" y="460"/>
                  </a:lnTo>
                  <a:lnTo>
                    <a:pt x="536" y="466"/>
                  </a:lnTo>
                  <a:lnTo>
                    <a:pt x="532" y="473"/>
                  </a:lnTo>
                  <a:lnTo>
                    <a:pt x="526" y="479"/>
                  </a:lnTo>
                  <a:lnTo>
                    <a:pt x="522" y="487"/>
                  </a:lnTo>
                  <a:lnTo>
                    <a:pt x="517" y="492"/>
                  </a:lnTo>
                  <a:lnTo>
                    <a:pt x="513" y="500"/>
                  </a:lnTo>
                  <a:lnTo>
                    <a:pt x="509" y="506"/>
                  </a:lnTo>
                  <a:lnTo>
                    <a:pt x="505" y="513"/>
                  </a:lnTo>
                  <a:lnTo>
                    <a:pt x="501" y="521"/>
                  </a:lnTo>
                  <a:lnTo>
                    <a:pt x="498" y="527"/>
                  </a:lnTo>
                  <a:lnTo>
                    <a:pt x="494" y="534"/>
                  </a:lnTo>
                  <a:lnTo>
                    <a:pt x="490" y="540"/>
                  </a:lnTo>
                  <a:lnTo>
                    <a:pt x="484" y="548"/>
                  </a:lnTo>
                  <a:lnTo>
                    <a:pt x="480" y="553"/>
                  </a:lnTo>
                  <a:lnTo>
                    <a:pt x="475" y="561"/>
                  </a:lnTo>
                  <a:lnTo>
                    <a:pt x="469" y="567"/>
                  </a:lnTo>
                  <a:lnTo>
                    <a:pt x="469" y="567"/>
                  </a:lnTo>
                  <a:lnTo>
                    <a:pt x="471" y="569"/>
                  </a:lnTo>
                  <a:lnTo>
                    <a:pt x="473" y="570"/>
                  </a:lnTo>
                  <a:lnTo>
                    <a:pt x="477" y="572"/>
                  </a:lnTo>
                  <a:lnTo>
                    <a:pt x="478" y="574"/>
                  </a:lnTo>
                  <a:lnTo>
                    <a:pt x="480" y="576"/>
                  </a:lnTo>
                  <a:lnTo>
                    <a:pt x="482" y="578"/>
                  </a:lnTo>
                  <a:lnTo>
                    <a:pt x="482" y="580"/>
                  </a:lnTo>
                  <a:lnTo>
                    <a:pt x="482" y="582"/>
                  </a:lnTo>
                  <a:lnTo>
                    <a:pt x="482" y="582"/>
                  </a:lnTo>
                  <a:lnTo>
                    <a:pt x="484" y="586"/>
                  </a:lnTo>
                  <a:lnTo>
                    <a:pt x="484" y="588"/>
                  </a:lnTo>
                  <a:lnTo>
                    <a:pt x="484" y="591"/>
                  </a:lnTo>
                  <a:lnTo>
                    <a:pt x="484" y="593"/>
                  </a:lnTo>
                  <a:lnTo>
                    <a:pt x="484" y="597"/>
                  </a:lnTo>
                  <a:lnTo>
                    <a:pt x="484" y="601"/>
                  </a:lnTo>
                  <a:lnTo>
                    <a:pt x="482" y="607"/>
                  </a:lnTo>
                  <a:lnTo>
                    <a:pt x="482" y="611"/>
                  </a:lnTo>
                  <a:lnTo>
                    <a:pt x="482" y="611"/>
                  </a:lnTo>
                  <a:lnTo>
                    <a:pt x="484" y="622"/>
                  </a:lnTo>
                  <a:lnTo>
                    <a:pt x="486" y="633"/>
                  </a:lnTo>
                  <a:lnTo>
                    <a:pt x="488" y="645"/>
                  </a:lnTo>
                  <a:lnTo>
                    <a:pt x="490" y="656"/>
                  </a:lnTo>
                  <a:lnTo>
                    <a:pt x="494" y="668"/>
                  </a:lnTo>
                  <a:lnTo>
                    <a:pt x="498" y="679"/>
                  </a:lnTo>
                  <a:lnTo>
                    <a:pt x="503" y="691"/>
                  </a:lnTo>
                  <a:lnTo>
                    <a:pt x="509" y="700"/>
                  </a:lnTo>
                  <a:lnTo>
                    <a:pt x="515" y="712"/>
                  </a:lnTo>
                  <a:lnTo>
                    <a:pt x="520" y="721"/>
                  </a:lnTo>
                  <a:lnTo>
                    <a:pt x="526" y="731"/>
                  </a:lnTo>
                  <a:lnTo>
                    <a:pt x="532" y="740"/>
                  </a:lnTo>
                  <a:lnTo>
                    <a:pt x="538" y="750"/>
                  </a:lnTo>
                  <a:lnTo>
                    <a:pt x="543" y="757"/>
                  </a:lnTo>
                  <a:lnTo>
                    <a:pt x="549" y="765"/>
                  </a:lnTo>
                  <a:lnTo>
                    <a:pt x="555" y="773"/>
                  </a:lnTo>
                  <a:lnTo>
                    <a:pt x="555" y="773"/>
                  </a:lnTo>
                  <a:lnTo>
                    <a:pt x="559" y="776"/>
                  </a:lnTo>
                  <a:lnTo>
                    <a:pt x="562" y="780"/>
                  </a:lnTo>
                  <a:lnTo>
                    <a:pt x="566" y="784"/>
                  </a:lnTo>
                  <a:lnTo>
                    <a:pt x="570" y="788"/>
                  </a:lnTo>
                  <a:lnTo>
                    <a:pt x="576" y="792"/>
                  </a:lnTo>
                  <a:lnTo>
                    <a:pt x="580" y="794"/>
                  </a:lnTo>
                  <a:lnTo>
                    <a:pt x="585" y="797"/>
                  </a:lnTo>
                  <a:lnTo>
                    <a:pt x="589" y="801"/>
                  </a:lnTo>
                  <a:lnTo>
                    <a:pt x="593" y="805"/>
                  </a:lnTo>
                  <a:lnTo>
                    <a:pt x="597" y="809"/>
                  </a:lnTo>
                  <a:lnTo>
                    <a:pt x="601" y="813"/>
                  </a:lnTo>
                  <a:lnTo>
                    <a:pt x="604" y="818"/>
                  </a:lnTo>
                  <a:lnTo>
                    <a:pt x="606" y="824"/>
                  </a:lnTo>
                  <a:lnTo>
                    <a:pt x="608" y="830"/>
                  </a:lnTo>
                  <a:lnTo>
                    <a:pt x="610" y="838"/>
                  </a:lnTo>
                  <a:lnTo>
                    <a:pt x="610" y="845"/>
                  </a:lnTo>
                  <a:lnTo>
                    <a:pt x="610" y="845"/>
                  </a:lnTo>
                  <a:lnTo>
                    <a:pt x="610" y="847"/>
                  </a:lnTo>
                  <a:lnTo>
                    <a:pt x="610" y="845"/>
                  </a:lnTo>
                  <a:lnTo>
                    <a:pt x="610" y="843"/>
                  </a:lnTo>
                  <a:lnTo>
                    <a:pt x="610" y="845"/>
                  </a:lnTo>
                  <a:lnTo>
                    <a:pt x="610" y="838"/>
                  </a:lnTo>
                  <a:lnTo>
                    <a:pt x="610" y="838"/>
                  </a:lnTo>
                  <a:lnTo>
                    <a:pt x="606" y="845"/>
                  </a:lnTo>
                  <a:lnTo>
                    <a:pt x="604" y="851"/>
                  </a:lnTo>
                  <a:lnTo>
                    <a:pt x="602" y="859"/>
                  </a:lnTo>
                  <a:lnTo>
                    <a:pt x="601" y="866"/>
                  </a:lnTo>
                  <a:lnTo>
                    <a:pt x="601" y="874"/>
                  </a:lnTo>
                  <a:lnTo>
                    <a:pt x="599" y="881"/>
                  </a:lnTo>
                  <a:lnTo>
                    <a:pt x="597" y="889"/>
                  </a:lnTo>
                  <a:lnTo>
                    <a:pt x="593" y="897"/>
                  </a:lnTo>
                  <a:lnTo>
                    <a:pt x="593" y="897"/>
                  </a:lnTo>
                  <a:lnTo>
                    <a:pt x="591" y="895"/>
                  </a:lnTo>
                  <a:lnTo>
                    <a:pt x="587" y="893"/>
                  </a:lnTo>
                  <a:lnTo>
                    <a:pt x="583" y="891"/>
                  </a:lnTo>
                  <a:lnTo>
                    <a:pt x="580" y="887"/>
                  </a:lnTo>
                  <a:lnTo>
                    <a:pt x="574" y="885"/>
                  </a:lnTo>
                  <a:lnTo>
                    <a:pt x="568" y="885"/>
                  </a:lnTo>
                  <a:lnTo>
                    <a:pt x="562" y="883"/>
                  </a:lnTo>
                  <a:lnTo>
                    <a:pt x="557" y="883"/>
                  </a:lnTo>
                  <a:lnTo>
                    <a:pt x="557" y="883"/>
                  </a:lnTo>
                  <a:lnTo>
                    <a:pt x="549" y="881"/>
                  </a:lnTo>
                  <a:lnTo>
                    <a:pt x="540" y="881"/>
                  </a:lnTo>
                  <a:lnTo>
                    <a:pt x="532" y="879"/>
                  </a:lnTo>
                  <a:lnTo>
                    <a:pt x="524" y="878"/>
                  </a:lnTo>
                  <a:lnTo>
                    <a:pt x="517" y="876"/>
                  </a:lnTo>
                  <a:lnTo>
                    <a:pt x="511" y="874"/>
                  </a:lnTo>
                  <a:lnTo>
                    <a:pt x="505" y="872"/>
                  </a:lnTo>
                  <a:lnTo>
                    <a:pt x="498" y="868"/>
                  </a:lnTo>
                  <a:lnTo>
                    <a:pt x="492" y="866"/>
                  </a:lnTo>
                  <a:lnTo>
                    <a:pt x="484" y="864"/>
                  </a:lnTo>
                  <a:lnTo>
                    <a:pt x="478" y="862"/>
                  </a:lnTo>
                  <a:lnTo>
                    <a:pt x="471" y="860"/>
                  </a:lnTo>
                  <a:lnTo>
                    <a:pt x="463" y="859"/>
                  </a:lnTo>
                  <a:lnTo>
                    <a:pt x="456" y="857"/>
                  </a:lnTo>
                  <a:lnTo>
                    <a:pt x="446" y="857"/>
                  </a:lnTo>
                  <a:lnTo>
                    <a:pt x="437" y="855"/>
                  </a:lnTo>
                  <a:lnTo>
                    <a:pt x="437" y="855"/>
                  </a:lnTo>
                  <a:lnTo>
                    <a:pt x="425" y="855"/>
                  </a:lnTo>
                  <a:lnTo>
                    <a:pt x="416" y="857"/>
                  </a:lnTo>
                  <a:lnTo>
                    <a:pt x="406" y="857"/>
                  </a:lnTo>
                  <a:lnTo>
                    <a:pt x="398" y="859"/>
                  </a:lnTo>
                  <a:lnTo>
                    <a:pt x="391" y="860"/>
                  </a:lnTo>
                  <a:lnTo>
                    <a:pt x="383" y="864"/>
                  </a:lnTo>
                  <a:lnTo>
                    <a:pt x="377" y="868"/>
                  </a:lnTo>
                  <a:lnTo>
                    <a:pt x="374" y="872"/>
                  </a:lnTo>
                  <a:lnTo>
                    <a:pt x="366" y="868"/>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89" name="Freeform 233"/>
            <p:cNvSpPr>
              <a:spLocks/>
            </p:cNvSpPr>
            <p:nvPr/>
          </p:nvSpPr>
          <p:spPr bwMode="gray">
            <a:xfrm>
              <a:off x="1683" y="1749"/>
              <a:ext cx="535" cy="420"/>
            </a:xfrm>
            <a:custGeom>
              <a:avLst/>
              <a:gdLst/>
              <a:ahLst/>
              <a:cxnLst>
                <a:cxn ang="0">
                  <a:pos x="442" y="730"/>
                </a:cxn>
                <a:cxn ang="0">
                  <a:pos x="421" y="738"/>
                </a:cxn>
                <a:cxn ang="0">
                  <a:pos x="379" y="751"/>
                </a:cxn>
                <a:cxn ang="0">
                  <a:pos x="339" y="755"/>
                </a:cxn>
                <a:cxn ang="0">
                  <a:pos x="311" y="757"/>
                </a:cxn>
                <a:cxn ang="0">
                  <a:pos x="280" y="761"/>
                </a:cxn>
                <a:cxn ang="0">
                  <a:pos x="236" y="751"/>
                </a:cxn>
                <a:cxn ang="0">
                  <a:pos x="208" y="703"/>
                </a:cxn>
                <a:cxn ang="0">
                  <a:pos x="183" y="658"/>
                </a:cxn>
                <a:cxn ang="0">
                  <a:pos x="141" y="608"/>
                </a:cxn>
                <a:cxn ang="0">
                  <a:pos x="97" y="599"/>
                </a:cxn>
                <a:cxn ang="0">
                  <a:pos x="4" y="595"/>
                </a:cxn>
                <a:cxn ang="0">
                  <a:pos x="4" y="427"/>
                </a:cxn>
                <a:cxn ang="0">
                  <a:pos x="23" y="394"/>
                </a:cxn>
                <a:cxn ang="0">
                  <a:pos x="30" y="352"/>
                </a:cxn>
                <a:cxn ang="0">
                  <a:pos x="61" y="312"/>
                </a:cxn>
                <a:cxn ang="0">
                  <a:pos x="93" y="267"/>
                </a:cxn>
                <a:cxn ang="0">
                  <a:pos x="88" y="215"/>
                </a:cxn>
                <a:cxn ang="0">
                  <a:pos x="78" y="145"/>
                </a:cxn>
                <a:cxn ang="0">
                  <a:pos x="99" y="89"/>
                </a:cxn>
                <a:cxn ang="0">
                  <a:pos x="124" y="43"/>
                </a:cxn>
                <a:cxn ang="0">
                  <a:pos x="147" y="13"/>
                </a:cxn>
                <a:cxn ang="0">
                  <a:pos x="202" y="1"/>
                </a:cxn>
                <a:cxn ang="0">
                  <a:pos x="242" y="1"/>
                </a:cxn>
                <a:cxn ang="0">
                  <a:pos x="288" y="15"/>
                </a:cxn>
                <a:cxn ang="0">
                  <a:pos x="313" y="30"/>
                </a:cxn>
                <a:cxn ang="0">
                  <a:pos x="341" y="68"/>
                </a:cxn>
                <a:cxn ang="0">
                  <a:pos x="372" y="62"/>
                </a:cxn>
                <a:cxn ang="0">
                  <a:pos x="400" y="49"/>
                </a:cxn>
                <a:cxn ang="0">
                  <a:pos x="435" y="47"/>
                </a:cxn>
                <a:cxn ang="0">
                  <a:pos x="477" y="70"/>
                </a:cxn>
                <a:cxn ang="0">
                  <a:pos x="528" y="87"/>
                </a:cxn>
                <a:cxn ang="0">
                  <a:pos x="578" y="72"/>
                </a:cxn>
                <a:cxn ang="0">
                  <a:pos x="627" y="45"/>
                </a:cxn>
                <a:cxn ang="0">
                  <a:pos x="683" y="45"/>
                </a:cxn>
                <a:cxn ang="0">
                  <a:pos x="723" y="64"/>
                </a:cxn>
                <a:cxn ang="0">
                  <a:pos x="759" y="76"/>
                </a:cxn>
                <a:cxn ang="0">
                  <a:pos x="799" y="55"/>
                </a:cxn>
                <a:cxn ang="0">
                  <a:pos x="851" y="24"/>
                </a:cxn>
                <a:cxn ang="0">
                  <a:pos x="879" y="38"/>
                </a:cxn>
                <a:cxn ang="0">
                  <a:pos x="906" y="125"/>
                </a:cxn>
                <a:cxn ang="0">
                  <a:pos x="938" y="135"/>
                </a:cxn>
                <a:cxn ang="0">
                  <a:pos x="944" y="156"/>
                </a:cxn>
                <a:cxn ang="0">
                  <a:pos x="938" y="198"/>
                </a:cxn>
                <a:cxn ang="0">
                  <a:pos x="895" y="234"/>
                </a:cxn>
                <a:cxn ang="0">
                  <a:pos x="858" y="272"/>
                </a:cxn>
                <a:cxn ang="0">
                  <a:pos x="835" y="312"/>
                </a:cxn>
                <a:cxn ang="0">
                  <a:pos x="835" y="341"/>
                </a:cxn>
                <a:cxn ang="0">
                  <a:pos x="826" y="362"/>
                </a:cxn>
                <a:cxn ang="0">
                  <a:pos x="803" y="387"/>
                </a:cxn>
                <a:cxn ang="0">
                  <a:pos x="793" y="419"/>
                </a:cxn>
                <a:cxn ang="0">
                  <a:pos x="767" y="442"/>
                </a:cxn>
                <a:cxn ang="0">
                  <a:pos x="746" y="476"/>
                </a:cxn>
                <a:cxn ang="0">
                  <a:pos x="734" y="515"/>
                </a:cxn>
                <a:cxn ang="0">
                  <a:pos x="702" y="574"/>
                </a:cxn>
                <a:cxn ang="0">
                  <a:pos x="673" y="600"/>
                </a:cxn>
                <a:cxn ang="0">
                  <a:pos x="629" y="557"/>
                </a:cxn>
                <a:cxn ang="0">
                  <a:pos x="612" y="562"/>
                </a:cxn>
                <a:cxn ang="0">
                  <a:pos x="578" y="574"/>
                </a:cxn>
                <a:cxn ang="0">
                  <a:pos x="515" y="614"/>
                </a:cxn>
                <a:cxn ang="0">
                  <a:pos x="481" y="660"/>
                </a:cxn>
                <a:cxn ang="0">
                  <a:pos x="471" y="694"/>
                </a:cxn>
                <a:cxn ang="0">
                  <a:pos x="462" y="728"/>
                </a:cxn>
              </a:cxnLst>
              <a:rect l="0" t="0" r="r" b="b"/>
              <a:pathLst>
                <a:path w="944" h="763">
                  <a:moveTo>
                    <a:pt x="454" y="736"/>
                  </a:moveTo>
                  <a:lnTo>
                    <a:pt x="454" y="736"/>
                  </a:lnTo>
                  <a:lnTo>
                    <a:pt x="452" y="736"/>
                  </a:lnTo>
                  <a:lnTo>
                    <a:pt x="450" y="734"/>
                  </a:lnTo>
                  <a:lnTo>
                    <a:pt x="446" y="732"/>
                  </a:lnTo>
                  <a:lnTo>
                    <a:pt x="444" y="732"/>
                  </a:lnTo>
                  <a:lnTo>
                    <a:pt x="442" y="730"/>
                  </a:lnTo>
                  <a:lnTo>
                    <a:pt x="441" y="730"/>
                  </a:lnTo>
                  <a:lnTo>
                    <a:pt x="439" y="728"/>
                  </a:lnTo>
                  <a:lnTo>
                    <a:pt x="437" y="726"/>
                  </a:lnTo>
                  <a:lnTo>
                    <a:pt x="437" y="726"/>
                  </a:lnTo>
                  <a:lnTo>
                    <a:pt x="431" y="732"/>
                  </a:lnTo>
                  <a:lnTo>
                    <a:pt x="427" y="736"/>
                  </a:lnTo>
                  <a:lnTo>
                    <a:pt x="421" y="738"/>
                  </a:lnTo>
                  <a:lnTo>
                    <a:pt x="418" y="742"/>
                  </a:lnTo>
                  <a:lnTo>
                    <a:pt x="412" y="745"/>
                  </a:lnTo>
                  <a:lnTo>
                    <a:pt x="406" y="747"/>
                  </a:lnTo>
                  <a:lnTo>
                    <a:pt x="399" y="747"/>
                  </a:lnTo>
                  <a:lnTo>
                    <a:pt x="393" y="749"/>
                  </a:lnTo>
                  <a:lnTo>
                    <a:pt x="385" y="751"/>
                  </a:lnTo>
                  <a:lnTo>
                    <a:pt x="379" y="751"/>
                  </a:lnTo>
                  <a:lnTo>
                    <a:pt x="372" y="753"/>
                  </a:lnTo>
                  <a:lnTo>
                    <a:pt x="366" y="753"/>
                  </a:lnTo>
                  <a:lnTo>
                    <a:pt x="359" y="753"/>
                  </a:lnTo>
                  <a:lnTo>
                    <a:pt x="353" y="755"/>
                  </a:lnTo>
                  <a:lnTo>
                    <a:pt x="345" y="755"/>
                  </a:lnTo>
                  <a:lnTo>
                    <a:pt x="339" y="755"/>
                  </a:lnTo>
                  <a:lnTo>
                    <a:pt x="339" y="755"/>
                  </a:lnTo>
                  <a:lnTo>
                    <a:pt x="336" y="755"/>
                  </a:lnTo>
                  <a:lnTo>
                    <a:pt x="330" y="755"/>
                  </a:lnTo>
                  <a:lnTo>
                    <a:pt x="326" y="755"/>
                  </a:lnTo>
                  <a:lnTo>
                    <a:pt x="322" y="755"/>
                  </a:lnTo>
                  <a:lnTo>
                    <a:pt x="318" y="755"/>
                  </a:lnTo>
                  <a:lnTo>
                    <a:pt x="315" y="757"/>
                  </a:lnTo>
                  <a:lnTo>
                    <a:pt x="311" y="757"/>
                  </a:lnTo>
                  <a:lnTo>
                    <a:pt x="305" y="757"/>
                  </a:lnTo>
                  <a:lnTo>
                    <a:pt x="301" y="759"/>
                  </a:lnTo>
                  <a:lnTo>
                    <a:pt x="297" y="759"/>
                  </a:lnTo>
                  <a:lnTo>
                    <a:pt x="294" y="761"/>
                  </a:lnTo>
                  <a:lnTo>
                    <a:pt x="290" y="761"/>
                  </a:lnTo>
                  <a:lnTo>
                    <a:pt x="284" y="761"/>
                  </a:lnTo>
                  <a:lnTo>
                    <a:pt x="280" y="761"/>
                  </a:lnTo>
                  <a:lnTo>
                    <a:pt x="276" y="763"/>
                  </a:lnTo>
                  <a:lnTo>
                    <a:pt x="273" y="763"/>
                  </a:lnTo>
                  <a:lnTo>
                    <a:pt x="273" y="763"/>
                  </a:lnTo>
                  <a:lnTo>
                    <a:pt x="261" y="761"/>
                  </a:lnTo>
                  <a:lnTo>
                    <a:pt x="252" y="759"/>
                  </a:lnTo>
                  <a:lnTo>
                    <a:pt x="242" y="757"/>
                  </a:lnTo>
                  <a:lnTo>
                    <a:pt x="236" y="751"/>
                  </a:lnTo>
                  <a:lnTo>
                    <a:pt x="229" y="747"/>
                  </a:lnTo>
                  <a:lnTo>
                    <a:pt x="225" y="742"/>
                  </a:lnTo>
                  <a:lnTo>
                    <a:pt x="219" y="734"/>
                  </a:lnTo>
                  <a:lnTo>
                    <a:pt x="217" y="728"/>
                  </a:lnTo>
                  <a:lnTo>
                    <a:pt x="214" y="721"/>
                  </a:lnTo>
                  <a:lnTo>
                    <a:pt x="210" y="713"/>
                  </a:lnTo>
                  <a:lnTo>
                    <a:pt x="208" y="703"/>
                  </a:lnTo>
                  <a:lnTo>
                    <a:pt x="204" y="696"/>
                  </a:lnTo>
                  <a:lnTo>
                    <a:pt x="202" y="688"/>
                  </a:lnTo>
                  <a:lnTo>
                    <a:pt x="198" y="681"/>
                  </a:lnTo>
                  <a:lnTo>
                    <a:pt x="194" y="673"/>
                  </a:lnTo>
                  <a:lnTo>
                    <a:pt x="189" y="665"/>
                  </a:lnTo>
                  <a:lnTo>
                    <a:pt x="189" y="665"/>
                  </a:lnTo>
                  <a:lnTo>
                    <a:pt x="183" y="658"/>
                  </a:lnTo>
                  <a:lnTo>
                    <a:pt x="177" y="650"/>
                  </a:lnTo>
                  <a:lnTo>
                    <a:pt x="173" y="642"/>
                  </a:lnTo>
                  <a:lnTo>
                    <a:pt x="168" y="635"/>
                  </a:lnTo>
                  <a:lnTo>
                    <a:pt x="162" y="629"/>
                  </a:lnTo>
                  <a:lnTo>
                    <a:pt x="156" y="621"/>
                  </a:lnTo>
                  <a:lnTo>
                    <a:pt x="149" y="616"/>
                  </a:lnTo>
                  <a:lnTo>
                    <a:pt x="141" y="608"/>
                  </a:lnTo>
                  <a:lnTo>
                    <a:pt x="141" y="608"/>
                  </a:lnTo>
                  <a:lnTo>
                    <a:pt x="133" y="604"/>
                  </a:lnTo>
                  <a:lnTo>
                    <a:pt x="128" y="602"/>
                  </a:lnTo>
                  <a:lnTo>
                    <a:pt x="120" y="600"/>
                  </a:lnTo>
                  <a:lnTo>
                    <a:pt x="112" y="600"/>
                  </a:lnTo>
                  <a:lnTo>
                    <a:pt x="105" y="599"/>
                  </a:lnTo>
                  <a:lnTo>
                    <a:pt x="97" y="599"/>
                  </a:lnTo>
                  <a:lnTo>
                    <a:pt x="90" y="595"/>
                  </a:lnTo>
                  <a:lnTo>
                    <a:pt x="84" y="591"/>
                  </a:lnTo>
                  <a:lnTo>
                    <a:pt x="6" y="591"/>
                  </a:lnTo>
                  <a:lnTo>
                    <a:pt x="6" y="591"/>
                  </a:lnTo>
                  <a:lnTo>
                    <a:pt x="6" y="591"/>
                  </a:lnTo>
                  <a:lnTo>
                    <a:pt x="6" y="593"/>
                  </a:lnTo>
                  <a:lnTo>
                    <a:pt x="4" y="595"/>
                  </a:lnTo>
                  <a:lnTo>
                    <a:pt x="2" y="595"/>
                  </a:lnTo>
                  <a:lnTo>
                    <a:pt x="2" y="459"/>
                  </a:lnTo>
                  <a:lnTo>
                    <a:pt x="2" y="459"/>
                  </a:lnTo>
                  <a:lnTo>
                    <a:pt x="0" y="450"/>
                  </a:lnTo>
                  <a:lnTo>
                    <a:pt x="0" y="440"/>
                  </a:lnTo>
                  <a:lnTo>
                    <a:pt x="2" y="433"/>
                  </a:lnTo>
                  <a:lnTo>
                    <a:pt x="4" y="427"/>
                  </a:lnTo>
                  <a:lnTo>
                    <a:pt x="8" y="421"/>
                  </a:lnTo>
                  <a:lnTo>
                    <a:pt x="11" y="415"/>
                  </a:lnTo>
                  <a:lnTo>
                    <a:pt x="13" y="412"/>
                  </a:lnTo>
                  <a:lnTo>
                    <a:pt x="17" y="406"/>
                  </a:lnTo>
                  <a:lnTo>
                    <a:pt x="17" y="406"/>
                  </a:lnTo>
                  <a:lnTo>
                    <a:pt x="21" y="400"/>
                  </a:lnTo>
                  <a:lnTo>
                    <a:pt x="23" y="394"/>
                  </a:lnTo>
                  <a:lnTo>
                    <a:pt x="25" y="387"/>
                  </a:lnTo>
                  <a:lnTo>
                    <a:pt x="25" y="381"/>
                  </a:lnTo>
                  <a:lnTo>
                    <a:pt x="25" y="373"/>
                  </a:lnTo>
                  <a:lnTo>
                    <a:pt x="27" y="368"/>
                  </a:lnTo>
                  <a:lnTo>
                    <a:pt x="27" y="360"/>
                  </a:lnTo>
                  <a:lnTo>
                    <a:pt x="30" y="352"/>
                  </a:lnTo>
                  <a:lnTo>
                    <a:pt x="30" y="352"/>
                  </a:lnTo>
                  <a:lnTo>
                    <a:pt x="32" y="347"/>
                  </a:lnTo>
                  <a:lnTo>
                    <a:pt x="36" y="339"/>
                  </a:lnTo>
                  <a:lnTo>
                    <a:pt x="40" y="333"/>
                  </a:lnTo>
                  <a:lnTo>
                    <a:pt x="46" y="330"/>
                  </a:lnTo>
                  <a:lnTo>
                    <a:pt x="51" y="324"/>
                  </a:lnTo>
                  <a:lnTo>
                    <a:pt x="57" y="318"/>
                  </a:lnTo>
                  <a:lnTo>
                    <a:pt x="61" y="312"/>
                  </a:lnTo>
                  <a:lnTo>
                    <a:pt x="67" y="307"/>
                  </a:lnTo>
                  <a:lnTo>
                    <a:pt x="72" y="303"/>
                  </a:lnTo>
                  <a:lnTo>
                    <a:pt x="78" y="295"/>
                  </a:lnTo>
                  <a:lnTo>
                    <a:pt x="82" y="290"/>
                  </a:lnTo>
                  <a:lnTo>
                    <a:pt x="86" y="282"/>
                  </a:lnTo>
                  <a:lnTo>
                    <a:pt x="90" y="274"/>
                  </a:lnTo>
                  <a:lnTo>
                    <a:pt x="93" y="267"/>
                  </a:lnTo>
                  <a:lnTo>
                    <a:pt x="93" y="259"/>
                  </a:lnTo>
                  <a:lnTo>
                    <a:pt x="95" y="249"/>
                  </a:lnTo>
                  <a:lnTo>
                    <a:pt x="95" y="249"/>
                  </a:lnTo>
                  <a:lnTo>
                    <a:pt x="93" y="238"/>
                  </a:lnTo>
                  <a:lnTo>
                    <a:pt x="93" y="228"/>
                  </a:lnTo>
                  <a:lnTo>
                    <a:pt x="90" y="221"/>
                  </a:lnTo>
                  <a:lnTo>
                    <a:pt x="88" y="215"/>
                  </a:lnTo>
                  <a:lnTo>
                    <a:pt x="86" y="207"/>
                  </a:lnTo>
                  <a:lnTo>
                    <a:pt x="82" y="200"/>
                  </a:lnTo>
                  <a:lnTo>
                    <a:pt x="80" y="192"/>
                  </a:lnTo>
                  <a:lnTo>
                    <a:pt x="80" y="185"/>
                  </a:lnTo>
                  <a:lnTo>
                    <a:pt x="80" y="185"/>
                  </a:lnTo>
                  <a:lnTo>
                    <a:pt x="78" y="162"/>
                  </a:lnTo>
                  <a:lnTo>
                    <a:pt x="78" y="145"/>
                  </a:lnTo>
                  <a:lnTo>
                    <a:pt x="78" y="131"/>
                  </a:lnTo>
                  <a:lnTo>
                    <a:pt x="80" y="120"/>
                  </a:lnTo>
                  <a:lnTo>
                    <a:pt x="82" y="110"/>
                  </a:lnTo>
                  <a:lnTo>
                    <a:pt x="86" y="103"/>
                  </a:lnTo>
                  <a:lnTo>
                    <a:pt x="90" y="97"/>
                  </a:lnTo>
                  <a:lnTo>
                    <a:pt x="93" y="93"/>
                  </a:lnTo>
                  <a:lnTo>
                    <a:pt x="99" y="89"/>
                  </a:lnTo>
                  <a:lnTo>
                    <a:pt x="103" y="85"/>
                  </a:lnTo>
                  <a:lnTo>
                    <a:pt x="107" y="82"/>
                  </a:lnTo>
                  <a:lnTo>
                    <a:pt x="112" y="76"/>
                  </a:lnTo>
                  <a:lnTo>
                    <a:pt x="116" y="72"/>
                  </a:lnTo>
                  <a:lnTo>
                    <a:pt x="120" y="64"/>
                  </a:lnTo>
                  <a:lnTo>
                    <a:pt x="122" y="55"/>
                  </a:lnTo>
                  <a:lnTo>
                    <a:pt x="124" y="43"/>
                  </a:lnTo>
                  <a:lnTo>
                    <a:pt x="124" y="43"/>
                  </a:lnTo>
                  <a:lnTo>
                    <a:pt x="126" y="36"/>
                  </a:lnTo>
                  <a:lnTo>
                    <a:pt x="130" y="30"/>
                  </a:lnTo>
                  <a:lnTo>
                    <a:pt x="132" y="26"/>
                  </a:lnTo>
                  <a:lnTo>
                    <a:pt x="137" y="21"/>
                  </a:lnTo>
                  <a:lnTo>
                    <a:pt x="141" y="17"/>
                  </a:lnTo>
                  <a:lnTo>
                    <a:pt x="147" y="13"/>
                  </a:lnTo>
                  <a:lnTo>
                    <a:pt x="154" y="11"/>
                  </a:lnTo>
                  <a:lnTo>
                    <a:pt x="160" y="9"/>
                  </a:lnTo>
                  <a:lnTo>
                    <a:pt x="168" y="7"/>
                  </a:lnTo>
                  <a:lnTo>
                    <a:pt x="177" y="5"/>
                  </a:lnTo>
                  <a:lnTo>
                    <a:pt x="185" y="3"/>
                  </a:lnTo>
                  <a:lnTo>
                    <a:pt x="193" y="1"/>
                  </a:lnTo>
                  <a:lnTo>
                    <a:pt x="202" y="1"/>
                  </a:lnTo>
                  <a:lnTo>
                    <a:pt x="210" y="1"/>
                  </a:lnTo>
                  <a:lnTo>
                    <a:pt x="219" y="0"/>
                  </a:lnTo>
                  <a:lnTo>
                    <a:pt x="227" y="0"/>
                  </a:lnTo>
                  <a:lnTo>
                    <a:pt x="227" y="0"/>
                  </a:lnTo>
                  <a:lnTo>
                    <a:pt x="231" y="0"/>
                  </a:lnTo>
                  <a:lnTo>
                    <a:pt x="236" y="1"/>
                  </a:lnTo>
                  <a:lnTo>
                    <a:pt x="242" y="1"/>
                  </a:lnTo>
                  <a:lnTo>
                    <a:pt x="248" y="3"/>
                  </a:lnTo>
                  <a:lnTo>
                    <a:pt x="256" y="5"/>
                  </a:lnTo>
                  <a:lnTo>
                    <a:pt x="261" y="7"/>
                  </a:lnTo>
                  <a:lnTo>
                    <a:pt x="269" y="9"/>
                  </a:lnTo>
                  <a:lnTo>
                    <a:pt x="275" y="11"/>
                  </a:lnTo>
                  <a:lnTo>
                    <a:pt x="282" y="13"/>
                  </a:lnTo>
                  <a:lnTo>
                    <a:pt x="288" y="15"/>
                  </a:lnTo>
                  <a:lnTo>
                    <a:pt x="294" y="17"/>
                  </a:lnTo>
                  <a:lnTo>
                    <a:pt x="299" y="21"/>
                  </a:lnTo>
                  <a:lnTo>
                    <a:pt x="303" y="22"/>
                  </a:lnTo>
                  <a:lnTo>
                    <a:pt x="307" y="24"/>
                  </a:lnTo>
                  <a:lnTo>
                    <a:pt x="311" y="28"/>
                  </a:lnTo>
                  <a:lnTo>
                    <a:pt x="313" y="30"/>
                  </a:lnTo>
                  <a:lnTo>
                    <a:pt x="313" y="30"/>
                  </a:lnTo>
                  <a:lnTo>
                    <a:pt x="317" y="36"/>
                  </a:lnTo>
                  <a:lnTo>
                    <a:pt x="320" y="42"/>
                  </a:lnTo>
                  <a:lnTo>
                    <a:pt x="324" y="47"/>
                  </a:lnTo>
                  <a:lnTo>
                    <a:pt x="328" y="55"/>
                  </a:lnTo>
                  <a:lnTo>
                    <a:pt x="332" y="61"/>
                  </a:lnTo>
                  <a:lnTo>
                    <a:pt x="338" y="64"/>
                  </a:lnTo>
                  <a:lnTo>
                    <a:pt x="341" y="68"/>
                  </a:lnTo>
                  <a:lnTo>
                    <a:pt x="349" y="68"/>
                  </a:lnTo>
                  <a:lnTo>
                    <a:pt x="349" y="68"/>
                  </a:lnTo>
                  <a:lnTo>
                    <a:pt x="353" y="68"/>
                  </a:lnTo>
                  <a:lnTo>
                    <a:pt x="359" y="68"/>
                  </a:lnTo>
                  <a:lnTo>
                    <a:pt x="362" y="66"/>
                  </a:lnTo>
                  <a:lnTo>
                    <a:pt x="368" y="64"/>
                  </a:lnTo>
                  <a:lnTo>
                    <a:pt x="372" y="62"/>
                  </a:lnTo>
                  <a:lnTo>
                    <a:pt x="376" y="61"/>
                  </a:lnTo>
                  <a:lnTo>
                    <a:pt x="379" y="59"/>
                  </a:lnTo>
                  <a:lnTo>
                    <a:pt x="383" y="57"/>
                  </a:lnTo>
                  <a:lnTo>
                    <a:pt x="387" y="55"/>
                  </a:lnTo>
                  <a:lnTo>
                    <a:pt x="391" y="53"/>
                  </a:lnTo>
                  <a:lnTo>
                    <a:pt x="397" y="51"/>
                  </a:lnTo>
                  <a:lnTo>
                    <a:pt x="400" y="49"/>
                  </a:lnTo>
                  <a:lnTo>
                    <a:pt x="404" y="47"/>
                  </a:lnTo>
                  <a:lnTo>
                    <a:pt x="410" y="45"/>
                  </a:lnTo>
                  <a:lnTo>
                    <a:pt x="414" y="45"/>
                  </a:lnTo>
                  <a:lnTo>
                    <a:pt x="420" y="45"/>
                  </a:lnTo>
                  <a:lnTo>
                    <a:pt x="420" y="45"/>
                  </a:lnTo>
                  <a:lnTo>
                    <a:pt x="427" y="45"/>
                  </a:lnTo>
                  <a:lnTo>
                    <a:pt x="435" y="47"/>
                  </a:lnTo>
                  <a:lnTo>
                    <a:pt x="441" y="49"/>
                  </a:lnTo>
                  <a:lnTo>
                    <a:pt x="448" y="51"/>
                  </a:lnTo>
                  <a:lnTo>
                    <a:pt x="454" y="55"/>
                  </a:lnTo>
                  <a:lnTo>
                    <a:pt x="460" y="59"/>
                  </a:lnTo>
                  <a:lnTo>
                    <a:pt x="465" y="62"/>
                  </a:lnTo>
                  <a:lnTo>
                    <a:pt x="471" y="66"/>
                  </a:lnTo>
                  <a:lnTo>
                    <a:pt x="477" y="70"/>
                  </a:lnTo>
                  <a:lnTo>
                    <a:pt x="482" y="74"/>
                  </a:lnTo>
                  <a:lnTo>
                    <a:pt x="490" y="78"/>
                  </a:lnTo>
                  <a:lnTo>
                    <a:pt x="496" y="80"/>
                  </a:lnTo>
                  <a:lnTo>
                    <a:pt x="503" y="83"/>
                  </a:lnTo>
                  <a:lnTo>
                    <a:pt x="511" y="85"/>
                  </a:lnTo>
                  <a:lnTo>
                    <a:pt x="519" y="85"/>
                  </a:lnTo>
                  <a:lnTo>
                    <a:pt x="528" y="87"/>
                  </a:lnTo>
                  <a:lnTo>
                    <a:pt x="528" y="87"/>
                  </a:lnTo>
                  <a:lnTo>
                    <a:pt x="538" y="85"/>
                  </a:lnTo>
                  <a:lnTo>
                    <a:pt x="547" y="85"/>
                  </a:lnTo>
                  <a:lnTo>
                    <a:pt x="557" y="82"/>
                  </a:lnTo>
                  <a:lnTo>
                    <a:pt x="565" y="80"/>
                  </a:lnTo>
                  <a:lnTo>
                    <a:pt x="570" y="76"/>
                  </a:lnTo>
                  <a:lnTo>
                    <a:pt x="578" y="72"/>
                  </a:lnTo>
                  <a:lnTo>
                    <a:pt x="586" y="68"/>
                  </a:lnTo>
                  <a:lnTo>
                    <a:pt x="591" y="64"/>
                  </a:lnTo>
                  <a:lnTo>
                    <a:pt x="597" y="61"/>
                  </a:lnTo>
                  <a:lnTo>
                    <a:pt x="605" y="57"/>
                  </a:lnTo>
                  <a:lnTo>
                    <a:pt x="612" y="53"/>
                  </a:lnTo>
                  <a:lnTo>
                    <a:pt x="620" y="49"/>
                  </a:lnTo>
                  <a:lnTo>
                    <a:pt x="627" y="45"/>
                  </a:lnTo>
                  <a:lnTo>
                    <a:pt x="637" y="43"/>
                  </a:lnTo>
                  <a:lnTo>
                    <a:pt x="647" y="42"/>
                  </a:lnTo>
                  <a:lnTo>
                    <a:pt x="658" y="42"/>
                  </a:lnTo>
                  <a:lnTo>
                    <a:pt x="658" y="42"/>
                  </a:lnTo>
                  <a:lnTo>
                    <a:pt x="668" y="42"/>
                  </a:lnTo>
                  <a:lnTo>
                    <a:pt x="675" y="43"/>
                  </a:lnTo>
                  <a:lnTo>
                    <a:pt x="683" y="45"/>
                  </a:lnTo>
                  <a:lnTo>
                    <a:pt x="689" y="47"/>
                  </a:lnTo>
                  <a:lnTo>
                    <a:pt x="696" y="49"/>
                  </a:lnTo>
                  <a:lnTo>
                    <a:pt x="702" y="53"/>
                  </a:lnTo>
                  <a:lnTo>
                    <a:pt x="706" y="55"/>
                  </a:lnTo>
                  <a:lnTo>
                    <a:pt x="711" y="59"/>
                  </a:lnTo>
                  <a:lnTo>
                    <a:pt x="717" y="61"/>
                  </a:lnTo>
                  <a:lnTo>
                    <a:pt x="723" y="64"/>
                  </a:lnTo>
                  <a:lnTo>
                    <a:pt x="727" y="66"/>
                  </a:lnTo>
                  <a:lnTo>
                    <a:pt x="732" y="70"/>
                  </a:lnTo>
                  <a:lnTo>
                    <a:pt x="738" y="72"/>
                  </a:lnTo>
                  <a:lnTo>
                    <a:pt x="746" y="74"/>
                  </a:lnTo>
                  <a:lnTo>
                    <a:pt x="751" y="74"/>
                  </a:lnTo>
                  <a:lnTo>
                    <a:pt x="759" y="76"/>
                  </a:lnTo>
                  <a:lnTo>
                    <a:pt x="759" y="76"/>
                  </a:lnTo>
                  <a:lnTo>
                    <a:pt x="763" y="74"/>
                  </a:lnTo>
                  <a:lnTo>
                    <a:pt x="769" y="72"/>
                  </a:lnTo>
                  <a:lnTo>
                    <a:pt x="774" y="70"/>
                  </a:lnTo>
                  <a:lnTo>
                    <a:pt x="780" y="66"/>
                  </a:lnTo>
                  <a:lnTo>
                    <a:pt x="788" y="62"/>
                  </a:lnTo>
                  <a:lnTo>
                    <a:pt x="793" y="59"/>
                  </a:lnTo>
                  <a:lnTo>
                    <a:pt x="799" y="55"/>
                  </a:lnTo>
                  <a:lnTo>
                    <a:pt x="807" y="49"/>
                  </a:lnTo>
                  <a:lnTo>
                    <a:pt x="814" y="45"/>
                  </a:lnTo>
                  <a:lnTo>
                    <a:pt x="820" y="40"/>
                  </a:lnTo>
                  <a:lnTo>
                    <a:pt x="828" y="36"/>
                  </a:lnTo>
                  <a:lnTo>
                    <a:pt x="835" y="32"/>
                  </a:lnTo>
                  <a:lnTo>
                    <a:pt x="843" y="28"/>
                  </a:lnTo>
                  <a:lnTo>
                    <a:pt x="851" y="24"/>
                  </a:lnTo>
                  <a:lnTo>
                    <a:pt x="856" y="22"/>
                  </a:lnTo>
                  <a:lnTo>
                    <a:pt x="864" y="22"/>
                  </a:lnTo>
                  <a:lnTo>
                    <a:pt x="864" y="17"/>
                  </a:lnTo>
                  <a:lnTo>
                    <a:pt x="864" y="17"/>
                  </a:lnTo>
                  <a:lnTo>
                    <a:pt x="868" y="24"/>
                  </a:lnTo>
                  <a:lnTo>
                    <a:pt x="874" y="32"/>
                  </a:lnTo>
                  <a:lnTo>
                    <a:pt x="879" y="38"/>
                  </a:lnTo>
                  <a:lnTo>
                    <a:pt x="885" y="43"/>
                  </a:lnTo>
                  <a:lnTo>
                    <a:pt x="889" y="51"/>
                  </a:lnTo>
                  <a:lnTo>
                    <a:pt x="895" y="57"/>
                  </a:lnTo>
                  <a:lnTo>
                    <a:pt x="900" y="64"/>
                  </a:lnTo>
                  <a:lnTo>
                    <a:pt x="906" y="72"/>
                  </a:lnTo>
                  <a:lnTo>
                    <a:pt x="906" y="125"/>
                  </a:lnTo>
                  <a:lnTo>
                    <a:pt x="906" y="125"/>
                  </a:lnTo>
                  <a:lnTo>
                    <a:pt x="910" y="127"/>
                  </a:lnTo>
                  <a:lnTo>
                    <a:pt x="912" y="129"/>
                  </a:lnTo>
                  <a:lnTo>
                    <a:pt x="917" y="131"/>
                  </a:lnTo>
                  <a:lnTo>
                    <a:pt x="921" y="131"/>
                  </a:lnTo>
                  <a:lnTo>
                    <a:pt x="927" y="133"/>
                  </a:lnTo>
                  <a:lnTo>
                    <a:pt x="933" y="135"/>
                  </a:lnTo>
                  <a:lnTo>
                    <a:pt x="938" y="135"/>
                  </a:lnTo>
                  <a:lnTo>
                    <a:pt x="944" y="137"/>
                  </a:lnTo>
                  <a:lnTo>
                    <a:pt x="944" y="137"/>
                  </a:lnTo>
                  <a:lnTo>
                    <a:pt x="944" y="141"/>
                  </a:lnTo>
                  <a:lnTo>
                    <a:pt x="942" y="145"/>
                  </a:lnTo>
                  <a:lnTo>
                    <a:pt x="942" y="148"/>
                  </a:lnTo>
                  <a:lnTo>
                    <a:pt x="942" y="152"/>
                  </a:lnTo>
                  <a:lnTo>
                    <a:pt x="944" y="156"/>
                  </a:lnTo>
                  <a:lnTo>
                    <a:pt x="944" y="160"/>
                  </a:lnTo>
                  <a:lnTo>
                    <a:pt x="944" y="166"/>
                  </a:lnTo>
                  <a:lnTo>
                    <a:pt x="944" y="171"/>
                  </a:lnTo>
                  <a:lnTo>
                    <a:pt x="944" y="171"/>
                  </a:lnTo>
                  <a:lnTo>
                    <a:pt x="944" y="181"/>
                  </a:lnTo>
                  <a:lnTo>
                    <a:pt x="942" y="190"/>
                  </a:lnTo>
                  <a:lnTo>
                    <a:pt x="938" y="198"/>
                  </a:lnTo>
                  <a:lnTo>
                    <a:pt x="935" y="204"/>
                  </a:lnTo>
                  <a:lnTo>
                    <a:pt x="929" y="209"/>
                  </a:lnTo>
                  <a:lnTo>
                    <a:pt x="923" y="215"/>
                  </a:lnTo>
                  <a:lnTo>
                    <a:pt x="916" y="221"/>
                  </a:lnTo>
                  <a:lnTo>
                    <a:pt x="910" y="225"/>
                  </a:lnTo>
                  <a:lnTo>
                    <a:pt x="902" y="228"/>
                  </a:lnTo>
                  <a:lnTo>
                    <a:pt x="895" y="234"/>
                  </a:lnTo>
                  <a:lnTo>
                    <a:pt x="887" y="238"/>
                  </a:lnTo>
                  <a:lnTo>
                    <a:pt x="879" y="244"/>
                  </a:lnTo>
                  <a:lnTo>
                    <a:pt x="874" y="249"/>
                  </a:lnTo>
                  <a:lnTo>
                    <a:pt x="868" y="255"/>
                  </a:lnTo>
                  <a:lnTo>
                    <a:pt x="864" y="263"/>
                  </a:lnTo>
                  <a:lnTo>
                    <a:pt x="858" y="272"/>
                  </a:lnTo>
                  <a:lnTo>
                    <a:pt x="858" y="272"/>
                  </a:lnTo>
                  <a:lnTo>
                    <a:pt x="856" y="278"/>
                  </a:lnTo>
                  <a:lnTo>
                    <a:pt x="853" y="284"/>
                  </a:lnTo>
                  <a:lnTo>
                    <a:pt x="849" y="290"/>
                  </a:lnTo>
                  <a:lnTo>
                    <a:pt x="845" y="295"/>
                  </a:lnTo>
                  <a:lnTo>
                    <a:pt x="841" y="303"/>
                  </a:lnTo>
                  <a:lnTo>
                    <a:pt x="839" y="309"/>
                  </a:lnTo>
                  <a:lnTo>
                    <a:pt x="835" y="312"/>
                  </a:lnTo>
                  <a:lnTo>
                    <a:pt x="835" y="316"/>
                  </a:lnTo>
                  <a:lnTo>
                    <a:pt x="835" y="316"/>
                  </a:lnTo>
                  <a:lnTo>
                    <a:pt x="835" y="320"/>
                  </a:lnTo>
                  <a:lnTo>
                    <a:pt x="835" y="326"/>
                  </a:lnTo>
                  <a:lnTo>
                    <a:pt x="835" y="330"/>
                  </a:lnTo>
                  <a:lnTo>
                    <a:pt x="835" y="335"/>
                  </a:lnTo>
                  <a:lnTo>
                    <a:pt x="835" y="341"/>
                  </a:lnTo>
                  <a:lnTo>
                    <a:pt x="837" y="345"/>
                  </a:lnTo>
                  <a:lnTo>
                    <a:pt x="835" y="349"/>
                  </a:lnTo>
                  <a:lnTo>
                    <a:pt x="835" y="352"/>
                  </a:lnTo>
                  <a:lnTo>
                    <a:pt x="835" y="352"/>
                  </a:lnTo>
                  <a:lnTo>
                    <a:pt x="833" y="354"/>
                  </a:lnTo>
                  <a:lnTo>
                    <a:pt x="830" y="358"/>
                  </a:lnTo>
                  <a:lnTo>
                    <a:pt x="826" y="362"/>
                  </a:lnTo>
                  <a:lnTo>
                    <a:pt x="820" y="366"/>
                  </a:lnTo>
                  <a:lnTo>
                    <a:pt x="814" y="370"/>
                  </a:lnTo>
                  <a:lnTo>
                    <a:pt x="811" y="375"/>
                  </a:lnTo>
                  <a:lnTo>
                    <a:pt x="807" y="379"/>
                  </a:lnTo>
                  <a:lnTo>
                    <a:pt x="803" y="385"/>
                  </a:lnTo>
                  <a:lnTo>
                    <a:pt x="803" y="385"/>
                  </a:lnTo>
                  <a:lnTo>
                    <a:pt x="803" y="387"/>
                  </a:lnTo>
                  <a:lnTo>
                    <a:pt x="801" y="393"/>
                  </a:lnTo>
                  <a:lnTo>
                    <a:pt x="801" y="396"/>
                  </a:lnTo>
                  <a:lnTo>
                    <a:pt x="801" y="402"/>
                  </a:lnTo>
                  <a:lnTo>
                    <a:pt x="801" y="408"/>
                  </a:lnTo>
                  <a:lnTo>
                    <a:pt x="799" y="412"/>
                  </a:lnTo>
                  <a:lnTo>
                    <a:pt x="797" y="417"/>
                  </a:lnTo>
                  <a:lnTo>
                    <a:pt x="793" y="419"/>
                  </a:lnTo>
                  <a:lnTo>
                    <a:pt x="793" y="419"/>
                  </a:lnTo>
                  <a:lnTo>
                    <a:pt x="790" y="423"/>
                  </a:lnTo>
                  <a:lnTo>
                    <a:pt x="784" y="427"/>
                  </a:lnTo>
                  <a:lnTo>
                    <a:pt x="780" y="431"/>
                  </a:lnTo>
                  <a:lnTo>
                    <a:pt x="776" y="434"/>
                  </a:lnTo>
                  <a:lnTo>
                    <a:pt x="772" y="438"/>
                  </a:lnTo>
                  <a:lnTo>
                    <a:pt x="767" y="442"/>
                  </a:lnTo>
                  <a:lnTo>
                    <a:pt x="763" y="446"/>
                  </a:lnTo>
                  <a:lnTo>
                    <a:pt x="761" y="450"/>
                  </a:lnTo>
                  <a:lnTo>
                    <a:pt x="757" y="455"/>
                  </a:lnTo>
                  <a:lnTo>
                    <a:pt x="753" y="459"/>
                  </a:lnTo>
                  <a:lnTo>
                    <a:pt x="751" y="465"/>
                  </a:lnTo>
                  <a:lnTo>
                    <a:pt x="748" y="471"/>
                  </a:lnTo>
                  <a:lnTo>
                    <a:pt x="746" y="476"/>
                  </a:lnTo>
                  <a:lnTo>
                    <a:pt x="744" y="482"/>
                  </a:lnTo>
                  <a:lnTo>
                    <a:pt x="742" y="490"/>
                  </a:lnTo>
                  <a:lnTo>
                    <a:pt x="740" y="497"/>
                  </a:lnTo>
                  <a:lnTo>
                    <a:pt x="740" y="497"/>
                  </a:lnTo>
                  <a:lnTo>
                    <a:pt x="740" y="501"/>
                  </a:lnTo>
                  <a:lnTo>
                    <a:pt x="738" y="509"/>
                  </a:lnTo>
                  <a:lnTo>
                    <a:pt x="734" y="515"/>
                  </a:lnTo>
                  <a:lnTo>
                    <a:pt x="730" y="522"/>
                  </a:lnTo>
                  <a:lnTo>
                    <a:pt x="727" y="532"/>
                  </a:lnTo>
                  <a:lnTo>
                    <a:pt x="723" y="539"/>
                  </a:lnTo>
                  <a:lnTo>
                    <a:pt x="717" y="549"/>
                  </a:lnTo>
                  <a:lnTo>
                    <a:pt x="713" y="559"/>
                  </a:lnTo>
                  <a:lnTo>
                    <a:pt x="708" y="566"/>
                  </a:lnTo>
                  <a:lnTo>
                    <a:pt x="702" y="574"/>
                  </a:lnTo>
                  <a:lnTo>
                    <a:pt x="696" y="581"/>
                  </a:lnTo>
                  <a:lnTo>
                    <a:pt x="692" y="587"/>
                  </a:lnTo>
                  <a:lnTo>
                    <a:pt x="687" y="593"/>
                  </a:lnTo>
                  <a:lnTo>
                    <a:pt x="681" y="597"/>
                  </a:lnTo>
                  <a:lnTo>
                    <a:pt x="677" y="600"/>
                  </a:lnTo>
                  <a:lnTo>
                    <a:pt x="673" y="600"/>
                  </a:lnTo>
                  <a:lnTo>
                    <a:pt x="673" y="600"/>
                  </a:lnTo>
                  <a:lnTo>
                    <a:pt x="666" y="599"/>
                  </a:lnTo>
                  <a:lnTo>
                    <a:pt x="660" y="595"/>
                  </a:lnTo>
                  <a:lnTo>
                    <a:pt x="654" y="589"/>
                  </a:lnTo>
                  <a:lnTo>
                    <a:pt x="648" y="581"/>
                  </a:lnTo>
                  <a:lnTo>
                    <a:pt x="643" y="572"/>
                  </a:lnTo>
                  <a:lnTo>
                    <a:pt x="637" y="564"/>
                  </a:lnTo>
                  <a:lnTo>
                    <a:pt x="629" y="557"/>
                  </a:lnTo>
                  <a:lnTo>
                    <a:pt x="622" y="549"/>
                  </a:lnTo>
                  <a:lnTo>
                    <a:pt x="622" y="549"/>
                  </a:lnTo>
                  <a:lnTo>
                    <a:pt x="622" y="551"/>
                  </a:lnTo>
                  <a:lnTo>
                    <a:pt x="620" y="555"/>
                  </a:lnTo>
                  <a:lnTo>
                    <a:pt x="618" y="557"/>
                  </a:lnTo>
                  <a:lnTo>
                    <a:pt x="614" y="560"/>
                  </a:lnTo>
                  <a:lnTo>
                    <a:pt x="612" y="562"/>
                  </a:lnTo>
                  <a:lnTo>
                    <a:pt x="608" y="566"/>
                  </a:lnTo>
                  <a:lnTo>
                    <a:pt x="606" y="568"/>
                  </a:lnTo>
                  <a:lnTo>
                    <a:pt x="603" y="568"/>
                  </a:lnTo>
                  <a:lnTo>
                    <a:pt x="603" y="568"/>
                  </a:lnTo>
                  <a:lnTo>
                    <a:pt x="595" y="568"/>
                  </a:lnTo>
                  <a:lnTo>
                    <a:pt x="586" y="570"/>
                  </a:lnTo>
                  <a:lnTo>
                    <a:pt x="578" y="574"/>
                  </a:lnTo>
                  <a:lnTo>
                    <a:pt x="568" y="576"/>
                  </a:lnTo>
                  <a:lnTo>
                    <a:pt x="559" y="581"/>
                  </a:lnTo>
                  <a:lnTo>
                    <a:pt x="549" y="587"/>
                  </a:lnTo>
                  <a:lnTo>
                    <a:pt x="540" y="593"/>
                  </a:lnTo>
                  <a:lnTo>
                    <a:pt x="532" y="599"/>
                  </a:lnTo>
                  <a:lnTo>
                    <a:pt x="523" y="606"/>
                  </a:lnTo>
                  <a:lnTo>
                    <a:pt x="515" y="614"/>
                  </a:lnTo>
                  <a:lnTo>
                    <a:pt x="507" y="621"/>
                  </a:lnTo>
                  <a:lnTo>
                    <a:pt x="500" y="629"/>
                  </a:lnTo>
                  <a:lnTo>
                    <a:pt x="494" y="637"/>
                  </a:lnTo>
                  <a:lnTo>
                    <a:pt x="488" y="644"/>
                  </a:lnTo>
                  <a:lnTo>
                    <a:pt x="484" y="652"/>
                  </a:lnTo>
                  <a:lnTo>
                    <a:pt x="481" y="660"/>
                  </a:lnTo>
                  <a:lnTo>
                    <a:pt x="481" y="660"/>
                  </a:lnTo>
                  <a:lnTo>
                    <a:pt x="479" y="665"/>
                  </a:lnTo>
                  <a:lnTo>
                    <a:pt x="477" y="669"/>
                  </a:lnTo>
                  <a:lnTo>
                    <a:pt x="477" y="675"/>
                  </a:lnTo>
                  <a:lnTo>
                    <a:pt x="475" y="679"/>
                  </a:lnTo>
                  <a:lnTo>
                    <a:pt x="473" y="684"/>
                  </a:lnTo>
                  <a:lnTo>
                    <a:pt x="473" y="690"/>
                  </a:lnTo>
                  <a:lnTo>
                    <a:pt x="471" y="694"/>
                  </a:lnTo>
                  <a:lnTo>
                    <a:pt x="471" y="700"/>
                  </a:lnTo>
                  <a:lnTo>
                    <a:pt x="469" y="703"/>
                  </a:lnTo>
                  <a:lnTo>
                    <a:pt x="467" y="709"/>
                  </a:lnTo>
                  <a:lnTo>
                    <a:pt x="467" y="715"/>
                  </a:lnTo>
                  <a:lnTo>
                    <a:pt x="465" y="719"/>
                  </a:lnTo>
                  <a:lnTo>
                    <a:pt x="463" y="724"/>
                  </a:lnTo>
                  <a:lnTo>
                    <a:pt x="462" y="728"/>
                  </a:lnTo>
                  <a:lnTo>
                    <a:pt x="460" y="732"/>
                  </a:lnTo>
                  <a:lnTo>
                    <a:pt x="458" y="738"/>
                  </a:lnTo>
                  <a:lnTo>
                    <a:pt x="454" y="736"/>
                  </a:lnTo>
                </a:path>
              </a:pathLst>
            </a:custGeom>
            <a:solidFill>
              <a:schemeClr val="hlink"/>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0" name="Freeform 234"/>
            <p:cNvSpPr>
              <a:spLocks/>
            </p:cNvSpPr>
            <p:nvPr/>
          </p:nvSpPr>
          <p:spPr bwMode="gray">
            <a:xfrm>
              <a:off x="1603" y="1809"/>
              <a:ext cx="134" cy="271"/>
            </a:xfrm>
            <a:custGeom>
              <a:avLst/>
              <a:gdLst/>
              <a:ahLst/>
              <a:cxnLst>
                <a:cxn ang="0">
                  <a:pos x="147" y="485"/>
                </a:cxn>
                <a:cxn ang="0">
                  <a:pos x="143" y="489"/>
                </a:cxn>
                <a:cxn ang="0">
                  <a:pos x="141" y="344"/>
                </a:cxn>
                <a:cxn ang="0">
                  <a:pos x="145" y="321"/>
                </a:cxn>
                <a:cxn ang="0">
                  <a:pos x="154" y="306"/>
                </a:cxn>
                <a:cxn ang="0">
                  <a:pos x="162" y="294"/>
                </a:cxn>
                <a:cxn ang="0">
                  <a:pos x="166" y="275"/>
                </a:cxn>
                <a:cxn ang="0">
                  <a:pos x="168" y="254"/>
                </a:cxn>
                <a:cxn ang="0">
                  <a:pos x="173" y="241"/>
                </a:cxn>
                <a:cxn ang="0">
                  <a:pos x="187" y="224"/>
                </a:cxn>
                <a:cxn ang="0">
                  <a:pos x="202" y="206"/>
                </a:cxn>
                <a:cxn ang="0">
                  <a:pos x="219" y="189"/>
                </a:cxn>
                <a:cxn ang="0">
                  <a:pos x="231" y="168"/>
                </a:cxn>
                <a:cxn ang="0">
                  <a:pos x="236" y="143"/>
                </a:cxn>
                <a:cxn ang="0">
                  <a:pos x="232" y="122"/>
                </a:cxn>
                <a:cxn ang="0">
                  <a:pos x="225" y="101"/>
                </a:cxn>
                <a:cxn ang="0">
                  <a:pos x="221" y="79"/>
                </a:cxn>
                <a:cxn ang="0">
                  <a:pos x="221" y="71"/>
                </a:cxn>
                <a:cxn ang="0">
                  <a:pos x="221" y="61"/>
                </a:cxn>
                <a:cxn ang="0">
                  <a:pos x="221" y="50"/>
                </a:cxn>
                <a:cxn ang="0">
                  <a:pos x="217" y="52"/>
                </a:cxn>
                <a:cxn ang="0">
                  <a:pos x="194" y="25"/>
                </a:cxn>
                <a:cxn ang="0">
                  <a:pos x="168" y="2"/>
                </a:cxn>
                <a:cxn ang="0">
                  <a:pos x="158" y="2"/>
                </a:cxn>
                <a:cxn ang="0">
                  <a:pos x="137" y="14"/>
                </a:cxn>
                <a:cxn ang="0">
                  <a:pos x="122" y="25"/>
                </a:cxn>
                <a:cxn ang="0">
                  <a:pos x="120" y="37"/>
                </a:cxn>
                <a:cxn ang="0">
                  <a:pos x="110" y="61"/>
                </a:cxn>
                <a:cxn ang="0">
                  <a:pos x="87" y="77"/>
                </a:cxn>
                <a:cxn ang="0">
                  <a:pos x="68" y="79"/>
                </a:cxn>
                <a:cxn ang="0">
                  <a:pos x="47" y="80"/>
                </a:cxn>
                <a:cxn ang="0">
                  <a:pos x="28" y="90"/>
                </a:cxn>
                <a:cxn ang="0">
                  <a:pos x="13" y="103"/>
                </a:cxn>
                <a:cxn ang="0">
                  <a:pos x="4" y="122"/>
                </a:cxn>
                <a:cxn ang="0">
                  <a:pos x="0" y="145"/>
                </a:cxn>
                <a:cxn ang="0">
                  <a:pos x="2" y="166"/>
                </a:cxn>
                <a:cxn ang="0">
                  <a:pos x="15" y="191"/>
                </a:cxn>
                <a:cxn ang="0">
                  <a:pos x="32" y="214"/>
                </a:cxn>
                <a:cxn ang="0">
                  <a:pos x="49" y="237"/>
                </a:cxn>
                <a:cxn ang="0">
                  <a:pos x="61" y="262"/>
                </a:cxn>
                <a:cxn ang="0">
                  <a:pos x="65" y="283"/>
                </a:cxn>
                <a:cxn ang="0">
                  <a:pos x="63" y="315"/>
                </a:cxn>
                <a:cxn ang="0">
                  <a:pos x="57" y="348"/>
                </a:cxn>
                <a:cxn ang="0">
                  <a:pos x="51" y="378"/>
                </a:cxn>
                <a:cxn ang="0">
                  <a:pos x="46" y="411"/>
                </a:cxn>
                <a:cxn ang="0">
                  <a:pos x="44" y="447"/>
                </a:cxn>
                <a:cxn ang="0">
                  <a:pos x="44" y="464"/>
                </a:cxn>
                <a:cxn ang="0">
                  <a:pos x="51" y="481"/>
                </a:cxn>
                <a:cxn ang="0">
                  <a:pos x="61" y="493"/>
                </a:cxn>
                <a:cxn ang="0">
                  <a:pos x="68" y="494"/>
                </a:cxn>
                <a:cxn ang="0">
                  <a:pos x="84" y="493"/>
                </a:cxn>
                <a:cxn ang="0">
                  <a:pos x="97" y="491"/>
                </a:cxn>
                <a:cxn ang="0">
                  <a:pos x="112" y="489"/>
                </a:cxn>
                <a:cxn ang="0">
                  <a:pos x="128" y="485"/>
                </a:cxn>
                <a:cxn ang="0">
                  <a:pos x="143" y="483"/>
                </a:cxn>
              </a:cxnLst>
              <a:rect l="0" t="0" r="r" b="b"/>
              <a:pathLst>
                <a:path w="236" h="494">
                  <a:moveTo>
                    <a:pt x="147" y="485"/>
                  </a:moveTo>
                  <a:lnTo>
                    <a:pt x="147" y="485"/>
                  </a:lnTo>
                  <a:lnTo>
                    <a:pt x="147" y="485"/>
                  </a:lnTo>
                  <a:lnTo>
                    <a:pt x="147" y="487"/>
                  </a:lnTo>
                  <a:lnTo>
                    <a:pt x="145" y="489"/>
                  </a:lnTo>
                  <a:lnTo>
                    <a:pt x="143" y="489"/>
                  </a:lnTo>
                  <a:lnTo>
                    <a:pt x="143" y="353"/>
                  </a:lnTo>
                  <a:lnTo>
                    <a:pt x="143" y="353"/>
                  </a:lnTo>
                  <a:lnTo>
                    <a:pt x="141" y="344"/>
                  </a:lnTo>
                  <a:lnTo>
                    <a:pt x="141" y="334"/>
                  </a:lnTo>
                  <a:lnTo>
                    <a:pt x="143" y="327"/>
                  </a:lnTo>
                  <a:lnTo>
                    <a:pt x="145" y="321"/>
                  </a:lnTo>
                  <a:lnTo>
                    <a:pt x="149" y="315"/>
                  </a:lnTo>
                  <a:lnTo>
                    <a:pt x="152" y="309"/>
                  </a:lnTo>
                  <a:lnTo>
                    <a:pt x="154" y="306"/>
                  </a:lnTo>
                  <a:lnTo>
                    <a:pt x="158" y="300"/>
                  </a:lnTo>
                  <a:lnTo>
                    <a:pt x="158" y="300"/>
                  </a:lnTo>
                  <a:lnTo>
                    <a:pt x="162" y="294"/>
                  </a:lnTo>
                  <a:lnTo>
                    <a:pt x="164" y="288"/>
                  </a:lnTo>
                  <a:lnTo>
                    <a:pt x="166" y="281"/>
                  </a:lnTo>
                  <a:lnTo>
                    <a:pt x="166" y="275"/>
                  </a:lnTo>
                  <a:lnTo>
                    <a:pt x="166" y="267"/>
                  </a:lnTo>
                  <a:lnTo>
                    <a:pt x="168" y="262"/>
                  </a:lnTo>
                  <a:lnTo>
                    <a:pt x="168" y="254"/>
                  </a:lnTo>
                  <a:lnTo>
                    <a:pt x="171" y="246"/>
                  </a:lnTo>
                  <a:lnTo>
                    <a:pt x="171" y="246"/>
                  </a:lnTo>
                  <a:lnTo>
                    <a:pt x="173" y="241"/>
                  </a:lnTo>
                  <a:lnTo>
                    <a:pt x="177" y="233"/>
                  </a:lnTo>
                  <a:lnTo>
                    <a:pt x="181" y="227"/>
                  </a:lnTo>
                  <a:lnTo>
                    <a:pt x="187" y="224"/>
                  </a:lnTo>
                  <a:lnTo>
                    <a:pt x="192" y="218"/>
                  </a:lnTo>
                  <a:lnTo>
                    <a:pt x="198" y="212"/>
                  </a:lnTo>
                  <a:lnTo>
                    <a:pt x="202" y="206"/>
                  </a:lnTo>
                  <a:lnTo>
                    <a:pt x="208" y="201"/>
                  </a:lnTo>
                  <a:lnTo>
                    <a:pt x="213" y="197"/>
                  </a:lnTo>
                  <a:lnTo>
                    <a:pt x="219" y="189"/>
                  </a:lnTo>
                  <a:lnTo>
                    <a:pt x="223" y="184"/>
                  </a:lnTo>
                  <a:lnTo>
                    <a:pt x="227" y="176"/>
                  </a:lnTo>
                  <a:lnTo>
                    <a:pt x="231" y="168"/>
                  </a:lnTo>
                  <a:lnTo>
                    <a:pt x="234" y="161"/>
                  </a:lnTo>
                  <a:lnTo>
                    <a:pt x="234" y="153"/>
                  </a:lnTo>
                  <a:lnTo>
                    <a:pt x="236" y="143"/>
                  </a:lnTo>
                  <a:lnTo>
                    <a:pt x="236" y="143"/>
                  </a:lnTo>
                  <a:lnTo>
                    <a:pt x="234" y="132"/>
                  </a:lnTo>
                  <a:lnTo>
                    <a:pt x="232" y="122"/>
                  </a:lnTo>
                  <a:lnTo>
                    <a:pt x="231" y="115"/>
                  </a:lnTo>
                  <a:lnTo>
                    <a:pt x="229" y="109"/>
                  </a:lnTo>
                  <a:lnTo>
                    <a:pt x="225" y="101"/>
                  </a:lnTo>
                  <a:lnTo>
                    <a:pt x="223" y="94"/>
                  </a:lnTo>
                  <a:lnTo>
                    <a:pt x="221" y="86"/>
                  </a:lnTo>
                  <a:lnTo>
                    <a:pt x="221" y="79"/>
                  </a:lnTo>
                  <a:lnTo>
                    <a:pt x="221" y="79"/>
                  </a:lnTo>
                  <a:lnTo>
                    <a:pt x="221" y="75"/>
                  </a:lnTo>
                  <a:lnTo>
                    <a:pt x="221" y="71"/>
                  </a:lnTo>
                  <a:lnTo>
                    <a:pt x="221" y="67"/>
                  </a:lnTo>
                  <a:lnTo>
                    <a:pt x="221" y="63"/>
                  </a:lnTo>
                  <a:lnTo>
                    <a:pt x="221" y="61"/>
                  </a:lnTo>
                  <a:lnTo>
                    <a:pt x="221" y="58"/>
                  </a:lnTo>
                  <a:lnTo>
                    <a:pt x="221" y="54"/>
                  </a:lnTo>
                  <a:lnTo>
                    <a:pt x="221" y="50"/>
                  </a:lnTo>
                  <a:lnTo>
                    <a:pt x="225" y="58"/>
                  </a:lnTo>
                  <a:lnTo>
                    <a:pt x="225" y="58"/>
                  </a:lnTo>
                  <a:lnTo>
                    <a:pt x="217" y="52"/>
                  </a:lnTo>
                  <a:lnTo>
                    <a:pt x="211" y="44"/>
                  </a:lnTo>
                  <a:lnTo>
                    <a:pt x="202" y="37"/>
                  </a:lnTo>
                  <a:lnTo>
                    <a:pt x="194" y="25"/>
                  </a:lnTo>
                  <a:lnTo>
                    <a:pt x="185" y="16"/>
                  </a:lnTo>
                  <a:lnTo>
                    <a:pt x="177" y="8"/>
                  </a:lnTo>
                  <a:lnTo>
                    <a:pt x="168" y="2"/>
                  </a:lnTo>
                  <a:lnTo>
                    <a:pt x="162" y="0"/>
                  </a:lnTo>
                  <a:lnTo>
                    <a:pt x="162" y="0"/>
                  </a:lnTo>
                  <a:lnTo>
                    <a:pt x="158" y="2"/>
                  </a:lnTo>
                  <a:lnTo>
                    <a:pt x="152" y="4"/>
                  </a:lnTo>
                  <a:lnTo>
                    <a:pt x="145" y="8"/>
                  </a:lnTo>
                  <a:lnTo>
                    <a:pt x="137" y="14"/>
                  </a:lnTo>
                  <a:lnTo>
                    <a:pt x="131" y="18"/>
                  </a:lnTo>
                  <a:lnTo>
                    <a:pt x="126" y="21"/>
                  </a:lnTo>
                  <a:lnTo>
                    <a:pt x="122" y="25"/>
                  </a:lnTo>
                  <a:lnTo>
                    <a:pt x="120" y="29"/>
                  </a:lnTo>
                  <a:lnTo>
                    <a:pt x="120" y="29"/>
                  </a:lnTo>
                  <a:lnTo>
                    <a:pt x="120" y="37"/>
                  </a:lnTo>
                  <a:lnTo>
                    <a:pt x="118" y="46"/>
                  </a:lnTo>
                  <a:lnTo>
                    <a:pt x="114" y="54"/>
                  </a:lnTo>
                  <a:lnTo>
                    <a:pt x="110" y="61"/>
                  </a:lnTo>
                  <a:lnTo>
                    <a:pt x="105" y="67"/>
                  </a:lnTo>
                  <a:lnTo>
                    <a:pt x="97" y="73"/>
                  </a:lnTo>
                  <a:lnTo>
                    <a:pt x="87" y="77"/>
                  </a:lnTo>
                  <a:lnTo>
                    <a:pt x="76" y="79"/>
                  </a:lnTo>
                  <a:lnTo>
                    <a:pt x="76" y="79"/>
                  </a:lnTo>
                  <a:lnTo>
                    <a:pt x="68" y="79"/>
                  </a:lnTo>
                  <a:lnTo>
                    <a:pt x="61" y="79"/>
                  </a:lnTo>
                  <a:lnTo>
                    <a:pt x="55" y="80"/>
                  </a:lnTo>
                  <a:lnTo>
                    <a:pt x="47" y="80"/>
                  </a:lnTo>
                  <a:lnTo>
                    <a:pt x="42" y="84"/>
                  </a:lnTo>
                  <a:lnTo>
                    <a:pt x="34" y="86"/>
                  </a:lnTo>
                  <a:lnTo>
                    <a:pt x="28" y="90"/>
                  </a:lnTo>
                  <a:lnTo>
                    <a:pt x="23" y="94"/>
                  </a:lnTo>
                  <a:lnTo>
                    <a:pt x="19" y="98"/>
                  </a:lnTo>
                  <a:lnTo>
                    <a:pt x="13" y="103"/>
                  </a:lnTo>
                  <a:lnTo>
                    <a:pt x="9" y="109"/>
                  </a:lnTo>
                  <a:lnTo>
                    <a:pt x="5" y="115"/>
                  </a:lnTo>
                  <a:lnTo>
                    <a:pt x="4" y="122"/>
                  </a:lnTo>
                  <a:lnTo>
                    <a:pt x="2" y="128"/>
                  </a:lnTo>
                  <a:lnTo>
                    <a:pt x="0" y="138"/>
                  </a:lnTo>
                  <a:lnTo>
                    <a:pt x="0" y="145"/>
                  </a:lnTo>
                  <a:lnTo>
                    <a:pt x="0" y="145"/>
                  </a:lnTo>
                  <a:lnTo>
                    <a:pt x="0" y="157"/>
                  </a:lnTo>
                  <a:lnTo>
                    <a:pt x="2" y="166"/>
                  </a:lnTo>
                  <a:lnTo>
                    <a:pt x="5" y="174"/>
                  </a:lnTo>
                  <a:lnTo>
                    <a:pt x="9" y="184"/>
                  </a:lnTo>
                  <a:lnTo>
                    <a:pt x="15" y="191"/>
                  </a:lnTo>
                  <a:lnTo>
                    <a:pt x="21" y="199"/>
                  </a:lnTo>
                  <a:lnTo>
                    <a:pt x="26" y="206"/>
                  </a:lnTo>
                  <a:lnTo>
                    <a:pt x="32" y="214"/>
                  </a:lnTo>
                  <a:lnTo>
                    <a:pt x="38" y="222"/>
                  </a:lnTo>
                  <a:lnTo>
                    <a:pt x="44" y="229"/>
                  </a:lnTo>
                  <a:lnTo>
                    <a:pt x="49" y="237"/>
                  </a:lnTo>
                  <a:lnTo>
                    <a:pt x="53" y="245"/>
                  </a:lnTo>
                  <a:lnTo>
                    <a:pt x="59" y="252"/>
                  </a:lnTo>
                  <a:lnTo>
                    <a:pt x="61" y="262"/>
                  </a:lnTo>
                  <a:lnTo>
                    <a:pt x="63" y="271"/>
                  </a:lnTo>
                  <a:lnTo>
                    <a:pt x="65" y="283"/>
                  </a:lnTo>
                  <a:lnTo>
                    <a:pt x="65" y="283"/>
                  </a:lnTo>
                  <a:lnTo>
                    <a:pt x="65" y="292"/>
                  </a:lnTo>
                  <a:lnTo>
                    <a:pt x="63" y="304"/>
                  </a:lnTo>
                  <a:lnTo>
                    <a:pt x="63" y="315"/>
                  </a:lnTo>
                  <a:lnTo>
                    <a:pt x="61" y="327"/>
                  </a:lnTo>
                  <a:lnTo>
                    <a:pt x="59" y="336"/>
                  </a:lnTo>
                  <a:lnTo>
                    <a:pt x="57" y="348"/>
                  </a:lnTo>
                  <a:lnTo>
                    <a:pt x="55" y="357"/>
                  </a:lnTo>
                  <a:lnTo>
                    <a:pt x="53" y="369"/>
                  </a:lnTo>
                  <a:lnTo>
                    <a:pt x="51" y="378"/>
                  </a:lnTo>
                  <a:lnTo>
                    <a:pt x="49" y="390"/>
                  </a:lnTo>
                  <a:lnTo>
                    <a:pt x="47" y="399"/>
                  </a:lnTo>
                  <a:lnTo>
                    <a:pt x="46" y="411"/>
                  </a:lnTo>
                  <a:lnTo>
                    <a:pt x="46" y="422"/>
                  </a:lnTo>
                  <a:lnTo>
                    <a:pt x="44" y="433"/>
                  </a:lnTo>
                  <a:lnTo>
                    <a:pt x="44" y="447"/>
                  </a:lnTo>
                  <a:lnTo>
                    <a:pt x="44" y="458"/>
                  </a:lnTo>
                  <a:lnTo>
                    <a:pt x="44" y="458"/>
                  </a:lnTo>
                  <a:lnTo>
                    <a:pt x="44" y="464"/>
                  </a:lnTo>
                  <a:lnTo>
                    <a:pt x="46" y="470"/>
                  </a:lnTo>
                  <a:lnTo>
                    <a:pt x="47" y="475"/>
                  </a:lnTo>
                  <a:lnTo>
                    <a:pt x="51" y="481"/>
                  </a:lnTo>
                  <a:lnTo>
                    <a:pt x="53" y="487"/>
                  </a:lnTo>
                  <a:lnTo>
                    <a:pt x="57" y="491"/>
                  </a:lnTo>
                  <a:lnTo>
                    <a:pt x="61" y="493"/>
                  </a:lnTo>
                  <a:lnTo>
                    <a:pt x="65" y="494"/>
                  </a:lnTo>
                  <a:lnTo>
                    <a:pt x="65" y="494"/>
                  </a:lnTo>
                  <a:lnTo>
                    <a:pt x="68" y="494"/>
                  </a:lnTo>
                  <a:lnTo>
                    <a:pt x="74" y="494"/>
                  </a:lnTo>
                  <a:lnTo>
                    <a:pt x="78" y="494"/>
                  </a:lnTo>
                  <a:lnTo>
                    <a:pt x="84" y="493"/>
                  </a:lnTo>
                  <a:lnTo>
                    <a:pt x="87" y="493"/>
                  </a:lnTo>
                  <a:lnTo>
                    <a:pt x="93" y="493"/>
                  </a:lnTo>
                  <a:lnTo>
                    <a:pt x="97" y="491"/>
                  </a:lnTo>
                  <a:lnTo>
                    <a:pt x="103" y="491"/>
                  </a:lnTo>
                  <a:lnTo>
                    <a:pt x="108" y="489"/>
                  </a:lnTo>
                  <a:lnTo>
                    <a:pt x="112" y="489"/>
                  </a:lnTo>
                  <a:lnTo>
                    <a:pt x="118" y="487"/>
                  </a:lnTo>
                  <a:lnTo>
                    <a:pt x="124" y="487"/>
                  </a:lnTo>
                  <a:lnTo>
                    <a:pt x="128" y="485"/>
                  </a:lnTo>
                  <a:lnTo>
                    <a:pt x="133" y="485"/>
                  </a:lnTo>
                  <a:lnTo>
                    <a:pt x="139" y="483"/>
                  </a:lnTo>
                  <a:lnTo>
                    <a:pt x="143" y="483"/>
                  </a:lnTo>
                  <a:lnTo>
                    <a:pt x="147" y="485"/>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1" name="Freeform 235"/>
            <p:cNvSpPr>
              <a:spLocks/>
            </p:cNvSpPr>
            <p:nvPr/>
          </p:nvSpPr>
          <p:spPr bwMode="gray">
            <a:xfrm>
              <a:off x="1566" y="1864"/>
              <a:ext cx="74" cy="223"/>
            </a:xfrm>
            <a:custGeom>
              <a:avLst/>
              <a:gdLst/>
              <a:ahLst/>
              <a:cxnLst>
                <a:cxn ang="0">
                  <a:pos x="67" y="27"/>
                </a:cxn>
                <a:cxn ang="0">
                  <a:pos x="65" y="35"/>
                </a:cxn>
                <a:cxn ang="0">
                  <a:pos x="65" y="42"/>
                </a:cxn>
                <a:cxn ang="0">
                  <a:pos x="65" y="56"/>
                </a:cxn>
                <a:cxn ang="0">
                  <a:pos x="74" y="83"/>
                </a:cxn>
                <a:cxn ang="0">
                  <a:pos x="91" y="105"/>
                </a:cxn>
                <a:cxn ang="0">
                  <a:pos x="109" y="128"/>
                </a:cxn>
                <a:cxn ang="0">
                  <a:pos x="124" y="151"/>
                </a:cxn>
                <a:cxn ang="0">
                  <a:pos x="130" y="182"/>
                </a:cxn>
                <a:cxn ang="0">
                  <a:pos x="128" y="203"/>
                </a:cxn>
                <a:cxn ang="0">
                  <a:pos x="124" y="235"/>
                </a:cxn>
                <a:cxn ang="0">
                  <a:pos x="118" y="268"/>
                </a:cxn>
                <a:cxn ang="0">
                  <a:pos x="112" y="298"/>
                </a:cxn>
                <a:cxn ang="0">
                  <a:pos x="109" y="332"/>
                </a:cxn>
                <a:cxn ang="0">
                  <a:pos x="109" y="357"/>
                </a:cxn>
                <a:cxn ang="0">
                  <a:pos x="112" y="374"/>
                </a:cxn>
                <a:cxn ang="0">
                  <a:pos x="122" y="390"/>
                </a:cxn>
                <a:cxn ang="0">
                  <a:pos x="130" y="393"/>
                </a:cxn>
                <a:cxn ang="0">
                  <a:pos x="109" y="401"/>
                </a:cxn>
                <a:cxn ang="0">
                  <a:pos x="91" y="407"/>
                </a:cxn>
                <a:cxn ang="0">
                  <a:pos x="78" y="407"/>
                </a:cxn>
                <a:cxn ang="0">
                  <a:pos x="55" y="393"/>
                </a:cxn>
                <a:cxn ang="0">
                  <a:pos x="36" y="363"/>
                </a:cxn>
                <a:cxn ang="0">
                  <a:pos x="32" y="342"/>
                </a:cxn>
                <a:cxn ang="0">
                  <a:pos x="34" y="329"/>
                </a:cxn>
                <a:cxn ang="0">
                  <a:pos x="40" y="317"/>
                </a:cxn>
                <a:cxn ang="0">
                  <a:pos x="40" y="311"/>
                </a:cxn>
                <a:cxn ang="0">
                  <a:pos x="40" y="302"/>
                </a:cxn>
                <a:cxn ang="0">
                  <a:pos x="40" y="298"/>
                </a:cxn>
                <a:cxn ang="0">
                  <a:pos x="40" y="292"/>
                </a:cxn>
                <a:cxn ang="0">
                  <a:pos x="42" y="285"/>
                </a:cxn>
                <a:cxn ang="0">
                  <a:pos x="44" y="271"/>
                </a:cxn>
                <a:cxn ang="0">
                  <a:pos x="46" y="258"/>
                </a:cxn>
                <a:cxn ang="0">
                  <a:pos x="48" y="243"/>
                </a:cxn>
                <a:cxn ang="0">
                  <a:pos x="49" y="229"/>
                </a:cxn>
                <a:cxn ang="0">
                  <a:pos x="48" y="218"/>
                </a:cxn>
                <a:cxn ang="0">
                  <a:pos x="40" y="205"/>
                </a:cxn>
                <a:cxn ang="0">
                  <a:pos x="30" y="195"/>
                </a:cxn>
                <a:cxn ang="0">
                  <a:pos x="28" y="184"/>
                </a:cxn>
                <a:cxn ang="0">
                  <a:pos x="34" y="168"/>
                </a:cxn>
                <a:cxn ang="0">
                  <a:pos x="40" y="157"/>
                </a:cxn>
                <a:cxn ang="0">
                  <a:pos x="40" y="147"/>
                </a:cxn>
                <a:cxn ang="0">
                  <a:pos x="32" y="134"/>
                </a:cxn>
                <a:cxn ang="0">
                  <a:pos x="25" y="119"/>
                </a:cxn>
                <a:cxn ang="0">
                  <a:pos x="23" y="105"/>
                </a:cxn>
                <a:cxn ang="0">
                  <a:pos x="23" y="92"/>
                </a:cxn>
                <a:cxn ang="0">
                  <a:pos x="23" y="84"/>
                </a:cxn>
                <a:cxn ang="0">
                  <a:pos x="23" y="75"/>
                </a:cxn>
                <a:cxn ang="0">
                  <a:pos x="11" y="58"/>
                </a:cxn>
                <a:cxn ang="0">
                  <a:pos x="0" y="37"/>
                </a:cxn>
                <a:cxn ang="0">
                  <a:pos x="0" y="21"/>
                </a:cxn>
                <a:cxn ang="0">
                  <a:pos x="2" y="8"/>
                </a:cxn>
                <a:cxn ang="0">
                  <a:pos x="9" y="0"/>
                </a:cxn>
                <a:cxn ang="0">
                  <a:pos x="21" y="0"/>
                </a:cxn>
                <a:cxn ang="0">
                  <a:pos x="40" y="8"/>
                </a:cxn>
                <a:cxn ang="0">
                  <a:pos x="61" y="18"/>
                </a:cxn>
              </a:cxnLst>
              <a:rect l="0" t="0" r="r" b="b"/>
              <a:pathLst>
                <a:path w="130" h="407">
                  <a:moveTo>
                    <a:pt x="67" y="23"/>
                  </a:moveTo>
                  <a:lnTo>
                    <a:pt x="67" y="23"/>
                  </a:lnTo>
                  <a:lnTo>
                    <a:pt x="67" y="27"/>
                  </a:lnTo>
                  <a:lnTo>
                    <a:pt x="65" y="29"/>
                  </a:lnTo>
                  <a:lnTo>
                    <a:pt x="65" y="31"/>
                  </a:lnTo>
                  <a:lnTo>
                    <a:pt x="65" y="35"/>
                  </a:lnTo>
                  <a:lnTo>
                    <a:pt x="65" y="37"/>
                  </a:lnTo>
                  <a:lnTo>
                    <a:pt x="65" y="39"/>
                  </a:lnTo>
                  <a:lnTo>
                    <a:pt x="65" y="42"/>
                  </a:lnTo>
                  <a:lnTo>
                    <a:pt x="65" y="44"/>
                  </a:lnTo>
                  <a:lnTo>
                    <a:pt x="65" y="44"/>
                  </a:lnTo>
                  <a:lnTo>
                    <a:pt x="65" y="56"/>
                  </a:lnTo>
                  <a:lnTo>
                    <a:pt x="67" y="65"/>
                  </a:lnTo>
                  <a:lnTo>
                    <a:pt x="70" y="73"/>
                  </a:lnTo>
                  <a:lnTo>
                    <a:pt x="74" y="83"/>
                  </a:lnTo>
                  <a:lnTo>
                    <a:pt x="80" y="90"/>
                  </a:lnTo>
                  <a:lnTo>
                    <a:pt x="86" y="98"/>
                  </a:lnTo>
                  <a:lnTo>
                    <a:pt x="91" y="105"/>
                  </a:lnTo>
                  <a:lnTo>
                    <a:pt x="97" y="113"/>
                  </a:lnTo>
                  <a:lnTo>
                    <a:pt x="103" y="121"/>
                  </a:lnTo>
                  <a:lnTo>
                    <a:pt x="109" y="128"/>
                  </a:lnTo>
                  <a:lnTo>
                    <a:pt x="114" y="136"/>
                  </a:lnTo>
                  <a:lnTo>
                    <a:pt x="118" y="144"/>
                  </a:lnTo>
                  <a:lnTo>
                    <a:pt x="124" y="151"/>
                  </a:lnTo>
                  <a:lnTo>
                    <a:pt x="126" y="161"/>
                  </a:lnTo>
                  <a:lnTo>
                    <a:pt x="128" y="170"/>
                  </a:lnTo>
                  <a:lnTo>
                    <a:pt x="130" y="182"/>
                  </a:lnTo>
                  <a:lnTo>
                    <a:pt x="130" y="182"/>
                  </a:lnTo>
                  <a:lnTo>
                    <a:pt x="130" y="191"/>
                  </a:lnTo>
                  <a:lnTo>
                    <a:pt x="128" y="203"/>
                  </a:lnTo>
                  <a:lnTo>
                    <a:pt x="128" y="214"/>
                  </a:lnTo>
                  <a:lnTo>
                    <a:pt x="126" y="226"/>
                  </a:lnTo>
                  <a:lnTo>
                    <a:pt x="124" y="235"/>
                  </a:lnTo>
                  <a:lnTo>
                    <a:pt x="122" y="247"/>
                  </a:lnTo>
                  <a:lnTo>
                    <a:pt x="120" y="256"/>
                  </a:lnTo>
                  <a:lnTo>
                    <a:pt x="118" y="268"/>
                  </a:lnTo>
                  <a:lnTo>
                    <a:pt x="116" y="277"/>
                  </a:lnTo>
                  <a:lnTo>
                    <a:pt x="114" y="289"/>
                  </a:lnTo>
                  <a:lnTo>
                    <a:pt x="112" y="298"/>
                  </a:lnTo>
                  <a:lnTo>
                    <a:pt x="111" y="310"/>
                  </a:lnTo>
                  <a:lnTo>
                    <a:pt x="111" y="321"/>
                  </a:lnTo>
                  <a:lnTo>
                    <a:pt x="109" y="332"/>
                  </a:lnTo>
                  <a:lnTo>
                    <a:pt x="109" y="346"/>
                  </a:lnTo>
                  <a:lnTo>
                    <a:pt x="109" y="357"/>
                  </a:lnTo>
                  <a:lnTo>
                    <a:pt x="109" y="357"/>
                  </a:lnTo>
                  <a:lnTo>
                    <a:pt x="109" y="363"/>
                  </a:lnTo>
                  <a:lnTo>
                    <a:pt x="111" y="369"/>
                  </a:lnTo>
                  <a:lnTo>
                    <a:pt x="112" y="374"/>
                  </a:lnTo>
                  <a:lnTo>
                    <a:pt x="116" y="380"/>
                  </a:lnTo>
                  <a:lnTo>
                    <a:pt x="118" y="386"/>
                  </a:lnTo>
                  <a:lnTo>
                    <a:pt x="122" y="390"/>
                  </a:lnTo>
                  <a:lnTo>
                    <a:pt x="126" y="392"/>
                  </a:lnTo>
                  <a:lnTo>
                    <a:pt x="130" y="393"/>
                  </a:lnTo>
                  <a:lnTo>
                    <a:pt x="130" y="393"/>
                  </a:lnTo>
                  <a:lnTo>
                    <a:pt x="122" y="395"/>
                  </a:lnTo>
                  <a:lnTo>
                    <a:pt x="116" y="397"/>
                  </a:lnTo>
                  <a:lnTo>
                    <a:pt x="109" y="401"/>
                  </a:lnTo>
                  <a:lnTo>
                    <a:pt x="105" y="403"/>
                  </a:lnTo>
                  <a:lnTo>
                    <a:pt x="99" y="405"/>
                  </a:lnTo>
                  <a:lnTo>
                    <a:pt x="91" y="407"/>
                  </a:lnTo>
                  <a:lnTo>
                    <a:pt x="86" y="407"/>
                  </a:lnTo>
                  <a:lnTo>
                    <a:pt x="78" y="407"/>
                  </a:lnTo>
                  <a:lnTo>
                    <a:pt x="78" y="407"/>
                  </a:lnTo>
                  <a:lnTo>
                    <a:pt x="70" y="405"/>
                  </a:lnTo>
                  <a:lnTo>
                    <a:pt x="63" y="401"/>
                  </a:lnTo>
                  <a:lnTo>
                    <a:pt x="55" y="393"/>
                  </a:lnTo>
                  <a:lnTo>
                    <a:pt x="48" y="384"/>
                  </a:lnTo>
                  <a:lnTo>
                    <a:pt x="42" y="372"/>
                  </a:lnTo>
                  <a:lnTo>
                    <a:pt x="36" y="363"/>
                  </a:lnTo>
                  <a:lnTo>
                    <a:pt x="32" y="352"/>
                  </a:lnTo>
                  <a:lnTo>
                    <a:pt x="32" y="342"/>
                  </a:lnTo>
                  <a:lnTo>
                    <a:pt x="32" y="342"/>
                  </a:lnTo>
                  <a:lnTo>
                    <a:pt x="32" y="336"/>
                  </a:lnTo>
                  <a:lnTo>
                    <a:pt x="32" y="332"/>
                  </a:lnTo>
                  <a:lnTo>
                    <a:pt x="34" y="329"/>
                  </a:lnTo>
                  <a:lnTo>
                    <a:pt x="36" y="325"/>
                  </a:lnTo>
                  <a:lnTo>
                    <a:pt x="38" y="321"/>
                  </a:lnTo>
                  <a:lnTo>
                    <a:pt x="40" y="317"/>
                  </a:lnTo>
                  <a:lnTo>
                    <a:pt x="40" y="313"/>
                  </a:lnTo>
                  <a:lnTo>
                    <a:pt x="40" y="311"/>
                  </a:lnTo>
                  <a:lnTo>
                    <a:pt x="40" y="311"/>
                  </a:lnTo>
                  <a:lnTo>
                    <a:pt x="40" y="308"/>
                  </a:lnTo>
                  <a:lnTo>
                    <a:pt x="40" y="304"/>
                  </a:lnTo>
                  <a:lnTo>
                    <a:pt x="40" y="302"/>
                  </a:lnTo>
                  <a:lnTo>
                    <a:pt x="40" y="302"/>
                  </a:lnTo>
                  <a:lnTo>
                    <a:pt x="40" y="300"/>
                  </a:lnTo>
                  <a:lnTo>
                    <a:pt x="40" y="298"/>
                  </a:lnTo>
                  <a:lnTo>
                    <a:pt x="40" y="296"/>
                  </a:lnTo>
                  <a:lnTo>
                    <a:pt x="40" y="292"/>
                  </a:lnTo>
                  <a:lnTo>
                    <a:pt x="40" y="292"/>
                  </a:lnTo>
                  <a:lnTo>
                    <a:pt x="40" y="290"/>
                  </a:lnTo>
                  <a:lnTo>
                    <a:pt x="42" y="287"/>
                  </a:lnTo>
                  <a:lnTo>
                    <a:pt x="42" y="285"/>
                  </a:lnTo>
                  <a:lnTo>
                    <a:pt x="42" y="279"/>
                  </a:lnTo>
                  <a:lnTo>
                    <a:pt x="44" y="275"/>
                  </a:lnTo>
                  <a:lnTo>
                    <a:pt x="44" y="271"/>
                  </a:lnTo>
                  <a:lnTo>
                    <a:pt x="44" y="268"/>
                  </a:lnTo>
                  <a:lnTo>
                    <a:pt x="46" y="262"/>
                  </a:lnTo>
                  <a:lnTo>
                    <a:pt x="46" y="258"/>
                  </a:lnTo>
                  <a:lnTo>
                    <a:pt x="48" y="252"/>
                  </a:lnTo>
                  <a:lnTo>
                    <a:pt x="48" y="247"/>
                  </a:lnTo>
                  <a:lnTo>
                    <a:pt x="48" y="243"/>
                  </a:lnTo>
                  <a:lnTo>
                    <a:pt x="48" y="237"/>
                  </a:lnTo>
                  <a:lnTo>
                    <a:pt x="49" y="233"/>
                  </a:lnTo>
                  <a:lnTo>
                    <a:pt x="49" y="229"/>
                  </a:lnTo>
                  <a:lnTo>
                    <a:pt x="49" y="224"/>
                  </a:lnTo>
                  <a:lnTo>
                    <a:pt x="49" y="224"/>
                  </a:lnTo>
                  <a:lnTo>
                    <a:pt x="48" y="218"/>
                  </a:lnTo>
                  <a:lnTo>
                    <a:pt x="46" y="212"/>
                  </a:lnTo>
                  <a:lnTo>
                    <a:pt x="42" y="208"/>
                  </a:lnTo>
                  <a:lnTo>
                    <a:pt x="40" y="205"/>
                  </a:lnTo>
                  <a:lnTo>
                    <a:pt x="36" y="203"/>
                  </a:lnTo>
                  <a:lnTo>
                    <a:pt x="32" y="199"/>
                  </a:lnTo>
                  <a:lnTo>
                    <a:pt x="30" y="195"/>
                  </a:lnTo>
                  <a:lnTo>
                    <a:pt x="28" y="189"/>
                  </a:lnTo>
                  <a:lnTo>
                    <a:pt x="28" y="189"/>
                  </a:lnTo>
                  <a:lnTo>
                    <a:pt x="28" y="184"/>
                  </a:lnTo>
                  <a:lnTo>
                    <a:pt x="30" y="178"/>
                  </a:lnTo>
                  <a:lnTo>
                    <a:pt x="32" y="174"/>
                  </a:lnTo>
                  <a:lnTo>
                    <a:pt x="34" y="168"/>
                  </a:lnTo>
                  <a:lnTo>
                    <a:pt x="38" y="165"/>
                  </a:lnTo>
                  <a:lnTo>
                    <a:pt x="38" y="161"/>
                  </a:lnTo>
                  <a:lnTo>
                    <a:pt x="40" y="157"/>
                  </a:lnTo>
                  <a:lnTo>
                    <a:pt x="40" y="151"/>
                  </a:lnTo>
                  <a:lnTo>
                    <a:pt x="40" y="151"/>
                  </a:lnTo>
                  <a:lnTo>
                    <a:pt x="40" y="147"/>
                  </a:lnTo>
                  <a:lnTo>
                    <a:pt x="38" y="142"/>
                  </a:lnTo>
                  <a:lnTo>
                    <a:pt x="34" y="140"/>
                  </a:lnTo>
                  <a:lnTo>
                    <a:pt x="32" y="134"/>
                  </a:lnTo>
                  <a:lnTo>
                    <a:pt x="28" y="130"/>
                  </a:lnTo>
                  <a:lnTo>
                    <a:pt x="27" y="124"/>
                  </a:lnTo>
                  <a:lnTo>
                    <a:pt x="25" y="119"/>
                  </a:lnTo>
                  <a:lnTo>
                    <a:pt x="23" y="113"/>
                  </a:lnTo>
                  <a:lnTo>
                    <a:pt x="23" y="113"/>
                  </a:lnTo>
                  <a:lnTo>
                    <a:pt x="23" y="105"/>
                  </a:lnTo>
                  <a:lnTo>
                    <a:pt x="23" y="100"/>
                  </a:lnTo>
                  <a:lnTo>
                    <a:pt x="23" y="96"/>
                  </a:lnTo>
                  <a:lnTo>
                    <a:pt x="23" y="92"/>
                  </a:lnTo>
                  <a:lnTo>
                    <a:pt x="23" y="90"/>
                  </a:lnTo>
                  <a:lnTo>
                    <a:pt x="23" y="88"/>
                  </a:lnTo>
                  <a:lnTo>
                    <a:pt x="23" y="84"/>
                  </a:lnTo>
                  <a:lnTo>
                    <a:pt x="23" y="81"/>
                  </a:lnTo>
                  <a:lnTo>
                    <a:pt x="23" y="81"/>
                  </a:lnTo>
                  <a:lnTo>
                    <a:pt x="23" y="75"/>
                  </a:lnTo>
                  <a:lnTo>
                    <a:pt x="19" y="69"/>
                  </a:lnTo>
                  <a:lnTo>
                    <a:pt x="15" y="63"/>
                  </a:lnTo>
                  <a:lnTo>
                    <a:pt x="11" y="58"/>
                  </a:lnTo>
                  <a:lnTo>
                    <a:pt x="8" y="52"/>
                  </a:lnTo>
                  <a:lnTo>
                    <a:pt x="4" y="44"/>
                  </a:lnTo>
                  <a:lnTo>
                    <a:pt x="0" y="37"/>
                  </a:lnTo>
                  <a:lnTo>
                    <a:pt x="0" y="27"/>
                  </a:lnTo>
                  <a:lnTo>
                    <a:pt x="0" y="27"/>
                  </a:lnTo>
                  <a:lnTo>
                    <a:pt x="0" y="21"/>
                  </a:lnTo>
                  <a:lnTo>
                    <a:pt x="0" y="18"/>
                  </a:lnTo>
                  <a:lnTo>
                    <a:pt x="2" y="14"/>
                  </a:lnTo>
                  <a:lnTo>
                    <a:pt x="2" y="8"/>
                  </a:lnTo>
                  <a:lnTo>
                    <a:pt x="4" y="4"/>
                  </a:lnTo>
                  <a:lnTo>
                    <a:pt x="8" y="2"/>
                  </a:lnTo>
                  <a:lnTo>
                    <a:pt x="9" y="0"/>
                  </a:lnTo>
                  <a:lnTo>
                    <a:pt x="13" y="0"/>
                  </a:lnTo>
                  <a:lnTo>
                    <a:pt x="13" y="0"/>
                  </a:lnTo>
                  <a:lnTo>
                    <a:pt x="21" y="0"/>
                  </a:lnTo>
                  <a:lnTo>
                    <a:pt x="28" y="2"/>
                  </a:lnTo>
                  <a:lnTo>
                    <a:pt x="34" y="6"/>
                  </a:lnTo>
                  <a:lnTo>
                    <a:pt x="40" y="8"/>
                  </a:lnTo>
                  <a:lnTo>
                    <a:pt x="48" y="12"/>
                  </a:lnTo>
                  <a:lnTo>
                    <a:pt x="53" y="16"/>
                  </a:lnTo>
                  <a:lnTo>
                    <a:pt x="61" y="18"/>
                  </a:lnTo>
                  <a:lnTo>
                    <a:pt x="70" y="18"/>
                  </a:lnTo>
                  <a:lnTo>
                    <a:pt x="67" y="23"/>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2" name="Freeform 236"/>
            <p:cNvSpPr>
              <a:spLocks/>
            </p:cNvSpPr>
            <p:nvPr/>
          </p:nvSpPr>
          <p:spPr bwMode="gray">
            <a:xfrm>
              <a:off x="1419" y="1862"/>
              <a:ext cx="192" cy="281"/>
            </a:xfrm>
            <a:custGeom>
              <a:avLst/>
              <a:gdLst/>
              <a:ahLst/>
              <a:cxnLst>
                <a:cxn ang="0">
                  <a:pos x="246" y="7"/>
                </a:cxn>
                <a:cxn ang="0">
                  <a:pos x="227" y="19"/>
                </a:cxn>
                <a:cxn ang="0">
                  <a:pos x="202" y="15"/>
                </a:cxn>
                <a:cxn ang="0">
                  <a:pos x="68" y="0"/>
                </a:cxn>
                <a:cxn ang="0">
                  <a:pos x="47" y="9"/>
                </a:cxn>
                <a:cxn ang="0">
                  <a:pos x="38" y="34"/>
                </a:cxn>
                <a:cxn ang="0">
                  <a:pos x="38" y="57"/>
                </a:cxn>
                <a:cxn ang="0">
                  <a:pos x="38" y="74"/>
                </a:cxn>
                <a:cxn ang="0">
                  <a:pos x="38" y="97"/>
                </a:cxn>
                <a:cxn ang="0">
                  <a:pos x="42" y="120"/>
                </a:cxn>
                <a:cxn ang="0">
                  <a:pos x="49" y="150"/>
                </a:cxn>
                <a:cxn ang="0">
                  <a:pos x="57" y="177"/>
                </a:cxn>
                <a:cxn ang="0">
                  <a:pos x="59" y="202"/>
                </a:cxn>
                <a:cxn ang="0">
                  <a:pos x="51" y="230"/>
                </a:cxn>
                <a:cxn ang="0">
                  <a:pos x="36" y="253"/>
                </a:cxn>
                <a:cxn ang="0">
                  <a:pos x="26" y="278"/>
                </a:cxn>
                <a:cxn ang="0">
                  <a:pos x="28" y="303"/>
                </a:cxn>
                <a:cxn ang="0">
                  <a:pos x="24" y="330"/>
                </a:cxn>
                <a:cxn ang="0">
                  <a:pos x="5" y="349"/>
                </a:cxn>
                <a:cxn ang="0">
                  <a:pos x="1" y="377"/>
                </a:cxn>
                <a:cxn ang="0">
                  <a:pos x="7" y="406"/>
                </a:cxn>
                <a:cxn ang="0">
                  <a:pos x="22" y="425"/>
                </a:cxn>
                <a:cxn ang="0">
                  <a:pos x="36" y="444"/>
                </a:cxn>
                <a:cxn ang="0">
                  <a:pos x="36" y="461"/>
                </a:cxn>
                <a:cxn ang="0">
                  <a:pos x="38" y="482"/>
                </a:cxn>
                <a:cxn ang="0">
                  <a:pos x="74" y="501"/>
                </a:cxn>
                <a:cxn ang="0">
                  <a:pos x="101" y="509"/>
                </a:cxn>
                <a:cxn ang="0">
                  <a:pos x="125" y="501"/>
                </a:cxn>
                <a:cxn ang="0">
                  <a:pos x="145" y="486"/>
                </a:cxn>
                <a:cxn ang="0">
                  <a:pos x="167" y="473"/>
                </a:cxn>
                <a:cxn ang="0">
                  <a:pos x="196" y="471"/>
                </a:cxn>
                <a:cxn ang="0">
                  <a:pos x="219" y="467"/>
                </a:cxn>
                <a:cxn ang="0">
                  <a:pos x="246" y="444"/>
                </a:cxn>
                <a:cxn ang="0">
                  <a:pos x="272" y="431"/>
                </a:cxn>
                <a:cxn ang="0">
                  <a:pos x="299" y="429"/>
                </a:cxn>
                <a:cxn ang="0">
                  <a:pos x="322" y="427"/>
                </a:cxn>
                <a:cxn ang="0">
                  <a:pos x="339" y="408"/>
                </a:cxn>
                <a:cxn ang="0">
                  <a:pos x="309" y="385"/>
                </a:cxn>
                <a:cxn ang="0">
                  <a:pos x="293" y="343"/>
                </a:cxn>
                <a:cxn ang="0">
                  <a:pos x="299" y="322"/>
                </a:cxn>
                <a:cxn ang="0">
                  <a:pos x="301" y="309"/>
                </a:cxn>
                <a:cxn ang="0">
                  <a:pos x="301" y="299"/>
                </a:cxn>
                <a:cxn ang="0">
                  <a:pos x="303" y="288"/>
                </a:cxn>
                <a:cxn ang="0">
                  <a:pos x="305" y="269"/>
                </a:cxn>
                <a:cxn ang="0">
                  <a:pos x="309" y="244"/>
                </a:cxn>
                <a:cxn ang="0">
                  <a:pos x="310" y="225"/>
                </a:cxn>
                <a:cxn ang="0">
                  <a:pos x="297" y="204"/>
                </a:cxn>
                <a:cxn ang="0">
                  <a:pos x="289" y="185"/>
                </a:cxn>
                <a:cxn ang="0">
                  <a:pos x="299" y="162"/>
                </a:cxn>
                <a:cxn ang="0">
                  <a:pos x="299" y="143"/>
                </a:cxn>
                <a:cxn ang="0">
                  <a:pos x="286" y="120"/>
                </a:cxn>
                <a:cxn ang="0">
                  <a:pos x="284" y="97"/>
                </a:cxn>
                <a:cxn ang="0">
                  <a:pos x="284" y="82"/>
                </a:cxn>
                <a:cxn ang="0">
                  <a:pos x="272" y="59"/>
                </a:cxn>
                <a:cxn ang="0">
                  <a:pos x="261" y="28"/>
                </a:cxn>
                <a:cxn ang="0">
                  <a:pos x="261" y="17"/>
                </a:cxn>
              </a:cxnLst>
              <a:rect l="0" t="0" r="r" b="b"/>
              <a:pathLst>
                <a:path w="339" h="509">
                  <a:moveTo>
                    <a:pt x="267" y="13"/>
                  </a:moveTo>
                  <a:lnTo>
                    <a:pt x="267" y="13"/>
                  </a:lnTo>
                  <a:lnTo>
                    <a:pt x="259" y="7"/>
                  </a:lnTo>
                  <a:lnTo>
                    <a:pt x="251" y="5"/>
                  </a:lnTo>
                  <a:lnTo>
                    <a:pt x="246" y="7"/>
                  </a:lnTo>
                  <a:lnTo>
                    <a:pt x="240" y="9"/>
                  </a:lnTo>
                  <a:lnTo>
                    <a:pt x="236" y="13"/>
                  </a:lnTo>
                  <a:lnTo>
                    <a:pt x="232" y="15"/>
                  </a:lnTo>
                  <a:lnTo>
                    <a:pt x="228" y="19"/>
                  </a:lnTo>
                  <a:lnTo>
                    <a:pt x="227" y="19"/>
                  </a:lnTo>
                  <a:lnTo>
                    <a:pt x="227" y="19"/>
                  </a:lnTo>
                  <a:lnTo>
                    <a:pt x="221" y="19"/>
                  </a:lnTo>
                  <a:lnTo>
                    <a:pt x="215" y="19"/>
                  </a:lnTo>
                  <a:lnTo>
                    <a:pt x="209" y="17"/>
                  </a:lnTo>
                  <a:lnTo>
                    <a:pt x="202" y="15"/>
                  </a:lnTo>
                  <a:lnTo>
                    <a:pt x="196" y="15"/>
                  </a:lnTo>
                  <a:lnTo>
                    <a:pt x="188" y="13"/>
                  </a:lnTo>
                  <a:lnTo>
                    <a:pt x="179" y="13"/>
                  </a:lnTo>
                  <a:lnTo>
                    <a:pt x="167" y="13"/>
                  </a:lnTo>
                  <a:lnTo>
                    <a:pt x="68" y="0"/>
                  </a:lnTo>
                  <a:lnTo>
                    <a:pt x="68" y="0"/>
                  </a:lnTo>
                  <a:lnTo>
                    <a:pt x="62" y="0"/>
                  </a:lnTo>
                  <a:lnTo>
                    <a:pt x="57" y="3"/>
                  </a:lnTo>
                  <a:lnTo>
                    <a:pt x="51" y="5"/>
                  </a:lnTo>
                  <a:lnTo>
                    <a:pt x="47" y="9"/>
                  </a:lnTo>
                  <a:lnTo>
                    <a:pt x="43" y="15"/>
                  </a:lnTo>
                  <a:lnTo>
                    <a:pt x="42" y="21"/>
                  </a:lnTo>
                  <a:lnTo>
                    <a:pt x="40" y="26"/>
                  </a:lnTo>
                  <a:lnTo>
                    <a:pt x="38" y="34"/>
                  </a:lnTo>
                  <a:lnTo>
                    <a:pt x="38" y="34"/>
                  </a:lnTo>
                  <a:lnTo>
                    <a:pt x="38" y="40"/>
                  </a:lnTo>
                  <a:lnTo>
                    <a:pt x="38" y="45"/>
                  </a:lnTo>
                  <a:lnTo>
                    <a:pt x="38" y="49"/>
                  </a:lnTo>
                  <a:lnTo>
                    <a:pt x="38" y="53"/>
                  </a:lnTo>
                  <a:lnTo>
                    <a:pt x="38" y="57"/>
                  </a:lnTo>
                  <a:lnTo>
                    <a:pt x="38" y="61"/>
                  </a:lnTo>
                  <a:lnTo>
                    <a:pt x="38" y="64"/>
                  </a:lnTo>
                  <a:lnTo>
                    <a:pt x="38" y="68"/>
                  </a:lnTo>
                  <a:lnTo>
                    <a:pt x="38" y="70"/>
                  </a:lnTo>
                  <a:lnTo>
                    <a:pt x="38" y="74"/>
                  </a:lnTo>
                  <a:lnTo>
                    <a:pt x="38" y="78"/>
                  </a:lnTo>
                  <a:lnTo>
                    <a:pt x="38" y="82"/>
                  </a:lnTo>
                  <a:lnTo>
                    <a:pt x="38" y="85"/>
                  </a:lnTo>
                  <a:lnTo>
                    <a:pt x="38" y="91"/>
                  </a:lnTo>
                  <a:lnTo>
                    <a:pt x="38" y="97"/>
                  </a:lnTo>
                  <a:lnTo>
                    <a:pt x="38" y="103"/>
                  </a:lnTo>
                  <a:lnTo>
                    <a:pt x="38" y="103"/>
                  </a:lnTo>
                  <a:lnTo>
                    <a:pt x="40" y="108"/>
                  </a:lnTo>
                  <a:lnTo>
                    <a:pt x="40" y="114"/>
                  </a:lnTo>
                  <a:lnTo>
                    <a:pt x="42" y="120"/>
                  </a:lnTo>
                  <a:lnTo>
                    <a:pt x="42" y="127"/>
                  </a:lnTo>
                  <a:lnTo>
                    <a:pt x="43" y="133"/>
                  </a:lnTo>
                  <a:lnTo>
                    <a:pt x="45" y="139"/>
                  </a:lnTo>
                  <a:lnTo>
                    <a:pt x="47" y="143"/>
                  </a:lnTo>
                  <a:lnTo>
                    <a:pt x="49" y="150"/>
                  </a:lnTo>
                  <a:lnTo>
                    <a:pt x="51" y="154"/>
                  </a:lnTo>
                  <a:lnTo>
                    <a:pt x="53" y="160"/>
                  </a:lnTo>
                  <a:lnTo>
                    <a:pt x="55" y="166"/>
                  </a:lnTo>
                  <a:lnTo>
                    <a:pt x="57" y="171"/>
                  </a:lnTo>
                  <a:lnTo>
                    <a:pt x="57" y="177"/>
                  </a:lnTo>
                  <a:lnTo>
                    <a:pt x="59" y="185"/>
                  </a:lnTo>
                  <a:lnTo>
                    <a:pt x="59" y="190"/>
                  </a:lnTo>
                  <a:lnTo>
                    <a:pt x="59" y="196"/>
                  </a:lnTo>
                  <a:lnTo>
                    <a:pt x="59" y="196"/>
                  </a:lnTo>
                  <a:lnTo>
                    <a:pt x="59" y="202"/>
                  </a:lnTo>
                  <a:lnTo>
                    <a:pt x="59" y="209"/>
                  </a:lnTo>
                  <a:lnTo>
                    <a:pt x="57" y="215"/>
                  </a:lnTo>
                  <a:lnTo>
                    <a:pt x="55" y="221"/>
                  </a:lnTo>
                  <a:lnTo>
                    <a:pt x="53" y="225"/>
                  </a:lnTo>
                  <a:lnTo>
                    <a:pt x="51" y="230"/>
                  </a:lnTo>
                  <a:lnTo>
                    <a:pt x="47" y="236"/>
                  </a:lnTo>
                  <a:lnTo>
                    <a:pt x="45" y="240"/>
                  </a:lnTo>
                  <a:lnTo>
                    <a:pt x="42" y="246"/>
                  </a:lnTo>
                  <a:lnTo>
                    <a:pt x="40" y="249"/>
                  </a:lnTo>
                  <a:lnTo>
                    <a:pt x="36" y="253"/>
                  </a:lnTo>
                  <a:lnTo>
                    <a:pt x="34" y="259"/>
                  </a:lnTo>
                  <a:lnTo>
                    <a:pt x="32" y="263"/>
                  </a:lnTo>
                  <a:lnTo>
                    <a:pt x="30" y="269"/>
                  </a:lnTo>
                  <a:lnTo>
                    <a:pt x="28" y="274"/>
                  </a:lnTo>
                  <a:lnTo>
                    <a:pt x="26" y="278"/>
                  </a:lnTo>
                  <a:lnTo>
                    <a:pt x="26" y="278"/>
                  </a:lnTo>
                  <a:lnTo>
                    <a:pt x="26" y="284"/>
                  </a:lnTo>
                  <a:lnTo>
                    <a:pt x="26" y="290"/>
                  </a:lnTo>
                  <a:lnTo>
                    <a:pt x="26" y="297"/>
                  </a:lnTo>
                  <a:lnTo>
                    <a:pt x="28" y="303"/>
                  </a:lnTo>
                  <a:lnTo>
                    <a:pt x="28" y="311"/>
                  </a:lnTo>
                  <a:lnTo>
                    <a:pt x="28" y="318"/>
                  </a:lnTo>
                  <a:lnTo>
                    <a:pt x="26" y="324"/>
                  </a:lnTo>
                  <a:lnTo>
                    <a:pt x="24" y="330"/>
                  </a:lnTo>
                  <a:lnTo>
                    <a:pt x="24" y="330"/>
                  </a:lnTo>
                  <a:lnTo>
                    <a:pt x="21" y="335"/>
                  </a:lnTo>
                  <a:lnTo>
                    <a:pt x="17" y="339"/>
                  </a:lnTo>
                  <a:lnTo>
                    <a:pt x="13" y="343"/>
                  </a:lnTo>
                  <a:lnTo>
                    <a:pt x="9" y="345"/>
                  </a:lnTo>
                  <a:lnTo>
                    <a:pt x="5" y="349"/>
                  </a:lnTo>
                  <a:lnTo>
                    <a:pt x="3" y="354"/>
                  </a:lnTo>
                  <a:lnTo>
                    <a:pt x="1" y="360"/>
                  </a:lnTo>
                  <a:lnTo>
                    <a:pt x="0" y="372"/>
                  </a:lnTo>
                  <a:lnTo>
                    <a:pt x="0" y="372"/>
                  </a:lnTo>
                  <a:lnTo>
                    <a:pt x="1" y="377"/>
                  </a:lnTo>
                  <a:lnTo>
                    <a:pt x="1" y="385"/>
                  </a:lnTo>
                  <a:lnTo>
                    <a:pt x="3" y="391"/>
                  </a:lnTo>
                  <a:lnTo>
                    <a:pt x="3" y="396"/>
                  </a:lnTo>
                  <a:lnTo>
                    <a:pt x="5" y="402"/>
                  </a:lnTo>
                  <a:lnTo>
                    <a:pt x="7" y="406"/>
                  </a:lnTo>
                  <a:lnTo>
                    <a:pt x="11" y="410"/>
                  </a:lnTo>
                  <a:lnTo>
                    <a:pt x="13" y="414"/>
                  </a:lnTo>
                  <a:lnTo>
                    <a:pt x="17" y="417"/>
                  </a:lnTo>
                  <a:lnTo>
                    <a:pt x="19" y="421"/>
                  </a:lnTo>
                  <a:lnTo>
                    <a:pt x="22" y="425"/>
                  </a:lnTo>
                  <a:lnTo>
                    <a:pt x="24" y="429"/>
                  </a:lnTo>
                  <a:lnTo>
                    <a:pt x="28" y="433"/>
                  </a:lnTo>
                  <a:lnTo>
                    <a:pt x="30" y="436"/>
                  </a:lnTo>
                  <a:lnTo>
                    <a:pt x="34" y="440"/>
                  </a:lnTo>
                  <a:lnTo>
                    <a:pt x="36" y="444"/>
                  </a:lnTo>
                  <a:lnTo>
                    <a:pt x="36" y="444"/>
                  </a:lnTo>
                  <a:lnTo>
                    <a:pt x="36" y="446"/>
                  </a:lnTo>
                  <a:lnTo>
                    <a:pt x="36" y="450"/>
                  </a:lnTo>
                  <a:lnTo>
                    <a:pt x="36" y="456"/>
                  </a:lnTo>
                  <a:lnTo>
                    <a:pt x="36" y="461"/>
                  </a:lnTo>
                  <a:lnTo>
                    <a:pt x="36" y="467"/>
                  </a:lnTo>
                  <a:lnTo>
                    <a:pt x="36" y="473"/>
                  </a:lnTo>
                  <a:lnTo>
                    <a:pt x="38" y="478"/>
                  </a:lnTo>
                  <a:lnTo>
                    <a:pt x="38" y="482"/>
                  </a:lnTo>
                  <a:lnTo>
                    <a:pt x="38" y="482"/>
                  </a:lnTo>
                  <a:lnTo>
                    <a:pt x="42" y="484"/>
                  </a:lnTo>
                  <a:lnTo>
                    <a:pt x="47" y="488"/>
                  </a:lnTo>
                  <a:lnTo>
                    <a:pt x="55" y="492"/>
                  </a:lnTo>
                  <a:lnTo>
                    <a:pt x="64" y="497"/>
                  </a:lnTo>
                  <a:lnTo>
                    <a:pt x="74" y="501"/>
                  </a:lnTo>
                  <a:lnTo>
                    <a:pt x="83" y="505"/>
                  </a:lnTo>
                  <a:lnTo>
                    <a:pt x="91" y="507"/>
                  </a:lnTo>
                  <a:lnTo>
                    <a:pt x="95" y="509"/>
                  </a:lnTo>
                  <a:lnTo>
                    <a:pt x="95" y="509"/>
                  </a:lnTo>
                  <a:lnTo>
                    <a:pt x="101" y="509"/>
                  </a:lnTo>
                  <a:lnTo>
                    <a:pt x="106" y="507"/>
                  </a:lnTo>
                  <a:lnTo>
                    <a:pt x="112" y="507"/>
                  </a:lnTo>
                  <a:lnTo>
                    <a:pt x="116" y="505"/>
                  </a:lnTo>
                  <a:lnTo>
                    <a:pt x="122" y="503"/>
                  </a:lnTo>
                  <a:lnTo>
                    <a:pt x="125" y="501"/>
                  </a:lnTo>
                  <a:lnTo>
                    <a:pt x="129" y="497"/>
                  </a:lnTo>
                  <a:lnTo>
                    <a:pt x="133" y="496"/>
                  </a:lnTo>
                  <a:lnTo>
                    <a:pt x="137" y="492"/>
                  </a:lnTo>
                  <a:lnTo>
                    <a:pt x="141" y="488"/>
                  </a:lnTo>
                  <a:lnTo>
                    <a:pt x="145" y="486"/>
                  </a:lnTo>
                  <a:lnTo>
                    <a:pt x="148" y="482"/>
                  </a:lnTo>
                  <a:lnTo>
                    <a:pt x="154" y="480"/>
                  </a:lnTo>
                  <a:lnTo>
                    <a:pt x="158" y="478"/>
                  </a:lnTo>
                  <a:lnTo>
                    <a:pt x="164" y="477"/>
                  </a:lnTo>
                  <a:lnTo>
                    <a:pt x="167" y="473"/>
                  </a:lnTo>
                  <a:lnTo>
                    <a:pt x="167" y="473"/>
                  </a:lnTo>
                  <a:lnTo>
                    <a:pt x="177" y="471"/>
                  </a:lnTo>
                  <a:lnTo>
                    <a:pt x="183" y="471"/>
                  </a:lnTo>
                  <a:lnTo>
                    <a:pt x="190" y="471"/>
                  </a:lnTo>
                  <a:lnTo>
                    <a:pt x="196" y="471"/>
                  </a:lnTo>
                  <a:lnTo>
                    <a:pt x="202" y="473"/>
                  </a:lnTo>
                  <a:lnTo>
                    <a:pt x="207" y="471"/>
                  </a:lnTo>
                  <a:lnTo>
                    <a:pt x="213" y="471"/>
                  </a:lnTo>
                  <a:lnTo>
                    <a:pt x="219" y="467"/>
                  </a:lnTo>
                  <a:lnTo>
                    <a:pt x="219" y="467"/>
                  </a:lnTo>
                  <a:lnTo>
                    <a:pt x="225" y="463"/>
                  </a:lnTo>
                  <a:lnTo>
                    <a:pt x="230" y="459"/>
                  </a:lnTo>
                  <a:lnTo>
                    <a:pt x="234" y="456"/>
                  </a:lnTo>
                  <a:lnTo>
                    <a:pt x="240" y="450"/>
                  </a:lnTo>
                  <a:lnTo>
                    <a:pt x="246" y="444"/>
                  </a:lnTo>
                  <a:lnTo>
                    <a:pt x="251" y="440"/>
                  </a:lnTo>
                  <a:lnTo>
                    <a:pt x="259" y="436"/>
                  </a:lnTo>
                  <a:lnTo>
                    <a:pt x="267" y="433"/>
                  </a:lnTo>
                  <a:lnTo>
                    <a:pt x="267" y="433"/>
                  </a:lnTo>
                  <a:lnTo>
                    <a:pt x="272" y="431"/>
                  </a:lnTo>
                  <a:lnTo>
                    <a:pt x="278" y="429"/>
                  </a:lnTo>
                  <a:lnTo>
                    <a:pt x="284" y="429"/>
                  </a:lnTo>
                  <a:lnTo>
                    <a:pt x="289" y="429"/>
                  </a:lnTo>
                  <a:lnTo>
                    <a:pt x="295" y="429"/>
                  </a:lnTo>
                  <a:lnTo>
                    <a:pt x="299" y="429"/>
                  </a:lnTo>
                  <a:lnTo>
                    <a:pt x="305" y="429"/>
                  </a:lnTo>
                  <a:lnTo>
                    <a:pt x="309" y="429"/>
                  </a:lnTo>
                  <a:lnTo>
                    <a:pt x="314" y="429"/>
                  </a:lnTo>
                  <a:lnTo>
                    <a:pt x="318" y="429"/>
                  </a:lnTo>
                  <a:lnTo>
                    <a:pt x="322" y="427"/>
                  </a:lnTo>
                  <a:lnTo>
                    <a:pt x="326" y="427"/>
                  </a:lnTo>
                  <a:lnTo>
                    <a:pt x="330" y="423"/>
                  </a:lnTo>
                  <a:lnTo>
                    <a:pt x="333" y="419"/>
                  </a:lnTo>
                  <a:lnTo>
                    <a:pt x="335" y="415"/>
                  </a:lnTo>
                  <a:lnTo>
                    <a:pt x="339" y="408"/>
                  </a:lnTo>
                  <a:lnTo>
                    <a:pt x="339" y="408"/>
                  </a:lnTo>
                  <a:lnTo>
                    <a:pt x="331" y="406"/>
                  </a:lnTo>
                  <a:lnTo>
                    <a:pt x="324" y="402"/>
                  </a:lnTo>
                  <a:lnTo>
                    <a:pt x="316" y="394"/>
                  </a:lnTo>
                  <a:lnTo>
                    <a:pt x="309" y="385"/>
                  </a:lnTo>
                  <a:lnTo>
                    <a:pt x="303" y="373"/>
                  </a:lnTo>
                  <a:lnTo>
                    <a:pt x="297" y="364"/>
                  </a:lnTo>
                  <a:lnTo>
                    <a:pt x="293" y="353"/>
                  </a:lnTo>
                  <a:lnTo>
                    <a:pt x="293" y="343"/>
                  </a:lnTo>
                  <a:lnTo>
                    <a:pt x="293" y="343"/>
                  </a:lnTo>
                  <a:lnTo>
                    <a:pt x="293" y="337"/>
                  </a:lnTo>
                  <a:lnTo>
                    <a:pt x="293" y="333"/>
                  </a:lnTo>
                  <a:lnTo>
                    <a:pt x="295" y="330"/>
                  </a:lnTo>
                  <a:lnTo>
                    <a:pt x="297" y="326"/>
                  </a:lnTo>
                  <a:lnTo>
                    <a:pt x="299" y="322"/>
                  </a:lnTo>
                  <a:lnTo>
                    <a:pt x="301" y="318"/>
                  </a:lnTo>
                  <a:lnTo>
                    <a:pt x="301" y="314"/>
                  </a:lnTo>
                  <a:lnTo>
                    <a:pt x="301" y="312"/>
                  </a:lnTo>
                  <a:lnTo>
                    <a:pt x="301" y="312"/>
                  </a:lnTo>
                  <a:lnTo>
                    <a:pt x="301" y="309"/>
                  </a:lnTo>
                  <a:lnTo>
                    <a:pt x="301" y="305"/>
                  </a:lnTo>
                  <a:lnTo>
                    <a:pt x="301" y="303"/>
                  </a:lnTo>
                  <a:lnTo>
                    <a:pt x="301" y="303"/>
                  </a:lnTo>
                  <a:lnTo>
                    <a:pt x="301" y="301"/>
                  </a:lnTo>
                  <a:lnTo>
                    <a:pt x="301" y="299"/>
                  </a:lnTo>
                  <a:lnTo>
                    <a:pt x="301" y="297"/>
                  </a:lnTo>
                  <a:lnTo>
                    <a:pt x="301" y="293"/>
                  </a:lnTo>
                  <a:lnTo>
                    <a:pt x="301" y="293"/>
                  </a:lnTo>
                  <a:lnTo>
                    <a:pt x="301" y="291"/>
                  </a:lnTo>
                  <a:lnTo>
                    <a:pt x="303" y="288"/>
                  </a:lnTo>
                  <a:lnTo>
                    <a:pt x="303" y="286"/>
                  </a:lnTo>
                  <a:lnTo>
                    <a:pt x="303" y="280"/>
                  </a:lnTo>
                  <a:lnTo>
                    <a:pt x="305" y="276"/>
                  </a:lnTo>
                  <a:lnTo>
                    <a:pt x="305" y="272"/>
                  </a:lnTo>
                  <a:lnTo>
                    <a:pt x="305" y="269"/>
                  </a:lnTo>
                  <a:lnTo>
                    <a:pt x="307" y="263"/>
                  </a:lnTo>
                  <a:lnTo>
                    <a:pt x="307" y="259"/>
                  </a:lnTo>
                  <a:lnTo>
                    <a:pt x="309" y="253"/>
                  </a:lnTo>
                  <a:lnTo>
                    <a:pt x="309" y="248"/>
                  </a:lnTo>
                  <a:lnTo>
                    <a:pt x="309" y="244"/>
                  </a:lnTo>
                  <a:lnTo>
                    <a:pt x="309" y="238"/>
                  </a:lnTo>
                  <a:lnTo>
                    <a:pt x="310" y="234"/>
                  </a:lnTo>
                  <a:lnTo>
                    <a:pt x="310" y="230"/>
                  </a:lnTo>
                  <a:lnTo>
                    <a:pt x="310" y="225"/>
                  </a:lnTo>
                  <a:lnTo>
                    <a:pt x="310" y="225"/>
                  </a:lnTo>
                  <a:lnTo>
                    <a:pt x="309" y="219"/>
                  </a:lnTo>
                  <a:lnTo>
                    <a:pt x="307" y="213"/>
                  </a:lnTo>
                  <a:lnTo>
                    <a:pt x="303" y="209"/>
                  </a:lnTo>
                  <a:lnTo>
                    <a:pt x="301" y="206"/>
                  </a:lnTo>
                  <a:lnTo>
                    <a:pt x="297" y="204"/>
                  </a:lnTo>
                  <a:lnTo>
                    <a:pt x="293" y="200"/>
                  </a:lnTo>
                  <a:lnTo>
                    <a:pt x="291" y="196"/>
                  </a:lnTo>
                  <a:lnTo>
                    <a:pt x="289" y="190"/>
                  </a:lnTo>
                  <a:lnTo>
                    <a:pt x="289" y="190"/>
                  </a:lnTo>
                  <a:lnTo>
                    <a:pt x="289" y="185"/>
                  </a:lnTo>
                  <a:lnTo>
                    <a:pt x="291" y="179"/>
                  </a:lnTo>
                  <a:lnTo>
                    <a:pt x="293" y="175"/>
                  </a:lnTo>
                  <a:lnTo>
                    <a:pt x="295" y="169"/>
                  </a:lnTo>
                  <a:lnTo>
                    <a:pt x="299" y="166"/>
                  </a:lnTo>
                  <a:lnTo>
                    <a:pt x="299" y="162"/>
                  </a:lnTo>
                  <a:lnTo>
                    <a:pt x="301" y="158"/>
                  </a:lnTo>
                  <a:lnTo>
                    <a:pt x="301" y="152"/>
                  </a:lnTo>
                  <a:lnTo>
                    <a:pt x="301" y="152"/>
                  </a:lnTo>
                  <a:lnTo>
                    <a:pt x="301" y="148"/>
                  </a:lnTo>
                  <a:lnTo>
                    <a:pt x="299" y="143"/>
                  </a:lnTo>
                  <a:lnTo>
                    <a:pt x="295" y="141"/>
                  </a:lnTo>
                  <a:lnTo>
                    <a:pt x="293" y="135"/>
                  </a:lnTo>
                  <a:lnTo>
                    <a:pt x="289" y="131"/>
                  </a:lnTo>
                  <a:lnTo>
                    <a:pt x="288" y="125"/>
                  </a:lnTo>
                  <a:lnTo>
                    <a:pt x="286" y="120"/>
                  </a:lnTo>
                  <a:lnTo>
                    <a:pt x="284" y="114"/>
                  </a:lnTo>
                  <a:lnTo>
                    <a:pt x="284" y="114"/>
                  </a:lnTo>
                  <a:lnTo>
                    <a:pt x="284" y="106"/>
                  </a:lnTo>
                  <a:lnTo>
                    <a:pt x="284" y="101"/>
                  </a:lnTo>
                  <a:lnTo>
                    <a:pt x="284" y="97"/>
                  </a:lnTo>
                  <a:lnTo>
                    <a:pt x="284" y="93"/>
                  </a:lnTo>
                  <a:lnTo>
                    <a:pt x="284" y="91"/>
                  </a:lnTo>
                  <a:lnTo>
                    <a:pt x="284" y="89"/>
                  </a:lnTo>
                  <a:lnTo>
                    <a:pt x="284" y="85"/>
                  </a:lnTo>
                  <a:lnTo>
                    <a:pt x="284" y="82"/>
                  </a:lnTo>
                  <a:lnTo>
                    <a:pt x="284" y="82"/>
                  </a:lnTo>
                  <a:lnTo>
                    <a:pt x="284" y="76"/>
                  </a:lnTo>
                  <a:lnTo>
                    <a:pt x="280" y="70"/>
                  </a:lnTo>
                  <a:lnTo>
                    <a:pt x="276" y="64"/>
                  </a:lnTo>
                  <a:lnTo>
                    <a:pt x="272" y="59"/>
                  </a:lnTo>
                  <a:lnTo>
                    <a:pt x="269" y="53"/>
                  </a:lnTo>
                  <a:lnTo>
                    <a:pt x="265" y="45"/>
                  </a:lnTo>
                  <a:lnTo>
                    <a:pt x="261" y="38"/>
                  </a:lnTo>
                  <a:lnTo>
                    <a:pt x="261" y="28"/>
                  </a:lnTo>
                  <a:lnTo>
                    <a:pt x="261" y="28"/>
                  </a:lnTo>
                  <a:lnTo>
                    <a:pt x="261" y="26"/>
                  </a:lnTo>
                  <a:lnTo>
                    <a:pt x="261" y="24"/>
                  </a:lnTo>
                  <a:lnTo>
                    <a:pt x="261" y="21"/>
                  </a:lnTo>
                  <a:lnTo>
                    <a:pt x="261" y="19"/>
                  </a:lnTo>
                  <a:lnTo>
                    <a:pt x="261" y="17"/>
                  </a:lnTo>
                  <a:lnTo>
                    <a:pt x="263" y="15"/>
                  </a:lnTo>
                  <a:lnTo>
                    <a:pt x="263" y="13"/>
                  </a:lnTo>
                  <a:lnTo>
                    <a:pt x="263" y="11"/>
                  </a:lnTo>
                  <a:lnTo>
                    <a:pt x="267" y="13"/>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3" name="Freeform 237"/>
            <p:cNvSpPr>
              <a:spLocks/>
            </p:cNvSpPr>
            <p:nvPr/>
          </p:nvSpPr>
          <p:spPr bwMode="gray">
            <a:xfrm>
              <a:off x="1176" y="1877"/>
              <a:ext cx="276" cy="278"/>
            </a:xfrm>
            <a:custGeom>
              <a:avLst/>
              <a:gdLst/>
              <a:ahLst/>
              <a:cxnLst>
                <a:cxn ang="0">
                  <a:pos x="470" y="96"/>
                </a:cxn>
                <a:cxn ang="0">
                  <a:pos x="479" y="130"/>
                </a:cxn>
                <a:cxn ang="0">
                  <a:pos x="487" y="166"/>
                </a:cxn>
                <a:cxn ang="0">
                  <a:pos x="483" y="197"/>
                </a:cxn>
                <a:cxn ang="0">
                  <a:pos x="468" y="225"/>
                </a:cxn>
                <a:cxn ang="0">
                  <a:pos x="454" y="254"/>
                </a:cxn>
                <a:cxn ang="0">
                  <a:pos x="456" y="287"/>
                </a:cxn>
                <a:cxn ang="0">
                  <a:pos x="445" y="315"/>
                </a:cxn>
                <a:cxn ang="0">
                  <a:pos x="428" y="348"/>
                </a:cxn>
                <a:cxn ang="0">
                  <a:pos x="433" y="378"/>
                </a:cxn>
                <a:cxn ang="0">
                  <a:pos x="450" y="401"/>
                </a:cxn>
                <a:cxn ang="0">
                  <a:pos x="464" y="420"/>
                </a:cxn>
                <a:cxn ang="0">
                  <a:pos x="464" y="449"/>
                </a:cxn>
                <a:cxn ang="0">
                  <a:pos x="460" y="460"/>
                </a:cxn>
                <a:cxn ang="0">
                  <a:pos x="449" y="458"/>
                </a:cxn>
                <a:cxn ang="0">
                  <a:pos x="418" y="456"/>
                </a:cxn>
                <a:cxn ang="0">
                  <a:pos x="380" y="451"/>
                </a:cxn>
                <a:cxn ang="0">
                  <a:pos x="353" y="449"/>
                </a:cxn>
                <a:cxn ang="0">
                  <a:pos x="321" y="449"/>
                </a:cxn>
                <a:cxn ang="0">
                  <a:pos x="294" y="449"/>
                </a:cxn>
                <a:cxn ang="0">
                  <a:pos x="265" y="451"/>
                </a:cxn>
                <a:cxn ang="0">
                  <a:pos x="223" y="454"/>
                </a:cxn>
                <a:cxn ang="0">
                  <a:pos x="187" y="464"/>
                </a:cxn>
                <a:cxn ang="0">
                  <a:pos x="157" y="475"/>
                </a:cxn>
                <a:cxn ang="0">
                  <a:pos x="122" y="496"/>
                </a:cxn>
                <a:cxn ang="0">
                  <a:pos x="86" y="508"/>
                </a:cxn>
                <a:cxn ang="0">
                  <a:pos x="73" y="494"/>
                </a:cxn>
                <a:cxn ang="0">
                  <a:pos x="71" y="464"/>
                </a:cxn>
                <a:cxn ang="0">
                  <a:pos x="84" y="433"/>
                </a:cxn>
                <a:cxn ang="0">
                  <a:pos x="71" y="393"/>
                </a:cxn>
                <a:cxn ang="0">
                  <a:pos x="56" y="370"/>
                </a:cxn>
                <a:cxn ang="0">
                  <a:pos x="16" y="357"/>
                </a:cxn>
                <a:cxn ang="0">
                  <a:pos x="2" y="353"/>
                </a:cxn>
                <a:cxn ang="0">
                  <a:pos x="2" y="340"/>
                </a:cxn>
                <a:cxn ang="0">
                  <a:pos x="4" y="330"/>
                </a:cxn>
                <a:cxn ang="0">
                  <a:pos x="23" y="300"/>
                </a:cxn>
                <a:cxn ang="0">
                  <a:pos x="19" y="267"/>
                </a:cxn>
                <a:cxn ang="0">
                  <a:pos x="23" y="243"/>
                </a:cxn>
                <a:cxn ang="0">
                  <a:pos x="50" y="212"/>
                </a:cxn>
                <a:cxn ang="0">
                  <a:pos x="40" y="195"/>
                </a:cxn>
                <a:cxn ang="0">
                  <a:pos x="37" y="178"/>
                </a:cxn>
                <a:cxn ang="0">
                  <a:pos x="50" y="166"/>
                </a:cxn>
                <a:cxn ang="0">
                  <a:pos x="67" y="172"/>
                </a:cxn>
                <a:cxn ang="0">
                  <a:pos x="77" y="166"/>
                </a:cxn>
                <a:cxn ang="0">
                  <a:pos x="63" y="142"/>
                </a:cxn>
                <a:cxn ang="0">
                  <a:pos x="61" y="122"/>
                </a:cxn>
                <a:cxn ang="0">
                  <a:pos x="61" y="113"/>
                </a:cxn>
                <a:cxn ang="0">
                  <a:pos x="54" y="84"/>
                </a:cxn>
                <a:cxn ang="0">
                  <a:pos x="69" y="37"/>
                </a:cxn>
                <a:cxn ang="0">
                  <a:pos x="107" y="19"/>
                </a:cxn>
                <a:cxn ang="0">
                  <a:pos x="134" y="33"/>
                </a:cxn>
                <a:cxn ang="0">
                  <a:pos x="164" y="21"/>
                </a:cxn>
                <a:cxn ang="0">
                  <a:pos x="178" y="2"/>
                </a:cxn>
                <a:cxn ang="0">
                  <a:pos x="204" y="0"/>
                </a:cxn>
                <a:cxn ang="0">
                  <a:pos x="210" y="23"/>
                </a:cxn>
                <a:cxn ang="0">
                  <a:pos x="227" y="35"/>
                </a:cxn>
                <a:cxn ang="0">
                  <a:pos x="262" y="19"/>
                </a:cxn>
                <a:cxn ang="0">
                  <a:pos x="292" y="27"/>
                </a:cxn>
                <a:cxn ang="0">
                  <a:pos x="313" y="58"/>
                </a:cxn>
                <a:cxn ang="0">
                  <a:pos x="347" y="75"/>
                </a:cxn>
                <a:cxn ang="0">
                  <a:pos x="387" y="65"/>
                </a:cxn>
                <a:cxn ang="0">
                  <a:pos x="433" y="65"/>
                </a:cxn>
                <a:cxn ang="0">
                  <a:pos x="470" y="101"/>
                </a:cxn>
              </a:cxnLst>
              <a:rect l="0" t="0" r="r" b="b"/>
              <a:pathLst>
                <a:path w="487" h="508">
                  <a:moveTo>
                    <a:pt x="466" y="79"/>
                  </a:moveTo>
                  <a:lnTo>
                    <a:pt x="466" y="79"/>
                  </a:lnTo>
                  <a:lnTo>
                    <a:pt x="466" y="79"/>
                  </a:lnTo>
                  <a:lnTo>
                    <a:pt x="468" y="84"/>
                  </a:lnTo>
                  <a:lnTo>
                    <a:pt x="468" y="90"/>
                  </a:lnTo>
                  <a:lnTo>
                    <a:pt x="470" y="96"/>
                  </a:lnTo>
                  <a:lnTo>
                    <a:pt x="470" y="103"/>
                  </a:lnTo>
                  <a:lnTo>
                    <a:pt x="471" y="109"/>
                  </a:lnTo>
                  <a:lnTo>
                    <a:pt x="473" y="115"/>
                  </a:lnTo>
                  <a:lnTo>
                    <a:pt x="475" y="119"/>
                  </a:lnTo>
                  <a:lnTo>
                    <a:pt x="477" y="126"/>
                  </a:lnTo>
                  <a:lnTo>
                    <a:pt x="479" y="130"/>
                  </a:lnTo>
                  <a:lnTo>
                    <a:pt x="481" y="136"/>
                  </a:lnTo>
                  <a:lnTo>
                    <a:pt x="483" y="142"/>
                  </a:lnTo>
                  <a:lnTo>
                    <a:pt x="485" y="147"/>
                  </a:lnTo>
                  <a:lnTo>
                    <a:pt x="485" y="153"/>
                  </a:lnTo>
                  <a:lnTo>
                    <a:pt x="487" y="161"/>
                  </a:lnTo>
                  <a:lnTo>
                    <a:pt x="487" y="166"/>
                  </a:lnTo>
                  <a:lnTo>
                    <a:pt x="487" y="172"/>
                  </a:lnTo>
                  <a:lnTo>
                    <a:pt x="487" y="172"/>
                  </a:lnTo>
                  <a:lnTo>
                    <a:pt x="487" y="178"/>
                  </a:lnTo>
                  <a:lnTo>
                    <a:pt x="487" y="185"/>
                  </a:lnTo>
                  <a:lnTo>
                    <a:pt x="485" y="191"/>
                  </a:lnTo>
                  <a:lnTo>
                    <a:pt x="483" y="197"/>
                  </a:lnTo>
                  <a:lnTo>
                    <a:pt x="481" y="201"/>
                  </a:lnTo>
                  <a:lnTo>
                    <a:pt x="479" y="206"/>
                  </a:lnTo>
                  <a:lnTo>
                    <a:pt x="475" y="212"/>
                  </a:lnTo>
                  <a:lnTo>
                    <a:pt x="473" y="216"/>
                  </a:lnTo>
                  <a:lnTo>
                    <a:pt x="470" y="222"/>
                  </a:lnTo>
                  <a:lnTo>
                    <a:pt x="468" y="225"/>
                  </a:lnTo>
                  <a:lnTo>
                    <a:pt x="464" y="229"/>
                  </a:lnTo>
                  <a:lnTo>
                    <a:pt x="462" y="235"/>
                  </a:lnTo>
                  <a:lnTo>
                    <a:pt x="460" y="239"/>
                  </a:lnTo>
                  <a:lnTo>
                    <a:pt x="458" y="245"/>
                  </a:lnTo>
                  <a:lnTo>
                    <a:pt x="456" y="250"/>
                  </a:lnTo>
                  <a:lnTo>
                    <a:pt x="454" y="254"/>
                  </a:lnTo>
                  <a:lnTo>
                    <a:pt x="454" y="254"/>
                  </a:lnTo>
                  <a:lnTo>
                    <a:pt x="454" y="260"/>
                  </a:lnTo>
                  <a:lnTo>
                    <a:pt x="454" y="266"/>
                  </a:lnTo>
                  <a:lnTo>
                    <a:pt x="454" y="273"/>
                  </a:lnTo>
                  <a:lnTo>
                    <a:pt x="456" y="279"/>
                  </a:lnTo>
                  <a:lnTo>
                    <a:pt x="456" y="287"/>
                  </a:lnTo>
                  <a:lnTo>
                    <a:pt x="456" y="294"/>
                  </a:lnTo>
                  <a:lnTo>
                    <a:pt x="454" y="300"/>
                  </a:lnTo>
                  <a:lnTo>
                    <a:pt x="452" y="306"/>
                  </a:lnTo>
                  <a:lnTo>
                    <a:pt x="452" y="306"/>
                  </a:lnTo>
                  <a:lnTo>
                    <a:pt x="449" y="311"/>
                  </a:lnTo>
                  <a:lnTo>
                    <a:pt x="445" y="315"/>
                  </a:lnTo>
                  <a:lnTo>
                    <a:pt x="441" y="319"/>
                  </a:lnTo>
                  <a:lnTo>
                    <a:pt x="437" y="321"/>
                  </a:lnTo>
                  <a:lnTo>
                    <a:pt x="433" y="325"/>
                  </a:lnTo>
                  <a:lnTo>
                    <a:pt x="431" y="330"/>
                  </a:lnTo>
                  <a:lnTo>
                    <a:pt x="429" y="336"/>
                  </a:lnTo>
                  <a:lnTo>
                    <a:pt x="428" y="348"/>
                  </a:lnTo>
                  <a:lnTo>
                    <a:pt x="428" y="348"/>
                  </a:lnTo>
                  <a:lnTo>
                    <a:pt x="429" y="353"/>
                  </a:lnTo>
                  <a:lnTo>
                    <a:pt x="429" y="361"/>
                  </a:lnTo>
                  <a:lnTo>
                    <a:pt x="431" y="367"/>
                  </a:lnTo>
                  <a:lnTo>
                    <a:pt x="431" y="372"/>
                  </a:lnTo>
                  <a:lnTo>
                    <a:pt x="433" y="378"/>
                  </a:lnTo>
                  <a:lnTo>
                    <a:pt x="435" y="382"/>
                  </a:lnTo>
                  <a:lnTo>
                    <a:pt x="439" y="386"/>
                  </a:lnTo>
                  <a:lnTo>
                    <a:pt x="441" y="390"/>
                  </a:lnTo>
                  <a:lnTo>
                    <a:pt x="445" y="393"/>
                  </a:lnTo>
                  <a:lnTo>
                    <a:pt x="447" y="397"/>
                  </a:lnTo>
                  <a:lnTo>
                    <a:pt x="450" y="401"/>
                  </a:lnTo>
                  <a:lnTo>
                    <a:pt x="452" y="405"/>
                  </a:lnTo>
                  <a:lnTo>
                    <a:pt x="456" y="409"/>
                  </a:lnTo>
                  <a:lnTo>
                    <a:pt x="458" y="412"/>
                  </a:lnTo>
                  <a:lnTo>
                    <a:pt x="462" y="416"/>
                  </a:lnTo>
                  <a:lnTo>
                    <a:pt x="464" y="420"/>
                  </a:lnTo>
                  <a:lnTo>
                    <a:pt x="464" y="420"/>
                  </a:lnTo>
                  <a:lnTo>
                    <a:pt x="464" y="422"/>
                  </a:lnTo>
                  <a:lnTo>
                    <a:pt x="464" y="426"/>
                  </a:lnTo>
                  <a:lnTo>
                    <a:pt x="464" y="432"/>
                  </a:lnTo>
                  <a:lnTo>
                    <a:pt x="464" y="437"/>
                  </a:lnTo>
                  <a:lnTo>
                    <a:pt x="464" y="443"/>
                  </a:lnTo>
                  <a:lnTo>
                    <a:pt x="464" y="449"/>
                  </a:lnTo>
                  <a:lnTo>
                    <a:pt x="466" y="454"/>
                  </a:lnTo>
                  <a:lnTo>
                    <a:pt x="466" y="458"/>
                  </a:lnTo>
                  <a:lnTo>
                    <a:pt x="466" y="458"/>
                  </a:lnTo>
                  <a:lnTo>
                    <a:pt x="464" y="460"/>
                  </a:lnTo>
                  <a:lnTo>
                    <a:pt x="462" y="460"/>
                  </a:lnTo>
                  <a:lnTo>
                    <a:pt x="460" y="460"/>
                  </a:lnTo>
                  <a:lnTo>
                    <a:pt x="458" y="460"/>
                  </a:lnTo>
                  <a:lnTo>
                    <a:pt x="456" y="460"/>
                  </a:lnTo>
                  <a:lnTo>
                    <a:pt x="452" y="458"/>
                  </a:lnTo>
                  <a:lnTo>
                    <a:pt x="450" y="458"/>
                  </a:lnTo>
                  <a:lnTo>
                    <a:pt x="449" y="458"/>
                  </a:lnTo>
                  <a:lnTo>
                    <a:pt x="449" y="458"/>
                  </a:lnTo>
                  <a:lnTo>
                    <a:pt x="445" y="458"/>
                  </a:lnTo>
                  <a:lnTo>
                    <a:pt x="441" y="458"/>
                  </a:lnTo>
                  <a:lnTo>
                    <a:pt x="435" y="458"/>
                  </a:lnTo>
                  <a:lnTo>
                    <a:pt x="429" y="458"/>
                  </a:lnTo>
                  <a:lnTo>
                    <a:pt x="426" y="456"/>
                  </a:lnTo>
                  <a:lnTo>
                    <a:pt x="418" y="456"/>
                  </a:lnTo>
                  <a:lnTo>
                    <a:pt x="412" y="456"/>
                  </a:lnTo>
                  <a:lnTo>
                    <a:pt x="407" y="454"/>
                  </a:lnTo>
                  <a:lnTo>
                    <a:pt x="401" y="453"/>
                  </a:lnTo>
                  <a:lnTo>
                    <a:pt x="393" y="453"/>
                  </a:lnTo>
                  <a:lnTo>
                    <a:pt x="387" y="453"/>
                  </a:lnTo>
                  <a:lnTo>
                    <a:pt x="380" y="451"/>
                  </a:lnTo>
                  <a:lnTo>
                    <a:pt x="374" y="451"/>
                  </a:lnTo>
                  <a:lnTo>
                    <a:pt x="368" y="451"/>
                  </a:lnTo>
                  <a:lnTo>
                    <a:pt x="363" y="449"/>
                  </a:lnTo>
                  <a:lnTo>
                    <a:pt x="357" y="449"/>
                  </a:lnTo>
                  <a:lnTo>
                    <a:pt x="357" y="449"/>
                  </a:lnTo>
                  <a:lnTo>
                    <a:pt x="353" y="449"/>
                  </a:lnTo>
                  <a:lnTo>
                    <a:pt x="347" y="449"/>
                  </a:lnTo>
                  <a:lnTo>
                    <a:pt x="342" y="449"/>
                  </a:lnTo>
                  <a:lnTo>
                    <a:pt x="336" y="449"/>
                  </a:lnTo>
                  <a:lnTo>
                    <a:pt x="332" y="449"/>
                  </a:lnTo>
                  <a:lnTo>
                    <a:pt x="326" y="449"/>
                  </a:lnTo>
                  <a:lnTo>
                    <a:pt x="321" y="449"/>
                  </a:lnTo>
                  <a:lnTo>
                    <a:pt x="317" y="449"/>
                  </a:lnTo>
                  <a:lnTo>
                    <a:pt x="311" y="449"/>
                  </a:lnTo>
                  <a:lnTo>
                    <a:pt x="307" y="449"/>
                  </a:lnTo>
                  <a:lnTo>
                    <a:pt x="304" y="449"/>
                  </a:lnTo>
                  <a:lnTo>
                    <a:pt x="298" y="449"/>
                  </a:lnTo>
                  <a:lnTo>
                    <a:pt x="294" y="449"/>
                  </a:lnTo>
                  <a:lnTo>
                    <a:pt x="290" y="449"/>
                  </a:lnTo>
                  <a:lnTo>
                    <a:pt x="284" y="449"/>
                  </a:lnTo>
                  <a:lnTo>
                    <a:pt x="281" y="449"/>
                  </a:lnTo>
                  <a:lnTo>
                    <a:pt x="281" y="449"/>
                  </a:lnTo>
                  <a:lnTo>
                    <a:pt x="273" y="449"/>
                  </a:lnTo>
                  <a:lnTo>
                    <a:pt x="265" y="451"/>
                  </a:lnTo>
                  <a:lnTo>
                    <a:pt x="258" y="451"/>
                  </a:lnTo>
                  <a:lnTo>
                    <a:pt x="250" y="451"/>
                  </a:lnTo>
                  <a:lnTo>
                    <a:pt x="243" y="451"/>
                  </a:lnTo>
                  <a:lnTo>
                    <a:pt x="237" y="453"/>
                  </a:lnTo>
                  <a:lnTo>
                    <a:pt x="229" y="453"/>
                  </a:lnTo>
                  <a:lnTo>
                    <a:pt x="223" y="454"/>
                  </a:lnTo>
                  <a:lnTo>
                    <a:pt x="218" y="456"/>
                  </a:lnTo>
                  <a:lnTo>
                    <a:pt x="210" y="456"/>
                  </a:lnTo>
                  <a:lnTo>
                    <a:pt x="204" y="458"/>
                  </a:lnTo>
                  <a:lnTo>
                    <a:pt x="199" y="460"/>
                  </a:lnTo>
                  <a:lnTo>
                    <a:pt x="193" y="462"/>
                  </a:lnTo>
                  <a:lnTo>
                    <a:pt x="187" y="464"/>
                  </a:lnTo>
                  <a:lnTo>
                    <a:pt x="180" y="466"/>
                  </a:lnTo>
                  <a:lnTo>
                    <a:pt x="174" y="468"/>
                  </a:lnTo>
                  <a:lnTo>
                    <a:pt x="174" y="468"/>
                  </a:lnTo>
                  <a:lnTo>
                    <a:pt x="168" y="470"/>
                  </a:lnTo>
                  <a:lnTo>
                    <a:pt x="162" y="473"/>
                  </a:lnTo>
                  <a:lnTo>
                    <a:pt x="157" y="475"/>
                  </a:lnTo>
                  <a:lnTo>
                    <a:pt x="151" y="479"/>
                  </a:lnTo>
                  <a:lnTo>
                    <a:pt x="145" y="483"/>
                  </a:lnTo>
                  <a:lnTo>
                    <a:pt x="140" y="485"/>
                  </a:lnTo>
                  <a:lnTo>
                    <a:pt x="134" y="489"/>
                  </a:lnTo>
                  <a:lnTo>
                    <a:pt x="128" y="493"/>
                  </a:lnTo>
                  <a:lnTo>
                    <a:pt x="122" y="496"/>
                  </a:lnTo>
                  <a:lnTo>
                    <a:pt x="117" y="498"/>
                  </a:lnTo>
                  <a:lnTo>
                    <a:pt x="111" y="502"/>
                  </a:lnTo>
                  <a:lnTo>
                    <a:pt x="105" y="504"/>
                  </a:lnTo>
                  <a:lnTo>
                    <a:pt x="99" y="506"/>
                  </a:lnTo>
                  <a:lnTo>
                    <a:pt x="94" y="508"/>
                  </a:lnTo>
                  <a:lnTo>
                    <a:pt x="86" y="508"/>
                  </a:lnTo>
                  <a:lnTo>
                    <a:pt x="80" y="508"/>
                  </a:lnTo>
                  <a:lnTo>
                    <a:pt x="80" y="508"/>
                  </a:lnTo>
                  <a:lnTo>
                    <a:pt x="77" y="508"/>
                  </a:lnTo>
                  <a:lnTo>
                    <a:pt x="75" y="504"/>
                  </a:lnTo>
                  <a:lnTo>
                    <a:pt x="75" y="500"/>
                  </a:lnTo>
                  <a:lnTo>
                    <a:pt x="73" y="494"/>
                  </a:lnTo>
                  <a:lnTo>
                    <a:pt x="71" y="487"/>
                  </a:lnTo>
                  <a:lnTo>
                    <a:pt x="71" y="481"/>
                  </a:lnTo>
                  <a:lnTo>
                    <a:pt x="71" y="475"/>
                  </a:lnTo>
                  <a:lnTo>
                    <a:pt x="71" y="472"/>
                  </a:lnTo>
                  <a:lnTo>
                    <a:pt x="71" y="472"/>
                  </a:lnTo>
                  <a:lnTo>
                    <a:pt x="71" y="464"/>
                  </a:lnTo>
                  <a:lnTo>
                    <a:pt x="73" y="458"/>
                  </a:lnTo>
                  <a:lnTo>
                    <a:pt x="75" y="453"/>
                  </a:lnTo>
                  <a:lnTo>
                    <a:pt x="77" y="447"/>
                  </a:lnTo>
                  <a:lnTo>
                    <a:pt x="78" y="441"/>
                  </a:lnTo>
                  <a:lnTo>
                    <a:pt x="82" y="437"/>
                  </a:lnTo>
                  <a:lnTo>
                    <a:pt x="84" y="433"/>
                  </a:lnTo>
                  <a:lnTo>
                    <a:pt x="86" y="430"/>
                  </a:lnTo>
                  <a:lnTo>
                    <a:pt x="86" y="403"/>
                  </a:lnTo>
                  <a:lnTo>
                    <a:pt x="86" y="403"/>
                  </a:lnTo>
                  <a:lnTo>
                    <a:pt x="80" y="399"/>
                  </a:lnTo>
                  <a:lnTo>
                    <a:pt x="75" y="397"/>
                  </a:lnTo>
                  <a:lnTo>
                    <a:pt x="71" y="393"/>
                  </a:lnTo>
                  <a:lnTo>
                    <a:pt x="69" y="388"/>
                  </a:lnTo>
                  <a:lnTo>
                    <a:pt x="67" y="384"/>
                  </a:lnTo>
                  <a:lnTo>
                    <a:pt x="63" y="378"/>
                  </a:lnTo>
                  <a:lnTo>
                    <a:pt x="61" y="374"/>
                  </a:lnTo>
                  <a:lnTo>
                    <a:pt x="56" y="370"/>
                  </a:lnTo>
                  <a:lnTo>
                    <a:pt x="56" y="370"/>
                  </a:lnTo>
                  <a:lnTo>
                    <a:pt x="48" y="365"/>
                  </a:lnTo>
                  <a:lnTo>
                    <a:pt x="40" y="361"/>
                  </a:lnTo>
                  <a:lnTo>
                    <a:pt x="35" y="359"/>
                  </a:lnTo>
                  <a:lnTo>
                    <a:pt x="29" y="357"/>
                  </a:lnTo>
                  <a:lnTo>
                    <a:pt x="23" y="357"/>
                  </a:lnTo>
                  <a:lnTo>
                    <a:pt x="16" y="357"/>
                  </a:lnTo>
                  <a:lnTo>
                    <a:pt x="8" y="355"/>
                  </a:lnTo>
                  <a:lnTo>
                    <a:pt x="0" y="353"/>
                  </a:lnTo>
                  <a:lnTo>
                    <a:pt x="0" y="353"/>
                  </a:lnTo>
                  <a:lnTo>
                    <a:pt x="2" y="353"/>
                  </a:lnTo>
                  <a:lnTo>
                    <a:pt x="2" y="353"/>
                  </a:lnTo>
                  <a:lnTo>
                    <a:pt x="2" y="353"/>
                  </a:lnTo>
                  <a:lnTo>
                    <a:pt x="4" y="353"/>
                  </a:lnTo>
                  <a:lnTo>
                    <a:pt x="4" y="353"/>
                  </a:lnTo>
                  <a:lnTo>
                    <a:pt x="2" y="349"/>
                  </a:lnTo>
                  <a:lnTo>
                    <a:pt x="2" y="346"/>
                  </a:lnTo>
                  <a:lnTo>
                    <a:pt x="2" y="344"/>
                  </a:lnTo>
                  <a:lnTo>
                    <a:pt x="2" y="340"/>
                  </a:lnTo>
                  <a:lnTo>
                    <a:pt x="2" y="338"/>
                  </a:lnTo>
                  <a:lnTo>
                    <a:pt x="4" y="338"/>
                  </a:lnTo>
                  <a:lnTo>
                    <a:pt x="4" y="336"/>
                  </a:lnTo>
                  <a:lnTo>
                    <a:pt x="4" y="334"/>
                  </a:lnTo>
                  <a:lnTo>
                    <a:pt x="4" y="334"/>
                  </a:lnTo>
                  <a:lnTo>
                    <a:pt x="4" y="330"/>
                  </a:lnTo>
                  <a:lnTo>
                    <a:pt x="6" y="327"/>
                  </a:lnTo>
                  <a:lnTo>
                    <a:pt x="10" y="321"/>
                  </a:lnTo>
                  <a:lnTo>
                    <a:pt x="14" y="315"/>
                  </a:lnTo>
                  <a:lnTo>
                    <a:pt x="17" y="309"/>
                  </a:lnTo>
                  <a:lnTo>
                    <a:pt x="21" y="304"/>
                  </a:lnTo>
                  <a:lnTo>
                    <a:pt x="23" y="300"/>
                  </a:lnTo>
                  <a:lnTo>
                    <a:pt x="23" y="294"/>
                  </a:lnTo>
                  <a:lnTo>
                    <a:pt x="23" y="294"/>
                  </a:lnTo>
                  <a:lnTo>
                    <a:pt x="23" y="287"/>
                  </a:lnTo>
                  <a:lnTo>
                    <a:pt x="21" y="281"/>
                  </a:lnTo>
                  <a:lnTo>
                    <a:pt x="21" y="273"/>
                  </a:lnTo>
                  <a:lnTo>
                    <a:pt x="19" y="267"/>
                  </a:lnTo>
                  <a:lnTo>
                    <a:pt x="17" y="262"/>
                  </a:lnTo>
                  <a:lnTo>
                    <a:pt x="17" y="256"/>
                  </a:lnTo>
                  <a:lnTo>
                    <a:pt x="16" y="248"/>
                  </a:lnTo>
                  <a:lnTo>
                    <a:pt x="16" y="243"/>
                  </a:lnTo>
                  <a:lnTo>
                    <a:pt x="16" y="243"/>
                  </a:lnTo>
                  <a:lnTo>
                    <a:pt x="23" y="243"/>
                  </a:lnTo>
                  <a:lnTo>
                    <a:pt x="31" y="239"/>
                  </a:lnTo>
                  <a:lnTo>
                    <a:pt x="37" y="235"/>
                  </a:lnTo>
                  <a:lnTo>
                    <a:pt x="40" y="231"/>
                  </a:lnTo>
                  <a:lnTo>
                    <a:pt x="44" y="225"/>
                  </a:lnTo>
                  <a:lnTo>
                    <a:pt x="48" y="218"/>
                  </a:lnTo>
                  <a:lnTo>
                    <a:pt x="50" y="212"/>
                  </a:lnTo>
                  <a:lnTo>
                    <a:pt x="54" y="204"/>
                  </a:lnTo>
                  <a:lnTo>
                    <a:pt x="54" y="204"/>
                  </a:lnTo>
                  <a:lnTo>
                    <a:pt x="50" y="203"/>
                  </a:lnTo>
                  <a:lnTo>
                    <a:pt x="46" y="201"/>
                  </a:lnTo>
                  <a:lnTo>
                    <a:pt x="42" y="199"/>
                  </a:lnTo>
                  <a:lnTo>
                    <a:pt x="40" y="195"/>
                  </a:lnTo>
                  <a:lnTo>
                    <a:pt x="38" y="193"/>
                  </a:lnTo>
                  <a:lnTo>
                    <a:pt x="37" y="189"/>
                  </a:lnTo>
                  <a:lnTo>
                    <a:pt x="37" y="185"/>
                  </a:lnTo>
                  <a:lnTo>
                    <a:pt x="35" y="182"/>
                  </a:lnTo>
                  <a:lnTo>
                    <a:pt x="35" y="182"/>
                  </a:lnTo>
                  <a:lnTo>
                    <a:pt x="37" y="178"/>
                  </a:lnTo>
                  <a:lnTo>
                    <a:pt x="37" y="174"/>
                  </a:lnTo>
                  <a:lnTo>
                    <a:pt x="38" y="172"/>
                  </a:lnTo>
                  <a:lnTo>
                    <a:pt x="42" y="170"/>
                  </a:lnTo>
                  <a:lnTo>
                    <a:pt x="44" y="168"/>
                  </a:lnTo>
                  <a:lnTo>
                    <a:pt x="48" y="166"/>
                  </a:lnTo>
                  <a:lnTo>
                    <a:pt x="50" y="166"/>
                  </a:lnTo>
                  <a:lnTo>
                    <a:pt x="54" y="166"/>
                  </a:lnTo>
                  <a:lnTo>
                    <a:pt x="54" y="166"/>
                  </a:lnTo>
                  <a:lnTo>
                    <a:pt x="59" y="166"/>
                  </a:lnTo>
                  <a:lnTo>
                    <a:pt x="63" y="168"/>
                  </a:lnTo>
                  <a:lnTo>
                    <a:pt x="65" y="170"/>
                  </a:lnTo>
                  <a:lnTo>
                    <a:pt x="67" y="172"/>
                  </a:lnTo>
                  <a:lnTo>
                    <a:pt x="69" y="172"/>
                  </a:lnTo>
                  <a:lnTo>
                    <a:pt x="71" y="172"/>
                  </a:lnTo>
                  <a:lnTo>
                    <a:pt x="75" y="172"/>
                  </a:lnTo>
                  <a:lnTo>
                    <a:pt x="80" y="170"/>
                  </a:lnTo>
                  <a:lnTo>
                    <a:pt x="80" y="170"/>
                  </a:lnTo>
                  <a:lnTo>
                    <a:pt x="77" y="166"/>
                  </a:lnTo>
                  <a:lnTo>
                    <a:pt x="73" y="163"/>
                  </a:lnTo>
                  <a:lnTo>
                    <a:pt x="71" y="159"/>
                  </a:lnTo>
                  <a:lnTo>
                    <a:pt x="67" y="155"/>
                  </a:lnTo>
                  <a:lnTo>
                    <a:pt x="65" y="151"/>
                  </a:lnTo>
                  <a:lnTo>
                    <a:pt x="63" y="147"/>
                  </a:lnTo>
                  <a:lnTo>
                    <a:pt x="63" y="142"/>
                  </a:lnTo>
                  <a:lnTo>
                    <a:pt x="61" y="136"/>
                  </a:lnTo>
                  <a:lnTo>
                    <a:pt x="61" y="136"/>
                  </a:lnTo>
                  <a:lnTo>
                    <a:pt x="61" y="132"/>
                  </a:lnTo>
                  <a:lnTo>
                    <a:pt x="61" y="130"/>
                  </a:lnTo>
                  <a:lnTo>
                    <a:pt x="61" y="126"/>
                  </a:lnTo>
                  <a:lnTo>
                    <a:pt x="61" y="122"/>
                  </a:lnTo>
                  <a:lnTo>
                    <a:pt x="61" y="121"/>
                  </a:lnTo>
                  <a:lnTo>
                    <a:pt x="61" y="119"/>
                  </a:lnTo>
                  <a:lnTo>
                    <a:pt x="61" y="117"/>
                  </a:lnTo>
                  <a:lnTo>
                    <a:pt x="61" y="117"/>
                  </a:lnTo>
                  <a:lnTo>
                    <a:pt x="61" y="117"/>
                  </a:lnTo>
                  <a:lnTo>
                    <a:pt x="61" y="113"/>
                  </a:lnTo>
                  <a:lnTo>
                    <a:pt x="61" y="109"/>
                  </a:lnTo>
                  <a:lnTo>
                    <a:pt x="59" y="103"/>
                  </a:lnTo>
                  <a:lnTo>
                    <a:pt x="57" y="100"/>
                  </a:lnTo>
                  <a:lnTo>
                    <a:pt x="56" y="94"/>
                  </a:lnTo>
                  <a:lnTo>
                    <a:pt x="54" y="90"/>
                  </a:lnTo>
                  <a:lnTo>
                    <a:pt x="54" y="84"/>
                  </a:lnTo>
                  <a:lnTo>
                    <a:pt x="54" y="79"/>
                  </a:lnTo>
                  <a:lnTo>
                    <a:pt x="54" y="79"/>
                  </a:lnTo>
                  <a:lnTo>
                    <a:pt x="54" y="67"/>
                  </a:lnTo>
                  <a:lnTo>
                    <a:pt x="57" y="56"/>
                  </a:lnTo>
                  <a:lnTo>
                    <a:pt x="61" y="46"/>
                  </a:lnTo>
                  <a:lnTo>
                    <a:pt x="69" y="37"/>
                  </a:lnTo>
                  <a:lnTo>
                    <a:pt x="77" y="29"/>
                  </a:lnTo>
                  <a:lnTo>
                    <a:pt x="84" y="23"/>
                  </a:lnTo>
                  <a:lnTo>
                    <a:pt x="94" y="19"/>
                  </a:lnTo>
                  <a:lnTo>
                    <a:pt x="103" y="19"/>
                  </a:lnTo>
                  <a:lnTo>
                    <a:pt x="103" y="19"/>
                  </a:lnTo>
                  <a:lnTo>
                    <a:pt x="107" y="19"/>
                  </a:lnTo>
                  <a:lnTo>
                    <a:pt x="111" y="21"/>
                  </a:lnTo>
                  <a:lnTo>
                    <a:pt x="115" y="23"/>
                  </a:lnTo>
                  <a:lnTo>
                    <a:pt x="119" y="25"/>
                  </a:lnTo>
                  <a:lnTo>
                    <a:pt x="122" y="29"/>
                  </a:lnTo>
                  <a:lnTo>
                    <a:pt x="128" y="31"/>
                  </a:lnTo>
                  <a:lnTo>
                    <a:pt x="134" y="33"/>
                  </a:lnTo>
                  <a:lnTo>
                    <a:pt x="140" y="35"/>
                  </a:lnTo>
                  <a:lnTo>
                    <a:pt x="140" y="35"/>
                  </a:lnTo>
                  <a:lnTo>
                    <a:pt x="149" y="33"/>
                  </a:lnTo>
                  <a:lnTo>
                    <a:pt x="155" y="31"/>
                  </a:lnTo>
                  <a:lnTo>
                    <a:pt x="160" y="27"/>
                  </a:lnTo>
                  <a:lnTo>
                    <a:pt x="164" y="21"/>
                  </a:lnTo>
                  <a:lnTo>
                    <a:pt x="166" y="18"/>
                  </a:lnTo>
                  <a:lnTo>
                    <a:pt x="168" y="12"/>
                  </a:lnTo>
                  <a:lnTo>
                    <a:pt x="172" y="8"/>
                  </a:lnTo>
                  <a:lnTo>
                    <a:pt x="174" y="4"/>
                  </a:lnTo>
                  <a:lnTo>
                    <a:pt x="174" y="4"/>
                  </a:lnTo>
                  <a:lnTo>
                    <a:pt x="178" y="2"/>
                  </a:lnTo>
                  <a:lnTo>
                    <a:pt x="181" y="2"/>
                  </a:lnTo>
                  <a:lnTo>
                    <a:pt x="187" y="0"/>
                  </a:lnTo>
                  <a:lnTo>
                    <a:pt x="193" y="0"/>
                  </a:lnTo>
                  <a:lnTo>
                    <a:pt x="197" y="0"/>
                  </a:lnTo>
                  <a:lnTo>
                    <a:pt x="202" y="0"/>
                  </a:lnTo>
                  <a:lnTo>
                    <a:pt x="204" y="0"/>
                  </a:lnTo>
                  <a:lnTo>
                    <a:pt x="208" y="0"/>
                  </a:lnTo>
                  <a:lnTo>
                    <a:pt x="208" y="0"/>
                  </a:lnTo>
                  <a:lnTo>
                    <a:pt x="208" y="6"/>
                  </a:lnTo>
                  <a:lnTo>
                    <a:pt x="210" y="12"/>
                  </a:lnTo>
                  <a:lnTo>
                    <a:pt x="210" y="18"/>
                  </a:lnTo>
                  <a:lnTo>
                    <a:pt x="210" y="23"/>
                  </a:lnTo>
                  <a:lnTo>
                    <a:pt x="212" y="29"/>
                  </a:lnTo>
                  <a:lnTo>
                    <a:pt x="214" y="33"/>
                  </a:lnTo>
                  <a:lnTo>
                    <a:pt x="218" y="35"/>
                  </a:lnTo>
                  <a:lnTo>
                    <a:pt x="222" y="37"/>
                  </a:lnTo>
                  <a:lnTo>
                    <a:pt x="222" y="37"/>
                  </a:lnTo>
                  <a:lnTo>
                    <a:pt x="227" y="35"/>
                  </a:lnTo>
                  <a:lnTo>
                    <a:pt x="233" y="33"/>
                  </a:lnTo>
                  <a:lnTo>
                    <a:pt x="239" y="31"/>
                  </a:lnTo>
                  <a:lnTo>
                    <a:pt x="244" y="27"/>
                  </a:lnTo>
                  <a:lnTo>
                    <a:pt x="250" y="25"/>
                  </a:lnTo>
                  <a:lnTo>
                    <a:pt x="256" y="21"/>
                  </a:lnTo>
                  <a:lnTo>
                    <a:pt x="262" y="19"/>
                  </a:lnTo>
                  <a:lnTo>
                    <a:pt x="269" y="19"/>
                  </a:lnTo>
                  <a:lnTo>
                    <a:pt x="269" y="19"/>
                  </a:lnTo>
                  <a:lnTo>
                    <a:pt x="277" y="19"/>
                  </a:lnTo>
                  <a:lnTo>
                    <a:pt x="283" y="21"/>
                  </a:lnTo>
                  <a:lnTo>
                    <a:pt x="288" y="23"/>
                  </a:lnTo>
                  <a:lnTo>
                    <a:pt x="292" y="27"/>
                  </a:lnTo>
                  <a:lnTo>
                    <a:pt x="296" y="33"/>
                  </a:lnTo>
                  <a:lnTo>
                    <a:pt x="300" y="37"/>
                  </a:lnTo>
                  <a:lnTo>
                    <a:pt x="304" y="42"/>
                  </a:lnTo>
                  <a:lnTo>
                    <a:pt x="307" y="46"/>
                  </a:lnTo>
                  <a:lnTo>
                    <a:pt x="311" y="52"/>
                  </a:lnTo>
                  <a:lnTo>
                    <a:pt x="313" y="58"/>
                  </a:lnTo>
                  <a:lnTo>
                    <a:pt x="317" y="61"/>
                  </a:lnTo>
                  <a:lnTo>
                    <a:pt x="323" y="67"/>
                  </a:lnTo>
                  <a:lnTo>
                    <a:pt x="326" y="69"/>
                  </a:lnTo>
                  <a:lnTo>
                    <a:pt x="332" y="73"/>
                  </a:lnTo>
                  <a:lnTo>
                    <a:pt x="340" y="75"/>
                  </a:lnTo>
                  <a:lnTo>
                    <a:pt x="347" y="75"/>
                  </a:lnTo>
                  <a:lnTo>
                    <a:pt x="347" y="75"/>
                  </a:lnTo>
                  <a:lnTo>
                    <a:pt x="359" y="75"/>
                  </a:lnTo>
                  <a:lnTo>
                    <a:pt x="367" y="73"/>
                  </a:lnTo>
                  <a:lnTo>
                    <a:pt x="374" y="71"/>
                  </a:lnTo>
                  <a:lnTo>
                    <a:pt x="382" y="67"/>
                  </a:lnTo>
                  <a:lnTo>
                    <a:pt x="387" y="65"/>
                  </a:lnTo>
                  <a:lnTo>
                    <a:pt x="395" y="63"/>
                  </a:lnTo>
                  <a:lnTo>
                    <a:pt x="403" y="61"/>
                  </a:lnTo>
                  <a:lnTo>
                    <a:pt x="410" y="60"/>
                  </a:lnTo>
                  <a:lnTo>
                    <a:pt x="410" y="60"/>
                  </a:lnTo>
                  <a:lnTo>
                    <a:pt x="422" y="61"/>
                  </a:lnTo>
                  <a:lnTo>
                    <a:pt x="433" y="65"/>
                  </a:lnTo>
                  <a:lnTo>
                    <a:pt x="441" y="69"/>
                  </a:lnTo>
                  <a:lnTo>
                    <a:pt x="447" y="75"/>
                  </a:lnTo>
                  <a:lnTo>
                    <a:pt x="452" y="82"/>
                  </a:lnTo>
                  <a:lnTo>
                    <a:pt x="458" y="88"/>
                  </a:lnTo>
                  <a:lnTo>
                    <a:pt x="464" y="96"/>
                  </a:lnTo>
                  <a:lnTo>
                    <a:pt x="470" y="101"/>
                  </a:lnTo>
                  <a:lnTo>
                    <a:pt x="466" y="79"/>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4" name="Freeform 238"/>
            <p:cNvSpPr>
              <a:spLocks/>
            </p:cNvSpPr>
            <p:nvPr/>
          </p:nvSpPr>
          <p:spPr bwMode="gray">
            <a:xfrm>
              <a:off x="1059" y="1967"/>
              <a:ext cx="166" cy="188"/>
            </a:xfrm>
            <a:custGeom>
              <a:avLst/>
              <a:gdLst/>
              <a:ahLst/>
              <a:cxnLst>
                <a:cxn ang="0">
                  <a:pos x="224" y="71"/>
                </a:cxn>
                <a:cxn ang="0">
                  <a:pos x="218" y="73"/>
                </a:cxn>
                <a:cxn ang="0">
                  <a:pos x="210" y="79"/>
                </a:cxn>
                <a:cxn ang="0">
                  <a:pos x="199" y="100"/>
                </a:cxn>
                <a:cxn ang="0">
                  <a:pos x="182" y="105"/>
                </a:cxn>
                <a:cxn ang="0">
                  <a:pos x="164" y="98"/>
                </a:cxn>
                <a:cxn ang="0">
                  <a:pos x="155" y="84"/>
                </a:cxn>
                <a:cxn ang="0">
                  <a:pos x="157" y="81"/>
                </a:cxn>
                <a:cxn ang="0">
                  <a:pos x="164" y="71"/>
                </a:cxn>
                <a:cxn ang="0">
                  <a:pos x="164" y="54"/>
                </a:cxn>
                <a:cxn ang="0">
                  <a:pos x="159" y="31"/>
                </a:cxn>
                <a:cxn ang="0">
                  <a:pos x="147" y="12"/>
                </a:cxn>
                <a:cxn ang="0">
                  <a:pos x="126" y="0"/>
                </a:cxn>
                <a:cxn ang="0">
                  <a:pos x="96" y="0"/>
                </a:cxn>
                <a:cxn ang="0">
                  <a:pos x="71" y="29"/>
                </a:cxn>
                <a:cxn ang="0">
                  <a:pos x="59" y="61"/>
                </a:cxn>
                <a:cxn ang="0">
                  <a:pos x="33" y="94"/>
                </a:cxn>
                <a:cxn ang="0">
                  <a:pos x="0" y="126"/>
                </a:cxn>
                <a:cxn ang="0">
                  <a:pos x="18" y="149"/>
                </a:cxn>
                <a:cxn ang="0">
                  <a:pos x="42" y="168"/>
                </a:cxn>
                <a:cxn ang="0">
                  <a:pos x="69" y="182"/>
                </a:cxn>
                <a:cxn ang="0">
                  <a:pos x="98" y="197"/>
                </a:cxn>
                <a:cxn ang="0">
                  <a:pos x="115" y="212"/>
                </a:cxn>
                <a:cxn ang="0">
                  <a:pos x="130" y="231"/>
                </a:cxn>
                <a:cxn ang="0">
                  <a:pos x="145" y="254"/>
                </a:cxn>
                <a:cxn ang="0">
                  <a:pos x="161" y="273"/>
                </a:cxn>
                <a:cxn ang="0">
                  <a:pos x="180" y="289"/>
                </a:cxn>
                <a:cxn ang="0">
                  <a:pos x="206" y="304"/>
                </a:cxn>
                <a:cxn ang="0">
                  <a:pos x="233" y="319"/>
                </a:cxn>
                <a:cxn ang="0">
                  <a:pos x="264" y="332"/>
                </a:cxn>
                <a:cxn ang="0">
                  <a:pos x="288" y="344"/>
                </a:cxn>
                <a:cxn ang="0">
                  <a:pos x="281" y="330"/>
                </a:cxn>
                <a:cxn ang="0">
                  <a:pos x="279" y="308"/>
                </a:cxn>
                <a:cxn ang="0">
                  <a:pos x="283" y="289"/>
                </a:cxn>
                <a:cxn ang="0">
                  <a:pos x="292" y="269"/>
                </a:cxn>
                <a:cxn ang="0">
                  <a:pos x="288" y="235"/>
                </a:cxn>
                <a:cxn ang="0">
                  <a:pos x="275" y="220"/>
                </a:cxn>
                <a:cxn ang="0">
                  <a:pos x="264" y="206"/>
                </a:cxn>
                <a:cxn ang="0">
                  <a:pos x="237" y="193"/>
                </a:cxn>
                <a:cxn ang="0">
                  <a:pos x="208" y="189"/>
                </a:cxn>
                <a:cxn ang="0">
                  <a:pos x="210" y="189"/>
                </a:cxn>
                <a:cxn ang="0">
                  <a:pos x="210" y="182"/>
                </a:cxn>
                <a:cxn ang="0">
                  <a:pos x="212" y="174"/>
                </a:cxn>
                <a:cxn ang="0">
                  <a:pos x="212" y="166"/>
                </a:cxn>
                <a:cxn ang="0">
                  <a:pos x="225" y="145"/>
                </a:cxn>
                <a:cxn ang="0">
                  <a:pos x="231" y="130"/>
                </a:cxn>
                <a:cxn ang="0">
                  <a:pos x="227" y="103"/>
                </a:cxn>
                <a:cxn ang="0">
                  <a:pos x="224" y="79"/>
                </a:cxn>
              </a:cxnLst>
              <a:rect l="0" t="0" r="r" b="b"/>
              <a:pathLst>
                <a:path w="294" h="344">
                  <a:moveTo>
                    <a:pt x="225" y="71"/>
                  </a:moveTo>
                  <a:lnTo>
                    <a:pt x="225" y="71"/>
                  </a:lnTo>
                  <a:lnTo>
                    <a:pt x="224" y="71"/>
                  </a:lnTo>
                  <a:lnTo>
                    <a:pt x="224" y="71"/>
                  </a:lnTo>
                  <a:lnTo>
                    <a:pt x="222" y="71"/>
                  </a:lnTo>
                  <a:lnTo>
                    <a:pt x="222" y="73"/>
                  </a:lnTo>
                  <a:lnTo>
                    <a:pt x="220" y="73"/>
                  </a:lnTo>
                  <a:lnTo>
                    <a:pt x="218" y="73"/>
                  </a:lnTo>
                  <a:lnTo>
                    <a:pt x="214" y="73"/>
                  </a:lnTo>
                  <a:lnTo>
                    <a:pt x="212" y="71"/>
                  </a:lnTo>
                  <a:lnTo>
                    <a:pt x="212" y="71"/>
                  </a:lnTo>
                  <a:lnTo>
                    <a:pt x="210" y="79"/>
                  </a:lnTo>
                  <a:lnTo>
                    <a:pt x="208" y="84"/>
                  </a:lnTo>
                  <a:lnTo>
                    <a:pt x="206" y="90"/>
                  </a:lnTo>
                  <a:lnTo>
                    <a:pt x="203" y="96"/>
                  </a:lnTo>
                  <a:lnTo>
                    <a:pt x="199" y="100"/>
                  </a:lnTo>
                  <a:lnTo>
                    <a:pt x="193" y="103"/>
                  </a:lnTo>
                  <a:lnTo>
                    <a:pt x="187" y="105"/>
                  </a:lnTo>
                  <a:lnTo>
                    <a:pt x="182" y="105"/>
                  </a:lnTo>
                  <a:lnTo>
                    <a:pt x="182" y="105"/>
                  </a:lnTo>
                  <a:lnTo>
                    <a:pt x="178" y="105"/>
                  </a:lnTo>
                  <a:lnTo>
                    <a:pt x="174" y="103"/>
                  </a:lnTo>
                  <a:lnTo>
                    <a:pt x="168" y="102"/>
                  </a:lnTo>
                  <a:lnTo>
                    <a:pt x="164" y="98"/>
                  </a:lnTo>
                  <a:lnTo>
                    <a:pt x="161" y="96"/>
                  </a:lnTo>
                  <a:lnTo>
                    <a:pt x="157" y="92"/>
                  </a:lnTo>
                  <a:lnTo>
                    <a:pt x="155" y="88"/>
                  </a:lnTo>
                  <a:lnTo>
                    <a:pt x="155" y="84"/>
                  </a:lnTo>
                  <a:lnTo>
                    <a:pt x="155" y="84"/>
                  </a:lnTo>
                  <a:lnTo>
                    <a:pt x="155" y="82"/>
                  </a:lnTo>
                  <a:lnTo>
                    <a:pt x="157" y="81"/>
                  </a:lnTo>
                  <a:lnTo>
                    <a:pt x="157" y="81"/>
                  </a:lnTo>
                  <a:lnTo>
                    <a:pt x="159" y="79"/>
                  </a:lnTo>
                  <a:lnTo>
                    <a:pt x="161" y="77"/>
                  </a:lnTo>
                  <a:lnTo>
                    <a:pt x="162" y="73"/>
                  </a:lnTo>
                  <a:lnTo>
                    <a:pt x="164" y="71"/>
                  </a:lnTo>
                  <a:lnTo>
                    <a:pt x="164" y="67"/>
                  </a:lnTo>
                  <a:lnTo>
                    <a:pt x="164" y="67"/>
                  </a:lnTo>
                  <a:lnTo>
                    <a:pt x="164" y="61"/>
                  </a:lnTo>
                  <a:lnTo>
                    <a:pt x="164" y="54"/>
                  </a:lnTo>
                  <a:lnTo>
                    <a:pt x="162" y="48"/>
                  </a:lnTo>
                  <a:lnTo>
                    <a:pt x="162" y="42"/>
                  </a:lnTo>
                  <a:lnTo>
                    <a:pt x="161" y="37"/>
                  </a:lnTo>
                  <a:lnTo>
                    <a:pt x="159" y="31"/>
                  </a:lnTo>
                  <a:lnTo>
                    <a:pt x="157" y="25"/>
                  </a:lnTo>
                  <a:lnTo>
                    <a:pt x="155" y="20"/>
                  </a:lnTo>
                  <a:lnTo>
                    <a:pt x="151" y="16"/>
                  </a:lnTo>
                  <a:lnTo>
                    <a:pt x="147" y="12"/>
                  </a:lnTo>
                  <a:lnTo>
                    <a:pt x="143" y="8"/>
                  </a:lnTo>
                  <a:lnTo>
                    <a:pt x="138" y="4"/>
                  </a:lnTo>
                  <a:lnTo>
                    <a:pt x="134" y="2"/>
                  </a:lnTo>
                  <a:lnTo>
                    <a:pt x="126" y="0"/>
                  </a:lnTo>
                  <a:lnTo>
                    <a:pt x="121" y="0"/>
                  </a:lnTo>
                  <a:lnTo>
                    <a:pt x="113" y="0"/>
                  </a:lnTo>
                  <a:lnTo>
                    <a:pt x="113" y="0"/>
                  </a:lnTo>
                  <a:lnTo>
                    <a:pt x="96" y="0"/>
                  </a:lnTo>
                  <a:lnTo>
                    <a:pt x="84" y="4"/>
                  </a:lnTo>
                  <a:lnTo>
                    <a:pt x="77" y="12"/>
                  </a:lnTo>
                  <a:lnTo>
                    <a:pt x="73" y="20"/>
                  </a:lnTo>
                  <a:lnTo>
                    <a:pt x="71" y="29"/>
                  </a:lnTo>
                  <a:lnTo>
                    <a:pt x="67" y="39"/>
                  </a:lnTo>
                  <a:lnTo>
                    <a:pt x="65" y="50"/>
                  </a:lnTo>
                  <a:lnTo>
                    <a:pt x="59" y="61"/>
                  </a:lnTo>
                  <a:lnTo>
                    <a:pt x="59" y="61"/>
                  </a:lnTo>
                  <a:lnTo>
                    <a:pt x="58" y="65"/>
                  </a:lnTo>
                  <a:lnTo>
                    <a:pt x="52" y="73"/>
                  </a:lnTo>
                  <a:lnTo>
                    <a:pt x="42" y="82"/>
                  </a:lnTo>
                  <a:lnTo>
                    <a:pt x="33" y="94"/>
                  </a:lnTo>
                  <a:lnTo>
                    <a:pt x="21" y="105"/>
                  </a:lnTo>
                  <a:lnTo>
                    <a:pt x="12" y="115"/>
                  </a:lnTo>
                  <a:lnTo>
                    <a:pt x="4" y="123"/>
                  </a:lnTo>
                  <a:lnTo>
                    <a:pt x="0" y="126"/>
                  </a:lnTo>
                  <a:lnTo>
                    <a:pt x="0" y="126"/>
                  </a:lnTo>
                  <a:lnTo>
                    <a:pt x="6" y="136"/>
                  </a:lnTo>
                  <a:lnTo>
                    <a:pt x="12" y="142"/>
                  </a:lnTo>
                  <a:lnTo>
                    <a:pt x="18" y="149"/>
                  </a:lnTo>
                  <a:lnTo>
                    <a:pt x="25" y="155"/>
                  </a:lnTo>
                  <a:lnTo>
                    <a:pt x="31" y="161"/>
                  </a:lnTo>
                  <a:lnTo>
                    <a:pt x="37" y="165"/>
                  </a:lnTo>
                  <a:lnTo>
                    <a:pt x="42" y="168"/>
                  </a:lnTo>
                  <a:lnTo>
                    <a:pt x="48" y="172"/>
                  </a:lnTo>
                  <a:lnTo>
                    <a:pt x="56" y="176"/>
                  </a:lnTo>
                  <a:lnTo>
                    <a:pt x="61" y="178"/>
                  </a:lnTo>
                  <a:lnTo>
                    <a:pt x="69" y="182"/>
                  </a:lnTo>
                  <a:lnTo>
                    <a:pt x="75" y="185"/>
                  </a:lnTo>
                  <a:lnTo>
                    <a:pt x="82" y="189"/>
                  </a:lnTo>
                  <a:lnTo>
                    <a:pt x="90" y="193"/>
                  </a:lnTo>
                  <a:lnTo>
                    <a:pt x="98" y="197"/>
                  </a:lnTo>
                  <a:lnTo>
                    <a:pt x="105" y="203"/>
                  </a:lnTo>
                  <a:lnTo>
                    <a:pt x="105" y="203"/>
                  </a:lnTo>
                  <a:lnTo>
                    <a:pt x="109" y="206"/>
                  </a:lnTo>
                  <a:lnTo>
                    <a:pt x="115" y="212"/>
                  </a:lnTo>
                  <a:lnTo>
                    <a:pt x="119" y="216"/>
                  </a:lnTo>
                  <a:lnTo>
                    <a:pt x="122" y="222"/>
                  </a:lnTo>
                  <a:lnTo>
                    <a:pt x="126" y="226"/>
                  </a:lnTo>
                  <a:lnTo>
                    <a:pt x="130" y="231"/>
                  </a:lnTo>
                  <a:lnTo>
                    <a:pt x="134" y="237"/>
                  </a:lnTo>
                  <a:lnTo>
                    <a:pt x="138" y="243"/>
                  </a:lnTo>
                  <a:lnTo>
                    <a:pt x="141" y="248"/>
                  </a:lnTo>
                  <a:lnTo>
                    <a:pt x="145" y="254"/>
                  </a:lnTo>
                  <a:lnTo>
                    <a:pt x="149" y="258"/>
                  </a:lnTo>
                  <a:lnTo>
                    <a:pt x="153" y="264"/>
                  </a:lnTo>
                  <a:lnTo>
                    <a:pt x="157" y="269"/>
                  </a:lnTo>
                  <a:lnTo>
                    <a:pt x="161" y="273"/>
                  </a:lnTo>
                  <a:lnTo>
                    <a:pt x="166" y="279"/>
                  </a:lnTo>
                  <a:lnTo>
                    <a:pt x="172" y="283"/>
                  </a:lnTo>
                  <a:lnTo>
                    <a:pt x="172" y="283"/>
                  </a:lnTo>
                  <a:lnTo>
                    <a:pt x="180" y="289"/>
                  </a:lnTo>
                  <a:lnTo>
                    <a:pt x="185" y="292"/>
                  </a:lnTo>
                  <a:lnTo>
                    <a:pt x="193" y="296"/>
                  </a:lnTo>
                  <a:lnTo>
                    <a:pt x="199" y="300"/>
                  </a:lnTo>
                  <a:lnTo>
                    <a:pt x="206" y="304"/>
                  </a:lnTo>
                  <a:lnTo>
                    <a:pt x="212" y="308"/>
                  </a:lnTo>
                  <a:lnTo>
                    <a:pt x="220" y="311"/>
                  </a:lnTo>
                  <a:lnTo>
                    <a:pt x="227" y="315"/>
                  </a:lnTo>
                  <a:lnTo>
                    <a:pt x="233" y="319"/>
                  </a:lnTo>
                  <a:lnTo>
                    <a:pt x="241" y="323"/>
                  </a:lnTo>
                  <a:lnTo>
                    <a:pt x="248" y="327"/>
                  </a:lnTo>
                  <a:lnTo>
                    <a:pt x="256" y="329"/>
                  </a:lnTo>
                  <a:lnTo>
                    <a:pt x="264" y="332"/>
                  </a:lnTo>
                  <a:lnTo>
                    <a:pt x="271" y="336"/>
                  </a:lnTo>
                  <a:lnTo>
                    <a:pt x="279" y="340"/>
                  </a:lnTo>
                  <a:lnTo>
                    <a:pt x="288" y="344"/>
                  </a:lnTo>
                  <a:lnTo>
                    <a:pt x="288" y="344"/>
                  </a:lnTo>
                  <a:lnTo>
                    <a:pt x="285" y="344"/>
                  </a:lnTo>
                  <a:lnTo>
                    <a:pt x="283" y="340"/>
                  </a:lnTo>
                  <a:lnTo>
                    <a:pt x="283" y="336"/>
                  </a:lnTo>
                  <a:lnTo>
                    <a:pt x="281" y="330"/>
                  </a:lnTo>
                  <a:lnTo>
                    <a:pt x="279" y="323"/>
                  </a:lnTo>
                  <a:lnTo>
                    <a:pt x="279" y="317"/>
                  </a:lnTo>
                  <a:lnTo>
                    <a:pt x="279" y="311"/>
                  </a:lnTo>
                  <a:lnTo>
                    <a:pt x="279" y="308"/>
                  </a:lnTo>
                  <a:lnTo>
                    <a:pt x="279" y="308"/>
                  </a:lnTo>
                  <a:lnTo>
                    <a:pt x="279" y="300"/>
                  </a:lnTo>
                  <a:lnTo>
                    <a:pt x="281" y="294"/>
                  </a:lnTo>
                  <a:lnTo>
                    <a:pt x="283" y="289"/>
                  </a:lnTo>
                  <a:lnTo>
                    <a:pt x="285" y="283"/>
                  </a:lnTo>
                  <a:lnTo>
                    <a:pt x="286" y="277"/>
                  </a:lnTo>
                  <a:lnTo>
                    <a:pt x="290" y="273"/>
                  </a:lnTo>
                  <a:lnTo>
                    <a:pt x="292" y="269"/>
                  </a:lnTo>
                  <a:lnTo>
                    <a:pt x="294" y="266"/>
                  </a:lnTo>
                  <a:lnTo>
                    <a:pt x="294" y="239"/>
                  </a:lnTo>
                  <a:lnTo>
                    <a:pt x="294" y="239"/>
                  </a:lnTo>
                  <a:lnTo>
                    <a:pt x="288" y="235"/>
                  </a:lnTo>
                  <a:lnTo>
                    <a:pt x="283" y="233"/>
                  </a:lnTo>
                  <a:lnTo>
                    <a:pt x="279" y="229"/>
                  </a:lnTo>
                  <a:lnTo>
                    <a:pt x="277" y="224"/>
                  </a:lnTo>
                  <a:lnTo>
                    <a:pt x="275" y="220"/>
                  </a:lnTo>
                  <a:lnTo>
                    <a:pt x="271" y="214"/>
                  </a:lnTo>
                  <a:lnTo>
                    <a:pt x="269" y="210"/>
                  </a:lnTo>
                  <a:lnTo>
                    <a:pt x="264" y="206"/>
                  </a:lnTo>
                  <a:lnTo>
                    <a:pt x="264" y="206"/>
                  </a:lnTo>
                  <a:lnTo>
                    <a:pt x="256" y="201"/>
                  </a:lnTo>
                  <a:lnTo>
                    <a:pt x="248" y="197"/>
                  </a:lnTo>
                  <a:lnTo>
                    <a:pt x="243" y="195"/>
                  </a:lnTo>
                  <a:lnTo>
                    <a:pt x="237" y="193"/>
                  </a:lnTo>
                  <a:lnTo>
                    <a:pt x="231" y="193"/>
                  </a:lnTo>
                  <a:lnTo>
                    <a:pt x="224" y="193"/>
                  </a:lnTo>
                  <a:lnTo>
                    <a:pt x="216" y="191"/>
                  </a:lnTo>
                  <a:lnTo>
                    <a:pt x="208" y="189"/>
                  </a:lnTo>
                  <a:lnTo>
                    <a:pt x="208" y="189"/>
                  </a:lnTo>
                  <a:lnTo>
                    <a:pt x="210" y="189"/>
                  </a:lnTo>
                  <a:lnTo>
                    <a:pt x="210" y="189"/>
                  </a:lnTo>
                  <a:lnTo>
                    <a:pt x="210" y="189"/>
                  </a:lnTo>
                  <a:lnTo>
                    <a:pt x="212" y="189"/>
                  </a:lnTo>
                  <a:lnTo>
                    <a:pt x="212" y="189"/>
                  </a:lnTo>
                  <a:lnTo>
                    <a:pt x="210" y="185"/>
                  </a:lnTo>
                  <a:lnTo>
                    <a:pt x="210" y="182"/>
                  </a:lnTo>
                  <a:lnTo>
                    <a:pt x="210" y="180"/>
                  </a:lnTo>
                  <a:lnTo>
                    <a:pt x="210" y="176"/>
                  </a:lnTo>
                  <a:lnTo>
                    <a:pt x="210" y="174"/>
                  </a:lnTo>
                  <a:lnTo>
                    <a:pt x="212" y="174"/>
                  </a:lnTo>
                  <a:lnTo>
                    <a:pt x="212" y="172"/>
                  </a:lnTo>
                  <a:lnTo>
                    <a:pt x="212" y="170"/>
                  </a:lnTo>
                  <a:lnTo>
                    <a:pt x="212" y="170"/>
                  </a:lnTo>
                  <a:lnTo>
                    <a:pt x="212" y="166"/>
                  </a:lnTo>
                  <a:lnTo>
                    <a:pt x="214" y="163"/>
                  </a:lnTo>
                  <a:lnTo>
                    <a:pt x="218" y="157"/>
                  </a:lnTo>
                  <a:lnTo>
                    <a:pt x="222" y="151"/>
                  </a:lnTo>
                  <a:lnTo>
                    <a:pt x="225" y="145"/>
                  </a:lnTo>
                  <a:lnTo>
                    <a:pt x="229" y="140"/>
                  </a:lnTo>
                  <a:lnTo>
                    <a:pt x="231" y="136"/>
                  </a:lnTo>
                  <a:lnTo>
                    <a:pt x="231" y="130"/>
                  </a:lnTo>
                  <a:lnTo>
                    <a:pt x="231" y="130"/>
                  </a:lnTo>
                  <a:lnTo>
                    <a:pt x="231" y="123"/>
                  </a:lnTo>
                  <a:lnTo>
                    <a:pt x="229" y="117"/>
                  </a:lnTo>
                  <a:lnTo>
                    <a:pt x="229" y="109"/>
                  </a:lnTo>
                  <a:lnTo>
                    <a:pt x="227" y="103"/>
                  </a:lnTo>
                  <a:lnTo>
                    <a:pt x="225" y="98"/>
                  </a:lnTo>
                  <a:lnTo>
                    <a:pt x="225" y="92"/>
                  </a:lnTo>
                  <a:lnTo>
                    <a:pt x="224" y="84"/>
                  </a:lnTo>
                  <a:lnTo>
                    <a:pt x="224" y="79"/>
                  </a:lnTo>
                  <a:lnTo>
                    <a:pt x="225" y="71"/>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5" name="Freeform 239"/>
            <p:cNvSpPr>
              <a:spLocks/>
            </p:cNvSpPr>
            <p:nvPr/>
          </p:nvSpPr>
          <p:spPr bwMode="gray">
            <a:xfrm>
              <a:off x="987" y="1897"/>
              <a:ext cx="126" cy="139"/>
            </a:xfrm>
            <a:custGeom>
              <a:avLst/>
              <a:gdLst/>
              <a:ahLst/>
              <a:cxnLst>
                <a:cxn ang="0">
                  <a:pos x="222" y="129"/>
                </a:cxn>
                <a:cxn ang="0">
                  <a:pos x="205" y="137"/>
                </a:cxn>
                <a:cxn ang="0">
                  <a:pos x="197" y="150"/>
                </a:cxn>
                <a:cxn ang="0">
                  <a:pos x="193" y="169"/>
                </a:cxn>
                <a:cxn ang="0">
                  <a:pos x="185" y="188"/>
                </a:cxn>
                <a:cxn ang="0">
                  <a:pos x="184" y="192"/>
                </a:cxn>
                <a:cxn ang="0">
                  <a:pos x="168" y="209"/>
                </a:cxn>
                <a:cxn ang="0">
                  <a:pos x="147" y="232"/>
                </a:cxn>
                <a:cxn ang="0">
                  <a:pos x="130" y="250"/>
                </a:cxn>
                <a:cxn ang="0">
                  <a:pos x="126" y="253"/>
                </a:cxn>
                <a:cxn ang="0">
                  <a:pos x="115" y="248"/>
                </a:cxn>
                <a:cxn ang="0">
                  <a:pos x="105" y="240"/>
                </a:cxn>
                <a:cxn ang="0">
                  <a:pos x="96" y="234"/>
                </a:cxn>
                <a:cxn ang="0">
                  <a:pos x="88" y="229"/>
                </a:cxn>
                <a:cxn ang="0">
                  <a:pos x="81" y="223"/>
                </a:cxn>
                <a:cxn ang="0">
                  <a:pos x="73" y="217"/>
                </a:cxn>
                <a:cxn ang="0">
                  <a:pos x="63" y="209"/>
                </a:cxn>
                <a:cxn ang="0">
                  <a:pos x="54" y="204"/>
                </a:cxn>
                <a:cxn ang="0">
                  <a:pos x="50" y="202"/>
                </a:cxn>
                <a:cxn ang="0">
                  <a:pos x="41" y="198"/>
                </a:cxn>
                <a:cxn ang="0">
                  <a:pos x="31" y="192"/>
                </a:cxn>
                <a:cxn ang="0">
                  <a:pos x="23" y="185"/>
                </a:cxn>
                <a:cxn ang="0">
                  <a:pos x="21" y="181"/>
                </a:cxn>
                <a:cxn ang="0">
                  <a:pos x="20" y="169"/>
                </a:cxn>
                <a:cxn ang="0">
                  <a:pos x="20" y="160"/>
                </a:cxn>
                <a:cxn ang="0">
                  <a:pos x="20" y="150"/>
                </a:cxn>
                <a:cxn ang="0">
                  <a:pos x="18" y="141"/>
                </a:cxn>
                <a:cxn ang="0">
                  <a:pos x="16" y="137"/>
                </a:cxn>
                <a:cxn ang="0">
                  <a:pos x="10" y="131"/>
                </a:cxn>
                <a:cxn ang="0">
                  <a:pos x="4" y="124"/>
                </a:cxn>
                <a:cxn ang="0">
                  <a:pos x="0" y="112"/>
                </a:cxn>
                <a:cxn ang="0">
                  <a:pos x="0" y="103"/>
                </a:cxn>
                <a:cxn ang="0">
                  <a:pos x="2" y="84"/>
                </a:cxn>
                <a:cxn ang="0">
                  <a:pos x="8" y="64"/>
                </a:cxn>
                <a:cxn ang="0">
                  <a:pos x="18" y="47"/>
                </a:cxn>
                <a:cxn ang="0">
                  <a:pos x="29" y="32"/>
                </a:cxn>
                <a:cxn ang="0">
                  <a:pos x="42" y="19"/>
                </a:cxn>
                <a:cxn ang="0">
                  <a:pos x="58" y="7"/>
                </a:cxn>
                <a:cxn ang="0">
                  <a:pos x="73" y="2"/>
                </a:cxn>
                <a:cxn ang="0">
                  <a:pos x="90" y="0"/>
                </a:cxn>
                <a:cxn ang="0">
                  <a:pos x="96" y="0"/>
                </a:cxn>
                <a:cxn ang="0">
                  <a:pos x="107" y="0"/>
                </a:cxn>
                <a:cxn ang="0">
                  <a:pos x="119" y="0"/>
                </a:cxn>
                <a:cxn ang="0">
                  <a:pos x="126" y="0"/>
                </a:cxn>
                <a:cxn ang="0">
                  <a:pos x="126" y="0"/>
                </a:cxn>
                <a:cxn ang="0">
                  <a:pos x="144" y="2"/>
                </a:cxn>
                <a:cxn ang="0">
                  <a:pos x="159" y="9"/>
                </a:cxn>
                <a:cxn ang="0">
                  <a:pos x="172" y="19"/>
                </a:cxn>
                <a:cxn ang="0">
                  <a:pos x="184" y="32"/>
                </a:cxn>
                <a:cxn ang="0">
                  <a:pos x="193" y="49"/>
                </a:cxn>
                <a:cxn ang="0">
                  <a:pos x="201" y="68"/>
                </a:cxn>
                <a:cxn ang="0">
                  <a:pos x="206" y="89"/>
                </a:cxn>
                <a:cxn ang="0">
                  <a:pos x="206" y="112"/>
                </a:cxn>
                <a:cxn ang="0">
                  <a:pos x="206" y="114"/>
                </a:cxn>
                <a:cxn ang="0">
                  <a:pos x="205" y="120"/>
                </a:cxn>
                <a:cxn ang="0">
                  <a:pos x="201" y="124"/>
                </a:cxn>
                <a:cxn ang="0">
                  <a:pos x="197" y="126"/>
                </a:cxn>
                <a:cxn ang="0">
                  <a:pos x="195" y="127"/>
                </a:cxn>
                <a:cxn ang="0">
                  <a:pos x="201" y="129"/>
                </a:cxn>
                <a:cxn ang="0">
                  <a:pos x="205" y="129"/>
                </a:cxn>
                <a:cxn ang="0">
                  <a:pos x="208" y="129"/>
                </a:cxn>
                <a:cxn ang="0">
                  <a:pos x="214" y="127"/>
                </a:cxn>
              </a:cxnLst>
              <a:rect l="0" t="0" r="r" b="b"/>
              <a:pathLst>
                <a:path w="222" h="253">
                  <a:moveTo>
                    <a:pt x="222" y="129"/>
                  </a:moveTo>
                  <a:lnTo>
                    <a:pt x="222" y="129"/>
                  </a:lnTo>
                  <a:lnTo>
                    <a:pt x="210" y="131"/>
                  </a:lnTo>
                  <a:lnTo>
                    <a:pt x="205" y="137"/>
                  </a:lnTo>
                  <a:lnTo>
                    <a:pt x="201" y="143"/>
                  </a:lnTo>
                  <a:lnTo>
                    <a:pt x="197" y="150"/>
                  </a:lnTo>
                  <a:lnTo>
                    <a:pt x="195" y="160"/>
                  </a:lnTo>
                  <a:lnTo>
                    <a:pt x="193" y="169"/>
                  </a:lnTo>
                  <a:lnTo>
                    <a:pt x="191" y="179"/>
                  </a:lnTo>
                  <a:lnTo>
                    <a:pt x="185" y="188"/>
                  </a:lnTo>
                  <a:lnTo>
                    <a:pt x="185" y="188"/>
                  </a:lnTo>
                  <a:lnTo>
                    <a:pt x="184" y="192"/>
                  </a:lnTo>
                  <a:lnTo>
                    <a:pt x="178" y="200"/>
                  </a:lnTo>
                  <a:lnTo>
                    <a:pt x="168" y="209"/>
                  </a:lnTo>
                  <a:lnTo>
                    <a:pt x="159" y="221"/>
                  </a:lnTo>
                  <a:lnTo>
                    <a:pt x="147" y="232"/>
                  </a:lnTo>
                  <a:lnTo>
                    <a:pt x="138" y="242"/>
                  </a:lnTo>
                  <a:lnTo>
                    <a:pt x="130" y="250"/>
                  </a:lnTo>
                  <a:lnTo>
                    <a:pt x="126" y="253"/>
                  </a:lnTo>
                  <a:lnTo>
                    <a:pt x="126" y="253"/>
                  </a:lnTo>
                  <a:lnTo>
                    <a:pt x="121" y="250"/>
                  </a:lnTo>
                  <a:lnTo>
                    <a:pt x="115" y="248"/>
                  </a:lnTo>
                  <a:lnTo>
                    <a:pt x="109" y="244"/>
                  </a:lnTo>
                  <a:lnTo>
                    <a:pt x="105" y="240"/>
                  </a:lnTo>
                  <a:lnTo>
                    <a:pt x="100" y="238"/>
                  </a:lnTo>
                  <a:lnTo>
                    <a:pt x="96" y="234"/>
                  </a:lnTo>
                  <a:lnTo>
                    <a:pt x="92" y="232"/>
                  </a:lnTo>
                  <a:lnTo>
                    <a:pt x="88" y="229"/>
                  </a:lnTo>
                  <a:lnTo>
                    <a:pt x="84" y="225"/>
                  </a:lnTo>
                  <a:lnTo>
                    <a:pt x="81" y="223"/>
                  </a:lnTo>
                  <a:lnTo>
                    <a:pt x="77" y="219"/>
                  </a:lnTo>
                  <a:lnTo>
                    <a:pt x="73" y="217"/>
                  </a:lnTo>
                  <a:lnTo>
                    <a:pt x="69" y="213"/>
                  </a:lnTo>
                  <a:lnTo>
                    <a:pt x="63" y="209"/>
                  </a:lnTo>
                  <a:lnTo>
                    <a:pt x="60" y="208"/>
                  </a:lnTo>
                  <a:lnTo>
                    <a:pt x="54" y="204"/>
                  </a:lnTo>
                  <a:lnTo>
                    <a:pt x="54" y="204"/>
                  </a:lnTo>
                  <a:lnTo>
                    <a:pt x="50" y="202"/>
                  </a:lnTo>
                  <a:lnTo>
                    <a:pt x="44" y="200"/>
                  </a:lnTo>
                  <a:lnTo>
                    <a:pt x="41" y="198"/>
                  </a:lnTo>
                  <a:lnTo>
                    <a:pt x="35" y="194"/>
                  </a:lnTo>
                  <a:lnTo>
                    <a:pt x="31" y="192"/>
                  </a:lnTo>
                  <a:lnTo>
                    <a:pt x="27" y="188"/>
                  </a:lnTo>
                  <a:lnTo>
                    <a:pt x="23" y="185"/>
                  </a:lnTo>
                  <a:lnTo>
                    <a:pt x="21" y="181"/>
                  </a:lnTo>
                  <a:lnTo>
                    <a:pt x="21" y="181"/>
                  </a:lnTo>
                  <a:lnTo>
                    <a:pt x="20" y="175"/>
                  </a:lnTo>
                  <a:lnTo>
                    <a:pt x="20" y="169"/>
                  </a:lnTo>
                  <a:lnTo>
                    <a:pt x="20" y="166"/>
                  </a:lnTo>
                  <a:lnTo>
                    <a:pt x="20" y="160"/>
                  </a:lnTo>
                  <a:lnTo>
                    <a:pt x="20" y="156"/>
                  </a:lnTo>
                  <a:lnTo>
                    <a:pt x="20" y="150"/>
                  </a:lnTo>
                  <a:lnTo>
                    <a:pt x="20" y="147"/>
                  </a:lnTo>
                  <a:lnTo>
                    <a:pt x="18" y="141"/>
                  </a:lnTo>
                  <a:lnTo>
                    <a:pt x="18" y="141"/>
                  </a:lnTo>
                  <a:lnTo>
                    <a:pt x="16" y="137"/>
                  </a:lnTo>
                  <a:lnTo>
                    <a:pt x="14" y="133"/>
                  </a:lnTo>
                  <a:lnTo>
                    <a:pt x="10" y="131"/>
                  </a:lnTo>
                  <a:lnTo>
                    <a:pt x="8" y="127"/>
                  </a:lnTo>
                  <a:lnTo>
                    <a:pt x="4" y="124"/>
                  </a:lnTo>
                  <a:lnTo>
                    <a:pt x="2" y="118"/>
                  </a:lnTo>
                  <a:lnTo>
                    <a:pt x="0" y="112"/>
                  </a:lnTo>
                  <a:lnTo>
                    <a:pt x="0" y="103"/>
                  </a:lnTo>
                  <a:lnTo>
                    <a:pt x="0" y="103"/>
                  </a:lnTo>
                  <a:lnTo>
                    <a:pt x="0" y="93"/>
                  </a:lnTo>
                  <a:lnTo>
                    <a:pt x="2" y="84"/>
                  </a:lnTo>
                  <a:lnTo>
                    <a:pt x="4" y="74"/>
                  </a:lnTo>
                  <a:lnTo>
                    <a:pt x="8" y="64"/>
                  </a:lnTo>
                  <a:lnTo>
                    <a:pt x="12" y="57"/>
                  </a:lnTo>
                  <a:lnTo>
                    <a:pt x="18" y="47"/>
                  </a:lnTo>
                  <a:lnTo>
                    <a:pt x="23" y="40"/>
                  </a:lnTo>
                  <a:lnTo>
                    <a:pt x="29" y="32"/>
                  </a:lnTo>
                  <a:lnTo>
                    <a:pt x="35" y="24"/>
                  </a:lnTo>
                  <a:lnTo>
                    <a:pt x="42" y="19"/>
                  </a:lnTo>
                  <a:lnTo>
                    <a:pt x="50" y="13"/>
                  </a:lnTo>
                  <a:lnTo>
                    <a:pt x="58" y="7"/>
                  </a:lnTo>
                  <a:lnTo>
                    <a:pt x="65" y="3"/>
                  </a:lnTo>
                  <a:lnTo>
                    <a:pt x="73" y="2"/>
                  </a:lnTo>
                  <a:lnTo>
                    <a:pt x="82" y="0"/>
                  </a:lnTo>
                  <a:lnTo>
                    <a:pt x="90" y="0"/>
                  </a:lnTo>
                  <a:lnTo>
                    <a:pt x="90" y="0"/>
                  </a:lnTo>
                  <a:lnTo>
                    <a:pt x="96" y="0"/>
                  </a:lnTo>
                  <a:lnTo>
                    <a:pt x="102" y="0"/>
                  </a:lnTo>
                  <a:lnTo>
                    <a:pt x="107" y="0"/>
                  </a:lnTo>
                  <a:lnTo>
                    <a:pt x="113" y="0"/>
                  </a:lnTo>
                  <a:lnTo>
                    <a:pt x="119" y="0"/>
                  </a:lnTo>
                  <a:lnTo>
                    <a:pt x="123" y="0"/>
                  </a:lnTo>
                  <a:lnTo>
                    <a:pt x="126" y="0"/>
                  </a:lnTo>
                  <a:lnTo>
                    <a:pt x="126" y="0"/>
                  </a:lnTo>
                  <a:lnTo>
                    <a:pt x="126" y="0"/>
                  </a:lnTo>
                  <a:lnTo>
                    <a:pt x="136" y="0"/>
                  </a:lnTo>
                  <a:lnTo>
                    <a:pt x="144" y="2"/>
                  </a:lnTo>
                  <a:lnTo>
                    <a:pt x="151" y="3"/>
                  </a:lnTo>
                  <a:lnTo>
                    <a:pt x="159" y="9"/>
                  </a:lnTo>
                  <a:lnTo>
                    <a:pt x="166" y="13"/>
                  </a:lnTo>
                  <a:lnTo>
                    <a:pt x="172" y="19"/>
                  </a:lnTo>
                  <a:lnTo>
                    <a:pt x="178" y="26"/>
                  </a:lnTo>
                  <a:lnTo>
                    <a:pt x="184" y="32"/>
                  </a:lnTo>
                  <a:lnTo>
                    <a:pt x="189" y="42"/>
                  </a:lnTo>
                  <a:lnTo>
                    <a:pt x="193" y="49"/>
                  </a:lnTo>
                  <a:lnTo>
                    <a:pt x="197" y="59"/>
                  </a:lnTo>
                  <a:lnTo>
                    <a:pt x="201" y="68"/>
                  </a:lnTo>
                  <a:lnTo>
                    <a:pt x="203" y="80"/>
                  </a:lnTo>
                  <a:lnTo>
                    <a:pt x="206" y="89"/>
                  </a:lnTo>
                  <a:lnTo>
                    <a:pt x="206" y="101"/>
                  </a:lnTo>
                  <a:lnTo>
                    <a:pt x="206" y="112"/>
                  </a:lnTo>
                  <a:lnTo>
                    <a:pt x="206" y="112"/>
                  </a:lnTo>
                  <a:lnTo>
                    <a:pt x="206" y="114"/>
                  </a:lnTo>
                  <a:lnTo>
                    <a:pt x="206" y="118"/>
                  </a:lnTo>
                  <a:lnTo>
                    <a:pt x="205" y="120"/>
                  </a:lnTo>
                  <a:lnTo>
                    <a:pt x="203" y="122"/>
                  </a:lnTo>
                  <a:lnTo>
                    <a:pt x="201" y="124"/>
                  </a:lnTo>
                  <a:lnTo>
                    <a:pt x="199" y="126"/>
                  </a:lnTo>
                  <a:lnTo>
                    <a:pt x="197" y="126"/>
                  </a:lnTo>
                  <a:lnTo>
                    <a:pt x="195" y="127"/>
                  </a:lnTo>
                  <a:lnTo>
                    <a:pt x="195" y="127"/>
                  </a:lnTo>
                  <a:lnTo>
                    <a:pt x="197" y="127"/>
                  </a:lnTo>
                  <a:lnTo>
                    <a:pt x="201" y="129"/>
                  </a:lnTo>
                  <a:lnTo>
                    <a:pt x="203" y="129"/>
                  </a:lnTo>
                  <a:lnTo>
                    <a:pt x="205" y="129"/>
                  </a:lnTo>
                  <a:lnTo>
                    <a:pt x="206" y="129"/>
                  </a:lnTo>
                  <a:lnTo>
                    <a:pt x="208" y="129"/>
                  </a:lnTo>
                  <a:lnTo>
                    <a:pt x="212" y="127"/>
                  </a:lnTo>
                  <a:lnTo>
                    <a:pt x="214" y="127"/>
                  </a:lnTo>
                  <a:lnTo>
                    <a:pt x="222" y="129"/>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6" name="Freeform 240"/>
            <p:cNvSpPr>
              <a:spLocks/>
            </p:cNvSpPr>
            <p:nvPr/>
          </p:nvSpPr>
          <p:spPr bwMode="gray">
            <a:xfrm>
              <a:off x="922" y="1768"/>
              <a:ext cx="300" cy="256"/>
            </a:xfrm>
            <a:custGeom>
              <a:avLst/>
              <a:gdLst/>
              <a:ahLst/>
              <a:cxnLst>
                <a:cxn ang="0">
                  <a:pos x="380" y="364"/>
                </a:cxn>
                <a:cxn ang="0">
                  <a:pos x="401" y="391"/>
                </a:cxn>
                <a:cxn ang="0">
                  <a:pos x="406" y="427"/>
                </a:cxn>
                <a:cxn ang="0">
                  <a:pos x="399" y="441"/>
                </a:cxn>
                <a:cxn ang="0">
                  <a:pos x="399" y="452"/>
                </a:cxn>
                <a:cxn ang="0">
                  <a:pos x="424" y="465"/>
                </a:cxn>
                <a:cxn ang="0">
                  <a:pos x="448" y="450"/>
                </a:cxn>
                <a:cxn ang="0">
                  <a:pos x="460" y="433"/>
                </a:cxn>
                <a:cxn ang="0">
                  <a:pos x="467" y="431"/>
                </a:cxn>
                <a:cxn ang="0">
                  <a:pos x="490" y="427"/>
                </a:cxn>
                <a:cxn ang="0">
                  <a:pos x="500" y="399"/>
                </a:cxn>
                <a:cxn ang="0">
                  <a:pos x="487" y="381"/>
                </a:cxn>
                <a:cxn ang="0">
                  <a:pos x="492" y="366"/>
                </a:cxn>
                <a:cxn ang="0">
                  <a:pos x="509" y="362"/>
                </a:cxn>
                <a:cxn ang="0">
                  <a:pos x="525" y="368"/>
                </a:cxn>
                <a:cxn ang="0">
                  <a:pos x="517" y="351"/>
                </a:cxn>
                <a:cxn ang="0">
                  <a:pos x="511" y="328"/>
                </a:cxn>
                <a:cxn ang="0">
                  <a:pos x="511" y="313"/>
                </a:cxn>
                <a:cxn ang="0">
                  <a:pos x="507" y="296"/>
                </a:cxn>
                <a:cxn ang="0">
                  <a:pos x="504" y="267"/>
                </a:cxn>
                <a:cxn ang="0">
                  <a:pos x="519" y="231"/>
                </a:cxn>
                <a:cxn ang="0">
                  <a:pos x="515" y="210"/>
                </a:cxn>
                <a:cxn ang="0">
                  <a:pos x="504" y="181"/>
                </a:cxn>
                <a:cxn ang="0">
                  <a:pos x="479" y="158"/>
                </a:cxn>
                <a:cxn ang="0">
                  <a:pos x="492" y="151"/>
                </a:cxn>
                <a:cxn ang="0">
                  <a:pos x="492" y="137"/>
                </a:cxn>
                <a:cxn ang="0">
                  <a:pos x="471" y="90"/>
                </a:cxn>
                <a:cxn ang="0">
                  <a:pos x="448" y="42"/>
                </a:cxn>
                <a:cxn ang="0">
                  <a:pos x="427" y="48"/>
                </a:cxn>
                <a:cxn ang="0">
                  <a:pos x="395" y="72"/>
                </a:cxn>
                <a:cxn ang="0">
                  <a:pos x="370" y="61"/>
                </a:cxn>
                <a:cxn ang="0">
                  <a:pos x="351" y="65"/>
                </a:cxn>
                <a:cxn ang="0">
                  <a:pos x="336" y="76"/>
                </a:cxn>
                <a:cxn ang="0">
                  <a:pos x="313" y="63"/>
                </a:cxn>
                <a:cxn ang="0">
                  <a:pos x="300" y="59"/>
                </a:cxn>
                <a:cxn ang="0">
                  <a:pos x="284" y="65"/>
                </a:cxn>
                <a:cxn ang="0">
                  <a:pos x="271" y="53"/>
                </a:cxn>
                <a:cxn ang="0">
                  <a:pos x="269" y="46"/>
                </a:cxn>
                <a:cxn ang="0">
                  <a:pos x="271" y="36"/>
                </a:cxn>
                <a:cxn ang="0">
                  <a:pos x="225" y="38"/>
                </a:cxn>
                <a:cxn ang="0">
                  <a:pos x="183" y="32"/>
                </a:cxn>
                <a:cxn ang="0">
                  <a:pos x="155" y="21"/>
                </a:cxn>
                <a:cxn ang="0">
                  <a:pos x="128" y="0"/>
                </a:cxn>
                <a:cxn ang="0">
                  <a:pos x="105" y="11"/>
                </a:cxn>
                <a:cxn ang="0">
                  <a:pos x="82" y="34"/>
                </a:cxn>
                <a:cxn ang="0">
                  <a:pos x="95" y="61"/>
                </a:cxn>
                <a:cxn ang="0">
                  <a:pos x="86" y="84"/>
                </a:cxn>
                <a:cxn ang="0">
                  <a:pos x="42" y="84"/>
                </a:cxn>
                <a:cxn ang="0">
                  <a:pos x="6" y="111"/>
                </a:cxn>
                <a:cxn ang="0">
                  <a:pos x="10" y="162"/>
                </a:cxn>
                <a:cxn ang="0">
                  <a:pos x="61" y="225"/>
                </a:cxn>
                <a:cxn ang="0">
                  <a:pos x="118" y="286"/>
                </a:cxn>
                <a:cxn ang="0">
                  <a:pos x="139" y="271"/>
                </a:cxn>
                <a:cxn ang="0">
                  <a:pos x="170" y="244"/>
                </a:cxn>
                <a:cxn ang="0">
                  <a:pos x="206" y="233"/>
                </a:cxn>
                <a:cxn ang="0">
                  <a:pos x="235" y="233"/>
                </a:cxn>
                <a:cxn ang="0">
                  <a:pos x="260" y="235"/>
                </a:cxn>
                <a:cxn ang="0">
                  <a:pos x="300" y="265"/>
                </a:cxn>
                <a:cxn ang="0">
                  <a:pos x="322" y="322"/>
                </a:cxn>
                <a:cxn ang="0">
                  <a:pos x="321" y="351"/>
                </a:cxn>
                <a:cxn ang="0">
                  <a:pos x="355" y="360"/>
                </a:cxn>
              </a:cxnLst>
              <a:rect l="0" t="0" r="r" b="b"/>
              <a:pathLst>
                <a:path w="530" h="465">
                  <a:moveTo>
                    <a:pt x="355" y="360"/>
                  </a:moveTo>
                  <a:lnTo>
                    <a:pt x="355" y="360"/>
                  </a:lnTo>
                  <a:lnTo>
                    <a:pt x="363" y="360"/>
                  </a:lnTo>
                  <a:lnTo>
                    <a:pt x="368" y="360"/>
                  </a:lnTo>
                  <a:lnTo>
                    <a:pt x="376" y="362"/>
                  </a:lnTo>
                  <a:lnTo>
                    <a:pt x="380" y="364"/>
                  </a:lnTo>
                  <a:lnTo>
                    <a:pt x="385" y="368"/>
                  </a:lnTo>
                  <a:lnTo>
                    <a:pt x="389" y="372"/>
                  </a:lnTo>
                  <a:lnTo>
                    <a:pt x="393" y="376"/>
                  </a:lnTo>
                  <a:lnTo>
                    <a:pt x="397" y="380"/>
                  </a:lnTo>
                  <a:lnTo>
                    <a:pt x="399" y="385"/>
                  </a:lnTo>
                  <a:lnTo>
                    <a:pt x="401" y="391"/>
                  </a:lnTo>
                  <a:lnTo>
                    <a:pt x="403" y="397"/>
                  </a:lnTo>
                  <a:lnTo>
                    <a:pt x="404" y="402"/>
                  </a:lnTo>
                  <a:lnTo>
                    <a:pt x="404" y="408"/>
                  </a:lnTo>
                  <a:lnTo>
                    <a:pt x="406" y="414"/>
                  </a:lnTo>
                  <a:lnTo>
                    <a:pt x="406" y="421"/>
                  </a:lnTo>
                  <a:lnTo>
                    <a:pt x="406" y="427"/>
                  </a:lnTo>
                  <a:lnTo>
                    <a:pt x="406" y="427"/>
                  </a:lnTo>
                  <a:lnTo>
                    <a:pt x="406" y="431"/>
                  </a:lnTo>
                  <a:lnTo>
                    <a:pt x="404" y="433"/>
                  </a:lnTo>
                  <a:lnTo>
                    <a:pt x="403" y="437"/>
                  </a:lnTo>
                  <a:lnTo>
                    <a:pt x="401" y="439"/>
                  </a:lnTo>
                  <a:lnTo>
                    <a:pt x="399" y="441"/>
                  </a:lnTo>
                  <a:lnTo>
                    <a:pt x="399" y="441"/>
                  </a:lnTo>
                  <a:lnTo>
                    <a:pt x="397" y="442"/>
                  </a:lnTo>
                  <a:lnTo>
                    <a:pt x="397" y="444"/>
                  </a:lnTo>
                  <a:lnTo>
                    <a:pt x="397" y="444"/>
                  </a:lnTo>
                  <a:lnTo>
                    <a:pt x="397" y="448"/>
                  </a:lnTo>
                  <a:lnTo>
                    <a:pt x="399" y="452"/>
                  </a:lnTo>
                  <a:lnTo>
                    <a:pt x="403" y="456"/>
                  </a:lnTo>
                  <a:lnTo>
                    <a:pt x="406" y="458"/>
                  </a:lnTo>
                  <a:lnTo>
                    <a:pt x="410" y="462"/>
                  </a:lnTo>
                  <a:lnTo>
                    <a:pt x="416" y="463"/>
                  </a:lnTo>
                  <a:lnTo>
                    <a:pt x="420" y="465"/>
                  </a:lnTo>
                  <a:lnTo>
                    <a:pt x="424" y="465"/>
                  </a:lnTo>
                  <a:lnTo>
                    <a:pt x="424" y="465"/>
                  </a:lnTo>
                  <a:lnTo>
                    <a:pt x="429" y="465"/>
                  </a:lnTo>
                  <a:lnTo>
                    <a:pt x="435" y="463"/>
                  </a:lnTo>
                  <a:lnTo>
                    <a:pt x="441" y="460"/>
                  </a:lnTo>
                  <a:lnTo>
                    <a:pt x="445" y="456"/>
                  </a:lnTo>
                  <a:lnTo>
                    <a:pt x="448" y="450"/>
                  </a:lnTo>
                  <a:lnTo>
                    <a:pt x="450" y="444"/>
                  </a:lnTo>
                  <a:lnTo>
                    <a:pt x="452" y="439"/>
                  </a:lnTo>
                  <a:lnTo>
                    <a:pt x="454" y="431"/>
                  </a:lnTo>
                  <a:lnTo>
                    <a:pt x="454" y="431"/>
                  </a:lnTo>
                  <a:lnTo>
                    <a:pt x="456" y="433"/>
                  </a:lnTo>
                  <a:lnTo>
                    <a:pt x="460" y="433"/>
                  </a:lnTo>
                  <a:lnTo>
                    <a:pt x="462" y="433"/>
                  </a:lnTo>
                  <a:lnTo>
                    <a:pt x="464" y="433"/>
                  </a:lnTo>
                  <a:lnTo>
                    <a:pt x="464" y="431"/>
                  </a:lnTo>
                  <a:lnTo>
                    <a:pt x="466" y="431"/>
                  </a:lnTo>
                  <a:lnTo>
                    <a:pt x="466" y="431"/>
                  </a:lnTo>
                  <a:lnTo>
                    <a:pt x="467" y="431"/>
                  </a:lnTo>
                  <a:lnTo>
                    <a:pt x="466" y="439"/>
                  </a:lnTo>
                  <a:lnTo>
                    <a:pt x="466" y="439"/>
                  </a:lnTo>
                  <a:lnTo>
                    <a:pt x="473" y="439"/>
                  </a:lnTo>
                  <a:lnTo>
                    <a:pt x="481" y="435"/>
                  </a:lnTo>
                  <a:lnTo>
                    <a:pt x="487" y="431"/>
                  </a:lnTo>
                  <a:lnTo>
                    <a:pt x="490" y="427"/>
                  </a:lnTo>
                  <a:lnTo>
                    <a:pt x="494" y="421"/>
                  </a:lnTo>
                  <a:lnTo>
                    <a:pt x="498" y="414"/>
                  </a:lnTo>
                  <a:lnTo>
                    <a:pt x="500" y="408"/>
                  </a:lnTo>
                  <a:lnTo>
                    <a:pt x="504" y="400"/>
                  </a:lnTo>
                  <a:lnTo>
                    <a:pt x="504" y="400"/>
                  </a:lnTo>
                  <a:lnTo>
                    <a:pt x="500" y="399"/>
                  </a:lnTo>
                  <a:lnTo>
                    <a:pt x="496" y="397"/>
                  </a:lnTo>
                  <a:lnTo>
                    <a:pt x="492" y="395"/>
                  </a:lnTo>
                  <a:lnTo>
                    <a:pt x="490" y="391"/>
                  </a:lnTo>
                  <a:lnTo>
                    <a:pt x="488" y="389"/>
                  </a:lnTo>
                  <a:lnTo>
                    <a:pt x="487" y="385"/>
                  </a:lnTo>
                  <a:lnTo>
                    <a:pt x="487" y="381"/>
                  </a:lnTo>
                  <a:lnTo>
                    <a:pt x="485" y="378"/>
                  </a:lnTo>
                  <a:lnTo>
                    <a:pt x="485" y="378"/>
                  </a:lnTo>
                  <a:lnTo>
                    <a:pt x="487" y="374"/>
                  </a:lnTo>
                  <a:lnTo>
                    <a:pt x="487" y="370"/>
                  </a:lnTo>
                  <a:lnTo>
                    <a:pt x="488" y="368"/>
                  </a:lnTo>
                  <a:lnTo>
                    <a:pt x="492" y="366"/>
                  </a:lnTo>
                  <a:lnTo>
                    <a:pt x="494" y="364"/>
                  </a:lnTo>
                  <a:lnTo>
                    <a:pt x="498" y="362"/>
                  </a:lnTo>
                  <a:lnTo>
                    <a:pt x="500" y="362"/>
                  </a:lnTo>
                  <a:lnTo>
                    <a:pt x="504" y="362"/>
                  </a:lnTo>
                  <a:lnTo>
                    <a:pt x="504" y="362"/>
                  </a:lnTo>
                  <a:lnTo>
                    <a:pt x="509" y="362"/>
                  </a:lnTo>
                  <a:lnTo>
                    <a:pt x="513" y="364"/>
                  </a:lnTo>
                  <a:lnTo>
                    <a:pt x="515" y="366"/>
                  </a:lnTo>
                  <a:lnTo>
                    <a:pt x="517" y="368"/>
                  </a:lnTo>
                  <a:lnTo>
                    <a:pt x="519" y="368"/>
                  </a:lnTo>
                  <a:lnTo>
                    <a:pt x="521" y="368"/>
                  </a:lnTo>
                  <a:lnTo>
                    <a:pt x="525" y="368"/>
                  </a:lnTo>
                  <a:lnTo>
                    <a:pt x="530" y="366"/>
                  </a:lnTo>
                  <a:lnTo>
                    <a:pt x="530" y="366"/>
                  </a:lnTo>
                  <a:lnTo>
                    <a:pt x="527" y="362"/>
                  </a:lnTo>
                  <a:lnTo>
                    <a:pt x="523" y="359"/>
                  </a:lnTo>
                  <a:lnTo>
                    <a:pt x="521" y="355"/>
                  </a:lnTo>
                  <a:lnTo>
                    <a:pt x="517" y="351"/>
                  </a:lnTo>
                  <a:lnTo>
                    <a:pt x="515" y="347"/>
                  </a:lnTo>
                  <a:lnTo>
                    <a:pt x="513" y="343"/>
                  </a:lnTo>
                  <a:lnTo>
                    <a:pt x="513" y="338"/>
                  </a:lnTo>
                  <a:lnTo>
                    <a:pt x="511" y="332"/>
                  </a:lnTo>
                  <a:lnTo>
                    <a:pt x="511" y="332"/>
                  </a:lnTo>
                  <a:lnTo>
                    <a:pt x="511" y="328"/>
                  </a:lnTo>
                  <a:lnTo>
                    <a:pt x="511" y="326"/>
                  </a:lnTo>
                  <a:lnTo>
                    <a:pt x="511" y="322"/>
                  </a:lnTo>
                  <a:lnTo>
                    <a:pt x="511" y="318"/>
                  </a:lnTo>
                  <a:lnTo>
                    <a:pt x="511" y="317"/>
                  </a:lnTo>
                  <a:lnTo>
                    <a:pt x="511" y="315"/>
                  </a:lnTo>
                  <a:lnTo>
                    <a:pt x="511" y="313"/>
                  </a:lnTo>
                  <a:lnTo>
                    <a:pt x="511" y="313"/>
                  </a:lnTo>
                  <a:lnTo>
                    <a:pt x="511" y="313"/>
                  </a:lnTo>
                  <a:lnTo>
                    <a:pt x="511" y="309"/>
                  </a:lnTo>
                  <a:lnTo>
                    <a:pt x="511" y="305"/>
                  </a:lnTo>
                  <a:lnTo>
                    <a:pt x="509" y="299"/>
                  </a:lnTo>
                  <a:lnTo>
                    <a:pt x="507" y="296"/>
                  </a:lnTo>
                  <a:lnTo>
                    <a:pt x="506" y="290"/>
                  </a:lnTo>
                  <a:lnTo>
                    <a:pt x="504" y="286"/>
                  </a:lnTo>
                  <a:lnTo>
                    <a:pt x="504" y="280"/>
                  </a:lnTo>
                  <a:lnTo>
                    <a:pt x="504" y="275"/>
                  </a:lnTo>
                  <a:lnTo>
                    <a:pt x="504" y="275"/>
                  </a:lnTo>
                  <a:lnTo>
                    <a:pt x="504" y="267"/>
                  </a:lnTo>
                  <a:lnTo>
                    <a:pt x="506" y="261"/>
                  </a:lnTo>
                  <a:lnTo>
                    <a:pt x="506" y="254"/>
                  </a:lnTo>
                  <a:lnTo>
                    <a:pt x="509" y="248"/>
                  </a:lnTo>
                  <a:lnTo>
                    <a:pt x="511" y="242"/>
                  </a:lnTo>
                  <a:lnTo>
                    <a:pt x="515" y="236"/>
                  </a:lnTo>
                  <a:lnTo>
                    <a:pt x="519" y="231"/>
                  </a:lnTo>
                  <a:lnTo>
                    <a:pt x="525" y="227"/>
                  </a:lnTo>
                  <a:lnTo>
                    <a:pt x="525" y="227"/>
                  </a:lnTo>
                  <a:lnTo>
                    <a:pt x="521" y="223"/>
                  </a:lnTo>
                  <a:lnTo>
                    <a:pt x="519" y="219"/>
                  </a:lnTo>
                  <a:lnTo>
                    <a:pt x="517" y="214"/>
                  </a:lnTo>
                  <a:lnTo>
                    <a:pt x="515" y="210"/>
                  </a:lnTo>
                  <a:lnTo>
                    <a:pt x="513" y="204"/>
                  </a:lnTo>
                  <a:lnTo>
                    <a:pt x="511" y="200"/>
                  </a:lnTo>
                  <a:lnTo>
                    <a:pt x="509" y="194"/>
                  </a:lnTo>
                  <a:lnTo>
                    <a:pt x="507" y="191"/>
                  </a:lnTo>
                  <a:lnTo>
                    <a:pt x="506" y="185"/>
                  </a:lnTo>
                  <a:lnTo>
                    <a:pt x="504" y="181"/>
                  </a:lnTo>
                  <a:lnTo>
                    <a:pt x="500" y="175"/>
                  </a:lnTo>
                  <a:lnTo>
                    <a:pt x="498" y="172"/>
                  </a:lnTo>
                  <a:lnTo>
                    <a:pt x="494" y="168"/>
                  </a:lnTo>
                  <a:lnTo>
                    <a:pt x="490" y="164"/>
                  </a:lnTo>
                  <a:lnTo>
                    <a:pt x="485" y="160"/>
                  </a:lnTo>
                  <a:lnTo>
                    <a:pt x="479" y="158"/>
                  </a:lnTo>
                  <a:lnTo>
                    <a:pt x="479" y="158"/>
                  </a:lnTo>
                  <a:lnTo>
                    <a:pt x="481" y="156"/>
                  </a:lnTo>
                  <a:lnTo>
                    <a:pt x="485" y="154"/>
                  </a:lnTo>
                  <a:lnTo>
                    <a:pt x="487" y="152"/>
                  </a:lnTo>
                  <a:lnTo>
                    <a:pt x="490" y="152"/>
                  </a:lnTo>
                  <a:lnTo>
                    <a:pt x="492" y="151"/>
                  </a:lnTo>
                  <a:lnTo>
                    <a:pt x="492" y="149"/>
                  </a:lnTo>
                  <a:lnTo>
                    <a:pt x="494" y="145"/>
                  </a:lnTo>
                  <a:lnTo>
                    <a:pt x="494" y="141"/>
                  </a:lnTo>
                  <a:lnTo>
                    <a:pt x="494" y="141"/>
                  </a:lnTo>
                  <a:lnTo>
                    <a:pt x="494" y="141"/>
                  </a:lnTo>
                  <a:lnTo>
                    <a:pt x="492" y="137"/>
                  </a:lnTo>
                  <a:lnTo>
                    <a:pt x="490" y="132"/>
                  </a:lnTo>
                  <a:lnTo>
                    <a:pt x="488" y="126"/>
                  </a:lnTo>
                  <a:lnTo>
                    <a:pt x="485" y="118"/>
                  </a:lnTo>
                  <a:lnTo>
                    <a:pt x="481" y="109"/>
                  </a:lnTo>
                  <a:lnTo>
                    <a:pt x="477" y="99"/>
                  </a:lnTo>
                  <a:lnTo>
                    <a:pt x="471" y="90"/>
                  </a:lnTo>
                  <a:lnTo>
                    <a:pt x="467" y="80"/>
                  </a:lnTo>
                  <a:lnTo>
                    <a:pt x="464" y="70"/>
                  </a:lnTo>
                  <a:lnTo>
                    <a:pt x="460" y="61"/>
                  </a:lnTo>
                  <a:lnTo>
                    <a:pt x="454" y="53"/>
                  </a:lnTo>
                  <a:lnTo>
                    <a:pt x="452" y="48"/>
                  </a:lnTo>
                  <a:lnTo>
                    <a:pt x="448" y="42"/>
                  </a:lnTo>
                  <a:lnTo>
                    <a:pt x="446" y="38"/>
                  </a:lnTo>
                  <a:lnTo>
                    <a:pt x="445" y="38"/>
                  </a:lnTo>
                  <a:lnTo>
                    <a:pt x="445" y="38"/>
                  </a:lnTo>
                  <a:lnTo>
                    <a:pt x="439" y="38"/>
                  </a:lnTo>
                  <a:lnTo>
                    <a:pt x="433" y="42"/>
                  </a:lnTo>
                  <a:lnTo>
                    <a:pt x="427" y="48"/>
                  </a:lnTo>
                  <a:lnTo>
                    <a:pt x="424" y="55"/>
                  </a:lnTo>
                  <a:lnTo>
                    <a:pt x="418" y="61"/>
                  </a:lnTo>
                  <a:lnTo>
                    <a:pt x="410" y="67"/>
                  </a:lnTo>
                  <a:lnTo>
                    <a:pt x="403" y="70"/>
                  </a:lnTo>
                  <a:lnTo>
                    <a:pt x="395" y="72"/>
                  </a:lnTo>
                  <a:lnTo>
                    <a:pt x="395" y="72"/>
                  </a:lnTo>
                  <a:lnTo>
                    <a:pt x="389" y="72"/>
                  </a:lnTo>
                  <a:lnTo>
                    <a:pt x="385" y="70"/>
                  </a:lnTo>
                  <a:lnTo>
                    <a:pt x="382" y="69"/>
                  </a:lnTo>
                  <a:lnTo>
                    <a:pt x="378" y="67"/>
                  </a:lnTo>
                  <a:lnTo>
                    <a:pt x="374" y="63"/>
                  </a:lnTo>
                  <a:lnTo>
                    <a:pt x="370" y="61"/>
                  </a:lnTo>
                  <a:lnTo>
                    <a:pt x="366" y="59"/>
                  </a:lnTo>
                  <a:lnTo>
                    <a:pt x="361" y="59"/>
                  </a:lnTo>
                  <a:lnTo>
                    <a:pt x="361" y="59"/>
                  </a:lnTo>
                  <a:lnTo>
                    <a:pt x="357" y="59"/>
                  </a:lnTo>
                  <a:lnTo>
                    <a:pt x="355" y="61"/>
                  </a:lnTo>
                  <a:lnTo>
                    <a:pt x="351" y="65"/>
                  </a:lnTo>
                  <a:lnTo>
                    <a:pt x="349" y="67"/>
                  </a:lnTo>
                  <a:lnTo>
                    <a:pt x="347" y="70"/>
                  </a:lnTo>
                  <a:lnTo>
                    <a:pt x="343" y="72"/>
                  </a:lnTo>
                  <a:lnTo>
                    <a:pt x="340" y="76"/>
                  </a:lnTo>
                  <a:lnTo>
                    <a:pt x="336" y="76"/>
                  </a:lnTo>
                  <a:lnTo>
                    <a:pt x="336" y="76"/>
                  </a:lnTo>
                  <a:lnTo>
                    <a:pt x="332" y="76"/>
                  </a:lnTo>
                  <a:lnTo>
                    <a:pt x="328" y="74"/>
                  </a:lnTo>
                  <a:lnTo>
                    <a:pt x="322" y="72"/>
                  </a:lnTo>
                  <a:lnTo>
                    <a:pt x="321" y="69"/>
                  </a:lnTo>
                  <a:lnTo>
                    <a:pt x="317" y="67"/>
                  </a:lnTo>
                  <a:lnTo>
                    <a:pt x="313" y="63"/>
                  </a:lnTo>
                  <a:lnTo>
                    <a:pt x="311" y="59"/>
                  </a:lnTo>
                  <a:lnTo>
                    <a:pt x="307" y="55"/>
                  </a:lnTo>
                  <a:lnTo>
                    <a:pt x="307" y="55"/>
                  </a:lnTo>
                  <a:lnTo>
                    <a:pt x="305" y="57"/>
                  </a:lnTo>
                  <a:lnTo>
                    <a:pt x="301" y="59"/>
                  </a:lnTo>
                  <a:lnTo>
                    <a:pt x="300" y="59"/>
                  </a:lnTo>
                  <a:lnTo>
                    <a:pt x="298" y="61"/>
                  </a:lnTo>
                  <a:lnTo>
                    <a:pt x="294" y="63"/>
                  </a:lnTo>
                  <a:lnTo>
                    <a:pt x="292" y="63"/>
                  </a:lnTo>
                  <a:lnTo>
                    <a:pt x="288" y="65"/>
                  </a:lnTo>
                  <a:lnTo>
                    <a:pt x="284" y="65"/>
                  </a:lnTo>
                  <a:lnTo>
                    <a:pt x="284" y="65"/>
                  </a:lnTo>
                  <a:lnTo>
                    <a:pt x="280" y="65"/>
                  </a:lnTo>
                  <a:lnTo>
                    <a:pt x="277" y="63"/>
                  </a:lnTo>
                  <a:lnTo>
                    <a:pt x="275" y="61"/>
                  </a:lnTo>
                  <a:lnTo>
                    <a:pt x="273" y="57"/>
                  </a:lnTo>
                  <a:lnTo>
                    <a:pt x="271" y="55"/>
                  </a:lnTo>
                  <a:lnTo>
                    <a:pt x="271" y="53"/>
                  </a:lnTo>
                  <a:lnTo>
                    <a:pt x="271" y="51"/>
                  </a:lnTo>
                  <a:lnTo>
                    <a:pt x="271" y="49"/>
                  </a:lnTo>
                  <a:lnTo>
                    <a:pt x="271" y="49"/>
                  </a:lnTo>
                  <a:lnTo>
                    <a:pt x="269" y="48"/>
                  </a:lnTo>
                  <a:lnTo>
                    <a:pt x="269" y="48"/>
                  </a:lnTo>
                  <a:lnTo>
                    <a:pt x="269" y="46"/>
                  </a:lnTo>
                  <a:lnTo>
                    <a:pt x="267" y="44"/>
                  </a:lnTo>
                  <a:lnTo>
                    <a:pt x="267" y="44"/>
                  </a:lnTo>
                  <a:lnTo>
                    <a:pt x="267" y="42"/>
                  </a:lnTo>
                  <a:lnTo>
                    <a:pt x="269" y="40"/>
                  </a:lnTo>
                  <a:lnTo>
                    <a:pt x="271" y="36"/>
                  </a:lnTo>
                  <a:lnTo>
                    <a:pt x="271" y="36"/>
                  </a:lnTo>
                  <a:lnTo>
                    <a:pt x="263" y="36"/>
                  </a:lnTo>
                  <a:lnTo>
                    <a:pt x="256" y="38"/>
                  </a:lnTo>
                  <a:lnTo>
                    <a:pt x="248" y="38"/>
                  </a:lnTo>
                  <a:lnTo>
                    <a:pt x="240" y="38"/>
                  </a:lnTo>
                  <a:lnTo>
                    <a:pt x="233" y="38"/>
                  </a:lnTo>
                  <a:lnTo>
                    <a:pt x="225" y="38"/>
                  </a:lnTo>
                  <a:lnTo>
                    <a:pt x="219" y="38"/>
                  </a:lnTo>
                  <a:lnTo>
                    <a:pt x="212" y="38"/>
                  </a:lnTo>
                  <a:lnTo>
                    <a:pt x="204" y="36"/>
                  </a:lnTo>
                  <a:lnTo>
                    <a:pt x="197" y="36"/>
                  </a:lnTo>
                  <a:lnTo>
                    <a:pt x="189" y="34"/>
                  </a:lnTo>
                  <a:lnTo>
                    <a:pt x="183" y="32"/>
                  </a:lnTo>
                  <a:lnTo>
                    <a:pt x="176" y="30"/>
                  </a:lnTo>
                  <a:lnTo>
                    <a:pt x="170" y="28"/>
                  </a:lnTo>
                  <a:lnTo>
                    <a:pt x="164" y="27"/>
                  </a:lnTo>
                  <a:lnTo>
                    <a:pt x="158" y="23"/>
                  </a:lnTo>
                  <a:lnTo>
                    <a:pt x="158" y="23"/>
                  </a:lnTo>
                  <a:lnTo>
                    <a:pt x="155" y="21"/>
                  </a:lnTo>
                  <a:lnTo>
                    <a:pt x="151" y="17"/>
                  </a:lnTo>
                  <a:lnTo>
                    <a:pt x="147" y="13"/>
                  </a:lnTo>
                  <a:lnTo>
                    <a:pt x="143" y="9"/>
                  </a:lnTo>
                  <a:lnTo>
                    <a:pt x="139" y="6"/>
                  </a:lnTo>
                  <a:lnTo>
                    <a:pt x="136" y="2"/>
                  </a:lnTo>
                  <a:lnTo>
                    <a:pt x="128" y="0"/>
                  </a:lnTo>
                  <a:lnTo>
                    <a:pt x="118" y="0"/>
                  </a:lnTo>
                  <a:lnTo>
                    <a:pt x="118" y="0"/>
                  </a:lnTo>
                  <a:lnTo>
                    <a:pt x="115" y="0"/>
                  </a:lnTo>
                  <a:lnTo>
                    <a:pt x="111" y="4"/>
                  </a:lnTo>
                  <a:lnTo>
                    <a:pt x="107" y="8"/>
                  </a:lnTo>
                  <a:lnTo>
                    <a:pt x="105" y="11"/>
                  </a:lnTo>
                  <a:lnTo>
                    <a:pt x="103" y="17"/>
                  </a:lnTo>
                  <a:lnTo>
                    <a:pt x="101" y="23"/>
                  </a:lnTo>
                  <a:lnTo>
                    <a:pt x="99" y="28"/>
                  </a:lnTo>
                  <a:lnTo>
                    <a:pt x="99" y="34"/>
                  </a:lnTo>
                  <a:lnTo>
                    <a:pt x="82" y="34"/>
                  </a:lnTo>
                  <a:lnTo>
                    <a:pt x="82" y="34"/>
                  </a:lnTo>
                  <a:lnTo>
                    <a:pt x="82" y="40"/>
                  </a:lnTo>
                  <a:lnTo>
                    <a:pt x="84" y="44"/>
                  </a:lnTo>
                  <a:lnTo>
                    <a:pt x="88" y="49"/>
                  </a:lnTo>
                  <a:lnTo>
                    <a:pt x="90" y="53"/>
                  </a:lnTo>
                  <a:lnTo>
                    <a:pt x="94" y="57"/>
                  </a:lnTo>
                  <a:lnTo>
                    <a:pt x="95" y="61"/>
                  </a:lnTo>
                  <a:lnTo>
                    <a:pt x="99" y="65"/>
                  </a:lnTo>
                  <a:lnTo>
                    <a:pt x="99" y="70"/>
                  </a:lnTo>
                  <a:lnTo>
                    <a:pt x="99" y="70"/>
                  </a:lnTo>
                  <a:lnTo>
                    <a:pt x="97" y="78"/>
                  </a:lnTo>
                  <a:lnTo>
                    <a:pt x="94" y="82"/>
                  </a:lnTo>
                  <a:lnTo>
                    <a:pt x="86" y="84"/>
                  </a:lnTo>
                  <a:lnTo>
                    <a:pt x="78" y="84"/>
                  </a:lnTo>
                  <a:lnTo>
                    <a:pt x="71" y="84"/>
                  </a:lnTo>
                  <a:lnTo>
                    <a:pt x="61" y="82"/>
                  </a:lnTo>
                  <a:lnTo>
                    <a:pt x="52" y="82"/>
                  </a:lnTo>
                  <a:lnTo>
                    <a:pt x="42" y="84"/>
                  </a:lnTo>
                  <a:lnTo>
                    <a:pt x="42" y="84"/>
                  </a:lnTo>
                  <a:lnTo>
                    <a:pt x="36" y="86"/>
                  </a:lnTo>
                  <a:lnTo>
                    <a:pt x="31" y="90"/>
                  </a:lnTo>
                  <a:lnTo>
                    <a:pt x="23" y="93"/>
                  </a:lnTo>
                  <a:lnTo>
                    <a:pt x="17" y="99"/>
                  </a:lnTo>
                  <a:lnTo>
                    <a:pt x="12" y="105"/>
                  </a:lnTo>
                  <a:lnTo>
                    <a:pt x="6" y="111"/>
                  </a:lnTo>
                  <a:lnTo>
                    <a:pt x="2" y="116"/>
                  </a:lnTo>
                  <a:lnTo>
                    <a:pt x="0" y="124"/>
                  </a:lnTo>
                  <a:lnTo>
                    <a:pt x="0" y="124"/>
                  </a:lnTo>
                  <a:lnTo>
                    <a:pt x="2" y="137"/>
                  </a:lnTo>
                  <a:lnTo>
                    <a:pt x="6" y="151"/>
                  </a:lnTo>
                  <a:lnTo>
                    <a:pt x="10" y="162"/>
                  </a:lnTo>
                  <a:lnTo>
                    <a:pt x="15" y="173"/>
                  </a:lnTo>
                  <a:lnTo>
                    <a:pt x="23" y="185"/>
                  </a:lnTo>
                  <a:lnTo>
                    <a:pt x="33" y="196"/>
                  </a:lnTo>
                  <a:lnTo>
                    <a:pt x="40" y="206"/>
                  </a:lnTo>
                  <a:lnTo>
                    <a:pt x="52" y="215"/>
                  </a:lnTo>
                  <a:lnTo>
                    <a:pt x="61" y="225"/>
                  </a:lnTo>
                  <a:lnTo>
                    <a:pt x="71" y="235"/>
                  </a:lnTo>
                  <a:lnTo>
                    <a:pt x="82" y="244"/>
                  </a:lnTo>
                  <a:lnTo>
                    <a:pt x="92" y="254"/>
                  </a:lnTo>
                  <a:lnTo>
                    <a:pt x="101" y="265"/>
                  </a:lnTo>
                  <a:lnTo>
                    <a:pt x="111" y="275"/>
                  </a:lnTo>
                  <a:lnTo>
                    <a:pt x="118" y="286"/>
                  </a:lnTo>
                  <a:lnTo>
                    <a:pt x="124" y="297"/>
                  </a:lnTo>
                  <a:lnTo>
                    <a:pt x="124" y="297"/>
                  </a:lnTo>
                  <a:lnTo>
                    <a:pt x="128" y="290"/>
                  </a:lnTo>
                  <a:lnTo>
                    <a:pt x="132" y="284"/>
                  </a:lnTo>
                  <a:lnTo>
                    <a:pt x="136" y="278"/>
                  </a:lnTo>
                  <a:lnTo>
                    <a:pt x="139" y="271"/>
                  </a:lnTo>
                  <a:lnTo>
                    <a:pt x="143" y="267"/>
                  </a:lnTo>
                  <a:lnTo>
                    <a:pt x="149" y="261"/>
                  </a:lnTo>
                  <a:lnTo>
                    <a:pt x="155" y="256"/>
                  </a:lnTo>
                  <a:lnTo>
                    <a:pt x="158" y="252"/>
                  </a:lnTo>
                  <a:lnTo>
                    <a:pt x="164" y="246"/>
                  </a:lnTo>
                  <a:lnTo>
                    <a:pt x="170" y="244"/>
                  </a:lnTo>
                  <a:lnTo>
                    <a:pt x="176" y="240"/>
                  </a:lnTo>
                  <a:lnTo>
                    <a:pt x="181" y="236"/>
                  </a:lnTo>
                  <a:lnTo>
                    <a:pt x="187" y="235"/>
                  </a:lnTo>
                  <a:lnTo>
                    <a:pt x="193" y="235"/>
                  </a:lnTo>
                  <a:lnTo>
                    <a:pt x="200" y="233"/>
                  </a:lnTo>
                  <a:lnTo>
                    <a:pt x="206" y="233"/>
                  </a:lnTo>
                  <a:lnTo>
                    <a:pt x="206" y="233"/>
                  </a:lnTo>
                  <a:lnTo>
                    <a:pt x="212" y="233"/>
                  </a:lnTo>
                  <a:lnTo>
                    <a:pt x="218" y="233"/>
                  </a:lnTo>
                  <a:lnTo>
                    <a:pt x="223" y="233"/>
                  </a:lnTo>
                  <a:lnTo>
                    <a:pt x="229" y="233"/>
                  </a:lnTo>
                  <a:lnTo>
                    <a:pt x="235" y="233"/>
                  </a:lnTo>
                  <a:lnTo>
                    <a:pt x="239" y="233"/>
                  </a:lnTo>
                  <a:lnTo>
                    <a:pt x="242" y="233"/>
                  </a:lnTo>
                  <a:lnTo>
                    <a:pt x="242" y="233"/>
                  </a:lnTo>
                  <a:lnTo>
                    <a:pt x="242" y="233"/>
                  </a:lnTo>
                  <a:lnTo>
                    <a:pt x="252" y="233"/>
                  </a:lnTo>
                  <a:lnTo>
                    <a:pt x="260" y="235"/>
                  </a:lnTo>
                  <a:lnTo>
                    <a:pt x="267" y="236"/>
                  </a:lnTo>
                  <a:lnTo>
                    <a:pt x="275" y="242"/>
                  </a:lnTo>
                  <a:lnTo>
                    <a:pt x="282" y="246"/>
                  </a:lnTo>
                  <a:lnTo>
                    <a:pt x="288" y="252"/>
                  </a:lnTo>
                  <a:lnTo>
                    <a:pt x="294" y="259"/>
                  </a:lnTo>
                  <a:lnTo>
                    <a:pt x="300" y="265"/>
                  </a:lnTo>
                  <a:lnTo>
                    <a:pt x="305" y="275"/>
                  </a:lnTo>
                  <a:lnTo>
                    <a:pt x="309" y="282"/>
                  </a:lnTo>
                  <a:lnTo>
                    <a:pt x="313" y="292"/>
                  </a:lnTo>
                  <a:lnTo>
                    <a:pt x="317" y="301"/>
                  </a:lnTo>
                  <a:lnTo>
                    <a:pt x="319" y="313"/>
                  </a:lnTo>
                  <a:lnTo>
                    <a:pt x="322" y="322"/>
                  </a:lnTo>
                  <a:lnTo>
                    <a:pt x="322" y="334"/>
                  </a:lnTo>
                  <a:lnTo>
                    <a:pt x="322" y="345"/>
                  </a:lnTo>
                  <a:lnTo>
                    <a:pt x="322" y="345"/>
                  </a:lnTo>
                  <a:lnTo>
                    <a:pt x="322" y="347"/>
                  </a:lnTo>
                  <a:lnTo>
                    <a:pt x="322" y="349"/>
                  </a:lnTo>
                  <a:lnTo>
                    <a:pt x="321" y="351"/>
                  </a:lnTo>
                  <a:lnTo>
                    <a:pt x="319" y="355"/>
                  </a:lnTo>
                  <a:lnTo>
                    <a:pt x="317" y="357"/>
                  </a:lnTo>
                  <a:lnTo>
                    <a:pt x="315" y="359"/>
                  </a:lnTo>
                  <a:lnTo>
                    <a:pt x="313" y="360"/>
                  </a:lnTo>
                  <a:lnTo>
                    <a:pt x="311" y="362"/>
                  </a:lnTo>
                  <a:lnTo>
                    <a:pt x="355" y="36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7" name="Freeform 241"/>
            <p:cNvSpPr>
              <a:spLocks/>
            </p:cNvSpPr>
            <p:nvPr/>
          </p:nvSpPr>
          <p:spPr bwMode="gray">
            <a:xfrm>
              <a:off x="863" y="1766"/>
              <a:ext cx="125" cy="70"/>
            </a:xfrm>
            <a:custGeom>
              <a:avLst/>
              <a:gdLst/>
              <a:ahLst/>
              <a:cxnLst>
                <a:cxn ang="0">
                  <a:pos x="223" y="6"/>
                </a:cxn>
                <a:cxn ang="0">
                  <a:pos x="216" y="10"/>
                </a:cxn>
                <a:cxn ang="0">
                  <a:pos x="210" y="17"/>
                </a:cxn>
                <a:cxn ang="0">
                  <a:pos x="206" y="29"/>
                </a:cxn>
                <a:cxn ang="0">
                  <a:pos x="204" y="40"/>
                </a:cxn>
                <a:cxn ang="0">
                  <a:pos x="187" y="40"/>
                </a:cxn>
                <a:cxn ang="0">
                  <a:pos x="189" y="50"/>
                </a:cxn>
                <a:cxn ang="0">
                  <a:pos x="195" y="59"/>
                </a:cxn>
                <a:cxn ang="0">
                  <a:pos x="200" y="67"/>
                </a:cxn>
                <a:cxn ang="0">
                  <a:pos x="204" y="76"/>
                </a:cxn>
                <a:cxn ang="0">
                  <a:pos x="202" y="84"/>
                </a:cxn>
                <a:cxn ang="0">
                  <a:pos x="191" y="90"/>
                </a:cxn>
                <a:cxn ang="0">
                  <a:pos x="176" y="90"/>
                </a:cxn>
                <a:cxn ang="0">
                  <a:pos x="157" y="88"/>
                </a:cxn>
                <a:cxn ang="0">
                  <a:pos x="147" y="90"/>
                </a:cxn>
                <a:cxn ang="0">
                  <a:pos x="136" y="96"/>
                </a:cxn>
                <a:cxn ang="0">
                  <a:pos x="122" y="105"/>
                </a:cxn>
                <a:cxn ang="0">
                  <a:pos x="111" y="117"/>
                </a:cxn>
                <a:cxn ang="0">
                  <a:pos x="105" y="130"/>
                </a:cxn>
                <a:cxn ang="0">
                  <a:pos x="99" y="128"/>
                </a:cxn>
                <a:cxn ang="0">
                  <a:pos x="88" y="124"/>
                </a:cxn>
                <a:cxn ang="0">
                  <a:pos x="76" y="118"/>
                </a:cxn>
                <a:cxn ang="0">
                  <a:pos x="71" y="109"/>
                </a:cxn>
                <a:cxn ang="0">
                  <a:pos x="71" y="103"/>
                </a:cxn>
                <a:cxn ang="0">
                  <a:pos x="71" y="94"/>
                </a:cxn>
                <a:cxn ang="0">
                  <a:pos x="69" y="84"/>
                </a:cxn>
                <a:cxn ang="0">
                  <a:pos x="69" y="75"/>
                </a:cxn>
                <a:cxn ang="0">
                  <a:pos x="71" y="61"/>
                </a:cxn>
                <a:cxn ang="0">
                  <a:pos x="67" y="61"/>
                </a:cxn>
                <a:cxn ang="0">
                  <a:pos x="57" y="61"/>
                </a:cxn>
                <a:cxn ang="0">
                  <a:pos x="52" y="61"/>
                </a:cxn>
                <a:cxn ang="0">
                  <a:pos x="42" y="61"/>
                </a:cxn>
                <a:cxn ang="0">
                  <a:pos x="38" y="61"/>
                </a:cxn>
                <a:cxn ang="0">
                  <a:pos x="23" y="57"/>
                </a:cxn>
                <a:cxn ang="0">
                  <a:pos x="12" y="46"/>
                </a:cxn>
                <a:cxn ang="0">
                  <a:pos x="4" y="33"/>
                </a:cxn>
                <a:cxn ang="0">
                  <a:pos x="0" y="23"/>
                </a:cxn>
                <a:cxn ang="0">
                  <a:pos x="8" y="19"/>
                </a:cxn>
                <a:cxn ang="0">
                  <a:pos x="21" y="15"/>
                </a:cxn>
                <a:cxn ang="0">
                  <a:pos x="36" y="12"/>
                </a:cxn>
                <a:cxn ang="0">
                  <a:pos x="50" y="8"/>
                </a:cxn>
                <a:cxn ang="0">
                  <a:pos x="63" y="6"/>
                </a:cxn>
                <a:cxn ang="0">
                  <a:pos x="78" y="2"/>
                </a:cxn>
                <a:cxn ang="0">
                  <a:pos x="92" y="0"/>
                </a:cxn>
                <a:cxn ang="0">
                  <a:pos x="107" y="0"/>
                </a:cxn>
                <a:cxn ang="0">
                  <a:pos x="218" y="8"/>
                </a:cxn>
              </a:cxnLst>
              <a:rect l="0" t="0" r="r" b="b"/>
              <a:pathLst>
                <a:path w="223" h="130">
                  <a:moveTo>
                    <a:pt x="223" y="6"/>
                  </a:moveTo>
                  <a:lnTo>
                    <a:pt x="223" y="6"/>
                  </a:lnTo>
                  <a:lnTo>
                    <a:pt x="220" y="6"/>
                  </a:lnTo>
                  <a:lnTo>
                    <a:pt x="216" y="10"/>
                  </a:lnTo>
                  <a:lnTo>
                    <a:pt x="212" y="14"/>
                  </a:lnTo>
                  <a:lnTo>
                    <a:pt x="210" y="17"/>
                  </a:lnTo>
                  <a:lnTo>
                    <a:pt x="208" y="23"/>
                  </a:lnTo>
                  <a:lnTo>
                    <a:pt x="206" y="29"/>
                  </a:lnTo>
                  <a:lnTo>
                    <a:pt x="204" y="34"/>
                  </a:lnTo>
                  <a:lnTo>
                    <a:pt x="204" y="40"/>
                  </a:lnTo>
                  <a:lnTo>
                    <a:pt x="187" y="40"/>
                  </a:lnTo>
                  <a:lnTo>
                    <a:pt x="187" y="40"/>
                  </a:lnTo>
                  <a:lnTo>
                    <a:pt x="187" y="46"/>
                  </a:lnTo>
                  <a:lnTo>
                    <a:pt x="189" y="50"/>
                  </a:lnTo>
                  <a:lnTo>
                    <a:pt x="193" y="55"/>
                  </a:lnTo>
                  <a:lnTo>
                    <a:pt x="195" y="59"/>
                  </a:lnTo>
                  <a:lnTo>
                    <a:pt x="199" y="63"/>
                  </a:lnTo>
                  <a:lnTo>
                    <a:pt x="200" y="67"/>
                  </a:lnTo>
                  <a:lnTo>
                    <a:pt x="204" y="71"/>
                  </a:lnTo>
                  <a:lnTo>
                    <a:pt x="204" y="76"/>
                  </a:lnTo>
                  <a:lnTo>
                    <a:pt x="204" y="76"/>
                  </a:lnTo>
                  <a:lnTo>
                    <a:pt x="202" y="84"/>
                  </a:lnTo>
                  <a:lnTo>
                    <a:pt x="199" y="88"/>
                  </a:lnTo>
                  <a:lnTo>
                    <a:pt x="191" y="90"/>
                  </a:lnTo>
                  <a:lnTo>
                    <a:pt x="183" y="90"/>
                  </a:lnTo>
                  <a:lnTo>
                    <a:pt x="176" y="90"/>
                  </a:lnTo>
                  <a:lnTo>
                    <a:pt x="166" y="88"/>
                  </a:lnTo>
                  <a:lnTo>
                    <a:pt x="157" y="88"/>
                  </a:lnTo>
                  <a:lnTo>
                    <a:pt x="147" y="90"/>
                  </a:lnTo>
                  <a:lnTo>
                    <a:pt x="147" y="90"/>
                  </a:lnTo>
                  <a:lnTo>
                    <a:pt x="141" y="92"/>
                  </a:lnTo>
                  <a:lnTo>
                    <a:pt x="136" y="96"/>
                  </a:lnTo>
                  <a:lnTo>
                    <a:pt x="128" y="99"/>
                  </a:lnTo>
                  <a:lnTo>
                    <a:pt x="122" y="105"/>
                  </a:lnTo>
                  <a:lnTo>
                    <a:pt x="117" y="111"/>
                  </a:lnTo>
                  <a:lnTo>
                    <a:pt x="111" y="117"/>
                  </a:lnTo>
                  <a:lnTo>
                    <a:pt x="107" y="122"/>
                  </a:lnTo>
                  <a:lnTo>
                    <a:pt x="105" y="130"/>
                  </a:lnTo>
                  <a:lnTo>
                    <a:pt x="105" y="130"/>
                  </a:lnTo>
                  <a:lnTo>
                    <a:pt x="99" y="128"/>
                  </a:lnTo>
                  <a:lnTo>
                    <a:pt x="94" y="128"/>
                  </a:lnTo>
                  <a:lnTo>
                    <a:pt x="88" y="124"/>
                  </a:lnTo>
                  <a:lnTo>
                    <a:pt x="82" y="122"/>
                  </a:lnTo>
                  <a:lnTo>
                    <a:pt x="76" y="118"/>
                  </a:lnTo>
                  <a:lnTo>
                    <a:pt x="75" y="113"/>
                  </a:lnTo>
                  <a:lnTo>
                    <a:pt x="71" y="109"/>
                  </a:lnTo>
                  <a:lnTo>
                    <a:pt x="71" y="103"/>
                  </a:lnTo>
                  <a:lnTo>
                    <a:pt x="71" y="103"/>
                  </a:lnTo>
                  <a:lnTo>
                    <a:pt x="71" y="97"/>
                  </a:lnTo>
                  <a:lnTo>
                    <a:pt x="71" y="94"/>
                  </a:lnTo>
                  <a:lnTo>
                    <a:pt x="69" y="90"/>
                  </a:lnTo>
                  <a:lnTo>
                    <a:pt x="69" y="84"/>
                  </a:lnTo>
                  <a:lnTo>
                    <a:pt x="69" y="78"/>
                  </a:lnTo>
                  <a:lnTo>
                    <a:pt x="69" y="75"/>
                  </a:lnTo>
                  <a:lnTo>
                    <a:pt x="69" y="67"/>
                  </a:lnTo>
                  <a:lnTo>
                    <a:pt x="71" y="61"/>
                  </a:lnTo>
                  <a:lnTo>
                    <a:pt x="71" y="61"/>
                  </a:lnTo>
                  <a:lnTo>
                    <a:pt x="67" y="61"/>
                  </a:lnTo>
                  <a:lnTo>
                    <a:pt x="63" y="61"/>
                  </a:lnTo>
                  <a:lnTo>
                    <a:pt x="57" y="61"/>
                  </a:lnTo>
                  <a:lnTo>
                    <a:pt x="54" y="61"/>
                  </a:lnTo>
                  <a:lnTo>
                    <a:pt x="52" y="61"/>
                  </a:lnTo>
                  <a:lnTo>
                    <a:pt x="48" y="61"/>
                  </a:lnTo>
                  <a:lnTo>
                    <a:pt x="42" y="61"/>
                  </a:lnTo>
                  <a:lnTo>
                    <a:pt x="38" y="61"/>
                  </a:lnTo>
                  <a:lnTo>
                    <a:pt x="38" y="61"/>
                  </a:lnTo>
                  <a:lnTo>
                    <a:pt x="31" y="59"/>
                  </a:lnTo>
                  <a:lnTo>
                    <a:pt x="23" y="57"/>
                  </a:lnTo>
                  <a:lnTo>
                    <a:pt x="17" y="52"/>
                  </a:lnTo>
                  <a:lnTo>
                    <a:pt x="12" y="46"/>
                  </a:lnTo>
                  <a:lnTo>
                    <a:pt x="8" y="40"/>
                  </a:lnTo>
                  <a:lnTo>
                    <a:pt x="4" y="33"/>
                  </a:lnTo>
                  <a:lnTo>
                    <a:pt x="2" y="27"/>
                  </a:lnTo>
                  <a:lnTo>
                    <a:pt x="0" y="23"/>
                  </a:lnTo>
                  <a:lnTo>
                    <a:pt x="0" y="23"/>
                  </a:lnTo>
                  <a:lnTo>
                    <a:pt x="8" y="19"/>
                  </a:lnTo>
                  <a:lnTo>
                    <a:pt x="14" y="17"/>
                  </a:lnTo>
                  <a:lnTo>
                    <a:pt x="21" y="15"/>
                  </a:lnTo>
                  <a:lnTo>
                    <a:pt x="29" y="14"/>
                  </a:lnTo>
                  <a:lnTo>
                    <a:pt x="36" y="12"/>
                  </a:lnTo>
                  <a:lnTo>
                    <a:pt x="42" y="10"/>
                  </a:lnTo>
                  <a:lnTo>
                    <a:pt x="50" y="8"/>
                  </a:lnTo>
                  <a:lnTo>
                    <a:pt x="57" y="6"/>
                  </a:lnTo>
                  <a:lnTo>
                    <a:pt x="63" y="6"/>
                  </a:lnTo>
                  <a:lnTo>
                    <a:pt x="71" y="4"/>
                  </a:lnTo>
                  <a:lnTo>
                    <a:pt x="78" y="2"/>
                  </a:lnTo>
                  <a:lnTo>
                    <a:pt x="84" y="2"/>
                  </a:lnTo>
                  <a:lnTo>
                    <a:pt x="92" y="0"/>
                  </a:lnTo>
                  <a:lnTo>
                    <a:pt x="99" y="0"/>
                  </a:lnTo>
                  <a:lnTo>
                    <a:pt x="107" y="0"/>
                  </a:lnTo>
                  <a:lnTo>
                    <a:pt x="115" y="0"/>
                  </a:lnTo>
                  <a:lnTo>
                    <a:pt x="218" y="8"/>
                  </a:lnTo>
                  <a:lnTo>
                    <a:pt x="223" y="6"/>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8" name="Freeform 242"/>
            <p:cNvSpPr>
              <a:spLocks/>
            </p:cNvSpPr>
            <p:nvPr/>
          </p:nvSpPr>
          <p:spPr bwMode="gray">
            <a:xfrm>
              <a:off x="839" y="1584"/>
              <a:ext cx="240" cy="206"/>
            </a:xfrm>
            <a:custGeom>
              <a:avLst/>
              <a:gdLst/>
              <a:ahLst/>
              <a:cxnLst>
                <a:cxn ang="0">
                  <a:pos x="386" y="374"/>
                </a:cxn>
                <a:cxn ang="0">
                  <a:pos x="342" y="370"/>
                </a:cxn>
                <a:cxn ang="0">
                  <a:pos x="305" y="359"/>
                </a:cxn>
                <a:cxn ang="0">
                  <a:pos x="286" y="342"/>
                </a:cxn>
                <a:cxn ang="0">
                  <a:pos x="149" y="330"/>
                </a:cxn>
                <a:cxn ang="0">
                  <a:pos x="105" y="336"/>
                </a:cxn>
                <a:cxn ang="0">
                  <a:pos x="63" y="345"/>
                </a:cxn>
                <a:cxn ang="0">
                  <a:pos x="36" y="347"/>
                </a:cxn>
                <a:cxn ang="0">
                  <a:pos x="27" y="330"/>
                </a:cxn>
                <a:cxn ang="0">
                  <a:pos x="29" y="300"/>
                </a:cxn>
                <a:cxn ang="0">
                  <a:pos x="56" y="284"/>
                </a:cxn>
                <a:cxn ang="0">
                  <a:pos x="75" y="290"/>
                </a:cxn>
                <a:cxn ang="0">
                  <a:pos x="96" y="286"/>
                </a:cxn>
                <a:cxn ang="0">
                  <a:pos x="122" y="273"/>
                </a:cxn>
                <a:cxn ang="0">
                  <a:pos x="151" y="265"/>
                </a:cxn>
                <a:cxn ang="0">
                  <a:pos x="187" y="282"/>
                </a:cxn>
                <a:cxn ang="0">
                  <a:pos x="225" y="290"/>
                </a:cxn>
                <a:cxn ang="0">
                  <a:pos x="248" y="290"/>
                </a:cxn>
                <a:cxn ang="0">
                  <a:pos x="239" y="265"/>
                </a:cxn>
                <a:cxn ang="0">
                  <a:pos x="227" y="261"/>
                </a:cxn>
                <a:cxn ang="0">
                  <a:pos x="210" y="261"/>
                </a:cxn>
                <a:cxn ang="0">
                  <a:pos x="185" y="248"/>
                </a:cxn>
                <a:cxn ang="0">
                  <a:pos x="145" y="235"/>
                </a:cxn>
                <a:cxn ang="0">
                  <a:pos x="113" y="242"/>
                </a:cxn>
                <a:cxn ang="0">
                  <a:pos x="80" y="254"/>
                </a:cxn>
                <a:cxn ang="0">
                  <a:pos x="56" y="256"/>
                </a:cxn>
                <a:cxn ang="0">
                  <a:pos x="36" y="256"/>
                </a:cxn>
                <a:cxn ang="0">
                  <a:pos x="40" y="242"/>
                </a:cxn>
                <a:cxn ang="0">
                  <a:pos x="27" y="200"/>
                </a:cxn>
                <a:cxn ang="0">
                  <a:pos x="6" y="160"/>
                </a:cxn>
                <a:cxn ang="0">
                  <a:pos x="2" y="141"/>
                </a:cxn>
                <a:cxn ang="0">
                  <a:pos x="31" y="116"/>
                </a:cxn>
                <a:cxn ang="0">
                  <a:pos x="52" y="92"/>
                </a:cxn>
                <a:cxn ang="0">
                  <a:pos x="69" y="61"/>
                </a:cxn>
                <a:cxn ang="0">
                  <a:pos x="96" y="12"/>
                </a:cxn>
                <a:cxn ang="0">
                  <a:pos x="118" y="10"/>
                </a:cxn>
                <a:cxn ang="0">
                  <a:pos x="136" y="10"/>
                </a:cxn>
                <a:cxn ang="0">
                  <a:pos x="181" y="2"/>
                </a:cxn>
                <a:cxn ang="0">
                  <a:pos x="216" y="6"/>
                </a:cxn>
                <a:cxn ang="0">
                  <a:pos x="239" y="23"/>
                </a:cxn>
                <a:cxn ang="0">
                  <a:pos x="258" y="46"/>
                </a:cxn>
                <a:cxn ang="0">
                  <a:pos x="283" y="57"/>
                </a:cxn>
                <a:cxn ang="0">
                  <a:pos x="305" y="71"/>
                </a:cxn>
                <a:cxn ang="0">
                  <a:pos x="307" y="95"/>
                </a:cxn>
                <a:cxn ang="0">
                  <a:pos x="330" y="128"/>
                </a:cxn>
                <a:cxn ang="0">
                  <a:pos x="355" y="166"/>
                </a:cxn>
                <a:cxn ang="0">
                  <a:pos x="372" y="208"/>
                </a:cxn>
                <a:cxn ang="0">
                  <a:pos x="386" y="227"/>
                </a:cxn>
                <a:cxn ang="0">
                  <a:pos x="386" y="248"/>
                </a:cxn>
                <a:cxn ang="0">
                  <a:pos x="378" y="267"/>
                </a:cxn>
                <a:cxn ang="0">
                  <a:pos x="393" y="292"/>
                </a:cxn>
                <a:cxn ang="0">
                  <a:pos x="418" y="315"/>
                </a:cxn>
                <a:cxn ang="0">
                  <a:pos x="426" y="344"/>
                </a:cxn>
                <a:cxn ang="0">
                  <a:pos x="416" y="368"/>
                </a:cxn>
              </a:cxnLst>
              <a:rect l="0" t="0" r="r" b="b"/>
              <a:pathLst>
                <a:path w="426" h="374">
                  <a:moveTo>
                    <a:pt x="414" y="372"/>
                  </a:moveTo>
                  <a:lnTo>
                    <a:pt x="414" y="372"/>
                  </a:lnTo>
                  <a:lnTo>
                    <a:pt x="407" y="372"/>
                  </a:lnTo>
                  <a:lnTo>
                    <a:pt x="401" y="374"/>
                  </a:lnTo>
                  <a:lnTo>
                    <a:pt x="393" y="374"/>
                  </a:lnTo>
                  <a:lnTo>
                    <a:pt x="386" y="374"/>
                  </a:lnTo>
                  <a:lnTo>
                    <a:pt x="378" y="374"/>
                  </a:lnTo>
                  <a:lnTo>
                    <a:pt x="370" y="374"/>
                  </a:lnTo>
                  <a:lnTo>
                    <a:pt x="363" y="374"/>
                  </a:lnTo>
                  <a:lnTo>
                    <a:pt x="357" y="372"/>
                  </a:lnTo>
                  <a:lnTo>
                    <a:pt x="349" y="372"/>
                  </a:lnTo>
                  <a:lnTo>
                    <a:pt x="342" y="370"/>
                  </a:lnTo>
                  <a:lnTo>
                    <a:pt x="336" y="370"/>
                  </a:lnTo>
                  <a:lnTo>
                    <a:pt x="328" y="368"/>
                  </a:lnTo>
                  <a:lnTo>
                    <a:pt x="323" y="366"/>
                  </a:lnTo>
                  <a:lnTo>
                    <a:pt x="317" y="364"/>
                  </a:lnTo>
                  <a:lnTo>
                    <a:pt x="311" y="363"/>
                  </a:lnTo>
                  <a:lnTo>
                    <a:pt x="305" y="359"/>
                  </a:lnTo>
                  <a:lnTo>
                    <a:pt x="305" y="359"/>
                  </a:lnTo>
                  <a:lnTo>
                    <a:pt x="302" y="357"/>
                  </a:lnTo>
                  <a:lnTo>
                    <a:pt x="298" y="353"/>
                  </a:lnTo>
                  <a:lnTo>
                    <a:pt x="294" y="349"/>
                  </a:lnTo>
                  <a:lnTo>
                    <a:pt x="290" y="345"/>
                  </a:lnTo>
                  <a:lnTo>
                    <a:pt x="286" y="342"/>
                  </a:lnTo>
                  <a:lnTo>
                    <a:pt x="283" y="338"/>
                  </a:lnTo>
                  <a:lnTo>
                    <a:pt x="275" y="336"/>
                  </a:lnTo>
                  <a:lnTo>
                    <a:pt x="265" y="336"/>
                  </a:lnTo>
                  <a:lnTo>
                    <a:pt x="157" y="330"/>
                  </a:lnTo>
                  <a:lnTo>
                    <a:pt x="157" y="330"/>
                  </a:lnTo>
                  <a:lnTo>
                    <a:pt x="149" y="330"/>
                  </a:lnTo>
                  <a:lnTo>
                    <a:pt x="141" y="330"/>
                  </a:lnTo>
                  <a:lnTo>
                    <a:pt x="134" y="330"/>
                  </a:lnTo>
                  <a:lnTo>
                    <a:pt x="126" y="332"/>
                  </a:lnTo>
                  <a:lnTo>
                    <a:pt x="120" y="332"/>
                  </a:lnTo>
                  <a:lnTo>
                    <a:pt x="113" y="334"/>
                  </a:lnTo>
                  <a:lnTo>
                    <a:pt x="105" y="336"/>
                  </a:lnTo>
                  <a:lnTo>
                    <a:pt x="99" y="336"/>
                  </a:lnTo>
                  <a:lnTo>
                    <a:pt x="92" y="338"/>
                  </a:lnTo>
                  <a:lnTo>
                    <a:pt x="84" y="340"/>
                  </a:lnTo>
                  <a:lnTo>
                    <a:pt x="78" y="342"/>
                  </a:lnTo>
                  <a:lnTo>
                    <a:pt x="71" y="344"/>
                  </a:lnTo>
                  <a:lnTo>
                    <a:pt x="63" y="345"/>
                  </a:lnTo>
                  <a:lnTo>
                    <a:pt x="56" y="347"/>
                  </a:lnTo>
                  <a:lnTo>
                    <a:pt x="50" y="349"/>
                  </a:lnTo>
                  <a:lnTo>
                    <a:pt x="42" y="353"/>
                  </a:lnTo>
                  <a:lnTo>
                    <a:pt x="42" y="353"/>
                  </a:lnTo>
                  <a:lnTo>
                    <a:pt x="38" y="349"/>
                  </a:lnTo>
                  <a:lnTo>
                    <a:pt x="36" y="347"/>
                  </a:lnTo>
                  <a:lnTo>
                    <a:pt x="35" y="345"/>
                  </a:lnTo>
                  <a:lnTo>
                    <a:pt x="33" y="344"/>
                  </a:lnTo>
                  <a:lnTo>
                    <a:pt x="31" y="340"/>
                  </a:lnTo>
                  <a:lnTo>
                    <a:pt x="29" y="336"/>
                  </a:lnTo>
                  <a:lnTo>
                    <a:pt x="29" y="332"/>
                  </a:lnTo>
                  <a:lnTo>
                    <a:pt x="27" y="330"/>
                  </a:lnTo>
                  <a:lnTo>
                    <a:pt x="27" y="330"/>
                  </a:lnTo>
                  <a:lnTo>
                    <a:pt x="27" y="323"/>
                  </a:lnTo>
                  <a:lnTo>
                    <a:pt x="29" y="317"/>
                  </a:lnTo>
                  <a:lnTo>
                    <a:pt x="29" y="311"/>
                  </a:lnTo>
                  <a:lnTo>
                    <a:pt x="29" y="305"/>
                  </a:lnTo>
                  <a:lnTo>
                    <a:pt x="29" y="300"/>
                  </a:lnTo>
                  <a:lnTo>
                    <a:pt x="29" y="294"/>
                  </a:lnTo>
                  <a:lnTo>
                    <a:pt x="29" y="288"/>
                  </a:lnTo>
                  <a:lnTo>
                    <a:pt x="27" y="282"/>
                  </a:lnTo>
                  <a:lnTo>
                    <a:pt x="54" y="282"/>
                  </a:lnTo>
                  <a:lnTo>
                    <a:pt x="54" y="282"/>
                  </a:lnTo>
                  <a:lnTo>
                    <a:pt x="56" y="284"/>
                  </a:lnTo>
                  <a:lnTo>
                    <a:pt x="59" y="286"/>
                  </a:lnTo>
                  <a:lnTo>
                    <a:pt x="61" y="288"/>
                  </a:lnTo>
                  <a:lnTo>
                    <a:pt x="65" y="288"/>
                  </a:lnTo>
                  <a:lnTo>
                    <a:pt x="67" y="290"/>
                  </a:lnTo>
                  <a:lnTo>
                    <a:pt x="71" y="290"/>
                  </a:lnTo>
                  <a:lnTo>
                    <a:pt x="75" y="290"/>
                  </a:lnTo>
                  <a:lnTo>
                    <a:pt x="77" y="290"/>
                  </a:lnTo>
                  <a:lnTo>
                    <a:pt x="77" y="290"/>
                  </a:lnTo>
                  <a:lnTo>
                    <a:pt x="82" y="290"/>
                  </a:lnTo>
                  <a:lnTo>
                    <a:pt x="86" y="290"/>
                  </a:lnTo>
                  <a:lnTo>
                    <a:pt x="92" y="288"/>
                  </a:lnTo>
                  <a:lnTo>
                    <a:pt x="96" y="286"/>
                  </a:lnTo>
                  <a:lnTo>
                    <a:pt x="101" y="284"/>
                  </a:lnTo>
                  <a:lnTo>
                    <a:pt x="105" y="282"/>
                  </a:lnTo>
                  <a:lnTo>
                    <a:pt x="109" y="281"/>
                  </a:lnTo>
                  <a:lnTo>
                    <a:pt x="115" y="277"/>
                  </a:lnTo>
                  <a:lnTo>
                    <a:pt x="118" y="275"/>
                  </a:lnTo>
                  <a:lnTo>
                    <a:pt x="122" y="273"/>
                  </a:lnTo>
                  <a:lnTo>
                    <a:pt x="128" y="271"/>
                  </a:lnTo>
                  <a:lnTo>
                    <a:pt x="132" y="269"/>
                  </a:lnTo>
                  <a:lnTo>
                    <a:pt x="136" y="267"/>
                  </a:lnTo>
                  <a:lnTo>
                    <a:pt x="141" y="265"/>
                  </a:lnTo>
                  <a:lnTo>
                    <a:pt x="145" y="265"/>
                  </a:lnTo>
                  <a:lnTo>
                    <a:pt x="151" y="265"/>
                  </a:lnTo>
                  <a:lnTo>
                    <a:pt x="151" y="265"/>
                  </a:lnTo>
                  <a:lnTo>
                    <a:pt x="159" y="265"/>
                  </a:lnTo>
                  <a:lnTo>
                    <a:pt x="166" y="269"/>
                  </a:lnTo>
                  <a:lnTo>
                    <a:pt x="174" y="273"/>
                  </a:lnTo>
                  <a:lnTo>
                    <a:pt x="180" y="277"/>
                  </a:lnTo>
                  <a:lnTo>
                    <a:pt x="187" y="282"/>
                  </a:lnTo>
                  <a:lnTo>
                    <a:pt x="197" y="286"/>
                  </a:lnTo>
                  <a:lnTo>
                    <a:pt x="204" y="290"/>
                  </a:lnTo>
                  <a:lnTo>
                    <a:pt x="214" y="290"/>
                  </a:lnTo>
                  <a:lnTo>
                    <a:pt x="214" y="290"/>
                  </a:lnTo>
                  <a:lnTo>
                    <a:pt x="220" y="290"/>
                  </a:lnTo>
                  <a:lnTo>
                    <a:pt x="225" y="290"/>
                  </a:lnTo>
                  <a:lnTo>
                    <a:pt x="229" y="290"/>
                  </a:lnTo>
                  <a:lnTo>
                    <a:pt x="235" y="290"/>
                  </a:lnTo>
                  <a:lnTo>
                    <a:pt x="239" y="288"/>
                  </a:lnTo>
                  <a:lnTo>
                    <a:pt x="241" y="290"/>
                  </a:lnTo>
                  <a:lnTo>
                    <a:pt x="244" y="290"/>
                  </a:lnTo>
                  <a:lnTo>
                    <a:pt x="248" y="290"/>
                  </a:lnTo>
                  <a:lnTo>
                    <a:pt x="248" y="271"/>
                  </a:lnTo>
                  <a:lnTo>
                    <a:pt x="248" y="271"/>
                  </a:lnTo>
                  <a:lnTo>
                    <a:pt x="246" y="269"/>
                  </a:lnTo>
                  <a:lnTo>
                    <a:pt x="244" y="267"/>
                  </a:lnTo>
                  <a:lnTo>
                    <a:pt x="242" y="265"/>
                  </a:lnTo>
                  <a:lnTo>
                    <a:pt x="239" y="265"/>
                  </a:lnTo>
                  <a:lnTo>
                    <a:pt x="237" y="263"/>
                  </a:lnTo>
                  <a:lnTo>
                    <a:pt x="235" y="261"/>
                  </a:lnTo>
                  <a:lnTo>
                    <a:pt x="233" y="261"/>
                  </a:lnTo>
                  <a:lnTo>
                    <a:pt x="231" y="261"/>
                  </a:lnTo>
                  <a:lnTo>
                    <a:pt x="231" y="261"/>
                  </a:lnTo>
                  <a:lnTo>
                    <a:pt x="227" y="261"/>
                  </a:lnTo>
                  <a:lnTo>
                    <a:pt x="223" y="261"/>
                  </a:lnTo>
                  <a:lnTo>
                    <a:pt x="221" y="261"/>
                  </a:lnTo>
                  <a:lnTo>
                    <a:pt x="220" y="261"/>
                  </a:lnTo>
                  <a:lnTo>
                    <a:pt x="216" y="261"/>
                  </a:lnTo>
                  <a:lnTo>
                    <a:pt x="214" y="261"/>
                  </a:lnTo>
                  <a:lnTo>
                    <a:pt x="210" y="261"/>
                  </a:lnTo>
                  <a:lnTo>
                    <a:pt x="206" y="261"/>
                  </a:lnTo>
                  <a:lnTo>
                    <a:pt x="206" y="261"/>
                  </a:lnTo>
                  <a:lnTo>
                    <a:pt x="202" y="260"/>
                  </a:lnTo>
                  <a:lnTo>
                    <a:pt x="197" y="258"/>
                  </a:lnTo>
                  <a:lnTo>
                    <a:pt x="191" y="252"/>
                  </a:lnTo>
                  <a:lnTo>
                    <a:pt x="185" y="248"/>
                  </a:lnTo>
                  <a:lnTo>
                    <a:pt x="178" y="242"/>
                  </a:lnTo>
                  <a:lnTo>
                    <a:pt x="170" y="239"/>
                  </a:lnTo>
                  <a:lnTo>
                    <a:pt x="160" y="237"/>
                  </a:lnTo>
                  <a:lnTo>
                    <a:pt x="151" y="235"/>
                  </a:lnTo>
                  <a:lnTo>
                    <a:pt x="151" y="235"/>
                  </a:lnTo>
                  <a:lnTo>
                    <a:pt x="145" y="235"/>
                  </a:lnTo>
                  <a:lnTo>
                    <a:pt x="139" y="237"/>
                  </a:lnTo>
                  <a:lnTo>
                    <a:pt x="134" y="237"/>
                  </a:lnTo>
                  <a:lnTo>
                    <a:pt x="130" y="239"/>
                  </a:lnTo>
                  <a:lnTo>
                    <a:pt x="124" y="240"/>
                  </a:lnTo>
                  <a:lnTo>
                    <a:pt x="118" y="240"/>
                  </a:lnTo>
                  <a:lnTo>
                    <a:pt x="113" y="242"/>
                  </a:lnTo>
                  <a:lnTo>
                    <a:pt x="107" y="244"/>
                  </a:lnTo>
                  <a:lnTo>
                    <a:pt x="103" y="246"/>
                  </a:lnTo>
                  <a:lnTo>
                    <a:pt x="97" y="248"/>
                  </a:lnTo>
                  <a:lnTo>
                    <a:pt x="92" y="250"/>
                  </a:lnTo>
                  <a:lnTo>
                    <a:pt x="86" y="252"/>
                  </a:lnTo>
                  <a:lnTo>
                    <a:pt x="80" y="254"/>
                  </a:lnTo>
                  <a:lnTo>
                    <a:pt x="75" y="254"/>
                  </a:lnTo>
                  <a:lnTo>
                    <a:pt x="69" y="254"/>
                  </a:lnTo>
                  <a:lnTo>
                    <a:pt x="63" y="256"/>
                  </a:lnTo>
                  <a:lnTo>
                    <a:pt x="63" y="256"/>
                  </a:lnTo>
                  <a:lnTo>
                    <a:pt x="59" y="256"/>
                  </a:lnTo>
                  <a:lnTo>
                    <a:pt x="56" y="256"/>
                  </a:lnTo>
                  <a:lnTo>
                    <a:pt x="52" y="254"/>
                  </a:lnTo>
                  <a:lnTo>
                    <a:pt x="48" y="254"/>
                  </a:lnTo>
                  <a:lnTo>
                    <a:pt x="44" y="254"/>
                  </a:lnTo>
                  <a:lnTo>
                    <a:pt x="42" y="254"/>
                  </a:lnTo>
                  <a:lnTo>
                    <a:pt x="38" y="254"/>
                  </a:lnTo>
                  <a:lnTo>
                    <a:pt x="36" y="256"/>
                  </a:lnTo>
                  <a:lnTo>
                    <a:pt x="36" y="256"/>
                  </a:lnTo>
                  <a:lnTo>
                    <a:pt x="36" y="252"/>
                  </a:lnTo>
                  <a:lnTo>
                    <a:pt x="38" y="250"/>
                  </a:lnTo>
                  <a:lnTo>
                    <a:pt x="38" y="246"/>
                  </a:lnTo>
                  <a:lnTo>
                    <a:pt x="40" y="242"/>
                  </a:lnTo>
                  <a:lnTo>
                    <a:pt x="40" y="242"/>
                  </a:lnTo>
                  <a:lnTo>
                    <a:pt x="38" y="237"/>
                  </a:lnTo>
                  <a:lnTo>
                    <a:pt x="38" y="229"/>
                  </a:lnTo>
                  <a:lnTo>
                    <a:pt x="36" y="223"/>
                  </a:lnTo>
                  <a:lnTo>
                    <a:pt x="33" y="216"/>
                  </a:lnTo>
                  <a:lnTo>
                    <a:pt x="31" y="208"/>
                  </a:lnTo>
                  <a:lnTo>
                    <a:pt x="27" y="200"/>
                  </a:lnTo>
                  <a:lnTo>
                    <a:pt x="23" y="195"/>
                  </a:lnTo>
                  <a:lnTo>
                    <a:pt x="19" y="187"/>
                  </a:lnTo>
                  <a:lnTo>
                    <a:pt x="15" y="179"/>
                  </a:lnTo>
                  <a:lnTo>
                    <a:pt x="12" y="174"/>
                  </a:lnTo>
                  <a:lnTo>
                    <a:pt x="10" y="168"/>
                  </a:lnTo>
                  <a:lnTo>
                    <a:pt x="6" y="160"/>
                  </a:lnTo>
                  <a:lnTo>
                    <a:pt x="4" y="157"/>
                  </a:lnTo>
                  <a:lnTo>
                    <a:pt x="2" y="151"/>
                  </a:lnTo>
                  <a:lnTo>
                    <a:pt x="0" y="147"/>
                  </a:lnTo>
                  <a:lnTo>
                    <a:pt x="0" y="143"/>
                  </a:lnTo>
                  <a:lnTo>
                    <a:pt x="0" y="143"/>
                  </a:lnTo>
                  <a:lnTo>
                    <a:pt x="2" y="141"/>
                  </a:lnTo>
                  <a:lnTo>
                    <a:pt x="4" y="137"/>
                  </a:lnTo>
                  <a:lnTo>
                    <a:pt x="10" y="134"/>
                  </a:lnTo>
                  <a:lnTo>
                    <a:pt x="15" y="128"/>
                  </a:lnTo>
                  <a:lnTo>
                    <a:pt x="21" y="124"/>
                  </a:lnTo>
                  <a:lnTo>
                    <a:pt x="27" y="120"/>
                  </a:lnTo>
                  <a:lnTo>
                    <a:pt x="31" y="116"/>
                  </a:lnTo>
                  <a:lnTo>
                    <a:pt x="33" y="113"/>
                  </a:lnTo>
                  <a:lnTo>
                    <a:pt x="33" y="113"/>
                  </a:lnTo>
                  <a:lnTo>
                    <a:pt x="36" y="109"/>
                  </a:lnTo>
                  <a:lnTo>
                    <a:pt x="42" y="103"/>
                  </a:lnTo>
                  <a:lnTo>
                    <a:pt x="46" y="97"/>
                  </a:lnTo>
                  <a:lnTo>
                    <a:pt x="52" y="92"/>
                  </a:lnTo>
                  <a:lnTo>
                    <a:pt x="56" y="88"/>
                  </a:lnTo>
                  <a:lnTo>
                    <a:pt x="59" y="82"/>
                  </a:lnTo>
                  <a:lnTo>
                    <a:pt x="63" y="76"/>
                  </a:lnTo>
                  <a:lnTo>
                    <a:pt x="65" y="73"/>
                  </a:lnTo>
                  <a:lnTo>
                    <a:pt x="65" y="73"/>
                  </a:lnTo>
                  <a:lnTo>
                    <a:pt x="69" y="61"/>
                  </a:lnTo>
                  <a:lnTo>
                    <a:pt x="71" y="50"/>
                  </a:lnTo>
                  <a:lnTo>
                    <a:pt x="75" y="38"/>
                  </a:lnTo>
                  <a:lnTo>
                    <a:pt x="78" y="29"/>
                  </a:lnTo>
                  <a:lnTo>
                    <a:pt x="82" y="21"/>
                  </a:lnTo>
                  <a:lnTo>
                    <a:pt x="90" y="15"/>
                  </a:lnTo>
                  <a:lnTo>
                    <a:pt x="96" y="12"/>
                  </a:lnTo>
                  <a:lnTo>
                    <a:pt x="107" y="10"/>
                  </a:lnTo>
                  <a:lnTo>
                    <a:pt x="107" y="10"/>
                  </a:lnTo>
                  <a:lnTo>
                    <a:pt x="111" y="10"/>
                  </a:lnTo>
                  <a:lnTo>
                    <a:pt x="115" y="10"/>
                  </a:lnTo>
                  <a:lnTo>
                    <a:pt x="117" y="10"/>
                  </a:lnTo>
                  <a:lnTo>
                    <a:pt x="118" y="10"/>
                  </a:lnTo>
                  <a:lnTo>
                    <a:pt x="122" y="10"/>
                  </a:lnTo>
                  <a:lnTo>
                    <a:pt x="124" y="10"/>
                  </a:lnTo>
                  <a:lnTo>
                    <a:pt x="128" y="10"/>
                  </a:lnTo>
                  <a:lnTo>
                    <a:pt x="130" y="10"/>
                  </a:lnTo>
                  <a:lnTo>
                    <a:pt x="130" y="10"/>
                  </a:lnTo>
                  <a:lnTo>
                    <a:pt x="136" y="10"/>
                  </a:lnTo>
                  <a:lnTo>
                    <a:pt x="143" y="10"/>
                  </a:lnTo>
                  <a:lnTo>
                    <a:pt x="149" y="8"/>
                  </a:lnTo>
                  <a:lnTo>
                    <a:pt x="159" y="6"/>
                  </a:lnTo>
                  <a:lnTo>
                    <a:pt x="166" y="4"/>
                  </a:lnTo>
                  <a:lnTo>
                    <a:pt x="174" y="2"/>
                  </a:lnTo>
                  <a:lnTo>
                    <a:pt x="181" y="2"/>
                  </a:lnTo>
                  <a:lnTo>
                    <a:pt x="189" y="0"/>
                  </a:lnTo>
                  <a:lnTo>
                    <a:pt x="189" y="0"/>
                  </a:lnTo>
                  <a:lnTo>
                    <a:pt x="197" y="2"/>
                  </a:lnTo>
                  <a:lnTo>
                    <a:pt x="204" y="2"/>
                  </a:lnTo>
                  <a:lnTo>
                    <a:pt x="210" y="4"/>
                  </a:lnTo>
                  <a:lnTo>
                    <a:pt x="216" y="6"/>
                  </a:lnTo>
                  <a:lnTo>
                    <a:pt x="221" y="8"/>
                  </a:lnTo>
                  <a:lnTo>
                    <a:pt x="225" y="10"/>
                  </a:lnTo>
                  <a:lnTo>
                    <a:pt x="229" y="13"/>
                  </a:lnTo>
                  <a:lnTo>
                    <a:pt x="233" y="15"/>
                  </a:lnTo>
                  <a:lnTo>
                    <a:pt x="237" y="19"/>
                  </a:lnTo>
                  <a:lnTo>
                    <a:pt x="239" y="23"/>
                  </a:lnTo>
                  <a:lnTo>
                    <a:pt x="242" y="27"/>
                  </a:lnTo>
                  <a:lnTo>
                    <a:pt x="244" y="31"/>
                  </a:lnTo>
                  <a:lnTo>
                    <a:pt x="248" y="34"/>
                  </a:lnTo>
                  <a:lnTo>
                    <a:pt x="252" y="38"/>
                  </a:lnTo>
                  <a:lnTo>
                    <a:pt x="254" y="42"/>
                  </a:lnTo>
                  <a:lnTo>
                    <a:pt x="258" y="46"/>
                  </a:lnTo>
                  <a:lnTo>
                    <a:pt x="258" y="46"/>
                  </a:lnTo>
                  <a:lnTo>
                    <a:pt x="263" y="50"/>
                  </a:lnTo>
                  <a:lnTo>
                    <a:pt x="267" y="54"/>
                  </a:lnTo>
                  <a:lnTo>
                    <a:pt x="273" y="55"/>
                  </a:lnTo>
                  <a:lnTo>
                    <a:pt x="277" y="55"/>
                  </a:lnTo>
                  <a:lnTo>
                    <a:pt x="283" y="57"/>
                  </a:lnTo>
                  <a:lnTo>
                    <a:pt x="288" y="59"/>
                  </a:lnTo>
                  <a:lnTo>
                    <a:pt x="294" y="61"/>
                  </a:lnTo>
                  <a:lnTo>
                    <a:pt x="300" y="63"/>
                  </a:lnTo>
                  <a:lnTo>
                    <a:pt x="300" y="63"/>
                  </a:lnTo>
                  <a:lnTo>
                    <a:pt x="302" y="67"/>
                  </a:lnTo>
                  <a:lnTo>
                    <a:pt x="305" y="71"/>
                  </a:lnTo>
                  <a:lnTo>
                    <a:pt x="305" y="75"/>
                  </a:lnTo>
                  <a:lnTo>
                    <a:pt x="305" y="78"/>
                  </a:lnTo>
                  <a:lnTo>
                    <a:pt x="305" y="82"/>
                  </a:lnTo>
                  <a:lnTo>
                    <a:pt x="305" y="86"/>
                  </a:lnTo>
                  <a:lnTo>
                    <a:pt x="305" y="92"/>
                  </a:lnTo>
                  <a:lnTo>
                    <a:pt x="307" y="95"/>
                  </a:lnTo>
                  <a:lnTo>
                    <a:pt x="307" y="95"/>
                  </a:lnTo>
                  <a:lnTo>
                    <a:pt x="311" y="103"/>
                  </a:lnTo>
                  <a:lnTo>
                    <a:pt x="317" y="109"/>
                  </a:lnTo>
                  <a:lnTo>
                    <a:pt x="321" y="116"/>
                  </a:lnTo>
                  <a:lnTo>
                    <a:pt x="324" y="122"/>
                  </a:lnTo>
                  <a:lnTo>
                    <a:pt x="330" y="128"/>
                  </a:lnTo>
                  <a:lnTo>
                    <a:pt x="334" y="134"/>
                  </a:lnTo>
                  <a:lnTo>
                    <a:pt x="338" y="141"/>
                  </a:lnTo>
                  <a:lnTo>
                    <a:pt x="344" y="147"/>
                  </a:lnTo>
                  <a:lnTo>
                    <a:pt x="347" y="153"/>
                  </a:lnTo>
                  <a:lnTo>
                    <a:pt x="351" y="158"/>
                  </a:lnTo>
                  <a:lnTo>
                    <a:pt x="355" y="166"/>
                  </a:lnTo>
                  <a:lnTo>
                    <a:pt x="359" y="174"/>
                  </a:lnTo>
                  <a:lnTo>
                    <a:pt x="363" y="181"/>
                  </a:lnTo>
                  <a:lnTo>
                    <a:pt x="366" y="189"/>
                  </a:lnTo>
                  <a:lnTo>
                    <a:pt x="370" y="199"/>
                  </a:lnTo>
                  <a:lnTo>
                    <a:pt x="372" y="208"/>
                  </a:lnTo>
                  <a:lnTo>
                    <a:pt x="372" y="208"/>
                  </a:lnTo>
                  <a:lnTo>
                    <a:pt x="374" y="212"/>
                  </a:lnTo>
                  <a:lnTo>
                    <a:pt x="376" y="216"/>
                  </a:lnTo>
                  <a:lnTo>
                    <a:pt x="378" y="218"/>
                  </a:lnTo>
                  <a:lnTo>
                    <a:pt x="382" y="221"/>
                  </a:lnTo>
                  <a:lnTo>
                    <a:pt x="384" y="225"/>
                  </a:lnTo>
                  <a:lnTo>
                    <a:pt x="386" y="227"/>
                  </a:lnTo>
                  <a:lnTo>
                    <a:pt x="387" y="231"/>
                  </a:lnTo>
                  <a:lnTo>
                    <a:pt x="387" y="235"/>
                  </a:lnTo>
                  <a:lnTo>
                    <a:pt x="387" y="235"/>
                  </a:lnTo>
                  <a:lnTo>
                    <a:pt x="387" y="239"/>
                  </a:lnTo>
                  <a:lnTo>
                    <a:pt x="386" y="242"/>
                  </a:lnTo>
                  <a:lnTo>
                    <a:pt x="386" y="248"/>
                  </a:lnTo>
                  <a:lnTo>
                    <a:pt x="384" y="252"/>
                  </a:lnTo>
                  <a:lnTo>
                    <a:pt x="382" y="258"/>
                  </a:lnTo>
                  <a:lnTo>
                    <a:pt x="380" y="261"/>
                  </a:lnTo>
                  <a:lnTo>
                    <a:pt x="380" y="265"/>
                  </a:lnTo>
                  <a:lnTo>
                    <a:pt x="378" y="267"/>
                  </a:lnTo>
                  <a:lnTo>
                    <a:pt x="378" y="267"/>
                  </a:lnTo>
                  <a:lnTo>
                    <a:pt x="380" y="271"/>
                  </a:lnTo>
                  <a:lnTo>
                    <a:pt x="380" y="275"/>
                  </a:lnTo>
                  <a:lnTo>
                    <a:pt x="384" y="281"/>
                  </a:lnTo>
                  <a:lnTo>
                    <a:pt x="386" y="284"/>
                  </a:lnTo>
                  <a:lnTo>
                    <a:pt x="389" y="288"/>
                  </a:lnTo>
                  <a:lnTo>
                    <a:pt x="393" y="292"/>
                  </a:lnTo>
                  <a:lnTo>
                    <a:pt x="397" y="296"/>
                  </a:lnTo>
                  <a:lnTo>
                    <a:pt x="403" y="300"/>
                  </a:lnTo>
                  <a:lnTo>
                    <a:pt x="407" y="303"/>
                  </a:lnTo>
                  <a:lnTo>
                    <a:pt x="410" y="307"/>
                  </a:lnTo>
                  <a:lnTo>
                    <a:pt x="414" y="311"/>
                  </a:lnTo>
                  <a:lnTo>
                    <a:pt x="418" y="315"/>
                  </a:lnTo>
                  <a:lnTo>
                    <a:pt x="422" y="321"/>
                  </a:lnTo>
                  <a:lnTo>
                    <a:pt x="424" y="326"/>
                  </a:lnTo>
                  <a:lnTo>
                    <a:pt x="426" y="332"/>
                  </a:lnTo>
                  <a:lnTo>
                    <a:pt x="426" y="338"/>
                  </a:lnTo>
                  <a:lnTo>
                    <a:pt x="426" y="338"/>
                  </a:lnTo>
                  <a:lnTo>
                    <a:pt x="426" y="344"/>
                  </a:lnTo>
                  <a:lnTo>
                    <a:pt x="424" y="347"/>
                  </a:lnTo>
                  <a:lnTo>
                    <a:pt x="422" y="353"/>
                  </a:lnTo>
                  <a:lnTo>
                    <a:pt x="420" y="357"/>
                  </a:lnTo>
                  <a:lnTo>
                    <a:pt x="416" y="361"/>
                  </a:lnTo>
                  <a:lnTo>
                    <a:pt x="416" y="364"/>
                  </a:lnTo>
                  <a:lnTo>
                    <a:pt x="416" y="368"/>
                  </a:lnTo>
                  <a:lnTo>
                    <a:pt x="418" y="374"/>
                  </a:lnTo>
                  <a:lnTo>
                    <a:pt x="420" y="374"/>
                  </a:lnTo>
                  <a:lnTo>
                    <a:pt x="414" y="372"/>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499" name="Freeform 243"/>
            <p:cNvSpPr>
              <a:spLocks/>
            </p:cNvSpPr>
            <p:nvPr/>
          </p:nvSpPr>
          <p:spPr bwMode="gray">
            <a:xfrm>
              <a:off x="884" y="1131"/>
              <a:ext cx="535" cy="550"/>
            </a:xfrm>
            <a:custGeom>
              <a:avLst/>
              <a:gdLst/>
              <a:ahLst/>
              <a:cxnLst>
                <a:cxn ang="0">
                  <a:pos x="300" y="998"/>
                </a:cxn>
                <a:cxn ang="0">
                  <a:pos x="328" y="980"/>
                </a:cxn>
                <a:cxn ang="0">
                  <a:pos x="336" y="946"/>
                </a:cxn>
                <a:cxn ang="0">
                  <a:pos x="361" y="929"/>
                </a:cxn>
                <a:cxn ang="0">
                  <a:pos x="388" y="952"/>
                </a:cxn>
                <a:cxn ang="0">
                  <a:pos x="405" y="965"/>
                </a:cxn>
                <a:cxn ang="0">
                  <a:pos x="420" y="952"/>
                </a:cxn>
                <a:cxn ang="0">
                  <a:pos x="441" y="952"/>
                </a:cxn>
                <a:cxn ang="0">
                  <a:pos x="468" y="959"/>
                </a:cxn>
                <a:cxn ang="0">
                  <a:pos x="496" y="959"/>
                </a:cxn>
                <a:cxn ang="0">
                  <a:pos x="517" y="938"/>
                </a:cxn>
                <a:cxn ang="0">
                  <a:pos x="523" y="944"/>
                </a:cxn>
                <a:cxn ang="0">
                  <a:pos x="809" y="965"/>
                </a:cxn>
                <a:cxn ang="0">
                  <a:pos x="702" y="0"/>
                </a:cxn>
                <a:cxn ang="0">
                  <a:pos x="405" y="294"/>
                </a:cxn>
                <a:cxn ang="0">
                  <a:pos x="376" y="305"/>
                </a:cxn>
                <a:cxn ang="0">
                  <a:pos x="351" y="318"/>
                </a:cxn>
                <a:cxn ang="0">
                  <a:pos x="328" y="334"/>
                </a:cxn>
                <a:cxn ang="0">
                  <a:pos x="21" y="442"/>
                </a:cxn>
                <a:cxn ang="0">
                  <a:pos x="10" y="458"/>
                </a:cxn>
                <a:cxn ang="0">
                  <a:pos x="16" y="456"/>
                </a:cxn>
                <a:cxn ang="0">
                  <a:pos x="31" y="448"/>
                </a:cxn>
                <a:cxn ang="0">
                  <a:pos x="52" y="479"/>
                </a:cxn>
                <a:cxn ang="0">
                  <a:pos x="67" y="509"/>
                </a:cxn>
                <a:cxn ang="0">
                  <a:pos x="59" y="536"/>
                </a:cxn>
                <a:cxn ang="0">
                  <a:pos x="46" y="559"/>
                </a:cxn>
                <a:cxn ang="0">
                  <a:pos x="37" y="584"/>
                </a:cxn>
                <a:cxn ang="0">
                  <a:pos x="40" y="607"/>
                </a:cxn>
                <a:cxn ang="0">
                  <a:pos x="50" y="631"/>
                </a:cxn>
                <a:cxn ang="0">
                  <a:pos x="50" y="650"/>
                </a:cxn>
                <a:cxn ang="0">
                  <a:pos x="50" y="673"/>
                </a:cxn>
                <a:cxn ang="0">
                  <a:pos x="50" y="706"/>
                </a:cxn>
                <a:cxn ang="0">
                  <a:pos x="44" y="734"/>
                </a:cxn>
                <a:cxn ang="0">
                  <a:pos x="23" y="769"/>
                </a:cxn>
                <a:cxn ang="0">
                  <a:pos x="8" y="807"/>
                </a:cxn>
                <a:cxn ang="0">
                  <a:pos x="2" y="830"/>
                </a:cxn>
                <a:cxn ang="0">
                  <a:pos x="2" y="841"/>
                </a:cxn>
                <a:cxn ang="0">
                  <a:pos x="2" y="845"/>
                </a:cxn>
                <a:cxn ang="0">
                  <a:pos x="17" y="834"/>
                </a:cxn>
                <a:cxn ang="0">
                  <a:pos x="35" y="832"/>
                </a:cxn>
                <a:cxn ang="0">
                  <a:pos x="48" y="832"/>
                </a:cxn>
                <a:cxn ang="0">
                  <a:pos x="69" y="830"/>
                </a:cxn>
                <a:cxn ang="0">
                  <a:pos x="109" y="822"/>
                </a:cxn>
                <a:cxn ang="0">
                  <a:pos x="136" y="828"/>
                </a:cxn>
                <a:cxn ang="0">
                  <a:pos x="157" y="841"/>
                </a:cxn>
                <a:cxn ang="0">
                  <a:pos x="172" y="860"/>
                </a:cxn>
                <a:cxn ang="0">
                  <a:pos x="187" y="876"/>
                </a:cxn>
                <a:cxn ang="0">
                  <a:pos x="214" y="883"/>
                </a:cxn>
                <a:cxn ang="0">
                  <a:pos x="225" y="897"/>
                </a:cxn>
                <a:cxn ang="0">
                  <a:pos x="227" y="917"/>
                </a:cxn>
                <a:cxn ang="0">
                  <a:pos x="241" y="938"/>
                </a:cxn>
                <a:cxn ang="0">
                  <a:pos x="260" y="963"/>
                </a:cxn>
                <a:cxn ang="0">
                  <a:pos x="275" y="988"/>
                </a:cxn>
              </a:cxnLst>
              <a:rect l="0" t="0" r="r" b="b"/>
              <a:pathLst>
                <a:path w="945" h="1000">
                  <a:moveTo>
                    <a:pt x="281" y="1000"/>
                  </a:moveTo>
                  <a:lnTo>
                    <a:pt x="281" y="1000"/>
                  </a:lnTo>
                  <a:lnTo>
                    <a:pt x="286" y="1000"/>
                  </a:lnTo>
                  <a:lnTo>
                    <a:pt x="292" y="1000"/>
                  </a:lnTo>
                  <a:lnTo>
                    <a:pt x="300" y="998"/>
                  </a:lnTo>
                  <a:lnTo>
                    <a:pt x="307" y="996"/>
                  </a:lnTo>
                  <a:lnTo>
                    <a:pt x="315" y="994"/>
                  </a:lnTo>
                  <a:lnTo>
                    <a:pt x="321" y="990"/>
                  </a:lnTo>
                  <a:lnTo>
                    <a:pt x="325" y="986"/>
                  </a:lnTo>
                  <a:lnTo>
                    <a:pt x="328" y="980"/>
                  </a:lnTo>
                  <a:lnTo>
                    <a:pt x="328" y="980"/>
                  </a:lnTo>
                  <a:lnTo>
                    <a:pt x="330" y="973"/>
                  </a:lnTo>
                  <a:lnTo>
                    <a:pt x="330" y="963"/>
                  </a:lnTo>
                  <a:lnTo>
                    <a:pt x="332" y="956"/>
                  </a:lnTo>
                  <a:lnTo>
                    <a:pt x="336" y="946"/>
                  </a:lnTo>
                  <a:lnTo>
                    <a:pt x="338" y="940"/>
                  </a:lnTo>
                  <a:lnTo>
                    <a:pt x="344" y="935"/>
                  </a:lnTo>
                  <a:lnTo>
                    <a:pt x="351" y="931"/>
                  </a:lnTo>
                  <a:lnTo>
                    <a:pt x="361" y="929"/>
                  </a:lnTo>
                  <a:lnTo>
                    <a:pt x="361" y="929"/>
                  </a:lnTo>
                  <a:lnTo>
                    <a:pt x="368" y="931"/>
                  </a:lnTo>
                  <a:lnTo>
                    <a:pt x="374" y="935"/>
                  </a:lnTo>
                  <a:lnTo>
                    <a:pt x="378" y="938"/>
                  </a:lnTo>
                  <a:lnTo>
                    <a:pt x="384" y="946"/>
                  </a:lnTo>
                  <a:lnTo>
                    <a:pt x="388" y="952"/>
                  </a:lnTo>
                  <a:lnTo>
                    <a:pt x="391" y="958"/>
                  </a:lnTo>
                  <a:lnTo>
                    <a:pt x="397" y="963"/>
                  </a:lnTo>
                  <a:lnTo>
                    <a:pt x="403" y="969"/>
                  </a:lnTo>
                  <a:lnTo>
                    <a:pt x="403" y="969"/>
                  </a:lnTo>
                  <a:lnTo>
                    <a:pt x="405" y="965"/>
                  </a:lnTo>
                  <a:lnTo>
                    <a:pt x="407" y="963"/>
                  </a:lnTo>
                  <a:lnTo>
                    <a:pt x="410" y="959"/>
                  </a:lnTo>
                  <a:lnTo>
                    <a:pt x="412" y="958"/>
                  </a:lnTo>
                  <a:lnTo>
                    <a:pt x="416" y="954"/>
                  </a:lnTo>
                  <a:lnTo>
                    <a:pt x="420" y="952"/>
                  </a:lnTo>
                  <a:lnTo>
                    <a:pt x="424" y="952"/>
                  </a:lnTo>
                  <a:lnTo>
                    <a:pt x="428" y="950"/>
                  </a:lnTo>
                  <a:lnTo>
                    <a:pt x="428" y="950"/>
                  </a:lnTo>
                  <a:lnTo>
                    <a:pt x="435" y="952"/>
                  </a:lnTo>
                  <a:lnTo>
                    <a:pt x="441" y="952"/>
                  </a:lnTo>
                  <a:lnTo>
                    <a:pt x="445" y="954"/>
                  </a:lnTo>
                  <a:lnTo>
                    <a:pt x="450" y="956"/>
                  </a:lnTo>
                  <a:lnTo>
                    <a:pt x="456" y="956"/>
                  </a:lnTo>
                  <a:lnTo>
                    <a:pt x="462" y="958"/>
                  </a:lnTo>
                  <a:lnTo>
                    <a:pt x="468" y="959"/>
                  </a:lnTo>
                  <a:lnTo>
                    <a:pt x="475" y="959"/>
                  </a:lnTo>
                  <a:lnTo>
                    <a:pt x="475" y="959"/>
                  </a:lnTo>
                  <a:lnTo>
                    <a:pt x="483" y="959"/>
                  </a:lnTo>
                  <a:lnTo>
                    <a:pt x="491" y="959"/>
                  </a:lnTo>
                  <a:lnTo>
                    <a:pt x="496" y="959"/>
                  </a:lnTo>
                  <a:lnTo>
                    <a:pt x="502" y="958"/>
                  </a:lnTo>
                  <a:lnTo>
                    <a:pt x="508" y="956"/>
                  </a:lnTo>
                  <a:lnTo>
                    <a:pt x="512" y="952"/>
                  </a:lnTo>
                  <a:lnTo>
                    <a:pt x="515" y="946"/>
                  </a:lnTo>
                  <a:lnTo>
                    <a:pt x="517" y="938"/>
                  </a:lnTo>
                  <a:lnTo>
                    <a:pt x="517" y="938"/>
                  </a:lnTo>
                  <a:lnTo>
                    <a:pt x="519" y="938"/>
                  </a:lnTo>
                  <a:lnTo>
                    <a:pt x="519" y="940"/>
                  </a:lnTo>
                  <a:lnTo>
                    <a:pt x="521" y="942"/>
                  </a:lnTo>
                  <a:lnTo>
                    <a:pt x="523" y="944"/>
                  </a:lnTo>
                  <a:lnTo>
                    <a:pt x="525" y="946"/>
                  </a:lnTo>
                  <a:lnTo>
                    <a:pt x="527" y="946"/>
                  </a:lnTo>
                  <a:lnTo>
                    <a:pt x="527" y="950"/>
                  </a:lnTo>
                  <a:lnTo>
                    <a:pt x="529" y="950"/>
                  </a:lnTo>
                  <a:lnTo>
                    <a:pt x="809" y="965"/>
                  </a:lnTo>
                  <a:lnTo>
                    <a:pt x="828" y="900"/>
                  </a:lnTo>
                  <a:lnTo>
                    <a:pt x="805" y="879"/>
                  </a:lnTo>
                  <a:lnTo>
                    <a:pt x="815" y="200"/>
                  </a:lnTo>
                  <a:lnTo>
                    <a:pt x="945" y="200"/>
                  </a:lnTo>
                  <a:lnTo>
                    <a:pt x="702" y="0"/>
                  </a:lnTo>
                  <a:lnTo>
                    <a:pt x="681" y="109"/>
                  </a:lnTo>
                  <a:lnTo>
                    <a:pt x="449" y="93"/>
                  </a:lnTo>
                  <a:lnTo>
                    <a:pt x="410" y="292"/>
                  </a:lnTo>
                  <a:lnTo>
                    <a:pt x="410" y="292"/>
                  </a:lnTo>
                  <a:lnTo>
                    <a:pt x="405" y="294"/>
                  </a:lnTo>
                  <a:lnTo>
                    <a:pt x="399" y="296"/>
                  </a:lnTo>
                  <a:lnTo>
                    <a:pt x="391" y="297"/>
                  </a:lnTo>
                  <a:lnTo>
                    <a:pt x="388" y="301"/>
                  </a:lnTo>
                  <a:lnTo>
                    <a:pt x="382" y="303"/>
                  </a:lnTo>
                  <a:lnTo>
                    <a:pt x="376" y="305"/>
                  </a:lnTo>
                  <a:lnTo>
                    <a:pt x="370" y="309"/>
                  </a:lnTo>
                  <a:lnTo>
                    <a:pt x="367" y="311"/>
                  </a:lnTo>
                  <a:lnTo>
                    <a:pt x="361" y="313"/>
                  </a:lnTo>
                  <a:lnTo>
                    <a:pt x="357" y="317"/>
                  </a:lnTo>
                  <a:lnTo>
                    <a:pt x="351" y="318"/>
                  </a:lnTo>
                  <a:lnTo>
                    <a:pt x="347" y="320"/>
                  </a:lnTo>
                  <a:lnTo>
                    <a:pt x="342" y="324"/>
                  </a:lnTo>
                  <a:lnTo>
                    <a:pt x="338" y="328"/>
                  </a:lnTo>
                  <a:lnTo>
                    <a:pt x="332" y="330"/>
                  </a:lnTo>
                  <a:lnTo>
                    <a:pt x="328" y="334"/>
                  </a:lnTo>
                  <a:lnTo>
                    <a:pt x="313" y="460"/>
                  </a:lnTo>
                  <a:lnTo>
                    <a:pt x="27" y="437"/>
                  </a:lnTo>
                  <a:lnTo>
                    <a:pt x="27" y="437"/>
                  </a:lnTo>
                  <a:lnTo>
                    <a:pt x="23" y="439"/>
                  </a:lnTo>
                  <a:lnTo>
                    <a:pt x="21" y="442"/>
                  </a:lnTo>
                  <a:lnTo>
                    <a:pt x="19" y="444"/>
                  </a:lnTo>
                  <a:lnTo>
                    <a:pt x="16" y="446"/>
                  </a:lnTo>
                  <a:lnTo>
                    <a:pt x="14" y="450"/>
                  </a:lnTo>
                  <a:lnTo>
                    <a:pt x="12" y="454"/>
                  </a:lnTo>
                  <a:lnTo>
                    <a:pt x="10" y="458"/>
                  </a:lnTo>
                  <a:lnTo>
                    <a:pt x="10" y="462"/>
                  </a:lnTo>
                  <a:lnTo>
                    <a:pt x="10" y="462"/>
                  </a:lnTo>
                  <a:lnTo>
                    <a:pt x="10" y="460"/>
                  </a:lnTo>
                  <a:lnTo>
                    <a:pt x="14" y="458"/>
                  </a:lnTo>
                  <a:lnTo>
                    <a:pt x="16" y="456"/>
                  </a:lnTo>
                  <a:lnTo>
                    <a:pt x="17" y="454"/>
                  </a:lnTo>
                  <a:lnTo>
                    <a:pt x="19" y="452"/>
                  </a:lnTo>
                  <a:lnTo>
                    <a:pt x="23" y="450"/>
                  </a:lnTo>
                  <a:lnTo>
                    <a:pt x="27" y="448"/>
                  </a:lnTo>
                  <a:lnTo>
                    <a:pt x="31" y="448"/>
                  </a:lnTo>
                  <a:lnTo>
                    <a:pt x="31" y="448"/>
                  </a:lnTo>
                  <a:lnTo>
                    <a:pt x="35" y="452"/>
                  </a:lnTo>
                  <a:lnTo>
                    <a:pt x="38" y="460"/>
                  </a:lnTo>
                  <a:lnTo>
                    <a:pt x="44" y="469"/>
                  </a:lnTo>
                  <a:lnTo>
                    <a:pt x="52" y="479"/>
                  </a:lnTo>
                  <a:lnTo>
                    <a:pt x="58" y="490"/>
                  </a:lnTo>
                  <a:lnTo>
                    <a:pt x="63" y="498"/>
                  </a:lnTo>
                  <a:lnTo>
                    <a:pt x="67" y="505"/>
                  </a:lnTo>
                  <a:lnTo>
                    <a:pt x="67" y="509"/>
                  </a:lnTo>
                  <a:lnTo>
                    <a:pt x="67" y="509"/>
                  </a:lnTo>
                  <a:lnTo>
                    <a:pt x="67" y="517"/>
                  </a:lnTo>
                  <a:lnTo>
                    <a:pt x="67" y="523"/>
                  </a:lnTo>
                  <a:lnTo>
                    <a:pt x="65" y="526"/>
                  </a:lnTo>
                  <a:lnTo>
                    <a:pt x="63" y="532"/>
                  </a:lnTo>
                  <a:lnTo>
                    <a:pt x="59" y="536"/>
                  </a:lnTo>
                  <a:lnTo>
                    <a:pt x="58" y="542"/>
                  </a:lnTo>
                  <a:lnTo>
                    <a:pt x="56" y="545"/>
                  </a:lnTo>
                  <a:lnTo>
                    <a:pt x="52" y="549"/>
                  </a:lnTo>
                  <a:lnTo>
                    <a:pt x="48" y="555"/>
                  </a:lnTo>
                  <a:lnTo>
                    <a:pt x="46" y="559"/>
                  </a:lnTo>
                  <a:lnTo>
                    <a:pt x="44" y="563"/>
                  </a:lnTo>
                  <a:lnTo>
                    <a:pt x="40" y="566"/>
                  </a:lnTo>
                  <a:lnTo>
                    <a:pt x="38" y="572"/>
                  </a:lnTo>
                  <a:lnTo>
                    <a:pt x="37" y="578"/>
                  </a:lnTo>
                  <a:lnTo>
                    <a:pt x="37" y="584"/>
                  </a:lnTo>
                  <a:lnTo>
                    <a:pt x="37" y="589"/>
                  </a:lnTo>
                  <a:lnTo>
                    <a:pt x="37" y="589"/>
                  </a:lnTo>
                  <a:lnTo>
                    <a:pt x="37" y="595"/>
                  </a:lnTo>
                  <a:lnTo>
                    <a:pt x="38" y="601"/>
                  </a:lnTo>
                  <a:lnTo>
                    <a:pt x="40" y="607"/>
                  </a:lnTo>
                  <a:lnTo>
                    <a:pt x="44" y="610"/>
                  </a:lnTo>
                  <a:lnTo>
                    <a:pt x="46" y="616"/>
                  </a:lnTo>
                  <a:lnTo>
                    <a:pt x="48" y="620"/>
                  </a:lnTo>
                  <a:lnTo>
                    <a:pt x="50" y="626"/>
                  </a:lnTo>
                  <a:lnTo>
                    <a:pt x="50" y="631"/>
                  </a:lnTo>
                  <a:lnTo>
                    <a:pt x="50" y="631"/>
                  </a:lnTo>
                  <a:lnTo>
                    <a:pt x="50" y="637"/>
                  </a:lnTo>
                  <a:lnTo>
                    <a:pt x="50" y="641"/>
                  </a:lnTo>
                  <a:lnTo>
                    <a:pt x="50" y="647"/>
                  </a:lnTo>
                  <a:lnTo>
                    <a:pt x="50" y="650"/>
                  </a:lnTo>
                  <a:lnTo>
                    <a:pt x="50" y="654"/>
                  </a:lnTo>
                  <a:lnTo>
                    <a:pt x="50" y="658"/>
                  </a:lnTo>
                  <a:lnTo>
                    <a:pt x="50" y="664"/>
                  </a:lnTo>
                  <a:lnTo>
                    <a:pt x="50" y="668"/>
                  </a:lnTo>
                  <a:lnTo>
                    <a:pt x="50" y="673"/>
                  </a:lnTo>
                  <a:lnTo>
                    <a:pt x="50" y="677"/>
                  </a:lnTo>
                  <a:lnTo>
                    <a:pt x="50" y="683"/>
                  </a:lnTo>
                  <a:lnTo>
                    <a:pt x="50" y="690"/>
                  </a:lnTo>
                  <a:lnTo>
                    <a:pt x="50" y="698"/>
                  </a:lnTo>
                  <a:lnTo>
                    <a:pt x="50" y="706"/>
                  </a:lnTo>
                  <a:lnTo>
                    <a:pt x="50" y="715"/>
                  </a:lnTo>
                  <a:lnTo>
                    <a:pt x="50" y="727"/>
                  </a:lnTo>
                  <a:lnTo>
                    <a:pt x="50" y="727"/>
                  </a:lnTo>
                  <a:lnTo>
                    <a:pt x="48" y="731"/>
                  </a:lnTo>
                  <a:lnTo>
                    <a:pt x="44" y="734"/>
                  </a:lnTo>
                  <a:lnTo>
                    <a:pt x="38" y="740"/>
                  </a:lnTo>
                  <a:lnTo>
                    <a:pt x="35" y="748"/>
                  </a:lnTo>
                  <a:lnTo>
                    <a:pt x="31" y="753"/>
                  </a:lnTo>
                  <a:lnTo>
                    <a:pt x="27" y="761"/>
                  </a:lnTo>
                  <a:lnTo>
                    <a:pt x="23" y="769"/>
                  </a:lnTo>
                  <a:lnTo>
                    <a:pt x="19" y="776"/>
                  </a:lnTo>
                  <a:lnTo>
                    <a:pt x="16" y="784"/>
                  </a:lnTo>
                  <a:lnTo>
                    <a:pt x="14" y="792"/>
                  </a:lnTo>
                  <a:lnTo>
                    <a:pt x="10" y="799"/>
                  </a:lnTo>
                  <a:lnTo>
                    <a:pt x="8" y="807"/>
                  </a:lnTo>
                  <a:lnTo>
                    <a:pt x="6" y="813"/>
                  </a:lnTo>
                  <a:lnTo>
                    <a:pt x="4" y="820"/>
                  </a:lnTo>
                  <a:lnTo>
                    <a:pt x="4" y="824"/>
                  </a:lnTo>
                  <a:lnTo>
                    <a:pt x="2" y="830"/>
                  </a:lnTo>
                  <a:lnTo>
                    <a:pt x="2" y="830"/>
                  </a:lnTo>
                  <a:lnTo>
                    <a:pt x="2" y="832"/>
                  </a:lnTo>
                  <a:lnTo>
                    <a:pt x="2" y="834"/>
                  </a:lnTo>
                  <a:lnTo>
                    <a:pt x="2" y="835"/>
                  </a:lnTo>
                  <a:lnTo>
                    <a:pt x="2" y="837"/>
                  </a:lnTo>
                  <a:lnTo>
                    <a:pt x="2" y="841"/>
                  </a:lnTo>
                  <a:lnTo>
                    <a:pt x="0" y="843"/>
                  </a:lnTo>
                  <a:lnTo>
                    <a:pt x="0" y="845"/>
                  </a:lnTo>
                  <a:lnTo>
                    <a:pt x="0" y="847"/>
                  </a:lnTo>
                  <a:lnTo>
                    <a:pt x="0" y="847"/>
                  </a:lnTo>
                  <a:lnTo>
                    <a:pt x="2" y="845"/>
                  </a:lnTo>
                  <a:lnTo>
                    <a:pt x="6" y="841"/>
                  </a:lnTo>
                  <a:lnTo>
                    <a:pt x="8" y="839"/>
                  </a:lnTo>
                  <a:lnTo>
                    <a:pt x="12" y="837"/>
                  </a:lnTo>
                  <a:lnTo>
                    <a:pt x="14" y="835"/>
                  </a:lnTo>
                  <a:lnTo>
                    <a:pt x="17" y="834"/>
                  </a:lnTo>
                  <a:lnTo>
                    <a:pt x="21" y="834"/>
                  </a:lnTo>
                  <a:lnTo>
                    <a:pt x="27" y="832"/>
                  </a:lnTo>
                  <a:lnTo>
                    <a:pt x="27" y="832"/>
                  </a:lnTo>
                  <a:lnTo>
                    <a:pt x="31" y="832"/>
                  </a:lnTo>
                  <a:lnTo>
                    <a:pt x="35" y="832"/>
                  </a:lnTo>
                  <a:lnTo>
                    <a:pt x="37" y="832"/>
                  </a:lnTo>
                  <a:lnTo>
                    <a:pt x="38" y="832"/>
                  </a:lnTo>
                  <a:lnTo>
                    <a:pt x="42" y="832"/>
                  </a:lnTo>
                  <a:lnTo>
                    <a:pt x="44" y="832"/>
                  </a:lnTo>
                  <a:lnTo>
                    <a:pt x="48" y="832"/>
                  </a:lnTo>
                  <a:lnTo>
                    <a:pt x="50" y="832"/>
                  </a:lnTo>
                  <a:lnTo>
                    <a:pt x="50" y="832"/>
                  </a:lnTo>
                  <a:lnTo>
                    <a:pt x="56" y="832"/>
                  </a:lnTo>
                  <a:lnTo>
                    <a:pt x="63" y="832"/>
                  </a:lnTo>
                  <a:lnTo>
                    <a:pt x="69" y="830"/>
                  </a:lnTo>
                  <a:lnTo>
                    <a:pt x="79" y="828"/>
                  </a:lnTo>
                  <a:lnTo>
                    <a:pt x="86" y="826"/>
                  </a:lnTo>
                  <a:lnTo>
                    <a:pt x="94" y="824"/>
                  </a:lnTo>
                  <a:lnTo>
                    <a:pt x="101" y="824"/>
                  </a:lnTo>
                  <a:lnTo>
                    <a:pt x="109" y="822"/>
                  </a:lnTo>
                  <a:lnTo>
                    <a:pt x="109" y="822"/>
                  </a:lnTo>
                  <a:lnTo>
                    <a:pt x="117" y="824"/>
                  </a:lnTo>
                  <a:lnTo>
                    <a:pt x="124" y="824"/>
                  </a:lnTo>
                  <a:lnTo>
                    <a:pt x="130" y="826"/>
                  </a:lnTo>
                  <a:lnTo>
                    <a:pt x="136" y="828"/>
                  </a:lnTo>
                  <a:lnTo>
                    <a:pt x="141" y="830"/>
                  </a:lnTo>
                  <a:lnTo>
                    <a:pt x="145" y="832"/>
                  </a:lnTo>
                  <a:lnTo>
                    <a:pt x="149" y="835"/>
                  </a:lnTo>
                  <a:lnTo>
                    <a:pt x="153" y="837"/>
                  </a:lnTo>
                  <a:lnTo>
                    <a:pt x="157" y="841"/>
                  </a:lnTo>
                  <a:lnTo>
                    <a:pt x="159" y="845"/>
                  </a:lnTo>
                  <a:lnTo>
                    <a:pt x="162" y="849"/>
                  </a:lnTo>
                  <a:lnTo>
                    <a:pt x="164" y="853"/>
                  </a:lnTo>
                  <a:lnTo>
                    <a:pt x="168" y="856"/>
                  </a:lnTo>
                  <a:lnTo>
                    <a:pt x="172" y="860"/>
                  </a:lnTo>
                  <a:lnTo>
                    <a:pt x="174" y="864"/>
                  </a:lnTo>
                  <a:lnTo>
                    <a:pt x="178" y="868"/>
                  </a:lnTo>
                  <a:lnTo>
                    <a:pt x="178" y="868"/>
                  </a:lnTo>
                  <a:lnTo>
                    <a:pt x="183" y="872"/>
                  </a:lnTo>
                  <a:lnTo>
                    <a:pt x="187" y="876"/>
                  </a:lnTo>
                  <a:lnTo>
                    <a:pt x="193" y="877"/>
                  </a:lnTo>
                  <a:lnTo>
                    <a:pt x="197" y="877"/>
                  </a:lnTo>
                  <a:lnTo>
                    <a:pt x="203" y="879"/>
                  </a:lnTo>
                  <a:lnTo>
                    <a:pt x="208" y="881"/>
                  </a:lnTo>
                  <a:lnTo>
                    <a:pt x="214" y="883"/>
                  </a:lnTo>
                  <a:lnTo>
                    <a:pt x="220" y="885"/>
                  </a:lnTo>
                  <a:lnTo>
                    <a:pt x="220" y="885"/>
                  </a:lnTo>
                  <a:lnTo>
                    <a:pt x="222" y="889"/>
                  </a:lnTo>
                  <a:lnTo>
                    <a:pt x="225" y="893"/>
                  </a:lnTo>
                  <a:lnTo>
                    <a:pt x="225" y="897"/>
                  </a:lnTo>
                  <a:lnTo>
                    <a:pt x="225" y="900"/>
                  </a:lnTo>
                  <a:lnTo>
                    <a:pt x="225" y="904"/>
                  </a:lnTo>
                  <a:lnTo>
                    <a:pt x="225" y="908"/>
                  </a:lnTo>
                  <a:lnTo>
                    <a:pt x="225" y="914"/>
                  </a:lnTo>
                  <a:lnTo>
                    <a:pt x="227" y="917"/>
                  </a:lnTo>
                  <a:lnTo>
                    <a:pt x="227" y="917"/>
                  </a:lnTo>
                  <a:lnTo>
                    <a:pt x="231" y="923"/>
                  </a:lnTo>
                  <a:lnTo>
                    <a:pt x="235" y="929"/>
                  </a:lnTo>
                  <a:lnTo>
                    <a:pt x="239" y="935"/>
                  </a:lnTo>
                  <a:lnTo>
                    <a:pt x="241" y="938"/>
                  </a:lnTo>
                  <a:lnTo>
                    <a:pt x="244" y="944"/>
                  </a:lnTo>
                  <a:lnTo>
                    <a:pt x="248" y="950"/>
                  </a:lnTo>
                  <a:lnTo>
                    <a:pt x="252" y="954"/>
                  </a:lnTo>
                  <a:lnTo>
                    <a:pt x="256" y="959"/>
                  </a:lnTo>
                  <a:lnTo>
                    <a:pt x="260" y="963"/>
                  </a:lnTo>
                  <a:lnTo>
                    <a:pt x="262" y="969"/>
                  </a:lnTo>
                  <a:lnTo>
                    <a:pt x="265" y="973"/>
                  </a:lnTo>
                  <a:lnTo>
                    <a:pt x="269" y="979"/>
                  </a:lnTo>
                  <a:lnTo>
                    <a:pt x="273" y="982"/>
                  </a:lnTo>
                  <a:lnTo>
                    <a:pt x="275" y="988"/>
                  </a:lnTo>
                  <a:lnTo>
                    <a:pt x="279" y="994"/>
                  </a:lnTo>
                  <a:lnTo>
                    <a:pt x="281" y="1000"/>
                  </a:lnTo>
                  <a:lnTo>
                    <a:pt x="281" y="100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0" name="Freeform 244"/>
            <p:cNvSpPr>
              <a:spLocks/>
            </p:cNvSpPr>
            <p:nvPr/>
          </p:nvSpPr>
          <p:spPr bwMode="gray">
            <a:xfrm>
              <a:off x="899" y="1099"/>
              <a:ext cx="385" cy="285"/>
            </a:xfrm>
            <a:custGeom>
              <a:avLst/>
              <a:gdLst/>
              <a:ahLst/>
              <a:cxnLst>
                <a:cxn ang="0">
                  <a:pos x="0" y="492"/>
                </a:cxn>
                <a:cxn ang="0">
                  <a:pos x="15" y="458"/>
                </a:cxn>
                <a:cxn ang="0">
                  <a:pos x="32" y="421"/>
                </a:cxn>
                <a:cxn ang="0">
                  <a:pos x="55" y="385"/>
                </a:cxn>
                <a:cxn ang="0">
                  <a:pos x="78" y="351"/>
                </a:cxn>
                <a:cxn ang="0">
                  <a:pos x="103" y="316"/>
                </a:cxn>
                <a:cxn ang="0">
                  <a:pos x="130" y="288"/>
                </a:cxn>
                <a:cxn ang="0">
                  <a:pos x="158" y="261"/>
                </a:cxn>
                <a:cxn ang="0">
                  <a:pos x="187" y="242"/>
                </a:cxn>
                <a:cxn ang="0">
                  <a:pos x="191" y="238"/>
                </a:cxn>
                <a:cxn ang="0">
                  <a:pos x="198" y="227"/>
                </a:cxn>
                <a:cxn ang="0">
                  <a:pos x="202" y="215"/>
                </a:cxn>
                <a:cxn ang="0">
                  <a:pos x="206" y="202"/>
                </a:cxn>
                <a:cxn ang="0">
                  <a:pos x="206" y="196"/>
                </a:cxn>
                <a:cxn ang="0">
                  <a:pos x="208" y="189"/>
                </a:cxn>
                <a:cxn ang="0">
                  <a:pos x="214" y="177"/>
                </a:cxn>
                <a:cxn ang="0">
                  <a:pos x="219" y="166"/>
                </a:cxn>
                <a:cxn ang="0">
                  <a:pos x="227" y="152"/>
                </a:cxn>
                <a:cxn ang="0">
                  <a:pos x="235" y="139"/>
                </a:cxn>
                <a:cxn ang="0">
                  <a:pos x="242" y="126"/>
                </a:cxn>
                <a:cxn ang="0">
                  <a:pos x="250" y="116"/>
                </a:cxn>
                <a:cxn ang="0">
                  <a:pos x="258" y="108"/>
                </a:cxn>
                <a:cxn ang="0">
                  <a:pos x="261" y="105"/>
                </a:cxn>
                <a:cxn ang="0">
                  <a:pos x="275" y="99"/>
                </a:cxn>
                <a:cxn ang="0">
                  <a:pos x="288" y="95"/>
                </a:cxn>
                <a:cxn ang="0">
                  <a:pos x="301" y="91"/>
                </a:cxn>
                <a:cxn ang="0">
                  <a:pos x="307" y="87"/>
                </a:cxn>
                <a:cxn ang="0">
                  <a:pos x="317" y="78"/>
                </a:cxn>
                <a:cxn ang="0">
                  <a:pos x="326" y="68"/>
                </a:cxn>
                <a:cxn ang="0">
                  <a:pos x="334" y="57"/>
                </a:cxn>
                <a:cxn ang="0">
                  <a:pos x="341" y="44"/>
                </a:cxn>
                <a:cxn ang="0">
                  <a:pos x="349" y="32"/>
                </a:cxn>
                <a:cxn ang="0">
                  <a:pos x="355" y="21"/>
                </a:cxn>
                <a:cxn ang="0">
                  <a:pos x="362" y="9"/>
                </a:cxn>
                <a:cxn ang="0">
                  <a:pos x="370" y="0"/>
                </a:cxn>
                <a:cxn ang="0">
                  <a:pos x="675" y="59"/>
                </a:cxn>
                <a:cxn ang="0">
                  <a:pos x="422" y="152"/>
                </a:cxn>
                <a:cxn ang="0">
                  <a:pos x="383" y="351"/>
                </a:cxn>
                <a:cxn ang="0">
                  <a:pos x="372" y="355"/>
                </a:cxn>
                <a:cxn ang="0">
                  <a:pos x="361" y="360"/>
                </a:cxn>
                <a:cxn ang="0">
                  <a:pos x="349" y="364"/>
                </a:cxn>
                <a:cxn ang="0">
                  <a:pos x="340" y="370"/>
                </a:cxn>
                <a:cxn ang="0">
                  <a:pos x="330" y="376"/>
                </a:cxn>
                <a:cxn ang="0">
                  <a:pos x="320" y="379"/>
                </a:cxn>
                <a:cxn ang="0">
                  <a:pos x="311" y="387"/>
                </a:cxn>
                <a:cxn ang="0">
                  <a:pos x="301" y="393"/>
                </a:cxn>
                <a:cxn ang="0">
                  <a:pos x="0" y="496"/>
                </a:cxn>
              </a:cxnLst>
              <a:rect l="0" t="0" r="r" b="b"/>
              <a:pathLst>
                <a:path w="679" h="519">
                  <a:moveTo>
                    <a:pt x="0" y="492"/>
                  </a:moveTo>
                  <a:lnTo>
                    <a:pt x="0" y="492"/>
                  </a:lnTo>
                  <a:lnTo>
                    <a:pt x="6" y="475"/>
                  </a:lnTo>
                  <a:lnTo>
                    <a:pt x="15" y="458"/>
                  </a:lnTo>
                  <a:lnTo>
                    <a:pt x="23" y="440"/>
                  </a:lnTo>
                  <a:lnTo>
                    <a:pt x="32" y="421"/>
                  </a:lnTo>
                  <a:lnTo>
                    <a:pt x="44" y="404"/>
                  </a:lnTo>
                  <a:lnTo>
                    <a:pt x="55" y="385"/>
                  </a:lnTo>
                  <a:lnTo>
                    <a:pt x="65" y="368"/>
                  </a:lnTo>
                  <a:lnTo>
                    <a:pt x="78" y="351"/>
                  </a:lnTo>
                  <a:lnTo>
                    <a:pt x="90" y="334"/>
                  </a:lnTo>
                  <a:lnTo>
                    <a:pt x="103" y="316"/>
                  </a:lnTo>
                  <a:lnTo>
                    <a:pt x="116" y="301"/>
                  </a:lnTo>
                  <a:lnTo>
                    <a:pt x="130" y="288"/>
                  </a:lnTo>
                  <a:lnTo>
                    <a:pt x="145" y="274"/>
                  </a:lnTo>
                  <a:lnTo>
                    <a:pt x="158" y="261"/>
                  </a:lnTo>
                  <a:lnTo>
                    <a:pt x="172" y="252"/>
                  </a:lnTo>
                  <a:lnTo>
                    <a:pt x="187" y="242"/>
                  </a:lnTo>
                  <a:lnTo>
                    <a:pt x="187" y="242"/>
                  </a:lnTo>
                  <a:lnTo>
                    <a:pt x="191" y="238"/>
                  </a:lnTo>
                  <a:lnTo>
                    <a:pt x="195" y="232"/>
                  </a:lnTo>
                  <a:lnTo>
                    <a:pt x="198" y="227"/>
                  </a:lnTo>
                  <a:lnTo>
                    <a:pt x="200" y="221"/>
                  </a:lnTo>
                  <a:lnTo>
                    <a:pt x="202" y="215"/>
                  </a:lnTo>
                  <a:lnTo>
                    <a:pt x="204" y="210"/>
                  </a:lnTo>
                  <a:lnTo>
                    <a:pt x="206" y="202"/>
                  </a:lnTo>
                  <a:lnTo>
                    <a:pt x="206" y="196"/>
                  </a:lnTo>
                  <a:lnTo>
                    <a:pt x="206" y="196"/>
                  </a:lnTo>
                  <a:lnTo>
                    <a:pt x="206" y="192"/>
                  </a:lnTo>
                  <a:lnTo>
                    <a:pt x="208" y="189"/>
                  </a:lnTo>
                  <a:lnTo>
                    <a:pt x="212" y="183"/>
                  </a:lnTo>
                  <a:lnTo>
                    <a:pt x="214" y="177"/>
                  </a:lnTo>
                  <a:lnTo>
                    <a:pt x="216" y="171"/>
                  </a:lnTo>
                  <a:lnTo>
                    <a:pt x="219" y="166"/>
                  </a:lnTo>
                  <a:lnTo>
                    <a:pt x="223" y="158"/>
                  </a:lnTo>
                  <a:lnTo>
                    <a:pt x="227" y="152"/>
                  </a:lnTo>
                  <a:lnTo>
                    <a:pt x="231" y="145"/>
                  </a:lnTo>
                  <a:lnTo>
                    <a:pt x="235" y="139"/>
                  </a:lnTo>
                  <a:lnTo>
                    <a:pt x="238" y="131"/>
                  </a:lnTo>
                  <a:lnTo>
                    <a:pt x="242" y="126"/>
                  </a:lnTo>
                  <a:lnTo>
                    <a:pt x="248" y="120"/>
                  </a:lnTo>
                  <a:lnTo>
                    <a:pt x="250" y="116"/>
                  </a:lnTo>
                  <a:lnTo>
                    <a:pt x="254" y="112"/>
                  </a:lnTo>
                  <a:lnTo>
                    <a:pt x="258" y="108"/>
                  </a:lnTo>
                  <a:lnTo>
                    <a:pt x="258" y="108"/>
                  </a:lnTo>
                  <a:lnTo>
                    <a:pt x="261" y="105"/>
                  </a:lnTo>
                  <a:lnTo>
                    <a:pt x="269" y="101"/>
                  </a:lnTo>
                  <a:lnTo>
                    <a:pt x="275" y="99"/>
                  </a:lnTo>
                  <a:lnTo>
                    <a:pt x="280" y="97"/>
                  </a:lnTo>
                  <a:lnTo>
                    <a:pt x="288" y="95"/>
                  </a:lnTo>
                  <a:lnTo>
                    <a:pt x="296" y="93"/>
                  </a:lnTo>
                  <a:lnTo>
                    <a:pt x="301" y="91"/>
                  </a:lnTo>
                  <a:lnTo>
                    <a:pt x="307" y="87"/>
                  </a:lnTo>
                  <a:lnTo>
                    <a:pt x="307" y="87"/>
                  </a:lnTo>
                  <a:lnTo>
                    <a:pt x="313" y="84"/>
                  </a:lnTo>
                  <a:lnTo>
                    <a:pt x="317" y="78"/>
                  </a:lnTo>
                  <a:lnTo>
                    <a:pt x="320" y="74"/>
                  </a:lnTo>
                  <a:lnTo>
                    <a:pt x="326" y="68"/>
                  </a:lnTo>
                  <a:lnTo>
                    <a:pt x="330" y="63"/>
                  </a:lnTo>
                  <a:lnTo>
                    <a:pt x="334" y="57"/>
                  </a:lnTo>
                  <a:lnTo>
                    <a:pt x="338" y="51"/>
                  </a:lnTo>
                  <a:lnTo>
                    <a:pt x="341" y="44"/>
                  </a:lnTo>
                  <a:lnTo>
                    <a:pt x="345" y="38"/>
                  </a:lnTo>
                  <a:lnTo>
                    <a:pt x="349" y="32"/>
                  </a:lnTo>
                  <a:lnTo>
                    <a:pt x="351" y="26"/>
                  </a:lnTo>
                  <a:lnTo>
                    <a:pt x="355" y="21"/>
                  </a:lnTo>
                  <a:lnTo>
                    <a:pt x="359" y="15"/>
                  </a:lnTo>
                  <a:lnTo>
                    <a:pt x="362" y="9"/>
                  </a:lnTo>
                  <a:lnTo>
                    <a:pt x="366" y="4"/>
                  </a:lnTo>
                  <a:lnTo>
                    <a:pt x="370" y="0"/>
                  </a:lnTo>
                  <a:lnTo>
                    <a:pt x="679" y="25"/>
                  </a:lnTo>
                  <a:lnTo>
                    <a:pt x="675" y="59"/>
                  </a:lnTo>
                  <a:lnTo>
                    <a:pt x="654" y="168"/>
                  </a:lnTo>
                  <a:lnTo>
                    <a:pt x="422" y="152"/>
                  </a:lnTo>
                  <a:lnTo>
                    <a:pt x="383" y="351"/>
                  </a:lnTo>
                  <a:lnTo>
                    <a:pt x="383" y="351"/>
                  </a:lnTo>
                  <a:lnTo>
                    <a:pt x="378" y="353"/>
                  </a:lnTo>
                  <a:lnTo>
                    <a:pt x="372" y="355"/>
                  </a:lnTo>
                  <a:lnTo>
                    <a:pt x="364" y="356"/>
                  </a:lnTo>
                  <a:lnTo>
                    <a:pt x="361" y="360"/>
                  </a:lnTo>
                  <a:lnTo>
                    <a:pt x="355" y="362"/>
                  </a:lnTo>
                  <a:lnTo>
                    <a:pt x="349" y="364"/>
                  </a:lnTo>
                  <a:lnTo>
                    <a:pt x="343" y="368"/>
                  </a:lnTo>
                  <a:lnTo>
                    <a:pt x="340" y="370"/>
                  </a:lnTo>
                  <a:lnTo>
                    <a:pt x="334" y="372"/>
                  </a:lnTo>
                  <a:lnTo>
                    <a:pt x="330" y="376"/>
                  </a:lnTo>
                  <a:lnTo>
                    <a:pt x="324" y="377"/>
                  </a:lnTo>
                  <a:lnTo>
                    <a:pt x="320" y="379"/>
                  </a:lnTo>
                  <a:lnTo>
                    <a:pt x="315" y="383"/>
                  </a:lnTo>
                  <a:lnTo>
                    <a:pt x="311" y="387"/>
                  </a:lnTo>
                  <a:lnTo>
                    <a:pt x="305" y="389"/>
                  </a:lnTo>
                  <a:lnTo>
                    <a:pt x="301" y="393"/>
                  </a:lnTo>
                  <a:lnTo>
                    <a:pt x="286" y="519"/>
                  </a:lnTo>
                  <a:lnTo>
                    <a:pt x="0" y="496"/>
                  </a:lnTo>
                  <a:lnTo>
                    <a:pt x="0" y="492"/>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1" name="Freeform 245"/>
            <p:cNvSpPr>
              <a:spLocks/>
            </p:cNvSpPr>
            <p:nvPr/>
          </p:nvSpPr>
          <p:spPr bwMode="gray">
            <a:xfrm>
              <a:off x="1109" y="769"/>
              <a:ext cx="501" cy="344"/>
            </a:xfrm>
            <a:custGeom>
              <a:avLst/>
              <a:gdLst/>
              <a:ahLst/>
              <a:cxnLst>
                <a:cxn ang="0">
                  <a:pos x="305" y="587"/>
                </a:cxn>
                <a:cxn ang="0">
                  <a:pos x="309" y="557"/>
                </a:cxn>
                <a:cxn ang="0">
                  <a:pos x="336" y="538"/>
                </a:cxn>
                <a:cxn ang="0">
                  <a:pos x="374" y="511"/>
                </a:cxn>
                <a:cxn ang="0">
                  <a:pos x="418" y="492"/>
                </a:cxn>
                <a:cxn ang="0">
                  <a:pos x="443" y="488"/>
                </a:cxn>
                <a:cxn ang="0">
                  <a:pos x="452" y="488"/>
                </a:cxn>
                <a:cxn ang="0">
                  <a:pos x="464" y="488"/>
                </a:cxn>
                <a:cxn ang="0">
                  <a:pos x="506" y="481"/>
                </a:cxn>
                <a:cxn ang="0">
                  <a:pos x="555" y="467"/>
                </a:cxn>
                <a:cxn ang="0">
                  <a:pos x="578" y="461"/>
                </a:cxn>
                <a:cxn ang="0">
                  <a:pos x="595" y="437"/>
                </a:cxn>
                <a:cxn ang="0">
                  <a:pos x="614" y="423"/>
                </a:cxn>
                <a:cxn ang="0">
                  <a:pos x="639" y="418"/>
                </a:cxn>
                <a:cxn ang="0">
                  <a:pos x="662" y="412"/>
                </a:cxn>
                <a:cxn ang="0">
                  <a:pos x="681" y="397"/>
                </a:cxn>
                <a:cxn ang="0">
                  <a:pos x="683" y="374"/>
                </a:cxn>
                <a:cxn ang="0">
                  <a:pos x="744" y="334"/>
                </a:cxn>
                <a:cxn ang="0">
                  <a:pos x="776" y="311"/>
                </a:cxn>
                <a:cxn ang="0">
                  <a:pos x="797" y="313"/>
                </a:cxn>
                <a:cxn ang="0">
                  <a:pos x="815" y="315"/>
                </a:cxn>
                <a:cxn ang="0">
                  <a:pos x="834" y="318"/>
                </a:cxn>
                <a:cxn ang="0">
                  <a:pos x="855" y="318"/>
                </a:cxn>
                <a:cxn ang="0">
                  <a:pos x="870" y="313"/>
                </a:cxn>
                <a:cxn ang="0">
                  <a:pos x="881" y="294"/>
                </a:cxn>
                <a:cxn ang="0">
                  <a:pos x="872" y="269"/>
                </a:cxn>
                <a:cxn ang="0">
                  <a:pos x="858" y="225"/>
                </a:cxn>
                <a:cxn ang="0">
                  <a:pos x="858" y="206"/>
                </a:cxn>
                <a:cxn ang="0">
                  <a:pos x="864" y="185"/>
                </a:cxn>
                <a:cxn ang="0">
                  <a:pos x="866" y="162"/>
                </a:cxn>
                <a:cxn ang="0">
                  <a:pos x="866" y="131"/>
                </a:cxn>
                <a:cxn ang="0">
                  <a:pos x="845" y="97"/>
                </a:cxn>
                <a:cxn ang="0">
                  <a:pos x="818" y="74"/>
                </a:cxn>
                <a:cxn ang="0">
                  <a:pos x="799" y="57"/>
                </a:cxn>
                <a:cxn ang="0">
                  <a:pos x="788" y="63"/>
                </a:cxn>
                <a:cxn ang="0">
                  <a:pos x="773" y="65"/>
                </a:cxn>
                <a:cxn ang="0">
                  <a:pos x="748" y="53"/>
                </a:cxn>
                <a:cxn ang="0">
                  <a:pos x="717" y="42"/>
                </a:cxn>
                <a:cxn ang="0">
                  <a:pos x="679" y="38"/>
                </a:cxn>
                <a:cxn ang="0">
                  <a:pos x="654" y="28"/>
                </a:cxn>
                <a:cxn ang="0">
                  <a:pos x="641" y="0"/>
                </a:cxn>
                <a:cxn ang="0">
                  <a:pos x="599" y="32"/>
                </a:cxn>
                <a:cxn ang="0">
                  <a:pos x="572" y="78"/>
                </a:cxn>
                <a:cxn ang="0">
                  <a:pos x="532" y="130"/>
                </a:cxn>
                <a:cxn ang="0">
                  <a:pos x="477" y="158"/>
                </a:cxn>
                <a:cxn ang="0">
                  <a:pos x="403" y="183"/>
                </a:cxn>
                <a:cxn ang="0">
                  <a:pos x="376" y="202"/>
                </a:cxn>
                <a:cxn ang="0">
                  <a:pos x="351" y="236"/>
                </a:cxn>
                <a:cxn ang="0">
                  <a:pos x="330" y="275"/>
                </a:cxn>
                <a:cxn ang="0">
                  <a:pos x="313" y="295"/>
                </a:cxn>
                <a:cxn ang="0">
                  <a:pos x="294" y="324"/>
                </a:cxn>
                <a:cxn ang="0">
                  <a:pos x="277" y="355"/>
                </a:cxn>
                <a:cxn ang="0">
                  <a:pos x="271" y="383"/>
                </a:cxn>
                <a:cxn ang="0">
                  <a:pos x="277" y="395"/>
                </a:cxn>
                <a:cxn ang="0">
                  <a:pos x="279" y="418"/>
                </a:cxn>
                <a:cxn ang="0">
                  <a:pos x="248" y="456"/>
                </a:cxn>
                <a:cxn ang="0">
                  <a:pos x="214" y="481"/>
                </a:cxn>
                <a:cxn ang="0">
                  <a:pos x="164" y="511"/>
                </a:cxn>
                <a:cxn ang="0">
                  <a:pos x="113" y="536"/>
                </a:cxn>
                <a:cxn ang="0">
                  <a:pos x="71" y="547"/>
                </a:cxn>
                <a:cxn ang="0">
                  <a:pos x="40" y="555"/>
                </a:cxn>
                <a:cxn ang="0">
                  <a:pos x="17" y="570"/>
                </a:cxn>
                <a:cxn ang="0">
                  <a:pos x="2" y="595"/>
                </a:cxn>
              </a:cxnLst>
              <a:rect l="0" t="0" r="r" b="b"/>
              <a:pathLst>
                <a:path w="885" h="626">
                  <a:moveTo>
                    <a:pt x="303" y="626"/>
                  </a:moveTo>
                  <a:lnTo>
                    <a:pt x="303" y="601"/>
                  </a:lnTo>
                  <a:lnTo>
                    <a:pt x="303" y="601"/>
                  </a:lnTo>
                  <a:lnTo>
                    <a:pt x="305" y="595"/>
                  </a:lnTo>
                  <a:lnTo>
                    <a:pt x="305" y="587"/>
                  </a:lnTo>
                  <a:lnTo>
                    <a:pt x="305" y="582"/>
                  </a:lnTo>
                  <a:lnTo>
                    <a:pt x="305" y="576"/>
                  </a:lnTo>
                  <a:lnTo>
                    <a:pt x="305" y="568"/>
                  </a:lnTo>
                  <a:lnTo>
                    <a:pt x="307" y="563"/>
                  </a:lnTo>
                  <a:lnTo>
                    <a:pt x="309" y="557"/>
                  </a:lnTo>
                  <a:lnTo>
                    <a:pt x="315" y="553"/>
                  </a:lnTo>
                  <a:lnTo>
                    <a:pt x="315" y="553"/>
                  </a:lnTo>
                  <a:lnTo>
                    <a:pt x="321" y="547"/>
                  </a:lnTo>
                  <a:lnTo>
                    <a:pt x="328" y="544"/>
                  </a:lnTo>
                  <a:lnTo>
                    <a:pt x="336" y="538"/>
                  </a:lnTo>
                  <a:lnTo>
                    <a:pt x="343" y="532"/>
                  </a:lnTo>
                  <a:lnTo>
                    <a:pt x="351" y="526"/>
                  </a:lnTo>
                  <a:lnTo>
                    <a:pt x="359" y="523"/>
                  </a:lnTo>
                  <a:lnTo>
                    <a:pt x="366" y="517"/>
                  </a:lnTo>
                  <a:lnTo>
                    <a:pt x="374" y="511"/>
                  </a:lnTo>
                  <a:lnTo>
                    <a:pt x="384" y="507"/>
                  </a:lnTo>
                  <a:lnTo>
                    <a:pt x="393" y="502"/>
                  </a:lnTo>
                  <a:lnTo>
                    <a:pt x="401" y="498"/>
                  </a:lnTo>
                  <a:lnTo>
                    <a:pt x="408" y="496"/>
                  </a:lnTo>
                  <a:lnTo>
                    <a:pt x="418" y="492"/>
                  </a:lnTo>
                  <a:lnTo>
                    <a:pt x="425" y="490"/>
                  </a:lnTo>
                  <a:lnTo>
                    <a:pt x="435" y="488"/>
                  </a:lnTo>
                  <a:lnTo>
                    <a:pt x="443" y="488"/>
                  </a:lnTo>
                  <a:lnTo>
                    <a:pt x="443" y="488"/>
                  </a:lnTo>
                  <a:lnTo>
                    <a:pt x="443" y="488"/>
                  </a:lnTo>
                  <a:lnTo>
                    <a:pt x="445" y="488"/>
                  </a:lnTo>
                  <a:lnTo>
                    <a:pt x="446" y="488"/>
                  </a:lnTo>
                  <a:lnTo>
                    <a:pt x="448" y="488"/>
                  </a:lnTo>
                  <a:lnTo>
                    <a:pt x="450" y="488"/>
                  </a:lnTo>
                  <a:lnTo>
                    <a:pt x="452" y="488"/>
                  </a:lnTo>
                  <a:lnTo>
                    <a:pt x="456" y="488"/>
                  </a:lnTo>
                  <a:lnTo>
                    <a:pt x="460" y="488"/>
                  </a:lnTo>
                  <a:lnTo>
                    <a:pt x="460" y="488"/>
                  </a:lnTo>
                  <a:lnTo>
                    <a:pt x="462" y="488"/>
                  </a:lnTo>
                  <a:lnTo>
                    <a:pt x="464" y="488"/>
                  </a:lnTo>
                  <a:lnTo>
                    <a:pt x="469" y="486"/>
                  </a:lnTo>
                  <a:lnTo>
                    <a:pt x="477" y="484"/>
                  </a:lnTo>
                  <a:lnTo>
                    <a:pt x="485" y="482"/>
                  </a:lnTo>
                  <a:lnTo>
                    <a:pt x="494" y="482"/>
                  </a:lnTo>
                  <a:lnTo>
                    <a:pt x="506" y="481"/>
                  </a:lnTo>
                  <a:lnTo>
                    <a:pt x="515" y="477"/>
                  </a:lnTo>
                  <a:lnTo>
                    <a:pt x="527" y="475"/>
                  </a:lnTo>
                  <a:lnTo>
                    <a:pt x="536" y="473"/>
                  </a:lnTo>
                  <a:lnTo>
                    <a:pt x="546" y="471"/>
                  </a:lnTo>
                  <a:lnTo>
                    <a:pt x="555" y="467"/>
                  </a:lnTo>
                  <a:lnTo>
                    <a:pt x="563" y="465"/>
                  </a:lnTo>
                  <a:lnTo>
                    <a:pt x="570" y="463"/>
                  </a:lnTo>
                  <a:lnTo>
                    <a:pt x="576" y="463"/>
                  </a:lnTo>
                  <a:lnTo>
                    <a:pt x="578" y="461"/>
                  </a:lnTo>
                  <a:lnTo>
                    <a:pt x="578" y="461"/>
                  </a:lnTo>
                  <a:lnTo>
                    <a:pt x="582" y="458"/>
                  </a:lnTo>
                  <a:lnTo>
                    <a:pt x="586" y="452"/>
                  </a:lnTo>
                  <a:lnTo>
                    <a:pt x="590" y="446"/>
                  </a:lnTo>
                  <a:lnTo>
                    <a:pt x="593" y="442"/>
                  </a:lnTo>
                  <a:lnTo>
                    <a:pt x="595" y="437"/>
                  </a:lnTo>
                  <a:lnTo>
                    <a:pt x="599" y="433"/>
                  </a:lnTo>
                  <a:lnTo>
                    <a:pt x="605" y="429"/>
                  </a:lnTo>
                  <a:lnTo>
                    <a:pt x="610" y="425"/>
                  </a:lnTo>
                  <a:lnTo>
                    <a:pt x="610" y="425"/>
                  </a:lnTo>
                  <a:lnTo>
                    <a:pt x="614" y="423"/>
                  </a:lnTo>
                  <a:lnTo>
                    <a:pt x="620" y="423"/>
                  </a:lnTo>
                  <a:lnTo>
                    <a:pt x="624" y="421"/>
                  </a:lnTo>
                  <a:lnTo>
                    <a:pt x="630" y="419"/>
                  </a:lnTo>
                  <a:lnTo>
                    <a:pt x="633" y="419"/>
                  </a:lnTo>
                  <a:lnTo>
                    <a:pt x="639" y="418"/>
                  </a:lnTo>
                  <a:lnTo>
                    <a:pt x="643" y="418"/>
                  </a:lnTo>
                  <a:lnTo>
                    <a:pt x="649" y="416"/>
                  </a:lnTo>
                  <a:lnTo>
                    <a:pt x="652" y="414"/>
                  </a:lnTo>
                  <a:lnTo>
                    <a:pt x="656" y="414"/>
                  </a:lnTo>
                  <a:lnTo>
                    <a:pt x="662" y="412"/>
                  </a:lnTo>
                  <a:lnTo>
                    <a:pt x="666" y="410"/>
                  </a:lnTo>
                  <a:lnTo>
                    <a:pt x="670" y="406"/>
                  </a:lnTo>
                  <a:lnTo>
                    <a:pt x="673" y="404"/>
                  </a:lnTo>
                  <a:lnTo>
                    <a:pt x="677" y="400"/>
                  </a:lnTo>
                  <a:lnTo>
                    <a:pt x="681" y="397"/>
                  </a:lnTo>
                  <a:lnTo>
                    <a:pt x="681" y="397"/>
                  </a:lnTo>
                  <a:lnTo>
                    <a:pt x="683" y="391"/>
                  </a:lnTo>
                  <a:lnTo>
                    <a:pt x="685" y="385"/>
                  </a:lnTo>
                  <a:lnTo>
                    <a:pt x="685" y="379"/>
                  </a:lnTo>
                  <a:lnTo>
                    <a:pt x="683" y="374"/>
                  </a:lnTo>
                  <a:lnTo>
                    <a:pt x="683" y="368"/>
                  </a:lnTo>
                  <a:lnTo>
                    <a:pt x="683" y="362"/>
                  </a:lnTo>
                  <a:lnTo>
                    <a:pt x="683" y="355"/>
                  </a:lnTo>
                  <a:lnTo>
                    <a:pt x="687" y="349"/>
                  </a:lnTo>
                  <a:lnTo>
                    <a:pt x="744" y="334"/>
                  </a:lnTo>
                  <a:lnTo>
                    <a:pt x="763" y="313"/>
                  </a:lnTo>
                  <a:lnTo>
                    <a:pt x="763" y="313"/>
                  </a:lnTo>
                  <a:lnTo>
                    <a:pt x="769" y="313"/>
                  </a:lnTo>
                  <a:lnTo>
                    <a:pt x="773" y="311"/>
                  </a:lnTo>
                  <a:lnTo>
                    <a:pt x="776" y="311"/>
                  </a:lnTo>
                  <a:lnTo>
                    <a:pt x="780" y="313"/>
                  </a:lnTo>
                  <a:lnTo>
                    <a:pt x="784" y="313"/>
                  </a:lnTo>
                  <a:lnTo>
                    <a:pt x="788" y="313"/>
                  </a:lnTo>
                  <a:lnTo>
                    <a:pt x="792" y="313"/>
                  </a:lnTo>
                  <a:lnTo>
                    <a:pt x="797" y="313"/>
                  </a:lnTo>
                  <a:lnTo>
                    <a:pt x="797" y="313"/>
                  </a:lnTo>
                  <a:lnTo>
                    <a:pt x="801" y="313"/>
                  </a:lnTo>
                  <a:lnTo>
                    <a:pt x="807" y="315"/>
                  </a:lnTo>
                  <a:lnTo>
                    <a:pt x="811" y="315"/>
                  </a:lnTo>
                  <a:lnTo>
                    <a:pt x="815" y="315"/>
                  </a:lnTo>
                  <a:lnTo>
                    <a:pt x="818" y="316"/>
                  </a:lnTo>
                  <a:lnTo>
                    <a:pt x="822" y="316"/>
                  </a:lnTo>
                  <a:lnTo>
                    <a:pt x="826" y="318"/>
                  </a:lnTo>
                  <a:lnTo>
                    <a:pt x="830" y="318"/>
                  </a:lnTo>
                  <a:lnTo>
                    <a:pt x="834" y="318"/>
                  </a:lnTo>
                  <a:lnTo>
                    <a:pt x="837" y="318"/>
                  </a:lnTo>
                  <a:lnTo>
                    <a:pt x="841" y="320"/>
                  </a:lnTo>
                  <a:lnTo>
                    <a:pt x="847" y="320"/>
                  </a:lnTo>
                  <a:lnTo>
                    <a:pt x="851" y="320"/>
                  </a:lnTo>
                  <a:lnTo>
                    <a:pt x="855" y="318"/>
                  </a:lnTo>
                  <a:lnTo>
                    <a:pt x="858" y="318"/>
                  </a:lnTo>
                  <a:lnTo>
                    <a:pt x="864" y="316"/>
                  </a:lnTo>
                  <a:lnTo>
                    <a:pt x="864" y="316"/>
                  </a:lnTo>
                  <a:lnTo>
                    <a:pt x="866" y="315"/>
                  </a:lnTo>
                  <a:lnTo>
                    <a:pt x="870" y="313"/>
                  </a:lnTo>
                  <a:lnTo>
                    <a:pt x="872" y="309"/>
                  </a:lnTo>
                  <a:lnTo>
                    <a:pt x="874" y="305"/>
                  </a:lnTo>
                  <a:lnTo>
                    <a:pt x="876" y="301"/>
                  </a:lnTo>
                  <a:lnTo>
                    <a:pt x="878" y="297"/>
                  </a:lnTo>
                  <a:lnTo>
                    <a:pt x="881" y="294"/>
                  </a:lnTo>
                  <a:lnTo>
                    <a:pt x="885" y="290"/>
                  </a:lnTo>
                  <a:lnTo>
                    <a:pt x="885" y="290"/>
                  </a:lnTo>
                  <a:lnTo>
                    <a:pt x="881" y="284"/>
                  </a:lnTo>
                  <a:lnTo>
                    <a:pt x="878" y="276"/>
                  </a:lnTo>
                  <a:lnTo>
                    <a:pt x="872" y="269"/>
                  </a:lnTo>
                  <a:lnTo>
                    <a:pt x="868" y="261"/>
                  </a:lnTo>
                  <a:lnTo>
                    <a:pt x="864" y="254"/>
                  </a:lnTo>
                  <a:lnTo>
                    <a:pt x="860" y="246"/>
                  </a:lnTo>
                  <a:lnTo>
                    <a:pt x="858" y="234"/>
                  </a:lnTo>
                  <a:lnTo>
                    <a:pt x="858" y="225"/>
                  </a:lnTo>
                  <a:lnTo>
                    <a:pt x="858" y="225"/>
                  </a:lnTo>
                  <a:lnTo>
                    <a:pt x="858" y="219"/>
                  </a:lnTo>
                  <a:lnTo>
                    <a:pt x="858" y="215"/>
                  </a:lnTo>
                  <a:lnTo>
                    <a:pt x="858" y="212"/>
                  </a:lnTo>
                  <a:lnTo>
                    <a:pt x="858" y="206"/>
                  </a:lnTo>
                  <a:lnTo>
                    <a:pt x="860" y="202"/>
                  </a:lnTo>
                  <a:lnTo>
                    <a:pt x="860" y="198"/>
                  </a:lnTo>
                  <a:lnTo>
                    <a:pt x="862" y="192"/>
                  </a:lnTo>
                  <a:lnTo>
                    <a:pt x="862" y="189"/>
                  </a:lnTo>
                  <a:lnTo>
                    <a:pt x="864" y="185"/>
                  </a:lnTo>
                  <a:lnTo>
                    <a:pt x="864" y="181"/>
                  </a:lnTo>
                  <a:lnTo>
                    <a:pt x="866" y="175"/>
                  </a:lnTo>
                  <a:lnTo>
                    <a:pt x="866" y="171"/>
                  </a:lnTo>
                  <a:lnTo>
                    <a:pt x="866" y="166"/>
                  </a:lnTo>
                  <a:lnTo>
                    <a:pt x="866" y="162"/>
                  </a:lnTo>
                  <a:lnTo>
                    <a:pt x="868" y="156"/>
                  </a:lnTo>
                  <a:lnTo>
                    <a:pt x="868" y="152"/>
                  </a:lnTo>
                  <a:lnTo>
                    <a:pt x="868" y="152"/>
                  </a:lnTo>
                  <a:lnTo>
                    <a:pt x="866" y="141"/>
                  </a:lnTo>
                  <a:lnTo>
                    <a:pt x="866" y="131"/>
                  </a:lnTo>
                  <a:lnTo>
                    <a:pt x="862" y="122"/>
                  </a:lnTo>
                  <a:lnTo>
                    <a:pt x="858" y="116"/>
                  </a:lnTo>
                  <a:lnTo>
                    <a:pt x="855" y="109"/>
                  </a:lnTo>
                  <a:lnTo>
                    <a:pt x="851" y="103"/>
                  </a:lnTo>
                  <a:lnTo>
                    <a:pt x="845" y="97"/>
                  </a:lnTo>
                  <a:lnTo>
                    <a:pt x="841" y="91"/>
                  </a:lnTo>
                  <a:lnTo>
                    <a:pt x="836" y="88"/>
                  </a:lnTo>
                  <a:lnTo>
                    <a:pt x="830" y="84"/>
                  </a:lnTo>
                  <a:lnTo>
                    <a:pt x="824" y="78"/>
                  </a:lnTo>
                  <a:lnTo>
                    <a:pt x="818" y="74"/>
                  </a:lnTo>
                  <a:lnTo>
                    <a:pt x="813" y="70"/>
                  </a:lnTo>
                  <a:lnTo>
                    <a:pt x="807" y="67"/>
                  </a:lnTo>
                  <a:lnTo>
                    <a:pt x="803" y="63"/>
                  </a:lnTo>
                  <a:lnTo>
                    <a:pt x="799" y="57"/>
                  </a:lnTo>
                  <a:lnTo>
                    <a:pt x="799" y="57"/>
                  </a:lnTo>
                  <a:lnTo>
                    <a:pt x="797" y="59"/>
                  </a:lnTo>
                  <a:lnTo>
                    <a:pt x="794" y="59"/>
                  </a:lnTo>
                  <a:lnTo>
                    <a:pt x="792" y="61"/>
                  </a:lnTo>
                  <a:lnTo>
                    <a:pt x="790" y="63"/>
                  </a:lnTo>
                  <a:lnTo>
                    <a:pt x="788" y="63"/>
                  </a:lnTo>
                  <a:lnTo>
                    <a:pt x="784" y="65"/>
                  </a:lnTo>
                  <a:lnTo>
                    <a:pt x="782" y="65"/>
                  </a:lnTo>
                  <a:lnTo>
                    <a:pt x="778" y="65"/>
                  </a:lnTo>
                  <a:lnTo>
                    <a:pt x="778" y="65"/>
                  </a:lnTo>
                  <a:lnTo>
                    <a:pt x="773" y="65"/>
                  </a:lnTo>
                  <a:lnTo>
                    <a:pt x="767" y="63"/>
                  </a:lnTo>
                  <a:lnTo>
                    <a:pt x="763" y="61"/>
                  </a:lnTo>
                  <a:lnTo>
                    <a:pt x="757" y="59"/>
                  </a:lnTo>
                  <a:lnTo>
                    <a:pt x="754" y="55"/>
                  </a:lnTo>
                  <a:lnTo>
                    <a:pt x="748" y="53"/>
                  </a:lnTo>
                  <a:lnTo>
                    <a:pt x="744" y="49"/>
                  </a:lnTo>
                  <a:lnTo>
                    <a:pt x="738" y="47"/>
                  </a:lnTo>
                  <a:lnTo>
                    <a:pt x="738" y="47"/>
                  </a:lnTo>
                  <a:lnTo>
                    <a:pt x="727" y="44"/>
                  </a:lnTo>
                  <a:lnTo>
                    <a:pt x="717" y="42"/>
                  </a:lnTo>
                  <a:lnTo>
                    <a:pt x="710" y="40"/>
                  </a:lnTo>
                  <a:lnTo>
                    <a:pt x="700" y="40"/>
                  </a:lnTo>
                  <a:lnTo>
                    <a:pt x="693" y="38"/>
                  </a:lnTo>
                  <a:lnTo>
                    <a:pt x="687" y="38"/>
                  </a:lnTo>
                  <a:lnTo>
                    <a:pt x="679" y="38"/>
                  </a:lnTo>
                  <a:lnTo>
                    <a:pt x="673" y="38"/>
                  </a:lnTo>
                  <a:lnTo>
                    <a:pt x="668" y="36"/>
                  </a:lnTo>
                  <a:lnTo>
                    <a:pt x="664" y="34"/>
                  </a:lnTo>
                  <a:lnTo>
                    <a:pt x="658" y="32"/>
                  </a:lnTo>
                  <a:lnTo>
                    <a:pt x="654" y="28"/>
                  </a:lnTo>
                  <a:lnTo>
                    <a:pt x="651" y="25"/>
                  </a:lnTo>
                  <a:lnTo>
                    <a:pt x="647" y="19"/>
                  </a:lnTo>
                  <a:lnTo>
                    <a:pt x="643" y="9"/>
                  </a:lnTo>
                  <a:lnTo>
                    <a:pt x="641" y="0"/>
                  </a:lnTo>
                  <a:lnTo>
                    <a:pt x="641" y="0"/>
                  </a:lnTo>
                  <a:lnTo>
                    <a:pt x="630" y="4"/>
                  </a:lnTo>
                  <a:lnTo>
                    <a:pt x="620" y="9"/>
                  </a:lnTo>
                  <a:lnTo>
                    <a:pt x="610" y="17"/>
                  </a:lnTo>
                  <a:lnTo>
                    <a:pt x="605" y="25"/>
                  </a:lnTo>
                  <a:lnTo>
                    <a:pt x="599" y="32"/>
                  </a:lnTo>
                  <a:lnTo>
                    <a:pt x="591" y="42"/>
                  </a:lnTo>
                  <a:lnTo>
                    <a:pt x="586" y="53"/>
                  </a:lnTo>
                  <a:lnTo>
                    <a:pt x="578" y="63"/>
                  </a:lnTo>
                  <a:lnTo>
                    <a:pt x="578" y="63"/>
                  </a:lnTo>
                  <a:lnTo>
                    <a:pt x="572" y="78"/>
                  </a:lnTo>
                  <a:lnTo>
                    <a:pt x="567" y="91"/>
                  </a:lnTo>
                  <a:lnTo>
                    <a:pt x="559" y="103"/>
                  </a:lnTo>
                  <a:lnTo>
                    <a:pt x="551" y="112"/>
                  </a:lnTo>
                  <a:lnTo>
                    <a:pt x="542" y="122"/>
                  </a:lnTo>
                  <a:lnTo>
                    <a:pt x="532" y="130"/>
                  </a:lnTo>
                  <a:lnTo>
                    <a:pt x="523" y="135"/>
                  </a:lnTo>
                  <a:lnTo>
                    <a:pt x="513" y="143"/>
                  </a:lnTo>
                  <a:lnTo>
                    <a:pt x="502" y="149"/>
                  </a:lnTo>
                  <a:lnTo>
                    <a:pt x="488" y="152"/>
                  </a:lnTo>
                  <a:lnTo>
                    <a:pt x="477" y="158"/>
                  </a:lnTo>
                  <a:lnTo>
                    <a:pt x="462" y="162"/>
                  </a:lnTo>
                  <a:lnTo>
                    <a:pt x="448" y="168"/>
                  </a:lnTo>
                  <a:lnTo>
                    <a:pt x="433" y="171"/>
                  </a:lnTo>
                  <a:lnTo>
                    <a:pt x="420" y="177"/>
                  </a:lnTo>
                  <a:lnTo>
                    <a:pt x="403" y="183"/>
                  </a:lnTo>
                  <a:lnTo>
                    <a:pt x="403" y="183"/>
                  </a:lnTo>
                  <a:lnTo>
                    <a:pt x="395" y="187"/>
                  </a:lnTo>
                  <a:lnTo>
                    <a:pt x="389" y="191"/>
                  </a:lnTo>
                  <a:lnTo>
                    <a:pt x="382" y="196"/>
                  </a:lnTo>
                  <a:lnTo>
                    <a:pt x="376" y="202"/>
                  </a:lnTo>
                  <a:lnTo>
                    <a:pt x="370" y="208"/>
                  </a:lnTo>
                  <a:lnTo>
                    <a:pt x="364" y="215"/>
                  </a:lnTo>
                  <a:lnTo>
                    <a:pt x="361" y="221"/>
                  </a:lnTo>
                  <a:lnTo>
                    <a:pt x="355" y="229"/>
                  </a:lnTo>
                  <a:lnTo>
                    <a:pt x="351" y="236"/>
                  </a:lnTo>
                  <a:lnTo>
                    <a:pt x="347" y="244"/>
                  </a:lnTo>
                  <a:lnTo>
                    <a:pt x="343" y="252"/>
                  </a:lnTo>
                  <a:lnTo>
                    <a:pt x="340" y="259"/>
                  </a:lnTo>
                  <a:lnTo>
                    <a:pt x="334" y="267"/>
                  </a:lnTo>
                  <a:lnTo>
                    <a:pt x="330" y="275"/>
                  </a:lnTo>
                  <a:lnTo>
                    <a:pt x="326" y="280"/>
                  </a:lnTo>
                  <a:lnTo>
                    <a:pt x="321" y="288"/>
                  </a:lnTo>
                  <a:lnTo>
                    <a:pt x="321" y="288"/>
                  </a:lnTo>
                  <a:lnTo>
                    <a:pt x="317" y="292"/>
                  </a:lnTo>
                  <a:lnTo>
                    <a:pt x="313" y="295"/>
                  </a:lnTo>
                  <a:lnTo>
                    <a:pt x="309" y="301"/>
                  </a:lnTo>
                  <a:lnTo>
                    <a:pt x="305" y="307"/>
                  </a:lnTo>
                  <a:lnTo>
                    <a:pt x="301" y="311"/>
                  </a:lnTo>
                  <a:lnTo>
                    <a:pt x="298" y="318"/>
                  </a:lnTo>
                  <a:lnTo>
                    <a:pt x="294" y="324"/>
                  </a:lnTo>
                  <a:lnTo>
                    <a:pt x="290" y="330"/>
                  </a:lnTo>
                  <a:lnTo>
                    <a:pt x="286" y="336"/>
                  </a:lnTo>
                  <a:lnTo>
                    <a:pt x="282" y="343"/>
                  </a:lnTo>
                  <a:lnTo>
                    <a:pt x="279" y="349"/>
                  </a:lnTo>
                  <a:lnTo>
                    <a:pt x="277" y="355"/>
                  </a:lnTo>
                  <a:lnTo>
                    <a:pt x="275" y="362"/>
                  </a:lnTo>
                  <a:lnTo>
                    <a:pt x="273" y="370"/>
                  </a:lnTo>
                  <a:lnTo>
                    <a:pt x="271" y="378"/>
                  </a:lnTo>
                  <a:lnTo>
                    <a:pt x="271" y="383"/>
                  </a:lnTo>
                  <a:lnTo>
                    <a:pt x="271" y="383"/>
                  </a:lnTo>
                  <a:lnTo>
                    <a:pt x="271" y="387"/>
                  </a:lnTo>
                  <a:lnTo>
                    <a:pt x="273" y="389"/>
                  </a:lnTo>
                  <a:lnTo>
                    <a:pt x="273" y="391"/>
                  </a:lnTo>
                  <a:lnTo>
                    <a:pt x="275" y="393"/>
                  </a:lnTo>
                  <a:lnTo>
                    <a:pt x="277" y="395"/>
                  </a:lnTo>
                  <a:lnTo>
                    <a:pt x="279" y="399"/>
                  </a:lnTo>
                  <a:lnTo>
                    <a:pt x="279" y="402"/>
                  </a:lnTo>
                  <a:lnTo>
                    <a:pt x="279" y="406"/>
                  </a:lnTo>
                  <a:lnTo>
                    <a:pt x="279" y="406"/>
                  </a:lnTo>
                  <a:lnTo>
                    <a:pt x="279" y="418"/>
                  </a:lnTo>
                  <a:lnTo>
                    <a:pt x="275" y="427"/>
                  </a:lnTo>
                  <a:lnTo>
                    <a:pt x="269" y="437"/>
                  </a:lnTo>
                  <a:lnTo>
                    <a:pt x="263" y="442"/>
                  </a:lnTo>
                  <a:lnTo>
                    <a:pt x="256" y="450"/>
                  </a:lnTo>
                  <a:lnTo>
                    <a:pt x="248" y="456"/>
                  </a:lnTo>
                  <a:lnTo>
                    <a:pt x="240" y="461"/>
                  </a:lnTo>
                  <a:lnTo>
                    <a:pt x="231" y="467"/>
                  </a:lnTo>
                  <a:lnTo>
                    <a:pt x="231" y="467"/>
                  </a:lnTo>
                  <a:lnTo>
                    <a:pt x="223" y="473"/>
                  </a:lnTo>
                  <a:lnTo>
                    <a:pt x="214" y="481"/>
                  </a:lnTo>
                  <a:lnTo>
                    <a:pt x="204" y="486"/>
                  </a:lnTo>
                  <a:lnTo>
                    <a:pt x="195" y="492"/>
                  </a:lnTo>
                  <a:lnTo>
                    <a:pt x="185" y="500"/>
                  </a:lnTo>
                  <a:lnTo>
                    <a:pt x="176" y="505"/>
                  </a:lnTo>
                  <a:lnTo>
                    <a:pt x="164" y="511"/>
                  </a:lnTo>
                  <a:lnTo>
                    <a:pt x="155" y="517"/>
                  </a:lnTo>
                  <a:lnTo>
                    <a:pt x="143" y="523"/>
                  </a:lnTo>
                  <a:lnTo>
                    <a:pt x="134" y="526"/>
                  </a:lnTo>
                  <a:lnTo>
                    <a:pt x="122" y="532"/>
                  </a:lnTo>
                  <a:lnTo>
                    <a:pt x="113" y="536"/>
                  </a:lnTo>
                  <a:lnTo>
                    <a:pt x="101" y="540"/>
                  </a:lnTo>
                  <a:lnTo>
                    <a:pt x="92" y="542"/>
                  </a:lnTo>
                  <a:lnTo>
                    <a:pt x="80" y="545"/>
                  </a:lnTo>
                  <a:lnTo>
                    <a:pt x="71" y="547"/>
                  </a:lnTo>
                  <a:lnTo>
                    <a:pt x="71" y="547"/>
                  </a:lnTo>
                  <a:lnTo>
                    <a:pt x="63" y="549"/>
                  </a:lnTo>
                  <a:lnTo>
                    <a:pt x="57" y="549"/>
                  </a:lnTo>
                  <a:lnTo>
                    <a:pt x="52" y="551"/>
                  </a:lnTo>
                  <a:lnTo>
                    <a:pt x="46" y="553"/>
                  </a:lnTo>
                  <a:lnTo>
                    <a:pt x="40" y="555"/>
                  </a:lnTo>
                  <a:lnTo>
                    <a:pt x="34" y="557"/>
                  </a:lnTo>
                  <a:lnTo>
                    <a:pt x="29" y="561"/>
                  </a:lnTo>
                  <a:lnTo>
                    <a:pt x="25" y="563"/>
                  </a:lnTo>
                  <a:lnTo>
                    <a:pt x="21" y="566"/>
                  </a:lnTo>
                  <a:lnTo>
                    <a:pt x="17" y="570"/>
                  </a:lnTo>
                  <a:lnTo>
                    <a:pt x="13" y="574"/>
                  </a:lnTo>
                  <a:lnTo>
                    <a:pt x="10" y="578"/>
                  </a:lnTo>
                  <a:lnTo>
                    <a:pt x="6" y="584"/>
                  </a:lnTo>
                  <a:lnTo>
                    <a:pt x="4" y="589"/>
                  </a:lnTo>
                  <a:lnTo>
                    <a:pt x="2" y="595"/>
                  </a:lnTo>
                  <a:lnTo>
                    <a:pt x="0" y="601"/>
                  </a:lnTo>
                  <a:lnTo>
                    <a:pt x="309" y="626"/>
                  </a:lnTo>
                  <a:lnTo>
                    <a:pt x="303" y="626"/>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2" name="Freeform 246"/>
            <p:cNvSpPr>
              <a:spLocks/>
            </p:cNvSpPr>
            <p:nvPr/>
          </p:nvSpPr>
          <p:spPr bwMode="gray">
            <a:xfrm>
              <a:off x="1281" y="748"/>
              <a:ext cx="835" cy="778"/>
            </a:xfrm>
            <a:custGeom>
              <a:avLst/>
              <a:gdLst/>
              <a:ahLst/>
              <a:cxnLst>
                <a:cxn ang="0">
                  <a:pos x="639" y="1230"/>
                </a:cxn>
                <a:cxn ang="0">
                  <a:pos x="649" y="1266"/>
                </a:cxn>
                <a:cxn ang="0">
                  <a:pos x="670" y="1278"/>
                </a:cxn>
                <a:cxn ang="0">
                  <a:pos x="718" y="1318"/>
                </a:cxn>
                <a:cxn ang="0">
                  <a:pos x="794" y="1366"/>
                </a:cxn>
                <a:cxn ang="0">
                  <a:pos x="786" y="1394"/>
                </a:cxn>
                <a:cxn ang="0">
                  <a:pos x="796" y="1411"/>
                </a:cxn>
                <a:cxn ang="0">
                  <a:pos x="1469" y="1051"/>
                </a:cxn>
                <a:cxn ang="0">
                  <a:pos x="1442" y="1015"/>
                </a:cxn>
                <a:cxn ang="0">
                  <a:pos x="1401" y="982"/>
                </a:cxn>
                <a:cxn ang="0">
                  <a:pos x="1364" y="978"/>
                </a:cxn>
                <a:cxn ang="0">
                  <a:pos x="1347" y="959"/>
                </a:cxn>
                <a:cxn ang="0">
                  <a:pos x="1326" y="919"/>
                </a:cxn>
                <a:cxn ang="0">
                  <a:pos x="1292" y="854"/>
                </a:cxn>
                <a:cxn ang="0">
                  <a:pos x="1324" y="818"/>
                </a:cxn>
                <a:cxn ang="0">
                  <a:pos x="1324" y="776"/>
                </a:cxn>
                <a:cxn ang="0">
                  <a:pos x="1334" y="736"/>
                </a:cxn>
                <a:cxn ang="0">
                  <a:pos x="1334" y="698"/>
                </a:cxn>
                <a:cxn ang="0">
                  <a:pos x="1334" y="652"/>
                </a:cxn>
                <a:cxn ang="0">
                  <a:pos x="1322" y="585"/>
                </a:cxn>
                <a:cxn ang="0">
                  <a:pos x="1294" y="520"/>
                </a:cxn>
                <a:cxn ang="0">
                  <a:pos x="1277" y="442"/>
                </a:cxn>
                <a:cxn ang="0">
                  <a:pos x="1250" y="381"/>
                </a:cxn>
                <a:cxn ang="0">
                  <a:pos x="1198" y="314"/>
                </a:cxn>
                <a:cxn ang="0">
                  <a:pos x="1175" y="248"/>
                </a:cxn>
                <a:cxn ang="0">
                  <a:pos x="1221" y="190"/>
                </a:cxn>
                <a:cxn ang="0">
                  <a:pos x="1248" y="131"/>
                </a:cxn>
                <a:cxn ang="0">
                  <a:pos x="1257" y="47"/>
                </a:cxn>
                <a:cxn ang="0">
                  <a:pos x="1267" y="11"/>
                </a:cxn>
                <a:cxn ang="0">
                  <a:pos x="1223" y="2"/>
                </a:cxn>
                <a:cxn ang="0">
                  <a:pos x="1193" y="5"/>
                </a:cxn>
                <a:cxn ang="0">
                  <a:pos x="1156" y="13"/>
                </a:cxn>
                <a:cxn ang="0">
                  <a:pos x="1124" y="5"/>
                </a:cxn>
                <a:cxn ang="0">
                  <a:pos x="1088" y="30"/>
                </a:cxn>
                <a:cxn ang="0">
                  <a:pos x="1034" y="28"/>
                </a:cxn>
                <a:cxn ang="0">
                  <a:pos x="876" y="17"/>
                </a:cxn>
                <a:cxn ang="0">
                  <a:pos x="758" y="38"/>
                </a:cxn>
                <a:cxn ang="0">
                  <a:pos x="702" y="61"/>
                </a:cxn>
                <a:cxn ang="0">
                  <a:pos x="678" y="68"/>
                </a:cxn>
                <a:cxn ang="0">
                  <a:pos x="634" y="76"/>
                </a:cxn>
                <a:cxn ang="0">
                  <a:pos x="573" y="114"/>
                </a:cxn>
                <a:cxn ang="0">
                  <a:pos x="534" y="118"/>
                </a:cxn>
                <a:cxn ang="0">
                  <a:pos x="540" y="131"/>
                </a:cxn>
                <a:cxn ang="0">
                  <a:pos x="563" y="175"/>
                </a:cxn>
                <a:cxn ang="0">
                  <a:pos x="561" y="219"/>
                </a:cxn>
                <a:cxn ang="0">
                  <a:pos x="555" y="257"/>
                </a:cxn>
                <a:cxn ang="0">
                  <a:pos x="578" y="322"/>
                </a:cxn>
                <a:cxn ang="0">
                  <a:pos x="563" y="353"/>
                </a:cxn>
                <a:cxn ang="0">
                  <a:pos x="531" y="356"/>
                </a:cxn>
                <a:cxn ang="0">
                  <a:pos x="494" y="351"/>
                </a:cxn>
                <a:cxn ang="0">
                  <a:pos x="460" y="351"/>
                </a:cxn>
                <a:cxn ang="0">
                  <a:pos x="382" y="423"/>
                </a:cxn>
                <a:cxn ang="0">
                  <a:pos x="353" y="452"/>
                </a:cxn>
                <a:cxn ang="0">
                  <a:pos x="311" y="461"/>
                </a:cxn>
                <a:cxn ang="0">
                  <a:pos x="279" y="496"/>
                </a:cxn>
                <a:cxn ang="0">
                  <a:pos x="224" y="513"/>
                </a:cxn>
                <a:cxn ang="0">
                  <a:pos x="157" y="526"/>
                </a:cxn>
                <a:cxn ang="0">
                  <a:pos x="140" y="526"/>
                </a:cxn>
                <a:cxn ang="0">
                  <a:pos x="71" y="549"/>
                </a:cxn>
                <a:cxn ang="0">
                  <a:pos x="12" y="591"/>
                </a:cxn>
                <a:cxn ang="0">
                  <a:pos x="6" y="664"/>
                </a:cxn>
              </a:cxnLst>
              <a:rect l="0" t="0" r="r" b="b"/>
              <a:pathLst>
                <a:path w="1477" h="1415">
                  <a:moveTo>
                    <a:pt x="239" y="898"/>
                  </a:moveTo>
                  <a:lnTo>
                    <a:pt x="615" y="1213"/>
                  </a:lnTo>
                  <a:lnTo>
                    <a:pt x="615" y="1213"/>
                  </a:lnTo>
                  <a:lnTo>
                    <a:pt x="617" y="1219"/>
                  </a:lnTo>
                  <a:lnTo>
                    <a:pt x="620" y="1223"/>
                  </a:lnTo>
                  <a:lnTo>
                    <a:pt x="624" y="1224"/>
                  </a:lnTo>
                  <a:lnTo>
                    <a:pt x="630" y="1226"/>
                  </a:lnTo>
                  <a:lnTo>
                    <a:pt x="634" y="1228"/>
                  </a:lnTo>
                  <a:lnTo>
                    <a:pt x="639" y="1230"/>
                  </a:lnTo>
                  <a:lnTo>
                    <a:pt x="643" y="1232"/>
                  </a:lnTo>
                  <a:lnTo>
                    <a:pt x="647" y="1238"/>
                  </a:lnTo>
                  <a:lnTo>
                    <a:pt x="647" y="1238"/>
                  </a:lnTo>
                  <a:lnTo>
                    <a:pt x="649" y="1243"/>
                  </a:lnTo>
                  <a:lnTo>
                    <a:pt x="649" y="1247"/>
                  </a:lnTo>
                  <a:lnTo>
                    <a:pt x="649" y="1253"/>
                  </a:lnTo>
                  <a:lnTo>
                    <a:pt x="649" y="1257"/>
                  </a:lnTo>
                  <a:lnTo>
                    <a:pt x="647" y="1261"/>
                  </a:lnTo>
                  <a:lnTo>
                    <a:pt x="649" y="1266"/>
                  </a:lnTo>
                  <a:lnTo>
                    <a:pt x="649" y="1270"/>
                  </a:lnTo>
                  <a:lnTo>
                    <a:pt x="653" y="1272"/>
                  </a:lnTo>
                  <a:lnTo>
                    <a:pt x="653" y="1272"/>
                  </a:lnTo>
                  <a:lnTo>
                    <a:pt x="655" y="1274"/>
                  </a:lnTo>
                  <a:lnTo>
                    <a:pt x="657" y="1276"/>
                  </a:lnTo>
                  <a:lnTo>
                    <a:pt x="660" y="1276"/>
                  </a:lnTo>
                  <a:lnTo>
                    <a:pt x="662" y="1278"/>
                  </a:lnTo>
                  <a:lnTo>
                    <a:pt x="666" y="1278"/>
                  </a:lnTo>
                  <a:lnTo>
                    <a:pt x="670" y="1278"/>
                  </a:lnTo>
                  <a:lnTo>
                    <a:pt x="674" y="1280"/>
                  </a:lnTo>
                  <a:lnTo>
                    <a:pt x="678" y="1280"/>
                  </a:lnTo>
                  <a:lnTo>
                    <a:pt x="678" y="1280"/>
                  </a:lnTo>
                  <a:lnTo>
                    <a:pt x="679" y="1289"/>
                  </a:lnTo>
                  <a:lnTo>
                    <a:pt x="683" y="1297"/>
                  </a:lnTo>
                  <a:lnTo>
                    <a:pt x="691" y="1305"/>
                  </a:lnTo>
                  <a:lnTo>
                    <a:pt x="699" y="1310"/>
                  </a:lnTo>
                  <a:lnTo>
                    <a:pt x="708" y="1314"/>
                  </a:lnTo>
                  <a:lnTo>
                    <a:pt x="718" y="1318"/>
                  </a:lnTo>
                  <a:lnTo>
                    <a:pt x="729" y="1322"/>
                  </a:lnTo>
                  <a:lnTo>
                    <a:pt x="739" y="1324"/>
                  </a:lnTo>
                  <a:lnTo>
                    <a:pt x="750" y="1327"/>
                  </a:lnTo>
                  <a:lnTo>
                    <a:pt x="760" y="1331"/>
                  </a:lnTo>
                  <a:lnTo>
                    <a:pt x="769" y="1335"/>
                  </a:lnTo>
                  <a:lnTo>
                    <a:pt x="777" y="1341"/>
                  </a:lnTo>
                  <a:lnTo>
                    <a:pt x="784" y="1347"/>
                  </a:lnTo>
                  <a:lnTo>
                    <a:pt x="790" y="1356"/>
                  </a:lnTo>
                  <a:lnTo>
                    <a:pt x="794" y="1366"/>
                  </a:lnTo>
                  <a:lnTo>
                    <a:pt x="796" y="1379"/>
                  </a:lnTo>
                  <a:lnTo>
                    <a:pt x="796" y="1379"/>
                  </a:lnTo>
                  <a:lnTo>
                    <a:pt x="794" y="1383"/>
                  </a:lnTo>
                  <a:lnTo>
                    <a:pt x="794" y="1385"/>
                  </a:lnTo>
                  <a:lnTo>
                    <a:pt x="792" y="1387"/>
                  </a:lnTo>
                  <a:lnTo>
                    <a:pt x="790" y="1387"/>
                  </a:lnTo>
                  <a:lnTo>
                    <a:pt x="788" y="1388"/>
                  </a:lnTo>
                  <a:lnTo>
                    <a:pt x="786" y="1390"/>
                  </a:lnTo>
                  <a:lnTo>
                    <a:pt x="786" y="1394"/>
                  </a:lnTo>
                  <a:lnTo>
                    <a:pt x="786" y="1396"/>
                  </a:lnTo>
                  <a:lnTo>
                    <a:pt x="786" y="1396"/>
                  </a:lnTo>
                  <a:lnTo>
                    <a:pt x="786" y="1400"/>
                  </a:lnTo>
                  <a:lnTo>
                    <a:pt x="786" y="1402"/>
                  </a:lnTo>
                  <a:lnTo>
                    <a:pt x="788" y="1404"/>
                  </a:lnTo>
                  <a:lnTo>
                    <a:pt x="790" y="1406"/>
                  </a:lnTo>
                  <a:lnTo>
                    <a:pt x="792" y="1408"/>
                  </a:lnTo>
                  <a:lnTo>
                    <a:pt x="794" y="1409"/>
                  </a:lnTo>
                  <a:lnTo>
                    <a:pt x="796" y="1411"/>
                  </a:lnTo>
                  <a:lnTo>
                    <a:pt x="798" y="1415"/>
                  </a:lnTo>
                  <a:lnTo>
                    <a:pt x="996" y="1379"/>
                  </a:lnTo>
                  <a:lnTo>
                    <a:pt x="1133" y="1264"/>
                  </a:lnTo>
                  <a:lnTo>
                    <a:pt x="1477" y="1070"/>
                  </a:lnTo>
                  <a:lnTo>
                    <a:pt x="1477" y="1070"/>
                  </a:lnTo>
                  <a:lnTo>
                    <a:pt x="1475" y="1064"/>
                  </a:lnTo>
                  <a:lnTo>
                    <a:pt x="1473" y="1058"/>
                  </a:lnTo>
                  <a:lnTo>
                    <a:pt x="1471" y="1055"/>
                  </a:lnTo>
                  <a:lnTo>
                    <a:pt x="1469" y="1051"/>
                  </a:lnTo>
                  <a:lnTo>
                    <a:pt x="1465" y="1045"/>
                  </a:lnTo>
                  <a:lnTo>
                    <a:pt x="1462" y="1041"/>
                  </a:lnTo>
                  <a:lnTo>
                    <a:pt x="1460" y="1037"/>
                  </a:lnTo>
                  <a:lnTo>
                    <a:pt x="1456" y="1034"/>
                  </a:lnTo>
                  <a:lnTo>
                    <a:pt x="1452" y="1032"/>
                  </a:lnTo>
                  <a:lnTo>
                    <a:pt x="1450" y="1028"/>
                  </a:lnTo>
                  <a:lnTo>
                    <a:pt x="1446" y="1024"/>
                  </a:lnTo>
                  <a:lnTo>
                    <a:pt x="1444" y="1018"/>
                  </a:lnTo>
                  <a:lnTo>
                    <a:pt x="1442" y="1015"/>
                  </a:lnTo>
                  <a:lnTo>
                    <a:pt x="1441" y="1009"/>
                  </a:lnTo>
                  <a:lnTo>
                    <a:pt x="1439" y="1005"/>
                  </a:lnTo>
                  <a:lnTo>
                    <a:pt x="1439" y="999"/>
                  </a:lnTo>
                  <a:lnTo>
                    <a:pt x="1439" y="999"/>
                  </a:lnTo>
                  <a:lnTo>
                    <a:pt x="1429" y="997"/>
                  </a:lnTo>
                  <a:lnTo>
                    <a:pt x="1421" y="994"/>
                  </a:lnTo>
                  <a:lnTo>
                    <a:pt x="1414" y="990"/>
                  </a:lnTo>
                  <a:lnTo>
                    <a:pt x="1408" y="986"/>
                  </a:lnTo>
                  <a:lnTo>
                    <a:pt x="1401" y="982"/>
                  </a:lnTo>
                  <a:lnTo>
                    <a:pt x="1393" y="978"/>
                  </a:lnTo>
                  <a:lnTo>
                    <a:pt x="1385" y="976"/>
                  </a:lnTo>
                  <a:lnTo>
                    <a:pt x="1376" y="974"/>
                  </a:lnTo>
                  <a:lnTo>
                    <a:pt x="1376" y="974"/>
                  </a:lnTo>
                  <a:lnTo>
                    <a:pt x="1374" y="974"/>
                  </a:lnTo>
                  <a:lnTo>
                    <a:pt x="1372" y="976"/>
                  </a:lnTo>
                  <a:lnTo>
                    <a:pt x="1368" y="976"/>
                  </a:lnTo>
                  <a:lnTo>
                    <a:pt x="1366" y="978"/>
                  </a:lnTo>
                  <a:lnTo>
                    <a:pt x="1364" y="978"/>
                  </a:lnTo>
                  <a:lnTo>
                    <a:pt x="1360" y="978"/>
                  </a:lnTo>
                  <a:lnTo>
                    <a:pt x="1359" y="978"/>
                  </a:lnTo>
                  <a:lnTo>
                    <a:pt x="1357" y="978"/>
                  </a:lnTo>
                  <a:lnTo>
                    <a:pt x="1357" y="978"/>
                  </a:lnTo>
                  <a:lnTo>
                    <a:pt x="1353" y="974"/>
                  </a:lnTo>
                  <a:lnTo>
                    <a:pt x="1351" y="971"/>
                  </a:lnTo>
                  <a:lnTo>
                    <a:pt x="1349" y="967"/>
                  </a:lnTo>
                  <a:lnTo>
                    <a:pt x="1349" y="963"/>
                  </a:lnTo>
                  <a:lnTo>
                    <a:pt x="1347" y="959"/>
                  </a:lnTo>
                  <a:lnTo>
                    <a:pt x="1347" y="955"/>
                  </a:lnTo>
                  <a:lnTo>
                    <a:pt x="1345" y="952"/>
                  </a:lnTo>
                  <a:lnTo>
                    <a:pt x="1343" y="948"/>
                  </a:lnTo>
                  <a:lnTo>
                    <a:pt x="1343" y="948"/>
                  </a:lnTo>
                  <a:lnTo>
                    <a:pt x="1341" y="944"/>
                  </a:lnTo>
                  <a:lnTo>
                    <a:pt x="1338" y="938"/>
                  </a:lnTo>
                  <a:lnTo>
                    <a:pt x="1334" y="933"/>
                  </a:lnTo>
                  <a:lnTo>
                    <a:pt x="1330" y="925"/>
                  </a:lnTo>
                  <a:lnTo>
                    <a:pt x="1326" y="919"/>
                  </a:lnTo>
                  <a:lnTo>
                    <a:pt x="1322" y="912"/>
                  </a:lnTo>
                  <a:lnTo>
                    <a:pt x="1317" y="904"/>
                  </a:lnTo>
                  <a:lnTo>
                    <a:pt x="1313" y="896"/>
                  </a:lnTo>
                  <a:lnTo>
                    <a:pt x="1309" y="889"/>
                  </a:lnTo>
                  <a:lnTo>
                    <a:pt x="1305" y="881"/>
                  </a:lnTo>
                  <a:lnTo>
                    <a:pt x="1301" y="873"/>
                  </a:lnTo>
                  <a:lnTo>
                    <a:pt x="1298" y="868"/>
                  </a:lnTo>
                  <a:lnTo>
                    <a:pt x="1294" y="860"/>
                  </a:lnTo>
                  <a:lnTo>
                    <a:pt x="1292" y="854"/>
                  </a:lnTo>
                  <a:lnTo>
                    <a:pt x="1292" y="850"/>
                  </a:lnTo>
                  <a:lnTo>
                    <a:pt x="1290" y="845"/>
                  </a:lnTo>
                  <a:lnTo>
                    <a:pt x="1290" y="845"/>
                  </a:lnTo>
                  <a:lnTo>
                    <a:pt x="1292" y="839"/>
                  </a:lnTo>
                  <a:lnTo>
                    <a:pt x="1296" y="833"/>
                  </a:lnTo>
                  <a:lnTo>
                    <a:pt x="1301" y="830"/>
                  </a:lnTo>
                  <a:lnTo>
                    <a:pt x="1309" y="826"/>
                  </a:lnTo>
                  <a:lnTo>
                    <a:pt x="1317" y="822"/>
                  </a:lnTo>
                  <a:lnTo>
                    <a:pt x="1324" y="818"/>
                  </a:lnTo>
                  <a:lnTo>
                    <a:pt x="1330" y="812"/>
                  </a:lnTo>
                  <a:lnTo>
                    <a:pt x="1334" y="807"/>
                  </a:lnTo>
                  <a:lnTo>
                    <a:pt x="1334" y="807"/>
                  </a:lnTo>
                  <a:lnTo>
                    <a:pt x="1334" y="801"/>
                  </a:lnTo>
                  <a:lnTo>
                    <a:pt x="1332" y="795"/>
                  </a:lnTo>
                  <a:lnTo>
                    <a:pt x="1330" y="789"/>
                  </a:lnTo>
                  <a:lnTo>
                    <a:pt x="1328" y="786"/>
                  </a:lnTo>
                  <a:lnTo>
                    <a:pt x="1326" y="782"/>
                  </a:lnTo>
                  <a:lnTo>
                    <a:pt x="1324" y="776"/>
                  </a:lnTo>
                  <a:lnTo>
                    <a:pt x="1324" y="770"/>
                  </a:lnTo>
                  <a:lnTo>
                    <a:pt x="1322" y="765"/>
                  </a:lnTo>
                  <a:lnTo>
                    <a:pt x="1322" y="765"/>
                  </a:lnTo>
                  <a:lnTo>
                    <a:pt x="1324" y="761"/>
                  </a:lnTo>
                  <a:lnTo>
                    <a:pt x="1324" y="755"/>
                  </a:lnTo>
                  <a:lnTo>
                    <a:pt x="1326" y="751"/>
                  </a:lnTo>
                  <a:lnTo>
                    <a:pt x="1328" y="746"/>
                  </a:lnTo>
                  <a:lnTo>
                    <a:pt x="1330" y="742"/>
                  </a:lnTo>
                  <a:lnTo>
                    <a:pt x="1334" y="736"/>
                  </a:lnTo>
                  <a:lnTo>
                    <a:pt x="1334" y="732"/>
                  </a:lnTo>
                  <a:lnTo>
                    <a:pt x="1334" y="730"/>
                  </a:lnTo>
                  <a:lnTo>
                    <a:pt x="1334" y="730"/>
                  </a:lnTo>
                  <a:lnTo>
                    <a:pt x="1334" y="723"/>
                  </a:lnTo>
                  <a:lnTo>
                    <a:pt x="1334" y="717"/>
                  </a:lnTo>
                  <a:lnTo>
                    <a:pt x="1334" y="711"/>
                  </a:lnTo>
                  <a:lnTo>
                    <a:pt x="1334" y="707"/>
                  </a:lnTo>
                  <a:lnTo>
                    <a:pt x="1334" y="702"/>
                  </a:lnTo>
                  <a:lnTo>
                    <a:pt x="1334" y="698"/>
                  </a:lnTo>
                  <a:lnTo>
                    <a:pt x="1334" y="694"/>
                  </a:lnTo>
                  <a:lnTo>
                    <a:pt x="1334" y="690"/>
                  </a:lnTo>
                  <a:lnTo>
                    <a:pt x="1334" y="686"/>
                  </a:lnTo>
                  <a:lnTo>
                    <a:pt x="1334" y="681"/>
                  </a:lnTo>
                  <a:lnTo>
                    <a:pt x="1334" y="677"/>
                  </a:lnTo>
                  <a:lnTo>
                    <a:pt x="1334" y="671"/>
                  </a:lnTo>
                  <a:lnTo>
                    <a:pt x="1334" y="665"/>
                  </a:lnTo>
                  <a:lnTo>
                    <a:pt x="1334" y="660"/>
                  </a:lnTo>
                  <a:lnTo>
                    <a:pt x="1334" y="652"/>
                  </a:lnTo>
                  <a:lnTo>
                    <a:pt x="1334" y="644"/>
                  </a:lnTo>
                  <a:lnTo>
                    <a:pt x="1334" y="644"/>
                  </a:lnTo>
                  <a:lnTo>
                    <a:pt x="1334" y="635"/>
                  </a:lnTo>
                  <a:lnTo>
                    <a:pt x="1334" y="627"/>
                  </a:lnTo>
                  <a:lnTo>
                    <a:pt x="1332" y="618"/>
                  </a:lnTo>
                  <a:lnTo>
                    <a:pt x="1330" y="610"/>
                  </a:lnTo>
                  <a:lnTo>
                    <a:pt x="1328" y="602"/>
                  </a:lnTo>
                  <a:lnTo>
                    <a:pt x="1324" y="593"/>
                  </a:lnTo>
                  <a:lnTo>
                    <a:pt x="1322" y="585"/>
                  </a:lnTo>
                  <a:lnTo>
                    <a:pt x="1318" y="580"/>
                  </a:lnTo>
                  <a:lnTo>
                    <a:pt x="1315" y="572"/>
                  </a:lnTo>
                  <a:lnTo>
                    <a:pt x="1313" y="564"/>
                  </a:lnTo>
                  <a:lnTo>
                    <a:pt x="1309" y="557"/>
                  </a:lnTo>
                  <a:lnTo>
                    <a:pt x="1305" y="549"/>
                  </a:lnTo>
                  <a:lnTo>
                    <a:pt x="1301" y="543"/>
                  </a:lnTo>
                  <a:lnTo>
                    <a:pt x="1299" y="536"/>
                  </a:lnTo>
                  <a:lnTo>
                    <a:pt x="1296" y="528"/>
                  </a:lnTo>
                  <a:lnTo>
                    <a:pt x="1294" y="520"/>
                  </a:lnTo>
                  <a:lnTo>
                    <a:pt x="1294" y="520"/>
                  </a:lnTo>
                  <a:lnTo>
                    <a:pt x="1290" y="509"/>
                  </a:lnTo>
                  <a:lnTo>
                    <a:pt x="1286" y="499"/>
                  </a:lnTo>
                  <a:lnTo>
                    <a:pt x="1284" y="488"/>
                  </a:lnTo>
                  <a:lnTo>
                    <a:pt x="1282" y="478"/>
                  </a:lnTo>
                  <a:lnTo>
                    <a:pt x="1282" y="469"/>
                  </a:lnTo>
                  <a:lnTo>
                    <a:pt x="1280" y="459"/>
                  </a:lnTo>
                  <a:lnTo>
                    <a:pt x="1278" y="450"/>
                  </a:lnTo>
                  <a:lnTo>
                    <a:pt x="1277" y="442"/>
                  </a:lnTo>
                  <a:lnTo>
                    <a:pt x="1277" y="433"/>
                  </a:lnTo>
                  <a:lnTo>
                    <a:pt x="1275" y="425"/>
                  </a:lnTo>
                  <a:lnTo>
                    <a:pt x="1271" y="417"/>
                  </a:lnTo>
                  <a:lnTo>
                    <a:pt x="1269" y="410"/>
                  </a:lnTo>
                  <a:lnTo>
                    <a:pt x="1265" y="402"/>
                  </a:lnTo>
                  <a:lnTo>
                    <a:pt x="1261" y="395"/>
                  </a:lnTo>
                  <a:lnTo>
                    <a:pt x="1256" y="387"/>
                  </a:lnTo>
                  <a:lnTo>
                    <a:pt x="1250" y="381"/>
                  </a:lnTo>
                  <a:lnTo>
                    <a:pt x="1250" y="381"/>
                  </a:lnTo>
                  <a:lnTo>
                    <a:pt x="1246" y="377"/>
                  </a:lnTo>
                  <a:lnTo>
                    <a:pt x="1240" y="372"/>
                  </a:lnTo>
                  <a:lnTo>
                    <a:pt x="1236" y="366"/>
                  </a:lnTo>
                  <a:lnTo>
                    <a:pt x="1231" y="358"/>
                  </a:lnTo>
                  <a:lnTo>
                    <a:pt x="1223" y="351"/>
                  </a:lnTo>
                  <a:lnTo>
                    <a:pt x="1217" y="341"/>
                  </a:lnTo>
                  <a:lnTo>
                    <a:pt x="1212" y="333"/>
                  </a:lnTo>
                  <a:lnTo>
                    <a:pt x="1206" y="324"/>
                  </a:lnTo>
                  <a:lnTo>
                    <a:pt x="1198" y="314"/>
                  </a:lnTo>
                  <a:lnTo>
                    <a:pt x="1193" y="305"/>
                  </a:lnTo>
                  <a:lnTo>
                    <a:pt x="1189" y="295"/>
                  </a:lnTo>
                  <a:lnTo>
                    <a:pt x="1183" y="286"/>
                  </a:lnTo>
                  <a:lnTo>
                    <a:pt x="1181" y="278"/>
                  </a:lnTo>
                  <a:lnTo>
                    <a:pt x="1177" y="271"/>
                  </a:lnTo>
                  <a:lnTo>
                    <a:pt x="1175" y="263"/>
                  </a:lnTo>
                  <a:lnTo>
                    <a:pt x="1175" y="257"/>
                  </a:lnTo>
                  <a:lnTo>
                    <a:pt x="1175" y="257"/>
                  </a:lnTo>
                  <a:lnTo>
                    <a:pt x="1175" y="248"/>
                  </a:lnTo>
                  <a:lnTo>
                    <a:pt x="1177" y="238"/>
                  </a:lnTo>
                  <a:lnTo>
                    <a:pt x="1181" y="230"/>
                  </a:lnTo>
                  <a:lnTo>
                    <a:pt x="1185" y="223"/>
                  </a:lnTo>
                  <a:lnTo>
                    <a:pt x="1191" y="217"/>
                  </a:lnTo>
                  <a:lnTo>
                    <a:pt x="1196" y="211"/>
                  </a:lnTo>
                  <a:lnTo>
                    <a:pt x="1202" y="206"/>
                  </a:lnTo>
                  <a:lnTo>
                    <a:pt x="1208" y="200"/>
                  </a:lnTo>
                  <a:lnTo>
                    <a:pt x="1214" y="196"/>
                  </a:lnTo>
                  <a:lnTo>
                    <a:pt x="1221" y="190"/>
                  </a:lnTo>
                  <a:lnTo>
                    <a:pt x="1227" y="187"/>
                  </a:lnTo>
                  <a:lnTo>
                    <a:pt x="1233" y="181"/>
                  </a:lnTo>
                  <a:lnTo>
                    <a:pt x="1236" y="175"/>
                  </a:lnTo>
                  <a:lnTo>
                    <a:pt x="1240" y="169"/>
                  </a:lnTo>
                  <a:lnTo>
                    <a:pt x="1244" y="162"/>
                  </a:lnTo>
                  <a:lnTo>
                    <a:pt x="1246" y="154"/>
                  </a:lnTo>
                  <a:lnTo>
                    <a:pt x="1246" y="154"/>
                  </a:lnTo>
                  <a:lnTo>
                    <a:pt x="1248" y="143"/>
                  </a:lnTo>
                  <a:lnTo>
                    <a:pt x="1248" y="131"/>
                  </a:lnTo>
                  <a:lnTo>
                    <a:pt x="1250" y="122"/>
                  </a:lnTo>
                  <a:lnTo>
                    <a:pt x="1250" y="110"/>
                  </a:lnTo>
                  <a:lnTo>
                    <a:pt x="1250" y="101"/>
                  </a:lnTo>
                  <a:lnTo>
                    <a:pt x="1252" y="91"/>
                  </a:lnTo>
                  <a:lnTo>
                    <a:pt x="1252" y="82"/>
                  </a:lnTo>
                  <a:lnTo>
                    <a:pt x="1252" y="72"/>
                  </a:lnTo>
                  <a:lnTo>
                    <a:pt x="1254" y="63"/>
                  </a:lnTo>
                  <a:lnTo>
                    <a:pt x="1256" y="55"/>
                  </a:lnTo>
                  <a:lnTo>
                    <a:pt x="1257" y="47"/>
                  </a:lnTo>
                  <a:lnTo>
                    <a:pt x="1261" y="40"/>
                  </a:lnTo>
                  <a:lnTo>
                    <a:pt x="1265" y="32"/>
                  </a:lnTo>
                  <a:lnTo>
                    <a:pt x="1269" y="26"/>
                  </a:lnTo>
                  <a:lnTo>
                    <a:pt x="1275" y="21"/>
                  </a:lnTo>
                  <a:lnTo>
                    <a:pt x="1282" y="15"/>
                  </a:lnTo>
                  <a:lnTo>
                    <a:pt x="1282" y="15"/>
                  </a:lnTo>
                  <a:lnTo>
                    <a:pt x="1277" y="13"/>
                  </a:lnTo>
                  <a:lnTo>
                    <a:pt x="1273" y="13"/>
                  </a:lnTo>
                  <a:lnTo>
                    <a:pt x="1267" y="11"/>
                  </a:lnTo>
                  <a:lnTo>
                    <a:pt x="1263" y="9"/>
                  </a:lnTo>
                  <a:lnTo>
                    <a:pt x="1257" y="9"/>
                  </a:lnTo>
                  <a:lnTo>
                    <a:pt x="1254" y="7"/>
                  </a:lnTo>
                  <a:lnTo>
                    <a:pt x="1248" y="7"/>
                  </a:lnTo>
                  <a:lnTo>
                    <a:pt x="1242" y="5"/>
                  </a:lnTo>
                  <a:lnTo>
                    <a:pt x="1238" y="3"/>
                  </a:lnTo>
                  <a:lnTo>
                    <a:pt x="1233" y="3"/>
                  </a:lnTo>
                  <a:lnTo>
                    <a:pt x="1227" y="3"/>
                  </a:lnTo>
                  <a:lnTo>
                    <a:pt x="1223" y="2"/>
                  </a:lnTo>
                  <a:lnTo>
                    <a:pt x="1217" y="2"/>
                  </a:lnTo>
                  <a:lnTo>
                    <a:pt x="1212" y="2"/>
                  </a:lnTo>
                  <a:lnTo>
                    <a:pt x="1208" y="0"/>
                  </a:lnTo>
                  <a:lnTo>
                    <a:pt x="1202" y="0"/>
                  </a:lnTo>
                  <a:lnTo>
                    <a:pt x="1202" y="0"/>
                  </a:lnTo>
                  <a:lnTo>
                    <a:pt x="1198" y="2"/>
                  </a:lnTo>
                  <a:lnTo>
                    <a:pt x="1196" y="2"/>
                  </a:lnTo>
                  <a:lnTo>
                    <a:pt x="1194" y="3"/>
                  </a:lnTo>
                  <a:lnTo>
                    <a:pt x="1193" y="5"/>
                  </a:lnTo>
                  <a:lnTo>
                    <a:pt x="1193" y="9"/>
                  </a:lnTo>
                  <a:lnTo>
                    <a:pt x="1191" y="11"/>
                  </a:lnTo>
                  <a:lnTo>
                    <a:pt x="1191" y="15"/>
                  </a:lnTo>
                  <a:lnTo>
                    <a:pt x="1191" y="19"/>
                  </a:lnTo>
                  <a:lnTo>
                    <a:pt x="1160" y="19"/>
                  </a:lnTo>
                  <a:lnTo>
                    <a:pt x="1160" y="19"/>
                  </a:lnTo>
                  <a:lnTo>
                    <a:pt x="1160" y="17"/>
                  </a:lnTo>
                  <a:lnTo>
                    <a:pt x="1158" y="15"/>
                  </a:lnTo>
                  <a:lnTo>
                    <a:pt x="1156" y="13"/>
                  </a:lnTo>
                  <a:lnTo>
                    <a:pt x="1153" y="9"/>
                  </a:lnTo>
                  <a:lnTo>
                    <a:pt x="1149" y="7"/>
                  </a:lnTo>
                  <a:lnTo>
                    <a:pt x="1145" y="5"/>
                  </a:lnTo>
                  <a:lnTo>
                    <a:pt x="1141" y="3"/>
                  </a:lnTo>
                  <a:lnTo>
                    <a:pt x="1139" y="3"/>
                  </a:lnTo>
                  <a:lnTo>
                    <a:pt x="1139" y="3"/>
                  </a:lnTo>
                  <a:lnTo>
                    <a:pt x="1133" y="3"/>
                  </a:lnTo>
                  <a:lnTo>
                    <a:pt x="1130" y="3"/>
                  </a:lnTo>
                  <a:lnTo>
                    <a:pt x="1124" y="5"/>
                  </a:lnTo>
                  <a:lnTo>
                    <a:pt x="1120" y="7"/>
                  </a:lnTo>
                  <a:lnTo>
                    <a:pt x="1116" y="11"/>
                  </a:lnTo>
                  <a:lnTo>
                    <a:pt x="1112" y="13"/>
                  </a:lnTo>
                  <a:lnTo>
                    <a:pt x="1109" y="17"/>
                  </a:lnTo>
                  <a:lnTo>
                    <a:pt x="1105" y="19"/>
                  </a:lnTo>
                  <a:lnTo>
                    <a:pt x="1101" y="23"/>
                  </a:lnTo>
                  <a:lnTo>
                    <a:pt x="1097" y="26"/>
                  </a:lnTo>
                  <a:lnTo>
                    <a:pt x="1093" y="28"/>
                  </a:lnTo>
                  <a:lnTo>
                    <a:pt x="1088" y="30"/>
                  </a:lnTo>
                  <a:lnTo>
                    <a:pt x="1084" y="32"/>
                  </a:lnTo>
                  <a:lnTo>
                    <a:pt x="1078" y="34"/>
                  </a:lnTo>
                  <a:lnTo>
                    <a:pt x="1072" y="36"/>
                  </a:lnTo>
                  <a:lnTo>
                    <a:pt x="1067" y="36"/>
                  </a:lnTo>
                  <a:lnTo>
                    <a:pt x="1067" y="36"/>
                  </a:lnTo>
                  <a:lnTo>
                    <a:pt x="1059" y="36"/>
                  </a:lnTo>
                  <a:lnTo>
                    <a:pt x="1051" y="34"/>
                  </a:lnTo>
                  <a:lnTo>
                    <a:pt x="1044" y="32"/>
                  </a:lnTo>
                  <a:lnTo>
                    <a:pt x="1034" y="28"/>
                  </a:lnTo>
                  <a:lnTo>
                    <a:pt x="1027" y="24"/>
                  </a:lnTo>
                  <a:lnTo>
                    <a:pt x="1019" y="21"/>
                  </a:lnTo>
                  <a:lnTo>
                    <a:pt x="1013" y="19"/>
                  </a:lnTo>
                  <a:lnTo>
                    <a:pt x="1008" y="15"/>
                  </a:lnTo>
                  <a:lnTo>
                    <a:pt x="910" y="15"/>
                  </a:lnTo>
                  <a:lnTo>
                    <a:pt x="910" y="15"/>
                  </a:lnTo>
                  <a:lnTo>
                    <a:pt x="899" y="15"/>
                  </a:lnTo>
                  <a:lnTo>
                    <a:pt x="887" y="15"/>
                  </a:lnTo>
                  <a:lnTo>
                    <a:pt x="876" y="17"/>
                  </a:lnTo>
                  <a:lnTo>
                    <a:pt x="863" y="17"/>
                  </a:lnTo>
                  <a:lnTo>
                    <a:pt x="849" y="19"/>
                  </a:lnTo>
                  <a:lnTo>
                    <a:pt x="836" y="21"/>
                  </a:lnTo>
                  <a:lnTo>
                    <a:pt x="823" y="23"/>
                  </a:lnTo>
                  <a:lnTo>
                    <a:pt x="809" y="26"/>
                  </a:lnTo>
                  <a:lnTo>
                    <a:pt x="796" y="28"/>
                  </a:lnTo>
                  <a:lnTo>
                    <a:pt x="782" y="32"/>
                  </a:lnTo>
                  <a:lnTo>
                    <a:pt x="769" y="34"/>
                  </a:lnTo>
                  <a:lnTo>
                    <a:pt x="758" y="38"/>
                  </a:lnTo>
                  <a:lnTo>
                    <a:pt x="744" y="40"/>
                  </a:lnTo>
                  <a:lnTo>
                    <a:pt x="733" y="44"/>
                  </a:lnTo>
                  <a:lnTo>
                    <a:pt x="723" y="47"/>
                  </a:lnTo>
                  <a:lnTo>
                    <a:pt x="714" y="49"/>
                  </a:lnTo>
                  <a:lnTo>
                    <a:pt x="714" y="49"/>
                  </a:lnTo>
                  <a:lnTo>
                    <a:pt x="710" y="51"/>
                  </a:lnTo>
                  <a:lnTo>
                    <a:pt x="706" y="55"/>
                  </a:lnTo>
                  <a:lnTo>
                    <a:pt x="704" y="57"/>
                  </a:lnTo>
                  <a:lnTo>
                    <a:pt x="702" y="61"/>
                  </a:lnTo>
                  <a:lnTo>
                    <a:pt x="699" y="63"/>
                  </a:lnTo>
                  <a:lnTo>
                    <a:pt x="697" y="66"/>
                  </a:lnTo>
                  <a:lnTo>
                    <a:pt x="693" y="66"/>
                  </a:lnTo>
                  <a:lnTo>
                    <a:pt x="689" y="68"/>
                  </a:lnTo>
                  <a:lnTo>
                    <a:pt x="689" y="68"/>
                  </a:lnTo>
                  <a:lnTo>
                    <a:pt x="685" y="68"/>
                  </a:lnTo>
                  <a:lnTo>
                    <a:pt x="681" y="68"/>
                  </a:lnTo>
                  <a:lnTo>
                    <a:pt x="679" y="68"/>
                  </a:lnTo>
                  <a:lnTo>
                    <a:pt x="678" y="68"/>
                  </a:lnTo>
                  <a:lnTo>
                    <a:pt x="674" y="68"/>
                  </a:lnTo>
                  <a:lnTo>
                    <a:pt x="672" y="68"/>
                  </a:lnTo>
                  <a:lnTo>
                    <a:pt x="668" y="68"/>
                  </a:lnTo>
                  <a:lnTo>
                    <a:pt x="664" y="68"/>
                  </a:lnTo>
                  <a:lnTo>
                    <a:pt x="664" y="68"/>
                  </a:lnTo>
                  <a:lnTo>
                    <a:pt x="657" y="68"/>
                  </a:lnTo>
                  <a:lnTo>
                    <a:pt x="647" y="70"/>
                  </a:lnTo>
                  <a:lnTo>
                    <a:pt x="639" y="72"/>
                  </a:lnTo>
                  <a:lnTo>
                    <a:pt x="634" y="76"/>
                  </a:lnTo>
                  <a:lnTo>
                    <a:pt x="626" y="80"/>
                  </a:lnTo>
                  <a:lnTo>
                    <a:pt x="620" y="84"/>
                  </a:lnTo>
                  <a:lnTo>
                    <a:pt x="613" y="87"/>
                  </a:lnTo>
                  <a:lnTo>
                    <a:pt x="607" y="93"/>
                  </a:lnTo>
                  <a:lnTo>
                    <a:pt x="601" y="97"/>
                  </a:lnTo>
                  <a:lnTo>
                    <a:pt x="594" y="103"/>
                  </a:lnTo>
                  <a:lnTo>
                    <a:pt x="588" y="106"/>
                  </a:lnTo>
                  <a:lnTo>
                    <a:pt x="580" y="110"/>
                  </a:lnTo>
                  <a:lnTo>
                    <a:pt x="573" y="114"/>
                  </a:lnTo>
                  <a:lnTo>
                    <a:pt x="565" y="116"/>
                  </a:lnTo>
                  <a:lnTo>
                    <a:pt x="557" y="118"/>
                  </a:lnTo>
                  <a:lnTo>
                    <a:pt x="550" y="118"/>
                  </a:lnTo>
                  <a:lnTo>
                    <a:pt x="550" y="118"/>
                  </a:lnTo>
                  <a:lnTo>
                    <a:pt x="546" y="118"/>
                  </a:lnTo>
                  <a:lnTo>
                    <a:pt x="544" y="118"/>
                  </a:lnTo>
                  <a:lnTo>
                    <a:pt x="540" y="118"/>
                  </a:lnTo>
                  <a:lnTo>
                    <a:pt x="538" y="118"/>
                  </a:lnTo>
                  <a:lnTo>
                    <a:pt x="534" y="118"/>
                  </a:lnTo>
                  <a:lnTo>
                    <a:pt x="531" y="118"/>
                  </a:lnTo>
                  <a:lnTo>
                    <a:pt x="527" y="118"/>
                  </a:lnTo>
                  <a:lnTo>
                    <a:pt x="521" y="116"/>
                  </a:lnTo>
                  <a:lnTo>
                    <a:pt x="521" y="116"/>
                  </a:lnTo>
                  <a:lnTo>
                    <a:pt x="525" y="120"/>
                  </a:lnTo>
                  <a:lnTo>
                    <a:pt x="529" y="122"/>
                  </a:lnTo>
                  <a:lnTo>
                    <a:pt x="533" y="126"/>
                  </a:lnTo>
                  <a:lnTo>
                    <a:pt x="536" y="127"/>
                  </a:lnTo>
                  <a:lnTo>
                    <a:pt x="540" y="131"/>
                  </a:lnTo>
                  <a:lnTo>
                    <a:pt x="544" y="135"/>
                  </a:lnTo>
                  <a:lnTo>
                    <a:pt x="546" y="139"/>
                  </a:lnTo>
                  <a:lnTo>
                    <a:pt x="550" y="143"/>
                  </a:lnTo>
                  <a:lnTo>
                    <a:pt x="554" y="147"/>
                  </a:lnTo>
                  <a:lnTo>
                    <a:pt x="555" y="152"/>
                  </a:lnTo>
                  <a:lnTo>
                    <a:pt x="559" y="158"/>
                  </a:lnTo>
                  <a:lnTo>
                    <a:pt x="561" y="162"/>
                  </a:lnTo>
                  <a:lnTo>
                    <a:pt x="563" y="169"/>
                  </a:lnTo>
                  <a:lnTo>
                    <a:pt x="563" y="175"/>
                  </a:lnTo>
                  <a:lnTo>
                    <a:pt x="563" y="183"/>
                  </a:lnTo>
                  <a:lnTo>
                    <a:pt x="565" y="190"/>
                  </a:lnTo>
                  <a:lnTo>
                    <a:pt x="565" y="190"/>
                  </a:lnTo>
                  <a:lnTo>
                    <a:pt x="565" y="194"/>
                  </a:lnTo>
                  <a:lnTo>
                    <a:pt x="563" y="200"/>
                  </a:lnTo>
                  <a:lnTo>
                    <a:pt x="563" y="204"/>
                  </a:lnTo>
                  <a:lnTo>
                    <a:pt x="563" y="209"/>
                  </a:lnTo>
                  <a:lnTo>
                    <a:pt x="563" y="213"/>
                  </a:lnTo>
                  <a:lnTo>
                    <a:pt x="561" y="219"/>
                  </a:lnTo>
                  <a:lnTo>
                    <a:pt x="561" y="223"/>
                  </a:lnTo>
                  <a:lnTo>
                    <a:pt x="559" y="227"/>
                  </a:lnTo>
                  <a:lnTo>
                    <a:pt x="559" y="230"/>
                  </a:lnTo>
                  <a:lnTo>
                    <a:pt x="557" y="236"/>
                  </a:lnTo>
                  <a:lnTo>
                    <a:pt x="557" y="240"/>
                  </a:lnTo>
                  <a:lnTo>
                    <a:pt x="555" y="244"/>
                  </a:lnTo>
                  <a:lnTo>
                    <a:pt x="555" y="250"/>
                  </a:lnTo>
                  <a:lnTo>
                    <a:pt x="555" y="253"/>
                  </a:lnTo>
                  <a:lnTo>
                    <a:pt x="555" y="257"/>
                  </a:lnTo>
                  <a:lnTo>
                    <a:pt x="555" y="263"/>
                  </a:lnTo>
                  <a:lnTo>
                    <a:pt x="555" y="263"/>
                  </a:lnTo>
                  <a:lnTo>
                    <a:pt x="555" y="272"/>
                  </a:lnTo>
                  <a:lnTo>
                    <a:pt x="557" y="284"/>
                  </a:lnTo>
                  <a:lnTo>
                    <a:pt x="561" y="292"/>
                  </a:lnTo>
                  <a:lnTo>
                    <a:pt x="565" y="299"/>
                  </a:lnTo>
                  <a:lnTo>
                    <a:pt x="569" y="307"/>
                  </a:lnTo>
                  <a:lnTo>
                    <a:pt x="575" y="314"/>
                  </a:lnTo>
                  <a:lnTo>
                    <a:pt x="578" y="322"/>
                  </a:lnTo>
                  <a:lnTo>
                    <a:pt x="582" y="328"/>
                  </a:lnTo>
                  <a:lnTo>
                    <a:pt x="582" y="328"/>
                  </a:lnTo>
                  <a:lnTo>
                    <a:pt x="578" y="332"/>
                  </a:lnTo>
                  <a:lnTo>
                    <a:pt x="575" y="335"/>
                  </a:lnTo>
                  <a:lnTo>
                    <a:pt x="573" y="339"/>
                  </a:lnTo>
                  <a:lnTo>
                    <a:pt x="571" y="343"/>
                  </a:lnTo>
                  <a:lnTo>
                    <a:pt x="569" y="347"/>
                  </a:lnTo>
                  <a:lnTo>
                    <a:pt x="567" y="351"/>
                  </a:lnTo>
                  <a:lnTo>
                    <a:pt x="563" y="353"/>
                  </a:lnTo>
                  <a:lnTo>
                    <a:pt x="561" y="354"/>
                  </a:lnTo>
                  <a:lnTo>
                    <a:pt x="561" y="354"/>
                  </a:lnTo>
                  <a:lnTo>
                    <a:pt x="555" y="356"/>
                  </a:lnTo>
                  <a:lnTo>
                    <a:pt x="552" y="356"/>
                  </a:lnTo>
                  <a:lnTo>
                    <a:pt x="548" y="358"/>
                  </a:lnTo>
                  <a:lnTo>
                    <a:pt x="544" y="358"/>
                  </a:lnTo>
                  <a:lnTo>
                    <a:pt x="538" y="358"/>
                  </a:lnTo>
                  <a:lnTo>
                    <a:pt x="534" y="356"/>
                  </a:lnTo>
                  <a:lnTo>
                    <a:pt x="531" y="356"/>
                  </a:lnTo>
                  <a:lnTo>
                    <a:pt x="527" y="356"/>
                  </a:lnTo>
                  <a:lnTo>
                    <a:pt x="523" y="356"/>
                  </a:lnTo>
                  <a:lnTo>
                    <a:pt x="519" y="354"/>
                  </a:lnTo>
                  <a:lnTo>
                    <a:pt x="515" y="354"/>
                  </a:lnTo>
                  <a:lnTo>
                    <a:pt x="512" y="353"/>
                  </a:lnTo>
                  <a:lnTo>
                    <a:pt x="508" y="353"/>
                  </a:lnTo>
                  <a:lnTo>
                    <a:pt x="504" y="353"/>
                  </a:lnTo>
                  <a:lnTo>
                    <a:pt x="498" y="351"/>
                  </a:lnTo>
                  <a:lnTo>
                    <a:pt x="494" y="351"/>
                  </a:lnTo>
                  <a:lnTo>
                    <a:pt x="494" y="351"/>
                  </a:lnTo>
                  <a:lnTo>
                    <a:pt x="489" y="351"/>
                  </a:lnTo>
                  <a:lnTo>
                    <a:pt x="485" y="351"/>
                  </a:lnTo>
                  <a:lnTo>
                    <a:pt x="481" y="351"/>
                  </a:lnTo>
                  <a:lnTo>
                    <a:pt x="477" y="351"/>
                  </a:lnTo>
                  <a:lnTo>
                    <a:pt x="473" y="349"/>
                  </a:lnTo>
                  <a:lnTo>
                    <a:pt x="470" y="349"/>
                  </a:lnTo>
                  <a:lnTo>
                    <a:pt x="466" y="351"/>
                  </a:lnTo>
                  <a:lnTo>
                    <a:pt x="460" y="351"/>
                  </a:lnTo>
                  <a:lnTo>
                    <a:pt x="441" y="372"/>
                  </a:lnTo>
                  <a:lnTo>
                    <a:pt x="384" y="387"/>
                  </a:lnTo>
                  <a:lnTo>
                    <a:pt x="384" y="387"/>
                  </a:lnTo>
                  <a:lnTo>
                    <a:pt x="380" y="393"/>
                  </a:lnTo>
                  <a:lnTo>
                    <a:pt x="380" y="400"/>
                  </a:lnTo>
                  <a:lnTo>
                    <a:pt x="380" y="406"/>
                  </a:lnTo>
                  <a:lnTo>
                    <a:pt x="380" y="412"/>
                  </a:lnTo>
                  <a:lnTo>
                    <a:pt x="382" y="417"/>
                  </a:lnTo>
                  <a:lnTo>
                    <a:pt x="382" y="423"/>
                  </a:lnTo>
                  <a:lnTo>
                    <a:pt x="380" y="429"/>
                  </a:lnTo>
                  <a:lnTo>
                    <a:pt x="378" y="435"/>
                  </a:lnTo>
                  <a:lnTo>
                    <a:pt x="378" y="435"/>
                  </a:lnTo>
                  <a:lnTo>
                    <a:pt x="374" y="438"/>
                  </a:lnTo>
                  <a:lnTo>
                    <a:pt x="370" y="442"/>
                  </a:lnTo>
                  <a:lnTo>
                    <a:pt x="367" y="444"/>
                  </a:lnTo>
                  <a:lnTo>
                    <a:pt x="363" y="448"/>
                  </a:lnTo>
                  <a:lnTo>
                    <a:pt x="359" y="450"/>
                  </a:lnTo>
                  <a:lnTo>
                    <a:pt x="353" y="452"/>
                  </a:lnTo>
                  <a:lnTo>
                    <a:pt x="349" y="452"/>
                  </a:lnTo>
                  <a:lnTo>
                    <a:pt x="346" y="454"/>
                  </a:lnTo>
                  <a:lnTo>
                    <a:pt x="340" y="456"/>
                  </a:lnTo>
                  <a:lnTo>
                    <a:pt x="336" y="456"/>
                  </a:lnTo>
                  <a:lnTo>
                    <a:pt x="330" y="457"/>
                  </a:lnTo>
                  <a:lnTo>
                    <a:pt x="327" y="457"/>
                  </a:lnTo>
                  <a:lnTo>
                    <a:pt x="321" y="459"/>
                  </a:lnTo>
                  <a:lnTo>
                    <a:pt x="317" y="461"/>
                  </a:lnTo>
                  <a:lnTo>
                    <a:pt x="311" y="461"/>
                  </a:lnTo>
                  <a:lnTo>
                    <a:pt x="307" y="463"/>
                  </a:lnTo>
                  <a:lnTo>
                    <a:pt x="307" y="463"/>
                  </a:lnTo>
                  <a:lnTo>
                    <a:pt x="302" y="467"/>
                  </a:lnTo>
                  <a:lnTo>
                    <a:pt x="296" y="471"/>
                  </a:lnTo>
                  <a:lnTo>
                    <a:pt x="292" y="475"/>
                  </a:lnTo>
                  <a:lnTo>
                    <a:pt x="290" y="480"/>
                  </a:lnTo>
                  <a:lnTo>
                    <a:pt x="287" y="484"/>
                  </a:lnTo>
                  <a:lnTo>
                    <a:pt x="283" y="490"/>
                  </a:lnTo>
                  <a:lnTo>
                    <a:pt x="279" y="496"/>
                  </a:lnTo>
                  <a:lnTo>
                    <a:pt x="275" y="499"/>
                  </a:lnTo>
                  <a:lnTo>
                    <a:pt x="275" y="499"/>
                  </a:lnTo>
                  <a:lnTo>
                    <a:pt x="273" y="501"/>
                  </a:lnTo>
                  <a:lnTo>
                    <a:pt x="267" y="501"/>
                  </a:lnTo>
                  <a:lnTo>
                    <a:pt x="260" y="503"/>
                  </a:lnTo>
                  <a:lnTo>
                    <a:pt x="252" y="505"/>
                  </a:lnTo>
                  <a:lnTo>
                    <a:pt x="243" y="509"/>
                  </a:lnTo>
                  <a:lnTo>
                    <a:pt x="233" y="511"/>
                  </a:lnTo>
                  <a:lnTo>
                    <a:pt x="224" y="513"/>
                  </a:lnTo>
                  <a:lnTo>
                    <a:pt x="212" y="515"/>
                  </a:lnTo>
                  <a:lnTo>
                    <a:pt x="203" y="519"/>
                  </a:lnTo>
                  <a:lnTo>
                    <a:pt x="191" y="520"/>
                  </a:lnTo>
                  <a:lnTo>
                    <a:pt x="182" y="520"/>
                  </a:lnTo>
                  <a:lnTo>
                    <a:pt x="174" y="522"/>
                  </a:lnTo>
                  <a:lnTo>
                    <a:pt x="166" y="524"/>
                  </a:lnTo>
                  <a:lnTo>
                    <a:pt x="161" y="526"/>
                  </a:lnTo>
                  <a:lnTo>
                    <a:pt x="159" y="526"/>
                  </a:lnTo>
                  <a:lnTo>
                    <a:pt x="157" y="526"/>
                  </a:lnTo>
                  <a:lnTo>
                    <a:pt x="157" y="526"/>
                  </a:lnTo>
                  <a:lnTo>
                    <a:pt x="153" y="526"/>
                  </a:lnTo>
                  <a:lnTo>
                    <a:pt x="149" y="526"/>
                  </a:lnTo>
                  <a:lnTo>
                    <a:pt x="147" y="526"/>
                  </a:lnTo>
                  <a:lnTo>
                    <a:pt x="145" y="526"/>
                  </a:lnTo>
                  <a:lnTo>
                    <a:pt x="143" y="526"/>
                  </a:lnTo>
                  <a:lnTo>
                    <a:pt x="142" y="526"/>
                  </a:lnTo>
                  <a:lnTo>
                    <a:pt x="140" y="526"/>
                  </a:lnTo>
                  <a:lnTo>
                    <a:pt x="140" y="526"/>
                  </a:lnTo>
                  <a:lnTo>
                    <a:pt x="140" y="526"/>
                  </a:lnTo>
                  <a:lnTo>
                    <a:pt x="132" y="526"/>
                  </a:lnTo>
                  <a:lnTo>
                    <a:pt x="122" y="528"/>
                  </a:lnTo>
                  <a:lnTo>
                    <a:pt x="115" y="530"/>
                  </a:lnTo>
                  <a:lnTo>
                    <a:pt x="105" y="534"/>
                  </a:lnTo>
                  <a:lnTo>
                    <a:pt x="98" y="536"/>
                  </a:lnTo>
                  <a:lnTo>
                    <a:pt x="90" y="540"/>
                  </a:lnTo>
                  <a:lnTo>
                    <a:pt x="81" y="545"/>
                  </a:lnTo>
                  <a:lnTo>
                    <a:pt x="71" y="549"/>
                  </a:lnTo>
                  <a:lnTo>
                    <a:pt x="63" y="555"/>
                  </a:lnTo>
                  <a:lnTo>
                    <a:pt x="56" y="561"/>
                  </a:lnTo>
                  <a:lnTo>
                    <a:pt x="48" y="564"/>
                  </a:lnTo>
                  <a:lnTo>
                    <a:pt x="40" y="570"/>
                  </a:lnTo>
                  <a:lnTo>
                    <a:pt x="33" y="576"/>
                  </a:lnTo>
                  <a:lnTo>
                    <a:pt x="25" y="582"/>
                  </a:lnTo>
                  <a:lnTo>
                    <a:pt x="18" y="585"/>
                  </a:lnTo>
                  <a:lnTo>
                    <a:pt x="12" y="591"/>
                  </a:lnTo>
                  <a:lnTo>
                    <a:pt x="12" y="591"/>
                  </a:lnTo>
                  <a:lnTo>
                    <a:pt x="6" y="595"/>
                  </a:lnTo>
                  <a:lnTo>
                    <a:pt x="4" y="601"/>
                  </a:lnTo>
                  <a:lnTo>
                    <a:pt x="2" y="606"/>
                  </a:lnTo>
                  <a:lnTo>
                    <a:pt x="2" y="614"/>
                  </a:lnTo>
                  <a:lnTo>
                    <a:pt x="2" y="620"/>
                  </a:lnTo>
                  <a:lnTo>
                    <a:pt x="2" y="625"/>
                  </a:lnTo>
                  <a:lnTo>
                    <a:pt x="2" y="633"/>
                  </a:lnTo>
                  <a:lnTo>
                    <a:pt x="0" y="639"/>
                  </a:lnTo>
                  <a:lnTo>
                    <a:pt x="6" y="664"/>
                  </a:lnTo>
                  <a:lnTo>
                    <a:pt x="2" y="698"/>
                  </a:lnTo>
                  <a:lnTo>
                    <a:pt x="245" y="898"/>
                  </a:lnTo>
                  <a:lnTo>
                    <a:pt x="239" y="898"/>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3" name="Freeform 247"/>
            <p:cNvSpPr>
              <a:spLocks/>
            </p:cNvSpPr>
            <p:nvPr/>
          </p:nvSpPr>
          <p:spPr bwMode="gray">
            <a:xfrm>
              <a:off x="1945" y="740"/>
              <a:ext cx="166" cy="308"/>
            </a:xfrm>
            <a:custGeom>
              <a:avLst/>
              <a:gdLst/>
              <a:ahLst/>
              <a:cxnLst>
                <a:cxn ang="0">
                  <a:pos x="124" y="554"/>
                </a:cxn>
                <a:cxn ang="0">
                  <a:pos x="121" y="542"/>
                </a:cxn>
                <a:cxn ang="0">
                  <a:pos x="115" y="525"/>
                </a:cxn>
                <a:cxn ang="0">
                  <a:pos x="107" y="485"/>
                </a:cxn>
                <a:cxn ang="0">
                  <a:pos x="102" y="449"/>
                </a:cxn>
                <a:cxn ang="0">
                  <a:pos x="90" y="418"/>
                </a:cxn>
                <a:cxn ang="0">
                  <a:pos x="75" y="397"/>
                </a:cxn>
                <a:cxn ang="0">
                  <a:pos x="56" y="374"/>
                </a:cxn>
                <a:cxn ang="0">
                  <a:pos x="31" y="340"/>
                </a:cxn>
                <a:cxn ang="0">
                  <a:pos x="8" y="302"/>
                </a:cxn>
                <a:cxn ang="0">
                  <a:pos x="0" y="273"/>
                </a:cxn>
                <a:cxn ang="0">
                  <a:pos x="6" y="246"/>
                </a:cxn>
                <a:cxn ang="0">
                  <a:pos x="27" y="222"/>
                </a:cxn>
                <a:cxn ang="0">
                  <a:pos x="52" y="203"/>
                </a:cxn>
                <a:cxn ang="0">
                  <a:pos x="69" y="178"/>
                </a:cxn>
                <a:cxn ang="0">
                  <a:pos x="73" y="147"/>
                </a:cxn>
                <a:cxn ang="0">
                  <a:pos x="77" y="107"/>
                </a:cxn>
                <a:cxn ang="0">
                  <a:pos x="81" y="71"/>
                </a:cxn>
                <a:cxn ang="0">
                  <a:pos x="94" y="42"/>
                </a:cxn>
                <a:cxn ang="0">
                  <a:pos x="113" y="29"/>
                </a:cxn>
                <a:cxn ang="0">
                  <a:pos x="130" y="19"/>
                </a:cxn>
                <a:cxn ang="0">
                  <a:pos x="145" y="10"/>
                </a:cxn>
                <a:cxn ang="0">
                  <a:pos x="161" y="2"/>
                </a:cxn>
                <a:cxn ang="0">
                  <a:pos x="178" y="0"/>
                </a:cxn>
                <a:cxn ang="0">
                  <a:pos x="210" y="21"/>
                </a:cxn>
                <a:cxn ang="0">
                  <a:pos x="233" y="42"/>
                </a:cxn>
                <a:cxn ang="0">
                  <a:pos x="246" y="39"/>
                </a:cxn>
                <a:cxn ang="0">
                  <a:pos x="262" y="29"/>
                </a:cxn>
                <a:cxn ang="0">
                  <a:pos x="269" y="33"/>
                </a:cxn>
                <a:cxn ang="0">
                  <a:pos x="271" y="46"/>
                </a:cxn>
                <a:cxn ang="0">
                  <a:pos x="243" y="71"/>
                </a:cxn>
                <a:cxn ang="0">
                  <a:pos x="231" y="90"/>
                </a:cxn>
                <a:cxn ang="0">
                  <a:pos x="235" y="107"/>
                </a:cxn>
                <a:cxn ang="0">
                  <a:pos x="245" y="124"/>
                </a:cxn>
                <a:cxn ang="0">
                  <a:pos x="256" y="143"/>
                </a:cxn>
                <a:cxn ang="0">
                  <a:pos x="260" y="166"/>
                </a:cxn>
                <a:cxn ang="0">
                  <a:pos x="254" y="189"/>
                </a:cxn>
                <a:cxn ang="0">
                  <a:pos x="235" y="210"/>
                </a:cxn>
                <a:cxn ang="0">
                  <a:pos x="212" y="225"/>
                </a:cxn>
                <a:cxn ang="0">
                  <a:pos x="199" y="246"/>
                </a:cxn>
                <a:cxn ang="0">
                  <a:pos x="203" y="269"/>
                </a:cxn>
                <a:cxn ang="0">
                  <a:pos x="229" y="287"/>
                </a:cxn>
                <a:cxn ang="0">
                  <a:pos x="264" y="290"/>
                </a:cxn>
                <a:cxn ang="0">
                  <a:pos x="279" y="317"/>
                </a:cxn>
                <a:cxn ang="0">
                  <a:pos x="292" y="338"/>
                </a:cxn>
                <a:cxn ang="0">
                  <a:pos x="290" y="355"/>
                </a:cxn>
                <a:cxn ang="0">
                  <a:pos x="288" y="372"/>
                </a:cxn>
                <a:cxn ang="0">
                  <a:pos x="281" y="386"/>
                </a:cxn>
                <a:cxn ang="0">
                  <a:pos x="250" y="405"/>
                </a:cxn>
                <a:cxn ang="0">
                  <a:pos x="218" y="428"/>
                </a:cxn>
                <a:cxn ang="0">
                  <a:pos x="195" y="451"/>
                </a:cxn>
                <a:cxn ang="0">
                  <a:pos x="193" y="468"/>
                </a:cxn>
                <a:cxn ang="0">
                  <a:pos x="191" y="483"/>
                </a:cxn>
                <a:cxn ang="0">
                  <a:pos x="193" y="491"/>
                </a:cxn>
                <a:cxn ang="0">
                  <a:pos x="193" y="515"/>
                </a:cxn>
                <a:cxn ang="0">
                  <a:pos x="178" y="536"/>
                </a:cxn>
                <a:cxn ang="0">
                  <a:pos x="155" y="552"/>
                </a:cxn>
                <a:cxn ang="0">
                  <a:pos x="134" y="559"/>
                </a:cxn>
              </a:cxnLst>
              <a:rect l="0" t="0" r="r" b="b"/>
              <a:pathLst>
                <a:path w="292" h="561">
                  <a:moveTo>
                    <a:pt x="126" y="559"/>
                  </a:moveTo>
                  <a:lnTo>
                    <a:pt x="126" y="559"/>
                  </a:lnTo>
                  <a:lnTo>
                    <a:pt x="126" y="556"/>
                  </a:lnTo>
                  <a:lnTo>
                    <a:pt x="124" y="554"/>
                  </a:lnTo>
                  <a:lnTo>
                    <a:pt x="124" y="550"/>
                  </a:lnTo>
                  <a:lnTo>
                    <a:pt x="123" y="548"/>
                  </a:lnTo>
                  <a:lnTo>
                    <a:pt x="121" y="544"/>
                  </a:lnTo>
                  <a:lnTo>
                    <a:pt x="121" y="542"/>
                  </a:lnTo>
                  <a:lnTo>
                    <a:pt x="119" y="538"/>
                  </a:lnTo>
                  <a:lnTo>
                    <a:pt x="119" y="536"/>
                  </a:lnTo>
                  <a:lnTo>
                    <a:pt x="119" y="536"/>
                  </a:lnTo>
                  <a:lnTo>
                    <a:pt x="115" y="525"/>
                  </a:lnTo>
                  <a:lnTo>
                    <a:pt x="111" y="515"/>
                  </a:lnTo>
                  <a:lnTo>
                    <a:pt x="109" y="504"/>
                  </a:lnTo>
                  <a:lnTo>
                    <a:pt x="107" y="494"/>
                  </a:lnTo>
                  <a:lnTo>
                    <a:pt x="107" y="485"/>
                  </a:lnTo>
                  <a:lnTo>
                    <a:pt x="105" y="475"/>
                  </a:lnTo>
                  <a:lnTo>
                    <a:pt x="103" y="466"/>
                  </a:lnTo>
                  <a:lnTo>
                    <a:pt x="102" y="458"/>
                  </a:lnTo>
                  <a:lnTo>
                    <a:pt x="102" y="449"/>
                  </a:lnTo>
                  <a:lnTo>
                    <a:pt x="100" y="441"/>
                  </a:lnTo>
                  <a:lnTo>
                    <a:pt x="96" y="433"/>
                  </a:lnTo>
                  <a:lnTo>
                    <a:pt x="94" y="426"/>
                  </a:lnTo>
                  <a:lnTo>
                    <a:pt x="90" y="418"/>
                  </a:lnTo>
                  <a:lnTo>
                    <a:pt x="86" y="411"/>
                  </a:lnTo>
                  <a:lnTo>
                    <a:pt x="81" y="403"/>
                  </a:lnTo>
                  <a:lnTo>
                    <a:pt x="75" y="397"/>
                  </a:lnTo>
                  <a:lnTo>
                    <a:pt x="75" y="397"/>
                  </a:lnTo>
                  <a:lnTo>
                    <a:pt x="71" y="393"/>
                  </a:lnTo>
                  <a:lnTo>
                    <a:pt x="65" y="388"/>
                  </a:lnTo>
                  <a:lnTo>
                    <a:pt x="61" y="382"/>
                  </a:lnTo>
                  <a:lnTo>
                    <a:pt x="56" y="374"/>
                  </a:lnTo>
                  <a:lnTo>
                    <a:pt x="48" y="367"/>
                  </a:lnTo>
                  <a:lnTo>
                    <a:pt x="42" y="357"/>
                  </a:lnTo>
                  <a:lnTo>
                    <a:pt x="37" y="349"/>
                  </a:lnTo>
                  <a:lnTo>
                    <a:pt x="31" y="340"/>
                  </a:lnTo>
                  <a:lnTo>
                    <a:pt x="23" y="330"/>
                  </a:lnTo>
                  <a:lnTo>
                    <a:pt x="18" y="321"/>
                  </a:lnTo>
                  <a:lnTo>
                    <a:pt x="14" y="311"/>
                  </a:lnTo>
                  <a:lnTo>
                    <a:pt x="8" y="302"/>
                  </a:lnTo>
                  <a:lnTo>
                    <a:pt x="6" y="294"/>
                  </a:lnTo>
                  <a:lnTo>
                    <a:pt x="2" y="287"/>
                  </a:lnTo>
                  <a:lnTo>
                    <a:pt x="0" y="279"/>
                  </a:lnTo>
                  <a:lnTo>
                    <a:pt x="0" y="273"/>
                  </a:lnTo>
                  <a:lnTo>
                    <a:pt x="0" y="273"/>
                  </a:lnTo>
                  <a:lnTo>
                    <a:pt x="0" y="264"/>
                  </a:lnTo>
                  <a:lnTo>
                    <a:pt x="2" y="254"/>
                  </a:lnTo>
                  <a:lnTo>
                    <a:pt x="6" y="246"/>
                  </a:lnTo>
                  <a:lnTo>
                    <a:pt x="10" y="239"/>
                  </a:lnTo>
                  <a:lnTo>
                    <a:pt x="16" y="233"/>
                  </a:lnTo>
                  <a:lnTo>
                    <a:pt x="21" y="227"/>
                  </a:lnTo>
                  <a:lnTo>
                    <a:pt x="27" y="222"/>
                  </a:lnTo>
                  <a:lnTo>
                    <a:pt x="33" y="216"/>
                  </a:lnTo>
                  <a:lnTo>
                    <a:pt x="39" y="212"/>
                  </a:lnTo>
                  <a:lnTo>
                    <a:pt x="46" y="206"/>
                  </a:lnTo>
                  <a:lnTo>
                    <a:pt x="52" y="203"/>
                  </a:lnTo>
                  <a:lnTo>
                    <a:pt x="58" y="197"/>
                  </a:lnTo>
                  <a:lnTo>
                    <a:pt x="61" y="191"/>
                  </a:lnTo>
                  <a:lnTo>
                    <a:pt x="65" y="185"/>
                  </a:lnTo>
                  <a:lnTo>
                    <a:pt x="69" y="178"/>
                  </a:lnTo>
                  <a:lnTo>
                    <a:pt x="71" y="170"/>
                  </a:lnTo>
                  <a:lnTo>
                    <a:pt x="71" y="170"/>
                  </a:lnTo>
                  <a:lnTo>
                    <a:pt x="73" y="159"/>
                  </a:lnTo>
                  <a:lnTo>
                    <a:pt x="73" y="147"/>
                  </a:lnTo>
                  <a:lnTo>
                    <a:pt x="75" y="138"/>
                  </a:lnTo>
                  <a:lnTo>
                    <a:pt x="75" y="126"/>
                  </a:lnTo>
                  <a:lnTo>
                    <a:pt x="75" y="117"/>
                  </a:lnTo>
                  <a:lnTo>
                    <a:pt x="77" y="107"/>
                  </a:lnTo>
                  <a:lnTo>
                    <a:pt x="77" y="98"/>
                  </a:lnTo>
                  <a:lnTo>
                    <a:pt x="77" y="88"/>
                  </a:lnTo>
                  <a:lnTo>
                    <a:pt x="79" y="79"/>
                  </a:lnTo>
                  <a:lnTo>
                    <a:pt x="81" y="71"/>
                  </a:lnTo>
                  <a:lnTo>
                    <a:pt x="82" y="63"/>
                  </a:lnTo>
                  <a:lnTo>
                    <a:pt x="86" y="56"/>
                  </a:lnTo>
                  <a:lnTo>
                    <a:pt x="90" y="48"/>
                  </a:lnTo>
                  <a:lnTo>
                    <a:pt x="94" y="42"/>
                  </a:lnTo>
                  <a:lnTo>
                    <a:pt x="100" y="37"/>
                  </a:lnTo>
                  <a:lnTo>
                    <a:pt x="107" y="31"/>
                  </a:lnTo>
                  <a:lnTo>
                    <a:pt x="107" y="31"/>
                  </a:lnTo>
                  <a:lnTo>
                    <a:pt x="113" y="29"/>
                  </a:lnTo>
                  <a:lnTo>
                    <a:pt x="117" y="27"/>
                  </a:lnTo>
                  <a:lnTo>
                    <a:pt x="123" y="25"/>
                  </a:lnTo>
                  <a:lnTo>
                    <a:pt x="126" y="23"/>
                  </a:lnTo>
                  <a:lnTo>
                    <a:pt x="130" y="19"/>
                  </a:lnTo>
                  <a:lnTo>
                    <a:pt x="134" y="18"/>
                  </a:lnTo>
                  <a:lnTo>
                    <a:pt x="138" y="16"/>
                  </a:lnTo>
                  <a:lnTo>
                    <a:pt x="142" y="12"/>
                  </a:lnTo>
                  <a:lnTo>
                    <a:pt x="145" y="10"/>
                  </a:lnTo>
                  <a:lnTo>
                    <a:pt x="149" y="8"/>
                  </a:lnTo>
                  <a:lnTo>
                    <a:pt x="153" y="6"/>
                  </a:lnTo>
                  <a:lnTo>
                    <a:pt x="157" y="4"/>
                  </a:lnTo>
                  <a:lnTo>
                    <a:pt x="161" y="2"/>
                  </a:lnTo>
                  <a:lnTo>
                    <a:pt x="166" y="2"/>
                  </a:lnTo>
                  <a:lnTo>
                    <a:pt x="172" y="0"/>
                  </a:lnTo>
                  <a:lnTo>
                    <a:pt x="178" y="0"/>
                  </a:lnTo>
                  <a:lnTo>
                    <a:pt x="178" y="0"/>
                  </a:lnTo>
                  <a:lnTo>
                    <a:pt x="185" y="2"/>
                  </a:lnTo>
                  <a:lnTo>
                    <a:pt x="195" y="8"/>
                  </a:lnTo>
                  <a:lnTo>
                    <a:pt x="203" y="14"/>
                  </a:lnTo>
                  <a:lnTo>
                    <a:pt x="210" y="21"/>
                  </a:lnTo>
                  <a:lnTo>
                    <a:pt x="216" y="29"/>
                  </a:lnTo>
                  <a:lnTo>
                    <a:pt x="224" y="35"/>
                  </a:lnTo>
                  <a:lnTo>
                    <a:pt x="229" y="40"/>
                  </a:lnTo>
                  <a:lnTo>
                    <a:pt x="233" y="42"/>
                  </a:lnTo>
                  <a:lnTo>
                    <a:pt x="233" y="42"/>
                  </a:lnTo>
                  <a:lnTo>
                    <a:pt x="239" y="42"/>
                  </a:lnTo>
                  <a:lnTo>
                    <a:pt x="243" y="40"/>
                  </a:lnTo>
                  <a:lnTo>
                    <a:pt x="246" y="39"/>
                  </a:lnTo>
                  <a:lnTo>
                    <a:pt x="252" y="37"/>
                  </a:lnTo>
                  <a:lnTo>
                    <a:pt x="256" y="35"/>
                  </a:lnTo>
                  <a:lnTo>
                    <a:pt x="260" y="33"/>
                  </a:lnTo>
                  <a:lnTo>
                    <a:pt x="262" y="29"/>
                  </a:lnTo>
                  <a:lnTo>
                    <a:pt x="264" y="29"/>
                  </a:lnTo>
                  <a:lnTo>
                    <a:pt x="264" y="29"/>
                  </a:lnTo>
                  <a:lnTo>
                    <a:pt x="267" y="31"/>
                  </a:lnTo>
                  <a:lnTo>
                    <a:pt x="269" y="33"/>
                  </a:lnTo>
                  <a:lnTo>
                    <a:pt x="273" y="35"/>
                  </a:lnTo>
                  <a:lnTo>
                    <a:pt x="275" y="37"/>
                  </a:lnTo>
                  <a:lnTo>
                    <a:pt x="275" y="37"/>
                  </a:lnTo>
                  <a:lnTo>
                    <a:pt x="271" y="46"/>
                  </a:lnTo>
                  <a:lnTo>
                    <a:pt x="266" y="54"/>
                  </a:lnTo>
                  <a:lnTo>
                    <a:pt x="258" y="61"/>
                  </a:lnTo>
                  <a:lnTo>
                    <a:pt x="250" y="67"/>
                  </a:lnTo>
                  <a:lnTo>
                    <a:pt x="243" y="71"/>
                  </a:lnTo>
                  <a:lnTo>
                    <a:pt x="237" y="77"/>
                  </a:lnTo>
                  <a:lnTo>
                    <a:pt x="233" y="82"/>
                  </a:lnTo>
                  <a:lnTo>
                    <a:pt x="231" y="90"/>
                  </a:lnTo>
                  <a:lnTo>
                    <a:pt x="231" y="90"/>
                  </a:lnTo>
                  <a:lnTo>
                    <a:pt x="231" y="94"/>
                  </a:lnTo>
                  <a:lnTo>
                    <a:pt x="231" y="98"/>
                  </a:lnTo>
                  <a:lnTo>
                    <a:pt x="233" y="103"/>
                  </a:lnTo>
                  <a:lnTo>
                    <a:pt x="235" y="107"/>
                  </a:lnTo>
                  <a:lnTo>
                    <a:pt x="237" y="111"/>
                  </a:lnTo>
                  <a:lnTo>
                    <a:pt x="239" y="115"/>
                  </a:lnTo>
                  <a:lnTo>
                    <a:pt x="243" y="121"/>
                  </a:lnTo>
                  <a:lnTo>
                    <a:pt x="245" y="124"/>
                  </a:lnTo>
                  <a:lnTo>
                    <a:pt x="248" y="128"/>
                  </a:lnTo>
                  <a:lnTo>
                    <a:pt x="250" y="134"/>
                  </a:lnTo>
                  <a:lnTo>
                    <a:pt x="254" y="138"/>
                  </a:lnTo>
                  <a:lnTo>
                    <a:pt x="256" y="143"/>
                  </a:lnTo>
                  <a:lnTo>
                    <a:pt x="258" y="149"/>
                  </a:lnTo>
                  <a:lnTo>
                    <a:pt x="258" y="155"/>
                  </a:lnTo>
                  <a:lnTo>
                    <a:pt x="260" y="161"/>
                  </a:lnTo>
                  <a:lnTo>
                    <a:pt x="260" y="166"/>
                  </a:lnTo>
                  <a:lnTo>
                    <a:pt x="260" y="166"/>
                  </a:lnTo>
                  <a:lnTo>
                    <a:pt x="260" y="176"/>
                  </a:lnTo>
                  <a:lnTo>
                    <a:pt x="258" y="182"/>
                  </a:lnTo>
                  <a:lnTo>
                    <a:pt x="254" y="189"/>
                  </a:lnTo>
                  <a:lnTo>
                    <a:pt x="250" y="195"/>
                  </a:lnTo>
                  <a:lnTo>
                    <a:pt x="245" y="201"/>
                  </a:lnTo>
                  <a:lnTo>
                    <a:pt x="241" y="205"/>
                  </a:lnTo>
                  <a:lnTo>
                    <a:pt x="235" y="210"/>
                  </a:lnTo>
                  <a:lnTo>
                    <a:pt x="229" y="212"/>
                  </a:lnTo>
                  <a:lnTo>
                    <a:pt x="224" y="216"/>
                  </a:lnTo>
                  <a:lnTo>
                    <a:pt x="218" y="222"/>
                  </a:lnTo>
                  <a:lnTo>
                    <a:pt x="212" y="225"/>
                  </a:lnTo>
                  <a:lnTo>
                    <a:pt x="208" y="229"/>
                  </a:lnTo>
                  <a:lnTo>
                    <a:pt x="205" y="235"/>
                  </a:lnTo>
                  <a:lnTo>
                    <a:pt x="201" y="239"/>
                  </a:lnTo>
                  <a:lnTo>
                    <a:pt x="199" y="246"/>
                  </a:lnTo>
                  <a:lnTo>
                    <a:pt x="199" y="252"/>
                  </a:lnTo>
                  <a:lnTo>
                    <a:pt x="199" y="252"/>
                  </a:lnTo>
                  <a:lnTo>
                    <a:pt x="199" y="262"/>
                  </a:lnTo>
                  <a:lnTo>
                    <a:pt x="203" y="269"/>
                  </a:lnTo>
                  <a:lnTo>
                    <a:pt x="208" y="275"/>
                  </a:lnTo>
                  <a:lnTo>
                    <a:pt x="214" y="281"/>
                  </a:lnTo>
                  <a:lnTo>
                    <a:pt x="222" y="285"/>
                  </a:lnTo>
                  <a:lnTo>
                    <a:pt x="229" y="287"/>
                  </a:lnTo>
                  <a:lnTo>
                    <a:pt x="239" y="288"/>
                  </a:lnTo>
                  <a:lnTo>
                    <a:pt x="246" y="290"/>
                  </a:lnTo>
                  <a:lnTo>
                    <a:pt x="264" y="290"/>
                  </a:lnTo>
                  <a:lnTo>
                    <a:pt x="264" y="290"/>
                  </a:lnTo>
                  <a:lnTo>
                    <a:pt x="266" y="300"/>
                  </a:lnTo>
                  <a:lnTo>
                    <a:pt x="267" y="308"/>
                  </a:lnTo>
                  <a:lnTo>
                    <a:pt x="273" y="313"/>
                  </a:lnTo>
                  <a:lnTo>
                    <a:pt x="279" y="317"/>
                  </a:lnTo>
                  <a:lnTo>
                    <a:pt x="285" y="319"/>
                  </a:lnTo>
                  <a:lnTo>
                    <a:pt x="288" y="323"/>
                  </a:lnTo>
                  <a:lnTo>
                    <a:pt x="292" y="329"/>
                  </a:lnTo>
                  <a:lnTo>
                    <a:pt x="292" y="338"/>
                  </a:lnTo>
                  <a:lnTo>
                    <a:pt x="292" y="338"/>
                  </a:lnTo>
                  <a:lnTo>
                    <a:pt x="292" y="346"/>
                  </a:lnTo>
                  <a:lnTo>
                    <a:pt x="292" y="351"/>
                  </a:lnTo>
                  <a:lnTo>
                    <a:pt x="290" y="355"/>
                  </a:lnTo>
                  <a:lnTo>
                    <a:pt x="288" y="359"/>
                  </a:lnTo>
                  <a:lnTo>
                    <a:pt x="287" y="363"/>
                  </a:lnTo>
                  <a:lnTo>
                    <a:pt x="288" y="367"/>
                  </a:lnTo>
                  <a:lnTo>
                    <a:pt x="288" y="372"/>
                  </a:lnTo>
                  <a:lnTo>
                    <a:pt x="292" y="378"/>
                  </a:lnTo>
                  <a:lnTo>
                    <a:pt x="292" y="378"/>
                  </a:lnTo>
                  <a:lnTo>
                    <a:pt x="288" y="382"/>
                  </a:lnTo>
                  <a:lnTo>
                    <a:pt x="281" y="386"/>
                  </a:lnTo>
                  <a:lnTo>
                    <a:pt x="275" y="390"/>
                  </a:lnTo>
                  <a:lnTo>
                    <a:pt x="267" y="393"/>
                  </a:lnTo>
                  <a:lnTo>
                    <a:pt x="258" y="399"/>
                  </a:lnTo>
                  <a:lnTo>
                    <a:pt x="250" y="405"/>
                  </a:lnTo>
                  <a:lnTo>
                    <a:pt x="243" y="411"/>
                  </a:lnTo>
                  <a:lnTo>
                    <a:pt x="233" y="416"/>
                  </a:lnTo>
                  <a:lnTo>
                    <a:pt x="226" y="422"/>
                  </a:lnTo>
                  <a:lnTo>
                    <a:pt x="218" y="428"/>
                  </a:lnTo>
                  <a:lnTo>
                    <a:pt x="210" y="433"/>
                  </a:lnTo>
                  <a:lnTo>
                    <a:pt x="205" y="441"/>
                  </a:lnTo>
                  <a:lnTo>
                    <a:pt x="199" y="447"/>
                  </a:lnTo>
                  <a:lnTo>
                    <a:pt x="195" y="451"/>
                  </a:lnTo>
                  <a:lnTo>
                    <a:pt x="193" y="456"/>
                  </a:lnTo>
                  <a:lnTo>
                    <a:pt x="193" y="462"/>
                  </a:lnTo>
                  <a:lnTo>
                    <a:pt x="193" y="462"/>
                  </a:lnTo>
                  <a:lnTo>
                    <a:pt x="193" y="468"/>
                  </a:lnTo>
                  <a:lnTo>
                    <a:pt x="191" y="473"/>
                  </a:lnTo>
                  <a:lnTo>
                    <a:pt x="191" y="477"/>
                  </a:lnTo>
                  <a:lnTo>
                    <a:pt x="191" y="481"/>
                  </a:lnTo>
                  <a:lnTo>
                    <a:pt x="191" y="483"/>
                  </a:lnTo>
                  <a:lnTo>
                    <a:pt x="191" y="487"/>
                  </a:lnTo>
                  <a:lnTo>
                    <a:pt x="191" y="489"/>
                  </a:lnTo>
                  <a:lnTo>
                    <a:pt x="193" y="491"/>
                  </a:lnTo>
                  <a:lnTo>
                    <a:pt x="193" y="491"/>
                  </a:lnTo>
                  <a:lnTo>
                    <a:pt x="195" y="498"/>
                  </a:lnTo>
                  <a:lnTo>
                    <a:pt x="195" y="504"/>
                  </a:lnTo>
                  <a:lnTo>
                    <a:pt x="195" y="510"/>
                  </a:lnTo>
                  <a:lnTo>
                    <a:pt x="193" y="515"/>
                  </a:lnTo>
                  <a:lnTo>
                    <a:pt x="191" y="521"/>
                  </a:lnTo>
                  <a:lnTo>
                    <a:pt x="187" y="527"/>
                  </a:lnTo>
                  <a:lnTo>
                    <a:pt x="184" y="531"/>
                  </a:lnTo>
                  <a:lnTo>
                    <a:pt x="178" y="536"/>
                  </a:lnTo>
                  <a:lnTo>
                    <a:pt x="174" y="540"/>
                  </a:lnTo>
                  <a:lnTo>
                    <a:pt x="166" y="544"/>
                  </a:lnTo>
                  <a:lnTo>
                    <a:pt x="161" y="548"/>
                  </a:lnTo>
                  <a:lnTo>
                    <a:pt x="155" y="552"/>
                  </a:lnTo>
                  <a:lnTo>
                    <a:pt x="149" y="556"/>
                  </a:lnTo>
                  <a:lnTo>
                    <a:pt x="143" y="557"/>
                  </a:lnTo>
                  <a:lnTo>
                    <a:pt x="138" y="559"/>
                  </a:lnTo>
                  <a:lnTo>
                    <a:pt x="134" y="559"/>
                  </a:lnTo>
                  <a:lnTo>
                    <a:pt x="134" y="561"/>
                  </a:lnTo>
                  <a:lnTo>
                    <a:pt x="126" y="559"/>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4" name="Freeform 248"/>
            <p:cNvSpPr>
              <a:spLocks/>
            </p:cNvSpPr>
            <p:nvPr/>
          </p:nvSpPr>
          <p:spPr bwMode="gray">
            <a:xfrm>
              <a:off x="1043" y="1242"/>
              <a:ext cx="729" cy="655"/>
            </a:xfrm>
            <a:custGeom>
              <a:avLst/>
              <a:gdLst/>
              <a:ahLst/>
              <a:cxnLst>
                <a:cxn ang="0">
                  <a:pos x="910" y="813"/>
                </a:cxn>
                <a:cxn ang="0">
                  <a:pos x="852" y="826"/>
                </a:cxn>
                <a:cxn ang="0">
                  <a:pos x="797" y="859"/>
                </a:cxn>
                <a:cxn ang="0">
                  <a:pos x="776" y="882"/>
                </a:cxn>
                <a:cxn ang="0">
                  <a:pos x="755" y="872"/>
                </a:cxn>
                <a:cxn ang="0">
                  <a:pos x="707" y="918"/>
                </a:cxn>
                <a:cxn ang="0">
                  <a:pos x="683" y="927"/>
                </a:cxn>
                <a:cxn ang="0">
                  <a:pos x="664" y="954"/>
                </a:cxn>
                <a:cxn ang="0">
                  <a:pos x="631" y="937"/>
                </a:cxn>
                <a:cxn ang="0">
                  <a:pos x="603" y="960"/>
                </a:cxn>
                <a:cxn ang="0">
                  <a:pos x="612" y="975"/>
                </a:cxn>
                <a:cxn ang="0">
                  <a:pos x="526" y="1059"/>
                </a:cxn>
                <a:cxn ang="0">
                  <a:pos x="524" y="1084"/>
                </a:cxn>
                <a:cxn ang="0">
                  <a:pos x="503" y="1126"/>
                </a:cxn>
                <a:cxn ang="0">
                  <a:pos x="505" y="1166"/>
                </a:cxn>
                <a:cxn ang="0">
                  <a:pos x="463" y="1189"/>
                </a:cxn>
                <a:cxn ang="0">
                  <a:pos x="444" y="1160"/>
                </a:cxn>
                <a:cxn ang="0">
                  <a:pos x="414" y="1156"/>
                </a:cxn>
                <a:cxn ang="0">
                  <a:pos x="385" y="1187"/>
                </a:cxn>
                <a:cxn ang="0">
                  <a:pos x="343" y="1173"/>
                </a:cxn>
                <a:cxn ang="0">
                  <a:pos x="313" y="1183"/>
                </a:cxn>
                <a:cxn ang="0">
                  <a:pos x="295" y="1152"/>
                </a:cxn>
                <a:cxn ang="0">
                  <a:pos x="265" y="1116"/>
                </a:cxn>
                <a:cxn ang="0">
                  <a:pos x="280" y="1099"/>
                </a:cxn>
                <a:cxn ang="0">
                  <a:pos x="257" y="1048"/>
                </a:cxn>
                <a:cxn ang="0">
                  <a:pos x="231" y="996"/>
                </a:cxn>
                <a:cxn ang="0">
                  <a:pos x="181" y="1030"/>
                </a:cxn>
                <a:cxn ang="0">
                  <a:pos x="147" y="1017"/>
                </a:cxn>
                <a:cxn ang="0">
                  <a:pos x="122" y="1034"/>
                </a:cxn>
                <a:cxn ang="0">
                  <a:pos x="93" y="1013"/>
                </a:cxn>
                <a:cxn ang="0">
                  <a:pos x="70" y="1023"/>
                </a:cxn>
                <a:cxn ang="0">
                  <a:pos x="57" y="1007"/>
                </a:cxn>
                <a:cxn ang="0">
                  <a:pos x="57" y="994"/>
                </a:cxn>
                <a:cxn ang="0">
                  <a:pos x="65" y="960"/>
                </a:cxn>
                <a:cxn ang="0">
                  <a:pos x="36" y="918"/>
                </a:cxn>
                <a:cxn ang="0">
                  <a:pos x="19" y="887"/>
                </a:cxn>
                <a:cxn ang="0">
                  <a:pos x="26" y="853"/>
                </a:cxn>
                <a:cxn ang="0">
                  <a:pos x="9" y="826"/>
                </a:cxn>
                <a:cxn ang="0">
                  <a:pos x="0" y="800"/>
                </a:cxn>
                <a:cxn ang="0">
                  <a:pos x="47" y="780"/>
                </a:cxn>
                <a:cxn ang="0">
                  <a:pos x="80" y="729"/>
                </a:cxn>
                <a:cxn ang="0">
                  <a:pos x="122" y="769"/>
                </a:cxn>
                <a:cxn ang="0">
                  <a:pos x="147" y="750"/>
                </a:cxn>
                <a:cxn ang="0">
                  <a:pos x="194" y="759"/>
                </a:cxn>
                <a:cxn ang="0">
                  <a:pos x="236" y="738"/>
                </a:cxn>
                <a:cxn ang="0">
                  <a:pos x="528" y="765"/>
                </a:cxn>
                <a:cxn ang="0">
                  <a:pos x="1039" y="325"/>
                </a:cxn>
                <a:cxn ang="0">
                  <a:pos x="1068" y="349"/>
                </a:cxn>
                <a:cxn ang="0">
                  <a:pos x="1076" y="378"/>
                </a:cxn>
                <a:cxn ang="0">
                  <a:pos x="1102" y="399"/>
                </a:cxn>
                <a:cxn ang="0">
                  <a:pos x="1188" y="437"/>
                </a:cxn>
                <a:cxn ang="0">
                  <a:pos x="1211" y="489"/>
                </a:cxn>
                <a:cxn ang="0">
                  <a:pos x="1207" y="506"/>
                </a:cxn>
                <a:cxn ang="0">
                  <a:pos x="1283" y="519"/>
                </a:cxn>
                <a:cxn ang="0">
                  <a:pos x="1283" y="586"/>
                </a:cxn>
                <a:cxn ang="0">
                  <a:pos x="1285" y="677"/>
                </a:cxn>
                <a:cxn ang="0">
                  <a:pos x="1242" y="775"/>
                </a:cxn>
                <a:cxn ang="0">
                  <a:pos x="1047" y="807"/>
                </a:cxn>
                <a:cxn ang="0">
                  <a:pos x="1005" y="834"/>
                </a:cxn>
              </a:cxnLst>
              <a:rect l="0" t="0" r="r" b="b"/>
              <a:pathLst>
                <a:path w="1287" h="1191">
                  <a:moveTo>
                    <a:pt x="963" y="828"/>
                  </a:moveTo>
                  <a:lnTo>
                    <a:pt x="963" y="828"/>
                  </a:lnTo>
                  <a:lnTo>
                    <a:pt x="955" y="826"/>
                  </a:lnTo>
                  <a:lnTo>
                    <a:pt x="948" y="824"/>
                  </a:lnTo>
                  <a:lnTo>
                    <a:pt x="940" y="822"/>
                  </a:lnTo>
                  <a:lnTo>
                    <a:pt x="934" y="819"/>
                  </a:lnTo>
                  <a:lnTo>
                    <a:pt x="927" y="817"/>
                  </a:lnTo>
                  <a:lnTo>
                    <a:pt x="919" y="815"/>
                  </a:lnTo>
                  <a:lnTo>
                    <a:pt x="910" y="813"/>
                  </a:lnTo>
                  <a:lnTo>
                    <a:pt x="900" y="813"/>
                  </a:lnTo>
                  <a:lnTo>
                    <a:pt x="900" y="813"/>
                  </a:lnTo>
                  <a:lnTo>
                    <a:pt x="894" y="813"/>
                  </a:lnTo>
                  <a:lnTo>
                    <a:pt x="887" y="813"/>
                  </a:lnTo>
                  <a:lnTo>
                    <a:pt x="879" y="815"/>
                  </a:lnTo>
                  <a:lnTo>
                    <a:pt x="873" y="817"/>
                  </a:lnTo>
                  <a:lnTo>
                    <a:pt x="866" y="821"/>
                  </a:lnTo>
                  <a:lnTo>
                    <a:pt x="860" y="822"/>
                  </a:lnTo>
                  <a:lnTo>
                    <a:pt x="852" y="826"/>
                  </a:lnTo>
                  <a:lnTo>
                    <a:pt x="847" y="830"/>
                  </a:lnTo>
                  <a:lnTo>
                    <a:pt x="841" y="834"/>
                  </a:lnTo>
                  <a:lnTo>
                    <a:pt x="833" y="838"/>
                  </a:lnTo>
                  <a:lnTo>
                    <a:pt x="828" y="842"/>
                  </a:lnTo>
                  <a:lnTo>
                    <a:pt x="822" y="845"/>
                  </a:lnTo>
                  <a:lnTo>
                    <a:pt x="814" y="849"/>
                  </a:lnTo>
                  <a:lnTo>
                    <a:pt x="809" y="853"/>
                  </a:lnTo>
                  <a:lnTo>
                    <a:pt x="803" y="857"/>
                  </a:lnTo>
                  <a:lnTo>
                    <a:pt x="797" y="859"/>
                  </a:lnTo>
                  <a:lnTo>
                    <a:pt x="797" y="859"/>
                  </a:lnTo>
                  <a:lnTo>
                    <a:pt x="795" y="861"/>
                  </a:lnTo>
                  <a:lnTo>
                    <a:pt x="793" y="864"/>
                  </a:lnTo>
                  <a:lnTo>
                    <a:pt x="791" y="866"/>
                  </a:lnTo>
                  <a:lnTo>
                    <a:pt x="789" y="870"/>
                  </a:lnTo>
                  <a:lnTo>
                    <a:pt x="786" y="874"/>
                  </a:lnTo>
                  <a:lnTo>
                    <a:pt x="784" y="878"/>
                  </a:lnTo>
                  <a:lnTo>
                    <a:pt x="780" y="880"/>
                  </a:lnTo>
                  <a:lnTo>
                    <a:pt x="776" y="882"/>
                  </a:lnTo>
                  <a:lnTo>
                    <a:pt x="776" y="882"/>
                  </a:lnTo>
                  <a:lnTo>
                    <a:pt x="774" y="880"/>
                  </a:lnTo>
                  <a:lnTo>
                    <a:pt x="770" y="880"/>
                  </a:lnTo>
                  <a:lnTo>
                    <a:pt x="768" y="878"/>
                  </a:lnTo>
                  <a:lnTo>
                    <a:pt x="767" y="876"/>
                  </a:lnTo>
                  <a:lnTo>
                    <a:pt x="765" y="874"/>
                  </a:lnTo>
                  <a:lnTo>
                    <a:pt x="761" y="872"/>
                  </a:lnTo>
                  <a:lnTo>
                    <a:pt x="759" y="872"/>
                  </a:lnTo>
                  <a:lnTo>
                    <a:pt x="755" y="872"/>
                  </a:lnTo>
                  <a:lnTo>
                    <a:pt x="755" y="872"/>
                  </a:lnTo>
                  <a:lnTo>
                    <a:pt x="747" y="872"/>
                  </a:lnTo>
                  <a:lnTo>
                    <a:pt x="740" y="878"/>
                  </a:lnTo>
                  <a:lnTo>
                    <a:pt x="734" y="883"/>
                  </a:lnTo>
                  <a:lnTo>
                    <a:pt x="728" y="893"/>
                  </a:lnTo>
                  <a:lnTo>
                    <a:pt x="725" y="901"/>
                  </a:lnTo>
                  <a:lnTo>
                    <a:pt x="721" y="908"/>
                  </a:lnTo>
                  <a:lnTo>
                    <a:pt x="715" y="914"/>
                  </a:lnTo>
                  <a:lnTo>
                    <a:pt x="707" y="918"/>
                  </a:lnTo>
                  <a:lnTo>
                    <a:pt x="707" y="918"/>
                  </a:lnTo>
                  <a:lnTo>
                    <a:pt x="706" y="918"/>
                  </a:lnTo>
                  <a:lnTo>
                    <a:pt x="702" y="918"/>
                  </a:lnTo>
                  <a:lnTo>
                    <a:pt x="698" y="918"/>
                  </a:lnTo>
                  <a:lnTo>
                    <a:pt x="692" y="918"/>
                  </a:lnTo>
                  <a:lnTo>
                    <a:pt x="688" y="920"/>
                  </a:lnTo>
                  <a:lnTo>
                    <a:pt x="685" y="922"/>
                  </a:lnTo>
                  <a:lnTo>
                    <a:pt x="683" y="924"/>
                  </a:lnTo>
                  <a:lnTo>
                    <a:pt x="683" y="927"/>
                  </a:lnTo>
                  <a:lnTo>
                    <a:pt x="683" y="927"/>
                  </a:lnTo>
                  <a:lnTo>
                    <a:pt x="683" y="931"/>
                  </a:lnTo>
                  <a:lnTo>
                    <a:pt x="683" y="937"/>
                  </a:lnTo>
                  <a:lnTo>
                    <a:pt x="681" y="941"/>
                  </a:lnTo>
                  <a:lnTo>
                    <a:pt x="681" y="945"/>
                  </a:lnTo>
                  <a:lnTo>
                    <a:pt x="677" y="948"/>
                  </a:lnTo>
                  <a:lnTo>
                    <a:pt x="675" y="950"/>
                  </a:lnTo>
                  <a:lnTo>
                    <a:pt x="669" y="952"/>
                  </a:lnTo>
                  <a:lnTo>
                    <a:pt x="664" y="954"/>
                  </a:lnTo>
                  <a:lnTo>
                    <a:pt x="664" y="954"/>
                  </a:lnTo>
                  <a:lnTo>
                    <a:pt x="660" y="952"/>
                  </a:lnTo>
                  <a:lnTo>
                    <a:pt x="656" y="950"/>
                  </a:lnTo>
                  <a:lnTo>
                    <a:pt x="652" y="948"/>
                  </a:lnTo>
                  <a:lnTo>
                    <a:pt x="648" y="945"/>
                  </a:lnTo>
                  <a:lnTo>
                    <a:pt x="644" y="943"/>
                  </a:lnTo>
                  <a:lnTo>
                    <a:pt x="641" y="939"/>
                  </a:lnTo>
                  <a:lnTo>
                    <a:pt x="637" y="937"/>
                  </a:lnTo>
                  <a:lnTo>
                    <a:pt x="631" y="937"/>
                  </a:lnTo>
                  <a:lnTo>
                    <a:pt x="631" y="937"/>
                  </a:lnTo>
                  <a:lnTo>
                    <a:pt x="627" y="937"/>
                  </a:lnTo>
                  <a:lnTo>
                    <a:pt x="622" y="939"/>
                  </a:lnTo>
                  <a:lnTo>
                    <a:pt x="618" y="943"/>
                  </a:lnTo>
                  <a:lnTo>
                    <a:pt x="612" y="945"/>
                  </a:lnTo>
                  <a:lnTo>
                    <a:pt x="608" y="948"/>
                  </a:lnTo>
                  <a:lnTo>
                    <a:pt x="604" y="952"/>
                  </a:lnTo>
                  <a:lnTo>
                    <a:pt x="603" y="956"/>
                  </a:lnTo>
                  <a:lnTo>
                    <a:pt x="603" y="960"/>
                  </a:lnTo>
                  <a:lnTo>
                    <a:pt x="603" y="960"/>
                  </a:lnTo>
                  <a:lnTo>
                    <a:pt x="603" y="962"/>
                  </a:lnTo>
                  <a:lnTo>
                    <a:pt x="603" y="964"/>
                  </a:lnTo>
                  <a:lnTo>
                    <a:pt x="604" y="966"/>
                  </a:lnTo>
                  <a:lnTo>
                    <a:pt x="604" y="967"/>
                  </a:lnTo>
                  <a:lnTo>
                    <a:pt x="606" y="969"/>
                  </a:lnTo>
                  <a:lnTo>
                    <a:pt x="608" y="971"/>
                  </a:lnTo>
                  <a:lnTo>
                    <a:pt x="610" y="973"/>
                  </a:lnTo>
                  <a:lnTo>
                    <a:pt x="612" y="975"/>
                  </a:lnTo>
                  <a:lnTo>
                    <a:pt x="576" y="1042"/>
                  </a:lnTo>
                  <a:lnTo>
                    <a:pt x="576" y="1042"/>
                  </a:lnTo>
                  <a:lnTo>
                    <a:pt x="568" y="1046"/>
                  </a:lnTo>
                  <a:lnTo>
                    <a:pt x="559" y="1046"/>
                  </a:lnTo>
                  <a:lnTo>
                    <a:pt x="551" y="1048"/>
                  </a:lnTo>
                  <a:lnTo>
                    <a:pt x="543" y="1049"/>
                  </a:lnTo>
                  <a:lnTo>
                    <a:pt x="536" y="1051"/>
                  </a:lnTo>
                  <a:lnTo>
                    <a:pt x="530" y="1055"/>
                  </a:lnTo>
                  <a:lnTo>
                    <a:pt x="526" y="1059"/>
                  </a:lnTo>
                  <a:lnTo>
                    <a:pt x="524" y="1067"/>
                  </a:lnTo>
                  <a:lnTo>
                    <a:pt x="524" y="1067"/>
                  </a:lnTo>
                  <a:lnTo>
                    <a:pt x="524" y="1067"/>
                  </a:lnTo>
                  <a:lnTo>
                    <a:pt x="524" y="1069"/>
                  </a:lnTo>
                  <a:lnTo>
                    <a:pt x="524" y="1070"/>
                  </a:lnTo>
                  <a:lnTo>
                    <a:pt x="524" y="1072"/>
                  </a:lnTo>
                  <a:lnTo>
                    <a:pt x="524" y="1076"/>
                  </a:lnTo>
                  <a:lnTo>
                    <a:pt x="524" y="1080"/>
                  </a:lnTo>
                  <a:lnTo>
                    <a:pt x="524" y="1084"/>
                  </a:lnTo>
                  <a:lnTo>
                    <a:pt x="524" y="1088"/>
                  </a:lnTo>
                  <a:lnTo>
                    <a:pt x="524" y="1088"/>
                  </a:lnTo>
                  <a:lnTo>
                    <a:pt x="524" y="1095"/>
                  </a:lnTo>
                  <a:lnTo>
                    <a:pt x="522" y="1101"/>
                  </a:lnTo>
                  <a:lnTo>
                    <a:pt x="519" y="1107"/>
                  </a:lnTo>
                  <a:lnTo>
                    <a:pt x="515" y="1110"/>
                  </a:lnTo>
                  <a:lnTo>
                    <a:pt x="511" y="1114"/>
                  </a:lnTo>
                  <a:lnTo>
                    <a:pt x="507" y="1120"/>
                  </a:lnTo>
                  <a:lnTo>
                    <a:pt x="503" y="1126"/>
                  </a:lnTo>
                  <a:lnTo>
                    <a:pt x="501" y="1131"/>
                  </a:lnTo>
                  <a:lnTo>
                    <a:pt x="501" y="1131"/>
                  </a:lnTo>
                  <a:lnTo>
                    <a:pt x="501" y="1137"/>
                  </a:lnTo>
                  <a:lnTo>
                    <a:pt x="501" y="1141"/>
                  </a:lnTo>
                  <a:lnTo>
                    <a:pt x="503" y="1147"/>
                  </a:lnTo>
                  <a:lnTo>
                    <a:pt x="503" y="1151"/>
                  </a:lnTo>
                  <a:lnTo>
                    <a:pt x="505" y="1154"/>
                  </a:lnTo>
                  <a:lnTo>
                    <a:pt x="505" y="1160"/>
                  </a:lnTo>
                  <a:lnTo>
                    <a:pt x="505" y="1166"/>
                  </a:lnTo>
                  <a:lnTo>
                    <a:pt x="505" y="1173"/>
                  </a:lnTo>
                  <a:lnTo>
                    <a:pt x="505" y="1173"/>
                  </a:lnTo>
                  <a:lnTo>
                    <a:pt x="498" y="1173"/>
                  </a:lnTo>
                  <a:lnTo>
                    <a:pt x="492" y="1175"/>
                  </a:lnTo>
                  <a:lnTo>
                    <a:pt x="486" y="1179"/>
                  </a:lnTo>
                  <a:lnTo>
                    <a:pt x="480" y="1181"/>
                  </a:lnTo>
                  <a:lnTo>
                    <a:pt x="475" y="1185"/>
                  </a:lnTo>
                  <a:lnTo>
                    <a:pt x="469" y="1187"/>
                  </a:lnTo>
                  <a:lnTo>
                    <a:pt x="463" y="1189"/>
                  </a:lnTo>
                  <a:lnTo>
                    <a:pt x="458" y="1191"/>
                  </a:lnTo>
                  <a:lnTo>
                    <a:pt x="458" y="1191"/>
                  </a:lnTo>
                  <a:lnTo>
                    <a:pt x="454" y="1189"/>
                  </a:lnTo>
                  <a:lnTo>
                    <a:pt x="450" y="1187"/>
                  </a:lnTo>
                  <a:lnTo>
                    <a:pt x="448" y="1183"/>
                  </a:lnTo>
                  <a:lnTo>
                    <a:pt x="446" y="1177"/>
                  </a:lnTo>
                  <a:lnTo>
                    <a:pt x="446" y="1172"/>
                  </a:lnTo>
                  <a:lnTo>
                    <a:pt x="446" y="1166"/>
                  </a:lnTo>
                  <a:lnTo>
                    <a:pt x="444" y="1160"/>
                  </a:lnTo>
                  <a:lnTo>
                    <a:pt x="444" y="1154"/>
                  </a:lnTo>
                  <a:lnTo>
                    <a:pt x="444" y="1154"/>
                  </a:lnTo>
                  <a:lnTo>
                    <a:pt x="440" y="1154"/>
                  </a:lnTo>
                  <a:lnTo>
                    <a:pt x="438" y="1154"/>
                  </a:lnTo>
                  <a:lnTo>
                    <a:pt x="433" y="1154"/>
                  </a:lnTo>
                  <a:lnTo>
                    <a:pt x="429" y="1154"/>
                  </a:lnTo>
                  <a:lnTo>
                    <a:pt x="423" y="1154"/>
                  </a:lnTo>
                  <a:lnTo>
                    <a:pt x="417" y="1156"/>
                  </a:lnTo>
                  <a:lnTo>
                    <a:pt x="414" y="1156"/>
                  </a:lnTo>
                  <a:lnTo>
                    <a:pt x="410" y="1158"/>
                  </a:lnTo>
                  <a:lnTo>
                    <a:pt x="410" y="1158"/>
                  </a:lnTo>
                  <a:lnTo>
                    <a:pt x="408" y="1162"/>
                  </a:lnTo>
                  <a:lnTo>
                    <a:pt x="404" y="1166"/>
                  </a:lnTo>
                  <a:lnTo>
                    <a:pt x="402" y="1172"/>
                  </a:lnTo>
                  <a:lnTo>
                    <a:pt x="400" y="1175"/>
                  </a:lnTo>
                  <a:lnTo>
                    <a:pt x="396" y="1181"/>
                  </a:lnTo>
                  <a:lnTo>
                    <a:pt x="391" y="1185"/>
                  </a:lnTo>
                  <a:lnTo>
                    <a:pt x="385" y="1187"/>
                  </a:lnTo>
                  <a:lnTo>
                    <a:pt x="376" y="1189"/>
                  </a:lnTo>
                  <a:lnTo>
                    <a:pt x="376" y="1189"/>
                  </a:lnTo>
                  <a:lnTo>
                    <a:pt x="370" y="1187"/>
                  </a:lnTo>
                  <a:lnTo>
                    <a:pt x="364" y="1185"/>
                  </a:lnTo>
                  <a:lnTo>
                    <a:pt x="358" y="1183"/>
                  </a:lnTo>
                  <a:lnTo>
                    <a:pt x="355" y="1179"/>
                  </a:lnTo>
                  <a:lnTo>
                    <a:pt x="351" y="1177"/>
                  </a:lnTo>
                  <a:lnTo>
                    <a:pt x="347" y="1175"/>
                  </a:lnTo>
                  <a:lnTo>
                    <a:pt x="343" y="1173"/>
                  </a:lnTo>
                  <a:lnTo>
                    <a:pt x="339" y="1173"/>
                  </a:lnTo>
                  <a:lnTo>
                    <a:pt x="339" y="1173"/>
                  </a:lnTo>
                  <a:lnTo>
                    <a:pt x="335" y="1173"/>
                  </a:lnTo>
                  <a:lnTo>
                    <a:pt x="332" y="1173"/>
                  </a:lnTo>
                  <a:lnTo>
                    <a:pt x="328" y="1175"/>
                  </a:lnTo>
                  <a:lnTo>
                    <a:pt x="324" y="1175"/>
                  </a:lnTo>
                  <a:lnTo>
                    <a:pt x="320" y="1177"/>
                  </a:lnTo>
                  <a:lnTo>
                    <a:pt x="316" y="1179"/>
                  </a:lnTo>
                  <a:lnTo>
                    <a:pt x="313" y="1183"/>
                  </a:lnTo>
                  <a:lnTo>
                    <a:pt x="311" y="1185"/>
                  </a:lnTo>
                  <a:lnTo>
                    <a:pt x="311" y="1185"/>
                  </a:lnTo>
                  <a:lnTo>
                    <a:pt x="307" y="1181"/>
                  </a:lnTo>
                  <a:lnTo>
                    <a:pt x="305" y="1177"/>
                  </a:lnTo>
                  <a:lnTo>
                    <a:pt x="303" y="1172"/>
                  </a:lnTo>
                  <a:lnTo>
                    <a:pt x="301" y="1168"/>
                  </a:lnTo>
                  <a:lnTo>
                    <a:pt x="299" y="1162"/>
                  </a:lnTo>
                  <a:lnTo>
                    <a:pt x="297" y="1158"/>
                  </a:lnTo>
                  <a:lnTo>
                    <a:pt x="295" y="1152"/>
                  </a:lnTo>
                  <a:lnTo>
                    <a:pt x="293" y="1149"/>
                  </a:lnTo>
                  <a:lnTo>
                    <a:pt x="292" y="1143"/>
                  </a:lnTo>
                  <a:lnTo>
                    <a:pt x="290" y="1139"/>
                  </a:lnTo>
                  <a:lnTo>
                    <a:pt x="286" y="1133"/>
                  </a:lnTo>
                  <a:lnTo>
                    <a:pt x="284" y="1130"/>
                  </a:lnTo>
                  <a:lnTo>
                    <a:pt x="280" y="1126"/>
                  </a:lnTo>
                  <a:lnTo>
                    <a:pt x="276" y="1122"/>
                  </a:lnTo>
                  <a:lnTo>
                    <a:pt x="271" y="1118"/>
                  </a:lnTo>
                  <a:lnTo>
                    <a:pt x="265" y="1116"/>
                  </a:lnTo>
                  <a:lnTo>
                    <a:pt x="265" y="1116"/>
                  </a:lnTo>
                  <a:lnTo>
                    <a:pt x="267" y="1114"/>
                  </a:lnTo>
                  <a:lnTo>
                    <a:pt x="271" y="1112"/>
                  </a:lnTo>
                  <a:lnTo>
                    <a:pt x="273" y="1110"/>
                  </a:lnTo>
                  <a:lnTo>
                    <a:pt x="276" y="1110"/>
                  </a:lnTo>
                  <a:lnTo>
                    <a:pt x="278" y="1109"/>
                  </a:lnTo>
                  <a:lnTo>
                    <a:pt x="278" y="1107"/>
                  </a:lnTo>
                  <a:lnTo>
                    <a:pt x="280" y="1103"/>
                  </a:lnTo>
                  <a:lnTo>
                    <a:pt x="280" y="1099"/>
                  </a:lnTo>
                  <a:lnTo>
                    <a:pt x="280" y="1099"/>
                  </a:lnTo>
                  <a:lnTo>
                    <a:pt x="280" y="1099"/>
                  </a:lnTo>
                  <a:lnTo>
                    <a:pt x="278" y="1095"/>
                  </a:lnTo>
                  <a:lnTo>
                    <a:pt x="276" y="1090"/>
                  </a:lnTo>
                  <a:lnTo>
                    <a:pt x="274" y="1084"/>
                  </a:lnTo>
                  <a:lnTo>
                    <a:pt x="271" y="1076"/>
                  </a:lnTo>
                  <a:lnTo>
                    <a:pt x="267" y="1067"/>
                  </a:lnTo>
                  <a:lnTo>
                    <a:pt x="263" y="1057"/>
                  </a:lnTo>
                  <a:lnTo>
                    <a:pt x="257" y="1048"/>
                  </a:lnTo>
                  <a:lnTo>
                    <a:pt x="253" y="1038"/>
                  </a:lnTo>
                  <a:lnTo>
                    <a:pt x="250" y="1028"/>
                  </a:lnTo>
                  <a:lnTo>
                    <a:pt x="246" y="1019"/>
                  </a:lnTo>
                  <a:lnTo>
                    <a:pt x="240" y="1011"/>
                  </a:lnTo>
                  <a:lnTo>
                    <a:pt x="238" y="1006"/>
                  </a:lnTo>
                  <a:lnTo>
                    <a:pt x="234" y="1000"/>
                  </a:lnTo>
                  <a:lnTo>
                    <a:pt x="232" y="996"/>
                  </a:lnTo>
                  <a:lnTo>
                    <a:pt x="231" y="996"/>
                  </a:lnTo>
                  <a:lnTo>
                    <a:pt x="231" y="996"/>
                  </a:lnTo>
                  <a:lnTo>
                    <a:pt x="225" y="996"/>
                  </a:lnTo>
                  <a:lnTo>
                    <a:pt x="219" y="1000"/>
                  </a:lnTo>
                  <a:lnTo>
                    <a:pt x="213" y="1006"/>
                  </a:lnTo>
                  <a:lnTo>
                    <a:pt x="210" y="1013"/>
                  </a:lnTo>
                  <a:lnTo>
                    <a:pt x="204" y="1019"/>
                  </a:lnTo>
                  <a:lnTo>
                    <a:pt x="196" y="1025"/>
                  </a:lnTo>
                  <a:lnTo>
                    <a:pt x="189" y="1028"/>
                  </a:lnTo>
                  <a:lnTo>
                    <a:pt x="181" y="1030"/>
                  </a:lnTo>
                  <a:lnTo>
                    <a:pt x="181" y="1030"/>
                  </a:lnTo>
                  <a:lnTo>
                    <a:pt x="175" y="1030"/>
                  </a:lnTo>
                  <a:lnTo>
                    <a:pt x="171" y="1028"/>
                  </a:lnTo>
                  <a:lnTo>
                    <a:pt x="168" y="1027"/>
                  </a:lnTo>
                  <a:lnTo>
                    <a:pt x="164" y="1025"/>
                  </a:lnTo>
                  <a:lnTo>
                    <a:pt x="160" y="1021"/>
                  </a:lnTo>
                  <a:lnTo>
                    <a:pt x="156" y="1019"/>
                  </a:lnTo>
                  <a:lnTo>
                    <a:pt x="152" y="1017"/>
                  </a:lnTo>
                  <a:lnTo>
                    <a:pt x="147" y="1017"/>
                  </a:lnTo>
                  <a:lnTo>
                    <a:pt x="147" y="1017"/>
                  </a:lnTo>
                  <a:lnTo>
                    <a:pt x="143" y="1017"/>
                  </a:lnTo>
                  <a:lnTo>
                    <a:pt x="141" y="1019"/>
                  </a:lnTo>
                  <a:lnTo>
                    <a:pt x="137" y="1023"/>
                  </a:lnTo>
                  <a:lnTo>
                    <a:pt x="135" y="1025"/>
                  </a:lnTo>
                  <a:lnTo>
                    <a:pt x="133" y="1028"/>
                  </a:lnTo>
                  <a:lnTo>
                    <a:pt x="129" y="1030"/>
                  </a:lnTo>
                  <a:lnTo>
                    <a:pt x="126" y="1034"/>
                  </a:lnTo>
                  <a:lnTo>
                    <a:pt x="122" y="1034"/>
                  </a:lnTo>
                  <a:lnTo>
                    <a:pt x="122" y="1034"/>
                  </a:lnTo>
                  <a:lnTo>
                    <a:pt x="118" y="1034"/>
                  </a:lnTo>
                  <a:lnTo>
                    <a:pt x="114" y="1032"/>
                  </a:lnTo>
                  <a:lnTo>
                    <a:pt x="108" y="1030"/>
                  </a:lnTo>
                  <a:lnTo>
                    <a:pt x="107" y="1027"/>
                  </a:lnTo>
                  <a:lnTo>
                    <a:pt x="103" y="1025"/>
                  </a:lnTo>
                  <a:lnTo>
                    <a:pt x="99" y="1021"/>
                  </a:lnTo>
                  <a:lnTo>
                    <a:pt x="97" y="1017"/>
                  </a:lnTo>
                  <a:lnTo>
                    <a:pt x="93" y="1013"/>
                  </a:lnTo>
                  <a:lnTo>
                    <a:pt x="93" y="1013"/>
                  </a:lnTo>
                  <a:lnTo>
                    <a:pt x="91" y="1015"/>
                  </a:lnTo>
                  <a:lnTo>
                    <a:pt x="87" y="1017"/>
                  </a:lnTo>
                  <a:lnTo>
                    <a:pt x="86" y="1017"/>
                  </a:lnTo>
                  <a:lnTo>
                    <a:pt x="84" y="1019"/>
                  </a:lnTo>
                  <a:lnTo>
                    <a:pt x="80" y="1021"/>
                  </a:lnTo>
                  <a:lnTo>
                    <a:pt x="78" y="1021"/>
                  </a:lnTo>
                  <a:lnTo>
                    <a:pt x="74" y="1023"/>
                  </a:lnTo>
                  <a:lnTo>
                    <a:pt x="70" y="1023"/>
                  </a:lnTo>
                  <a:lnTo>
                    <a:pt x="70" y="1023"/>
                  </a:lnTo>
                  <a:lnTo>
                    <a:pt x="66" y="1023"/>
                  </a:lnTo>
                  <a:lnTo>
                    <a:pt x="63" y="1021"/>
                  </a:lnTo>
                  <a:lnTo>
                    <a:pt x="61" y="1019"/>
                  </a:lnTo>
                  <a:lnTo>
                    <a:pt x="59" y="1015"/>
                  </a:lnTo>
                  <a:lnTo>
                    <a:pt x="57" y="1013"/>
                  </a:lnTo>
                  <a:lnTo>
                    <a:pt x="57" y="1011"/>
                  </a:lnTo>
                  <a:lnTo>
                    <a:pt x="57" y="1009"/>
                  </a:lnTo>
                  <a:lnTo>
                    <a:pt x="57" y="1007"/>
                  </a:lnTo>
                  <a:lnTo>
                    <a:pt x="57" y="1007"/>
                  </a:lnTo>
                  <a:lnTo>
                    <a:pt x="55" y="1006"/>
                  </a:lnTo>
                  <a:lnTo>
                    <a:pt x="55" y="1006"/>
                  </a:lnTo>
                  <a:lnTo>
                    <a:pt x="55" y="1004"/>
                  </a:lnTo>
                  <a:lnTo>
                    <a:pt x="53" y="1002"/>
                  </a:lnTo>
                  <a:lnTo>
                    <a:pt x="53" y="1002"/>
                  </a:lnTo>
                  <a:lnTo>
                    <a:pt x="53" y="1000"/>
                  </a:lnTo>
                  <a:lnTo>
                    <a:pt x="55" y="998"/>
                  </a:lnTo>
                  <a:lnTo>
                    <a:pt x="57" y="994"/>
                  </a:lnTo>
                  <a:lnTo>
                    <a:pt x="57" y="994"/>
                  </a:lnTo>
                  <a:lnTo>
                    <a:pt x="55" y="992"/>
                  </a:lnTo>
                  <a:lnTo>
                    <a:pt x="55" y="988"/>
                  </a:lnTo>
                  <a:lnTo>
                    <a:pt x="55" y="985"/>
                  </a:lnTo>
                  <a:lnTo>
                    <a:pt x="59" y="979"/>
                  </a:lnTo>
                  <a:lnTo>
                    <a:pt x="61" y="975"/>
                  </a:lnTo>
                  <a:lnTo>
                    <a:pt x="63" y="969"/>
                  </a:lnTo>
                  <a:lnTo>
                    <a:pt x="65" y="964"/>
                  </a:lnTo>
                  <a:lnTo>
                    <a:pt x="65" y="960"/>
                  </a:lnTo>
                  <a:lnTo>
                    <a:pt x="65" y="960"/>
                  </a:lnTo>
                  <a:lnTo>
                    <a:pt x="65" y="954"/>
                  </a:lnTo>
                  <a:lnTo>
                    <a:pt x="63" y="948"/>
                  </a:lnTo>
                  <a:lnTo>
                    <a:pt x="61" y="943"/>
                  </a:lnTo>
                  <a:lnTo>
                    <a:pt x="57" y="937"/>
                  </a:lnTo>
                  <a:lnTo>
                    <a:pt x="53" y="933"/>
                  </a:lnTo>
                  <a:lnTo>
                    <a:pt x="49" y="929"/>
                  </a:lnTo>
                  <a:lnTo>
                    <a:pt x="46" y="925"/>
                  </a:lnTo>
                  <a:lnTo>
                    <a:pt x="42" y="922"/>
                  </a:lnTo>
                  <a:lnTo>
                    <a:pt x="36" y="918"/>
                  </a:lnTo>
                  <a:lnTo>
                    <a:pt x="32" y="914"/>
                  </a:lnTo>
                  <a:lnTo>
                    <a:pt x="28" y="910"/>
                  </a:lnTo>
                  <a:lnTo>
                    <a:pt x="25" y="906"/>
                  </a:lnTo>
                  <a:lnTo>
                    <a:pt x="23" y="903"/>
                  </a:lnTo>
                  <a:lnTo>
                    <a:pt x="19" y="897"/>
                  </a:lnTo>
                  <a:lnTo>
                    <a:pt x="19" y="893"/>
                  </a:lnTo>
                  <a:lnTo>
                    <a:pt x="17" y="889"/>
                  </a:lnTo>
                  <a:lnTo>
                    <a:pt x="17" y="889"/>
                  </a:lnTo>
                  <a:lnTo>
                    <a:pt x="19" y="887"/>
                  </a:lnTo>
                  <a:lnTo>
                    <a:pt x="19" y="883"/>
                  </a:lnTo>
                  <a:lnTo>
                    <a:pt x="21" y="880"/>
                  </a:lnTo>
                  <a:lnTo>
                    <a:pt x="23" y="874"/>
                  </a:lnTo>
                  <a:lnTo>
                    <a:pt x="25" y="870"/>
                  </a:lnTo>
                  <a:lnTo>
                    <a:pt x="25" y="864"/>
                  </a:lnTo>
                  <a:lnTo>
                    <a:pt x="26" y="861"/>
                  </a:lnTo>
                  <a:lnTo>
                    <a:pt x="26" y="857"/>
                  </a:lnTo>
                  <a:lnTo>
                    <a:pt x="26" y="857"/>
                  </a:lnTo>
                  <a:lnTo>
                    <a:pt x="26" y="853"/>
                  </a:lnTo>
                  <a:lnTo>
                    <a:pt x="25" y="849"/>
                  </a:lnTo>
                  <a:lnTo>
                    <a:pt x="23" y="847"/>
                  </a:lnTo>
                  <a:lnTo>
                    <a:pt x="21" y="843"/>
                  </a:lnTo>
                  <a:lnTo>
                    <a:pt x="17" y="840"/>
                  </a:lnTo>
                  <a:lnTo>
                    <a:pt x="15" y="838"/>
                  </a:lnTo>
                  <a:lnTo>
                    <a:pt x="13" y="834"/>
                  </a:lnTo>
                  <a:lnTo>
                    <a:pt x="11" y="830"/>
                  </a:lnTo>
                  <a:lnTo>
                    <a:pt x="11" y="830"/>
                  </a:lnTo>
                  <a:lnTo>
                    <a:pt x="9" y="826"/>
                  </a:lnTo>
                  <a:lnTo>
                    <a:pt x="9" y="822"/>
                  </a:lnTo>
                  <a:lnTo>
                    <a:pt x="7" y="819"/>
                  </a:lnTo>
                  <a:lnTo>
                    <a:pt x="5" y="815"/>
                  </a:lnTo>
                  <a:lnTo>
                    <a:pt x="5" y="811"/>
                  </a:lnTo>
                  <a:lnTo>
                    <a:pt x="4" y="807"/>
                  </a:lnTo>
                  <a:lnTo>
                    <a:pt x="2" y="803"/>
                  </a:lnTo>
                  <a:lnTo>
                    <a:pt x="0" y="800"/>
                  </a:lnTo>
                  <a:lnTo>
                    <a:pt x="0" y="800"/>
                  </a:lnTo>
                  <a:lnTo>
                    <a:pt x="0" y="800"/>
                  </a:lnTo>
                  <a:lnTo>
                    <a:pt x="5" y="800"/>
                  </a:lnTo>
                  <a:lnTo>
                    <a:pt x="11" y="800"/>
                  </a:lnTo>
                  <a:lnTo>
                    <a:pt x="19" y="798"/>
                  </a:lnTo>
                  <a:lnTo>
                    <a:pt x="26" y="796"/>
                  </a:lnTo>
                  <a:lnTo>
                    <a:pt x="34" y="794"/>
                  </a:lnTo>
                  <a:lnTo>
                    <a:pt x="40" y="790"/>
                  </a:lnTo>
                  <a:lnTo>
                    <a:pt x="44" y="786"/>
                  </a:lnTo>
                  <a:lnTo>
                    <a:pt x="47" y="780"/>
                  </a:lnTo>
                  <a:lnTo>
                    <a:pt x="47" y="780"/>
                  </a:lnTo>
                  <a:lnTo>
                    <a:pt x="49" y="773"/>
                  </a:lnTo>
                  <a:lnTo>
                    <a:pt x="49" y="763"/>
                  </a:lnTo>
                  <a:lnTo>
                    <a:pt x="51" y="756"/>
                  </a:lnTo>
                  <a:lnTo>
                    <a:pt x="55" y="746"/>
                  </a:lnTo>
                  <a:lnTo>
                    <a:pt x="57" y="740"/>
                  </a:lnTo>
                  <a:lnTo>
                    <a:pt x="63" y="735"/>
                  </a:lnTo>
                  <a:lnTo>
                    <a:pt x="70" y="731"/>
                  </a:lnTo>
                  <a:lnTo>
                    <a:pt x="80" y="729"/>
                  </a:lnTo>
                  <a:lnTo>
                    <a:pt x="80" y="729"/>
                  </a:lnTo>
                  <a:lnTo>
                    <a:pt x="87" y="731"/>
                  </a:lnTo>
                  <a:lnTo>
                    <a:pt x="93" y="735"/>
                  </a:lnTo>
                  <a:lnTo>
                    <a:pt x="97" y="738"/>
                  </a:lnTo>
                  <a:lnTo>
                    <a:pt x="103" y="746"/>
                  </a:lnTo>
                  <a:lnTo>
                    <a:pt x="107" y="752"/>
                  </a:lnTo>
                  <a:lnTo>
                    <a:pt x="110" y="758"/>
                  </a:lnTo>
                  <a:lnTo>
                    <a:pt x="116" y="763"/>
                  </a:lnTo>
                  <a:lnTo>
                    <a:pt x="122" y="769"/>
                  </a:lnTo>
                  <a:lnTo>
                    <a:pt x="122" y="769"/>
                  </a:lnTo>
                  <a:lnTo>
                    <a:pt x="124" y="765"/>
                  </a:lnTo>
                  <a:lnTo>
                    <a:pt x="126" y="763"/>
                  </a:lnTo>
                  <a:lnTo>
                    <a:pt x="129" y="759"/>
                  </a:lnTo>
                  <a:lnTo>
                    <a:pt x="131" y="758"/>
                  </a:lnTo>
                  <a:lnTo>
                    <a:pt x="135" y="754"/>
                  </a:lnTo>
                  <a:lnTo>
                    <a:pt x="139" y="752"/>
                  </a:lnTo>
                  <a:lnTo>
                    <a:pt x="143" y="752"/>
                  </a:lnTo>
                  <a:lnTo>
                    <a:pt x="147" y="750"/>
                  </a:lnTo>
                  <a:lnTo>
                    <a:pt x="147" y="750"/>
                  </a:lnTo>
                  <a:lnTo>
                    <a:pt x="154" y="752"/>
                  </a:lnTo>
                  <a:lnTo>
                    <a:pt x="160" y="752"/>
                  </a:lnTo>
                  <a:lnTo>
                    <a:pt x="164" y="754"/>
                  </a:lnTo>
                  <a:lnTo>
                    <a:pt x="169" y="756"/>
                  </a:lnTo>
                  <a:lnTo>
                    <a:pt x="175" y="756"/>
                  </a:lnTo>
                  <a:lnTo>
                    <a:pt x="181" y="758"/>
                  </a:lnTo>
                  <a:lnTo>
                    <a:pt x="187" y="759"/>
                  </a:lnTo>
                  <a:lnTo>
                    <a:pt x="194" y="759"/>
                  </a:lnTo>
                  <a:lnTo>
                    <a:pt x="194" y="759"/>
                  </a:lnTo>
                  <a:lnTo>
                    <a:pt x="202" y="759"/>
                  </a:lnTo>
                  <a:lnTo>
                    <a:pt x="210" y="759"/>
                  </a:lnTo>
                  <a:lnTo>
                    <a:pt x="215" y="759"/>
                  </a:lnTo>
                  <a:lnTo>
                    <a:pt x="221" y="758"/>
                  </a:lnTo>
                  <a:lnTo>
                    <a:pt x="227" y="756"/>
                  </a:lnTo>
                  <a:lnTo>
                    <a:pt x="231" y="752"/>
                  </a:lnTo>
                  <a:lnTo>
                    <a:pt x="234" y="746"/>
                  </a:lnTo>
                  <a:lnTo>
                    <a:pt x="236" y="738"/>
                  </a:lnTo>
                  <a:lnTo>
                    <a:pt x="236" y="738"/>
                  </a:lnTo>
                  <a:lnTo>
                    <a:pt x="238" y="738"/>
                  </a:lnTo>
                  <a:lnTo>
                    <a:pt x="238" y="740"/>
                  </a:lnTo>
                  <a:lnTo>
                    <a:pt x="240" y="742"/>
                  </a:lnTo>
                  <a:lnTo>
                    <a:pt x="242" y="744"/>
                  </a:lnTo>
                  <a:lnTo>
                    <a:pt x="244" y="746"/>
                  </a:lnTo>
                  <a:lnTo>
                    <a:pt x="246" y="746"/>
                  </a:lnTo>
                  <a:lnTo>
                    <a:pt x="246" y="750"/>
                  </a:lnTo>
                  <a:lnTo>
                    <a:pt x="248" y="750"/>
                  </a:lnTo>
                  <a:lnTo>
                    <a:pt x="528" y="765"/>
                  </a:lnTo>
                  <a:lnTo>
                    <a:pt x="547" y="700"/>
                  </a:lnTo>
                  <a:lnTo>
                    <a:pt x="524" y="679"/>
                  </a:lnTo>
                  <a:lnTo>
                    <a:pt x="534" y="0"/>
                  </a:lnTo>
                  <a:lnTo>
                    <a:pt x="664" y="0"/>
                  </a:lnTo>
                  <a:lnTo>
                    <a:pt x="658" y="0"/>
                  </a:lnTo>
                  <a:lnTo>
                    <a:pt x="1034" y="315"/>
                  </a:lnTo>
                  <a:lnTo>
                    <a:pt x="1034" y="315"/>
                  </a:lnTo>
                  <a:lnTo>
                    <a:pt x="1036" y="321"/>
                  </a:lnTo>
                  <a:lnTo>
                    <a:pt x="1039" y="325"/>
                  </a:lnTo>
                  <a:lnTo>
                    <a:pt x="1043" y="326"/>
                  </a:lnTo>
                  <a:lnTo>
                    <a:pt x="1049" y="328"/>
                  </a:lnTo>
                  <a:lnTo>
                    <a:pt x="1053" y="330"/>
                  </a:lnTo>
                  <a:lnTo>
                    <a:pt x="1058" y="332"/>
                  </a:lnTo>
                  <a:lnTo>
                    <a:pt x="1062" y="334"/>
                  </a:lnTo>
                  <a:lnTo>
                    <a:pt x="1066" y="340"/>
                  </a:lnTo>
                  <a:lnTo>
                    <a:pt x="1066" y="340"/>
                  </a:lnTo>
                  <a:lnTo>
                    <a:pt x="1068" y="345"/>
                  </a:lnTo>
                  <a:lnTo>
                    <a:pt x="1068" y="349"/>
                  </a:lnTo>
                  <a:lnTo>
                    <a:pt x="1068" y="355"/>
                  </a:lnTo>
                  <a:lnTo>
                    <a:pt x="1068" y="359"/>
                  </a:lnTo>
                  <a:lnTo>
                    <a:pt x="1066" y="363"/>
                  </a:lnTo>
                  <a:lnTo>
                    <a:pt x="1068" y="368"/>
                  </a:lnTo>
                  <a:lnTo>
                    <a:pt x="1068" y="372"/>
                  </a:lnTo>
                  <a:lnTo>
                    <a:pt x="1072" y="374"/>
                  </a:lnTo>
                  <a:lnTo>
                    <a:pt x="1072" y="374"/>
                  </a:lnTo>
                  <a:lnTo>
                    <a:pt x="1074" y="376"/>
                  </a:lnTo>
                  <a:lnTo>
                    <a:pt x="1076" y="378"/>
                  </a:lnTo>
                  <a:lnTo>
                    <a:pt x="1079" y="378"/>
                  </a:lnTo>
                  <a:lnTo>
                    <a:pt x="1081" y="380"/>
                  </a:lnTo>
                  <a:lnTo>
                    <a:pt x="1085" y="380"/>
                  </a:lnTo>
                  <a:lnTo>
                    <a:pt x="1089" y="380"/>
                  </a:lnTo>
                  <a:lnTo>
                    <a:pt x="1093" y="382"/>
                  </a:lnTo>
                  <a:lnTo>
                    <a:pt x="1097" y="382"/>
                  </a:lnTo>
                  <a:lnTo>
                    <a:pt x="1097" y="382"/>
                  </a:lnTo>
                  <a:lnTo>
                    <a:pt x="1098" y="391"/>
                  </a:lnTo>
                  <a:lnTo>
                    <a:pt x="1102" y="399"/>
                  </a:lnTo>
                  <a:lnTo>
                    <a:pt x="1110" y="407"/>
                  </a:lnTo>
                  <a:lnTo>
                    <a:pt x="1118" y="412"/>
                  </a:lnTo>
                  <a:lnTo>
                    <a:pt x="1127" y="416"/>
                  </a:lnTo>
                  <a:lnTo>
                    <a:pt x="1137" y="420"/>
                  </a:lnTo>
                  <a:lnTo>
                    <a:pt x="1148" y="424"/>
                  </a:lnTo>
                  <a:lnTo>
                    <a:pt x="1158" y="426"/>
                  </a:lnTo>
                  <a:lnTo>
                    <a:pt x="1169" y="429"/>
                  </a:lnTo>
                  <a:lnTo>
                    <a:pt x="1179" y="433"/>
                  </a:lnTo>
                  <a:lnTo>
                    <a:pt x="1188" y="437"/>
                  </a:lnTo>
                  <a:lnTo>
                    <a:pt x="1196" y="443"/>
                  </a:lnTo>
                  <a:lnTo>
                    <a:pt x="1203" y="449"/>
                  </a:lnTo>
                  <a:lnTo>
                    <a:pt x="1209" y="458"/>
                  </a:lnTo>
                  <a:lnTo>
                    <a:pt x="1213" y="468"/>
                  </a:lnTo>
                  <a:lnTo>
                    <a:pt x="1215" y="481"/>
                  </a:lnTo>
                  <a:lnTo>
                    <a:pt x="1215" y="481"/>
                  </a:lnTo>
                  <a:lnTo>
                    <a:pt x="1213" y="485"/>
                  </a:lnTo>
                  <a:lnTo>
                    <a:pt x="1213" y="487"/>
                  </a:lnTo>
                  <a:lnTo>
                    <a:pt x="1211" y="489"/>
                  </a:lnTo>
                  <a:lnTo>
                    <a:pt x="1209" y="489"/>
                  </a:lnTo>
                  <a:lnTo>
                    <a:pt x="1207" y="490"/>
                  </a:lnTo>
                  <a:lnTo>
                    <a:pt x="1205" y="492"/>
                  </a:lnTo>
                  <a:lnTo>
                    <a:pt x="1205" y="496"/>
                  </a:lnTo>
                  <a:lnTo>
                    <a:pt x="1205" y="498"/>
                  </a:lnTo>
                  <a:lnTo>
                    <a:pt x="1205" y="498"/>
                  </a:lnTo>
                  <a:lnTo>
                    <a:pt x="1205" y="502"/>
                  </a:lnTo>
                  <a:lnTo>
                    <a:pt x="1205" y="504"/>
                  </a:lnTo>
                  <a:lnTo>
                    <a:pt x="1207" y="506"/>
                  </a:lnTo>
                  <a:lnTo>
                    <a:pt x="1209" y="508"/>
                  </a:lnTo>
                  <a:lnTo>
                    <a:pt x="1211" y="510"/>
                  </a:lnTo>
                  <a:lnTo>
                    <a:pt x="1213" y="511"/>
                  </a:lnTo>
                  <a:lnTo>
                    <a:pt x="1215" y="513"/>
                  </a:lnTo>
                  <a:lnTo>
                    <a:pt x="1217" y="517"/>
                  </a:lnTo>
                  <a:lnTo>
                    <a:pt x="1287" y="504"/>
                  </a:lnTo>
                  <a:lnTo>
                    <a:pt x="1287" y="504"/>
                  </a:lnTo>
                  <a:lnTo>
                    <a:pt x="1285" y="511"/>
                  </a:lnTo>
                  <a:lnTo>
                    <a:pt x="1283" y="519"/>
                  </a:lnTo>
                  <a:lnTo>
                    <a:pt x="1282" y="529"/>
                  </a:lnTo>
                  <a:lnTo>
                    <a:pt x="1282" y="534"/>
                  </a:lnTo>
                  <a:lnTo>
                    <a:pt x="1282" y="542"/>
                  </a:lnTo>
                  <a:lnTo>
                    <a:pt x="1282" y="550"/>
                  </a:lnTo>
                  <a:lnTo>
                    <a:pt x="1282" y="557"/>
                  </a:lnTo>
                  <a:lnTo>
                    <a:pt x="1282" y="563"/>
                  </a:lnTo>
                  <a:lnTo>
                    <a:pt x="1283" y="571"/>
                  </a:lnTo>
                  <a:lnTo>
                    <a:pt x="1283" y="578"/>
                  </a:lnTo>
                  <a:lnTo>
                    <a:pt x="1283" y="586"/>
                  </a:lnTo>
                  <a:lnTo>
                    <a:pt x="1285" y="593"/>
                  </a:lnTo>
                  <a:lnTo>
                    <a:pt x="1285" y="603"/>
                  </a:lnTo>
                  <a:lnTo>
                    <a:pt x="1287" y="611"/>
                  </a:lnTo>
                  <a:lnTo>
                    <a:pt x="1287" y="620"/>
                  </a:lnTo>
                  <a:lnTo>
                    <a:pt x="1287" y="630"/>
                  </a:lnTo>
                  <a:lnTo>
                    <a:pt x="1287" y="630"/>
                  </a:lnTo>
                  <a:lnTo>
                    <a:pt x="1287" y="645"/>
                  </a:lnTo>
                  <a:lnTo>
                    <a:pt x="1285" y="662"/>
                  </a:lnTo>
                  <a:lnTo>
                    <a:pt x="1285" y="677"/>
                  </a:lnTo>
                  <a:lnTo>
                    <a:pt x="1283" y="691"/>
                  </a:lnTo>
                  <a:lnTo>
                    <a:pt x="1282" y="704"/>
                  </a:lnTo>
                  <a:lnTo>
                    <a:pt x="1278" y="716"/>
                  </a:lnTo>
                  <a:lnTo>
                    <a:pt x="1274" y="727"/>
                  </a:lnTo>
                  <a:lnTo>
                    <a:pt x="1270" y="738"/>
                  </a:lnTo>
                  <a:lnTo>
                    <a:pt x="1264" y="748"/>
                  </a:lnTo>
                  <a:lnTo>
                    <a:pt x="1259" y="758"/>
                  </a:lnTo>
                  <a:lnTo>
                    <a:pt x="1251" y="767"/>
                  </a:lnTo>
                  <a:lnTo>
                    <a:pt x="1242" y="775"/>
                  </a:lnTo>
                  <a:lnTo>
                    <a:pt x="1234" y="782"/>
                  </a:lnTo>
                  <a:lnTo>
                    <a:pt x="1222" y="788"/>
                  </a:lnTo>
                  <a:lnTo>
                    <a:pt x="1211" y="794"/>
                  </a:lnTo>
                  <a:lnTo>
                    <a:pt x="1198" y="800"/>
                  </a:lnTo>
                  <a:lnTo>
                    <a:pt x="1133" y="800"/>
                  </a:lnTo>
                  <a:lnTo>
                    <a:pt x="1133" y="803"/>
                  </a:lnTo>
                  <a:lnTo>
                    <a:pt x="1051" y="803"/>
                  </a:lnTo>
                  <a:lnTo>
                    <a:pt x="1051" y="803"/>
                  </a:lnTo>
                  <a:lnTo>
                    <a:pt x="1047" y="807"/>
                  </a:lnTo>
                  <a:lnTo>
                    <a:pt x="1043" y="811"/>
                  </a:lnTo>
                  <a:lnTo>
                    <a:pt x="1039" y="815"/>
                  </a:lnTo>
                  <a:lnTo>
                    <a:pt x="1034" y="821"/>
                  </a:lnTo>
                  <a:lnTo>
                    <a:pt x="1028" y="826"/>
                  </a:lnTo>
                  <a:lnTo>
                    <a:pt x="1024" y="830"/>
                  </a:lnTo>
                  <a:lnTo>
                    <a:pt x="1018" y="832"/>
                  </a:lnTo>
                  <a:lnTo>
                    <a:pt x="1013" y="834"/>
                  </a:lnTo>
                  <a:lnTo>
                    <a:pt x="1013" y="834"/>
                  </a:lnTo>
                  <a:lnTo>
                    <a:pt x="1005" y="834"/>
                  </a:lnTo>
                  <a:lnTo>
                    <a:pt x="997" y="832"/>
                  </a:lnTo>
                  <a:lnTo>
                    <a:pt x="990" y="830"/>
                  </a:lnTo>
                  <a:lnTo>
                    <a:pt x="984" y="828"/>
                  </a:lnTo>
                  <a:lnTo>
                    <a:pt x="978" y="826"/>
                  </a:lnTo>
                  <a:lnTo>
                    <a:pt x="973" y="824"/>
                  </a:lnTo>
                  <a:lnTo>
                    <a:pt x="967" y="826"/>
                  </a:lnTo>
                  <a:lnTo>
                    <a:pt x="963" y="828"/>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5" name="Freeform 249"/>
            <p:cNvSpPr>
              <a:spLocks/>
            </p:cNvSpPr>
            <p:nvPr/>
          </p:nvSpPr>
          <p:spPr bwMode="gray">
            <a:xfrm>
              <a:off x="2166" y="1335"/>
              <a:ext cx="467" cy="704"/>
            </a:xfrm>
            <a:custGeom>
              <a:avLst/>
              <a:gdLst/>
              <a:ahLst/>
              <a:cxnLst>
                <a:cxn ang="0">
                  <a:pos x="145" y="177"/>
                </a:cxn>
                <a:cxn ang="0">
                  <a:pos x="173" y="221"/>
                </a:cxn>
                <a:cxn ang="0">
                  <a:pos x="186" y="252"/>
                </a:cxn>
                <a:cxn ang="0">
                  <a:pos x="173" y="271"/>
                </a:cxn>
                <a:cxn ang="0">
                  <a:pos x="129" y="548"/>
                </a:cxn>
                <a:cxn ang="0">
                  <a:pos x="72" y="624"/>
                </a:cxn>
                <a:cxn ang="0">
                  <a:pos x="21" y="694"/>
                </a:cxn>
                <a:cxn ang="0">
                  <a:pos x="0" y="725"/>
                </a:cxn>
                <a:cxn ang="0">
                  <a:pos x="7" y="769"/>
                </a:cxn>
                <a:cxn ang="0">
                  <a:pos x="36" y="807"/>
                </a:cxn>
                <a:cxn ang="0">
                  <a:pos x="70" y="843"/>
                </a:cxn>
                <a:cxn ang="0">
                  <a:pos x="106" y="948"/>
                </a:cxn>
                <a:cxn ang="0">
                  <a:pos x="124" y="992"/>
                </a:cxn>
                <a:cxn ang="0">
                  <a:pos x="137" y="1042"/>
                </a:cxn>
                <a:cxn ang="0">
                  <a:pos x="120" y="1063"/>
                </a:cxn>
                <a:cxn ang="0">
                  <a:pos x="63" y="1068"/>
                </a:cxn>
                <a:cxn ang="0">
                  <a:pos x="42" y="1099"/>
                </a:cxn>
                <a:cxn ang="0">
                  <a:pos x="57" y="1139"/>
                </a:cxn>
                <a:cxn ang="0">
                  <a:pos x="89" y="1164"/>
                </a:cxn>
                <a:cxn ang="0">
                  <a:pos x="120" y="1194"/>
                </a:cxn>
                <a:cxn ang="0">
                  <a:pos x="146" y="1240"/>
                </a:cxn>
                <a:cxn ang="0">
                  <a:pos x="167" y="1280"/>
                </a:cxn>
                <a:cxn ang="0">
                  <a:pos x="204" y="1271"/>
                </a:cxn>
                <a:cxn ang="0">
                  <a:pos x="234" y="1259"/>
                </a:cxn>
                <a:cxn ang="0">
                  <a:pos x="249" y="1271"/>
                </a:cxn>
                <a:cxn ang="0">
                  <a:pos x="274" y="1271"/>
                </a:cxn>
                <a:cxn ang="0">
                  <a:pos x="299" y="1253"/>
                </a:cxn>
                <a:cxn ang="0">
                  <a:pos x="354" y="1246"/>
                </a:cxn>
                <a:cxn ang="0">
                  <a:pos x="406" y="1236"/>
                </a:cxn>
                <a:cxn ang="0">
                  <a:pos x="440" y="1200"/>
                </a:cxn>
                <a:cxn ang="0">
                  <a:pos x="448" y="1173"/>
                </a:cxn>
                <a:cxn ang="0">
                  <a:pos x="459" y="1164"/>
                </a:cxn>
                <a:cxn ang="0">
                  <a:pos x="543" y="1143"/>
                </a:cxn>
                <a:cxn ang="0">
                  <a:pos x="604" y="1095"/>
                </a:cxn>
                <a:cxn ang="0">
                  <a:pos x="652" y="1057"/>
                </a:cxn>
                <a:cxn ang="0">
                  <a:pos x="679" y="1017"/>
                </a:cxn>
                <a:cxn ang="0">
                  <a:pos x="717" y="1002"/>
                </a:cxn>
                <a:cxn ang="0">
                  <a:pos x="751" y="1015"/>
                </a:cxn>
                <a:cxn ang="0">
                  <a:pos x="743" y="1002"/>
                </a:cxn>
                <a:cxn ang="0">
                  <a:pos x="749" y="986"/>
                </a:cxn>
                <a:cxn ang="0">
                  <a:pos x="749" y="965"/>
                </a:cxn>
                <a:cxn ang="0">
                  <a:pos x="730" y="948"/>
                </a:cxn>
                <a:cxn ang="0">
                  <a:pos x="715" y="901"/>
                </a:cxn>
                <a:cxn ang="0">
                  <a:pos x="688" y="860"/>
                </a:cxn>
                <a:cxn ang="0">
                  <a:pos x="663" y="853"/>
                </a:cxn>
                <a:cxn ang="0">
                  <a:pos x="663" y="832"/>
                </a:cxn>
                <a:cxn ang="0">
                  <a:pos x="682" y="813"/>
                </a:cxn>
                <a:cxn ang="0">
                  <a:pos x="694" y="803"/>
                </a:cxn>
                <a:cxn ang="0">
                  <a:pos x="690" y="780"/>
                </a:cxn>
                <a:cxn ang="0">
                  <a:pos x="690" y="763"/>
                </a:cxn>
                <a:cxn ang="0">
                  <a:pos x="721" y="736"/>
                </a:cxn>
                <a:cxn ang="0">
                  <a:pos x="705" y="717"/>
                </a:cxn>
                <a:cxn ang="0">
                  <a:pos x="723" y="700"/>
                </a:cxn>
                <a:cxn ang="0">
                  <a:pos x="736" y="677"/>
                </a:cxn>
                <a:cxn ang="0">
                  <a:pos x="745" y="641"/>
                </a:cxn>
                <a:cxn ang="0">
                  <a:pos x="761" y="624"/>
                </a:cxn>
                <a:cxn ang="0">
                  <a:pos x="793" y="620"/>
                </a:cxn>
                <a:cxn ang="0">
                  <a:pos x="816" y="307"/>
                </a:cxn>
              </a:cxnLst>
              <a:rect l="0" t="0" r="r" b="b"/>
              <a:pathLst>
                <a:path w="824" h="1282">
                  <a:moveTo>
                    <a:pt x="209" y="0"/>
                  </a:moveTo>
                  <a:lnTo>
                    <a:pt x="135" y="42"/>
                  </a:lnTo>
                  <a:lnTo>
                    <a:pt x="135" y="170"/>
                  </a:lnTo>
                  <a:lnTo>
                    <a:pt x="135" y="170"/>
                  </a:lnTo>
                  <a:lnTo>
                    <a:pt x="137" y="172"/>
                  </a:lnTo>
                  <a:lnTo>
                    <a:pt x="141" y="174"/>
                  </a:lnTo>
                  <a:lnTo>
                    <a:pt x="145" y="177"/>
                  </a:lnTo>
                  <a:lnTo>
                    <a:pt x="146" y="183"/>
                  </a:lnTo>
                  <a:lnTo>
                    <a:pt x="150" y="189"/>
                  </a:lnTo>
                  <a:lnTo>
                    <a:pt x="156" y="195"/>
                  </a:lnTo>
                  <a:lnTo>
                    <a:pt x="160" y="200"/>
                  </a:lnTo>
                  <a:lnTo>
                    <a:pt x="164" y="208"/>
                  </a:lnTo>
                  <a:lnTo>
                    <a:pt x="169" y="214"/>
                  </a:lnTo>
                  <a:lnTo>
                    <a:pt x="173" y="221"/>
                  </a:lnTo>
                  <a:lnTo>
                    <a:pt x="177" y="227"/>
                  </a:lnTo>
                  <a:lnTo>
                    <a:pt x="181" y="235"/>
                  </a:lnTo>
                  <a:lnTo>
                    <a:pt x="183" y="240"/>
                  </a:lnTo>
                  <a:lnTo>
                    <a:pt x="185" y="244"/>
                  </a:lnTo>
                  <a:lnTo>
                    <a:pt x="186" y="248"/>
                  </a:lnTo>
                  <a:lnTo>
                    <a:pt x="186" y="252"/>
                  </a:lnTo>
                  <a:lnTo>
                    <a:pt x="186" y="252"/>
                  </a:lnTo>
                  <a:lnTo>
                    <a:pt x="186" y="256"/>
                  </a:lnTo>
                  <a:lnTo>
                    <a:pt x="185" y="258"/>
                  </a:lnTo>
                  <a:lnTo>
                    <a:pt x="183" y="261"/>
                  </a:lnTo>
                  <a:lnTo>
                    <a:pt x="181" y="263"/>
                  </a:lnTo>
                  <a:lnTo>
                    <a:pt x="179" y="267"/>
                  </a:lnTo>
                  <a:lnTo>
                    <a:pt x="175" y="269"/>
                  </a:lnTo>
                  <a:lnTo>
                    <a:pt x="173" y="271"/>
                  </a:lnTo>
                  <a:lnTo>
                    <a:pt x="171" y="271"/>
                  </a:lnTo>
                  <a:lnTo>
                    <a:pt x="171" y="382"/>
                  </a:lnTo>
                  <a:lnTo>
                    <a:pt x="154" y="519"/>
                  </a:lnTo>
                  <a:lnTo>
                    <a:pt x="154" y="519"/>
                  </a:lnTo>
                  <a:lnTo>
                    <a:pt x="145" y="529"/>
                  </a:lnTo>
                  <a:lnTo>
                    <a:pt x="137" y="538"/>
                  </a:lnTo>
                  <a:lnTo>
                    <a:pt x="129" y="548"/>
                  </a:lnTo>
                  <a:lnTo>
                    <a:pt x="120" y="557"/>
                  </a:lnTo>
                  <a:lnTo>
                    <a:pt x="112" y="569"/>
                  </a:lnTo>
                  <a:lnTo>
                    <a:pt x="104" y="578"/>
                  </a:lnTo>
                  <a:lnTo>
                    <a:pt x="95" y="590"/>
                  </a:lnTo>
                  <a:lnTo>
                    <a:pt x="87" y="601"/>
                  </a:lnTo>
                  <a:lnTo>
                    <a:pt x="80" y="612"/>
                  </a:lnTo>
                  <a:lnTo>
                    <a:pt x="72" y="624"/>
                  </a:lnTo>
                  <a:lnTo>
                    <a:pt x="63" y="635"/>
                  </a:lnTo>
                  <a:lnTo>
                    <a:pt x="55" y="647"/>
                  </a:lnTo>
                  <a:lnTo>
                    <a:pt x="47" y="660"/>
                  </a:lnTo>
                  <a:lnTo>
                    <a:pt x="38" y="672"/>
                  </a:lnTo>
                  <a:lnTo>
                    <a:pt x="30" y="683"/>
                  </a:lnTo>
                  <a:lnTo>
                    <a:pt x="21" y="694"/>
                  </a:lnTo>
                  <a:lnTo>
                    <a:pt x="21" y="694"/>
                  </a:lnTo>
                  <a:lnTo>
                    <a:pt x="19" y="700"/>
                  </a:lnTo>
                  <a:lnTo>
                    <a:pt x="15" y="704"/>
                  </a:lnTo>
                  <a:lnTo>
                    <a:pt x="11" y="708"/>
                  </a:lnTo>
                  <a:lnTo>
                    <a:pt x="7" y="712"/>
                  </a:lnTo>
                  <a:lnTo>
                    <a:pt x="3" y="715"/>
                  </a:lnTo>
                  <a:lnTo>
                    <a:pt x="1" y="719"/>
                  </a:lnTo>
                  <a:lnTo>
                    <a:pt x="0" y="725"/>
                  </a:lnTo>
                  <a:lnTo>
                    <a:pt x="0" y="731"/>
                  </a:lnTo>
                  <a:lnTo>
                    <a:pt x="0" y="731"/>
                  </a:lnTo>
                  <a:lnTo>
                    <a:pt x="0" y="738"/>
                  </a:lnTo>
                  <a:lnTo>
                    <a:pt x="1" y="748"/>
                  </a:lnTo>
                  <a:lnTo>
                    <a:pt x="3" y="756"/>
                  </a:lnTo>
                  <a:lnTo>
                    <a:pt x="5" y="761"/>
                  </a:lnTo>
                  <a:lnTo>
                    <a:pt x="7" y="769"/>
                  </a:lnTo>
                  <a:lnTo>
                    <a:pt x="11" y="775"/>
                  </a:lnTo>
                  <a:lnTo>
                    <a:pt x="15" y="780"/>
                  </a:lnTo>
                  <a:lnTo>
                    <a:pt x="19" y="786"/>
                  </a:lnTo>
                  <a:lnTo>
                    <a:pt x="22" y="792"/>
                  </a:lnTo>
                  <a:lnTo>
                    <a:pt x="28" y="798"/>
                  </a:lnTo>
                  <a:lnTo>
                    <a:pt x="32" y="801"/>
                  </a:lnTo>
                  <a:lnTo>
                    <a:pt x="36" y="807"/>
                  </a:lnTo>
                  <a:lnTo>
                    <a:pt x="42" y="811"/>
                  </a:lnTo>
                  <a:lnTo>
                    <a:pt x="45" y="817"/>
                  </a:lnTo>
                  <a:lnTo>
                    <a:pt x="49" y="822"/>
                  </a:lnTo>
                  <a:lnTo>
                    <a:pt x="53" y="828"/>
                  </a:lnTo>
                  <a:lnTo>
                    <a:pt x="53" y="828"/>
                  </a:lnTo>
                  <a:lnTo>
                    <a:pt x="63" y="836"/>
                  </a:lnTo>
                  <a:lnTo>
                    <a:pt x="70" y="843"/>
                  </a:lnTo>
                  <a:lnTo>
                    <a:pt x="76" y="849"/>
                  </a:lnTo>
                  <a:lnTo>
                    <a:pt x="82" y="859"/>
                  </a:lnTo>
                  <a:lnTo>
                    <a:pt x="87" y="866"/>
                  </a:lnTo>
                  <a:lnTo>
                    <a:pt x="93" y="874"/>
                  </a:lnTo>
                  <a:lnTo>
                    <a:pt x="101" y="883"/>
                  </a:lnTo>
                  <a:lnTo>
                    <a:pt x="106" y="893"/>
                  </a:lnTo>
                  <a:lnTo>
                    <a:pt x="106" y="948"/>
                  </a:lnTo>
                  <a:lnTo>
                    <a:pt x="106" y="948"/>
                  </a:lnTo>
                  <a:lnTo>
                    <a:pt x="110" y="956"/>
                  </a:lnTo>
                  <a:lnTo>
                    <a:pt x="114" y="963"/>
                  </a:lnTo>
                  <a:lnTo>
                    <a:pt x="116" y="971"/>
                  </a:lnTo>
                  <a:lnTo>
                    <a:pt x="120" y="979"/>
                  </a:lnTo>
                  <a:lnTo>
                    <a:pt x="122" y="984"/>
                  </a:lnTo>
                  <a:lnTo>
                    <a:pt x="124" y="992"/>
                  </a:lnTo>
                  <a:lnTo>
                    <a:pt x="125" y="1000"/>
                  </a:lnTo>
                  <a:lnTo>
                    <a:pt x="127" y="1007"/>
                  </a:lnTo>
                  <a:lnTo>
                    <a:pt x="129" y="1013"/>
                  </a:lnTo>
                  <a:lnTo>
                    <a:pt x="131" y="1021"/>
                  </a:lnTo>
                  <a:lnTo>
                    <a:pt x="133" y="1028"/>
                  </a:lnTo>
                  <a:lnTo>
                    <a:pt x="135" y="1034"/>
                  </a:lnTo>
                  <a:lnTo>
                    <a:pt x="137" y="1042"/>
                  </a:lnTo>
                  <a:lnTo>
                    <a:pt x="139" y="1049"/>
                  </a:lnTo>
                  <a:lnTo>
                    <a:pt x="143" y="1055"/>
                  </a:lnTo>
                  <a:lnTo>
                    <a:pt x="145" y="1063"/>
                  </a:lnTo>
                  <a:lnTo>
                    <a:pt x="145" y="1063"/>
                  </a:lnTo>
                  <a:lnTo>
                    <a:pt x="137" y="1063"/>
                  </a:lnTo>
                  <a:lnTo>
                    <a:pt x="129" y="1063"/>
                  </a:lnTo>
                  <a:lnTo>
                    <a:pt x="120" y="1063"/>
                  </a:lnTo>
                  <a:lnTo>
                    <a:pt x="112" y="1063"/>
                  </a:lnTo>
                  <a:lnTo>
                    <a:pt x="103" y="1063"/>
                  </a:lnTo>
                  <a:lnTo>
                    <a:pt x="95" y="1065"/>
                  </a:lnTo>
                  <a:lnTo>
                    <a:pt x="85" y="1065"/>
                  </a:lnTo>
                  <a:lnTo>
                    <a:pt x="78" y="1065"/>
                  </a:lnTo>
                  <a:lnTo>
                    <a:pt x="70" y="1066"/>
                  </a:lnTo>
                  <a:lnTo>
                    <a:pt x="63" y="1068"/>
                  </a:lnTo>
                  <a:lnTo>
                    <a:pt x="57" y="1070"/>
                  </a:lnTo>
                  <a:lnTo>
                    <a:pt x="51" y="1074"/>
                  </a:lnTo>
                  <a:lnTo>
                    <a:pt x="47" y="1078"/>
                  </a:lnTo>
                  <a:lnTo>
                    <a:pt x="43" y="1084"/>
                  </a:lnTo>
                  <a:lnTo>
                    <a:pt x="42" y="1091"/>
                  </a:lnTo>
                  <a:lnTo>
                    <a:pt x="42" y="1099"/>
                  </a:lnTo>
                  <a:lnTo>
                    <a:pt x="42" y="1099"/>
                  </a:lnTo>
                  <a:lnTo>
                    <a:pt x="42" y="1107"/>
                  </a:lnTo>
                  <a:lnTo>
                    <a:pt x="43" y="1114"/>
                  </a:lnTo>
                  <a:lnTo>
                    <a:pt x="45" y="1120"/>
                  </a:lnTo>
                  <a:lnTo>
                    <a:pt x="47" y="1126"/>
                  </a:lnTo>
                  <a:lnTo>
                    <a:pt x="51" y="1131"/>
                  </a:lnTo>
                  <a:lnTo>
                    <a:pt x="53" y="1135"/>
                  </a:lnTo>
                  <a:lnTo>
                    <a:pt x="57" y="1139"/>
                  </a:lnTo>
                  <a:lnTo>
                    <a:pt x="63" y="1143"/>
                  </a:lnTo>
                  <a:lnTo>
                    <a:pt x="66" y="1147"/>
                  </a:lnTo>
                  <a:lnTo>
                    <a:pt x="72" y="1150"/>
                  </a:lnTo>
                  <a:lnTo>
                    <a:pt x="76" y="1154"/>
                  </a:lnTo>
                  <a:lnTo>
                    <a:pt x="80" y="1156"/>
                  </a:lnTo>
                  <a:lnTo>
                    <a:pt x="85" y="1160"/>
                  </a:lnTo>
                  <a:lnTo>
                    <a:pt x="89" y="1164"/>
                  </a:lnTo>
                  <a:lnTo>
                    <a:pt x="95" y="1166"/>
                  </a:lnTo>
                  <a:lnTo>
                    <a:pt x="97" y="1170"/>
                  </a:lnTo>
                  <a:lnTo>
                    <a:pt x="97" y="1170"/>
                  </a:lnTo>
                  <a:lnTo>
                    <a:pt x="103" y="1175"/>
                  </a:lnTo>
                  <a:lnTo>
                    <a:pt x="108" y="1183"/>
                  </a:lnTo>
                  <a:lnTo>
                    <a:pt x="114" y="1189"/>
                  </a:lnTo>
                  <a:lnTo>
                    <a:pt x="120" y="1194"/>
                  </a:lnTo>
                  <a:lnTo>
                    <a:pt x="124" y="1200"/>
                  </a:lnTo>
                  <a:lnTo>
                    <a:pt x="127" y="1206"/>
                  </a:lnTo>
                  <a:lnTo>
                    <a:pt x="133" y="1213"/>
                  </a:lnTo>
                  <a:lnTo>
                    <a:pt x="137" y="1219"/>
                  </a:lnTo>
                  <a:lnTo>
                    <a:pt x="141" y="1227"/>
                  </a:lnTo>
                  <a:lnTo>
                    <a:pt x="145" y="1232"/>
                  </a:lnTo>
                  <a:lnTo>
                    <a:pt x="146" y="1240"/>
                  </a:lnTo>
                  <a:lnTo>
                    <a:pt x="150" y="1248"/>
                  </a:lnTo>
                  <a:lnTo>
                    <a:pt x="154" y="1255"/>
                  </a:lnTo>
                  <a:lnTo>
                    <a:pt x="156" y="1265"/>
                  </a:lnTo>
                  <a:lnTo>
                    <a:pt x="160" y="1273"/>
                  </a:lnTo>
                  <a:lnTo>
                    <a:pt x="162" y="1282"/>
                  </a:lnTo>
                  <a:lnTo>
                    <a:pt x="162" y="1282"/>
                  </a:lnTo>
                  <a:lnTo>
                    <a:pt x="167" y="1280"/>
                  </a:lnTo>
                  <a:lnTo>
                    <a:pt x="173" y="1278"/>
                  </a:lnTo>
                  <a:lnTo>
                    <a:pt x="177" y="1276"/>
                  </a:lnTo>
                  <a:lnTo>
                    <a:pt x="183" y="1274"/>
                  </a:lnTo>
                  <a:lnTo>
                    <a:pt x="188" y="1274"/>
                  </a:lnTo>
                  <a:lnTo>
                    <a:pt x="192" y="1273"/>
                  </a:lnTo>
                  <a:lnTo>
                    <a:pt x="198" y="1273"/>
                  </a:lnTo>
                  <a:lnTo>
                    <a:pt x="204" y="1271"/>
                  </a:lnTo>
                  <a:lnTo>
                    <a:pt x="207" y="1271"/>
                  </a:lnTo>
                  <a:lnTo>
                    <a:pt x="213" y="1269"/>
                  </a:lnTo>
                  <a:lnTo>
                    <a:pt x="217" y="1269"/>
                  </a:lnTo>
                  <a:lnTo>
                    <a:pt x="221" y="1267"/>
                  </a:lnTo>
                  <a:lnTo>
                    <a:pt x="227" y="1265"/>
                  </a:lnTo>
                  <a:lnTo>
                    <a:pt x="230" y="1263"/>
                  </a:lnTo>
                  <a:lnTo>
                    <a:pt x="234" y="1259"/>
                  </a:lnTo>
                  <a:lnTo>
                    <a:pt x="238" y="1255"/>
                  </a:lnTo>
                  <a:lnTo>
                    <a:pt x="238" y="1255"/>
                  </a:lnTo>
                  <a:lnTo>
                    <a:pt x="240" y="1259"/>
                  </a:lnTo>
                  <a:lnTo>
                    <a:pt x="244" y="1261"/>
                  </a:lnTo>
                  <a:lnTo>
                    <a:pt x="246" y="1265"/>
                  </a:lnTo>
                  <a:lnTo>
                    <a:pt x="248" y="1267"/>
                  </a:lnTo>
                  <a:lnTo>
                    <a:pt x="249" y="1271"/>
                  </a:lnTo>
                  <a:lnTo>
                    <a:pt x="253" y="1273"/>
                  </a:lnTo>
                  <a:lnTo>
                    <a:pt x="255" y="1273"/>
                  </a:lnTo>
                  <a:lnTo>
                    <a:pt x="259" y="1274"/>
                  </a:lnTo>
                  <a:lnTo>
                    <a:pt x="259" y="1274"/>
                  </a:lnTo>
                  <a:lnTo>
                    <a:pt x="265" y="1273"/>
                  </a:lnTo>
                  <a:lnTo>
                    <a:pt x="270" y="1273"/>
                  </a:lnTo>
                  <a:lnTo>
                    <a:pt x="274" y="1271"/>
                  </a:lnTo>
                  <a:lnTo>
                    <a:pt x="278" y="1267"/>
                  </a:lnTo>
                  <a:lnTo>
                    <a:pt x="280" y="1265"/>
                  </a:lnTo>
                  <a:lnTo>
                    <a:pt x="284" y="1261"/>
                  </a:lnTo>
                  <a:lnTo>
                    <a:pt x="288" y="1257"/>
                  </a:lnTo>
                  <a:lnTo>
                    <a:pt x="293" y="1255"/>
                  </a:lnTo>
                  <a:lnTo>
                    <a:pt x="293" y="1255"/>
                  </a:lnTo>
                  <a:lnTo>
                    <a:pt x="299" y="1253"/>
                  </a:lnTo>
                  <a:lnTo>
                    <a:pt x="309" y="1252"/>
                  </a:lnTo>
                  <a:lnTo>
                    <a:pt x="316" y="1252"/>
                  </a:lnTo>
                  <a:lnTo>
                    <a:pt x="324" y="1250"/>
                  </a:lnTo>
                  <a:lnTo>
                    <a:pt x="331" y="1248"/>
                  </a:lnTo>
                  <a:lnTo>
                    <a:pt x="339" y="1248"/>
                  </a:lnTo>
                  <a:lnTo>
                    <a:pt x="347" y="1248"/>
                  </a:lnTo>
                  <a:lnTo>
                    <a:pt x="354" y="1246"/>
                  </a:lnTo>
                  <a:lnTo>
                    <a:pt x="364" y="1246"/>
                  </a:lnTo>
                  <a:lnTo>
                    <a:pt x="372" y="1246"/>
                  </a:lnTo>
                  <a:lnTo>
                    <a:pt x="379" y="1244"/>
                  </a:lnTo>
                  <a:lnTo>
                    <a:pt x="385" y="1242"/>
                  </a:lnTo>
                  <a:lnTo>
                    <a:pt x="393" y="1240"/>
                  </a:lnTo>
                  <a:lnTo>
                    <a:pt x="400" y="1238"/>
                  </a:lnTo>
                  <a:lnTo>
                    <a:pt x="406" y="1236"/>
                  </a:lnTo>
                  <a:lnTo>
                    <a:pt x="413" y="1232"/>
                  </a:lnTo>
                  <a:lnTo>
                    <a:pt x="413" y="1232"/>
                  </a:lnTo>
                  <a:lnTo>
                    <a:pt x="421" y="1227"/>
                  </a:lnTo>
                  <a:lnTo>
                    <a:pt x="427" y="1221"/>
                  </a:lnTo>
                  <a:lnTo>
                    <a:pt x="433" y="1213"/>
                  </a:lnTo>
                  <a:lnTo>
                    <a:pt x="436" y="1208"/>
                  </a:lnTo>
                  <a:lnTo>
                    <a:pt x="440" y="1200"/>
                  </a:lnTo>
                  <a:lnTo>
                    <a:pt x="444" y="1192"/>
                  </a:lnTo>
                  <a:lnTo>
                    <a:pt x="448" y="1187"/>
                  </a:lnTo>
                  <a:lnTo>
                    <a:pt x="454" y="1179"/>
                  </a:lnTo>
                  <a:lnTo>
                    <a:pt x="454" y="1179"/>
                  </a:lnTo>
                  <a:lnTo>
                    <a:pt x="452" y="1177"/>
                  </a:lnTo>
                  <a:lnTo>
                    <a:pt x="450" y="1175"/>
                  </a:lnTo>
                  <a:lnTo>
                    <a:pt x="448" y="1173"/>
                  </a:lnTo>
                  <a:lnTo>
                    <a:pt x="448" y="1171"/>
                  </a:lnTo>
                  <a:lnTo>
                    <a:pt x="446" y="1170"/>
                  </a:lnTo>
                  <a:lnTo>
                    <a:pt x="444" y="1168"/>
                  </a:lnTo>
                  <a:lnTo>
                    <a:pt x="444" y="1166"/>
                  </a:lnTo>
                  <a:lnTo>
                    <a:pt x="442" y="1164"/>
                  </a:lnTo>
                  <a:lnTo>
                    <a:pt x="442" y="1164"/>
                  </a:lnTo>
                  <a:lnTo>
                    <a:pt x="459" y="1164"/>
                  </a:lnTo>
                  <a:lnTo>
                    <a:pt x="473" y="1162"/>
                  </a:lnTo>
                  <a:lnTo>
                    <a:pt x="488" y="1162"/>
                  </a:lnTo>
                  <a:lnTo>
                    <a:pt x="501" y="1158"/>
                  </a:lnTo>
                  <a:lnTo>
                    <a:pt x="513" y="1156"/>
                  </a:lnTo>
                  <a:lnTo>
                    <a:pt x="524" y="1152"/>
                  </a:lnTo>
                  <a:lnTo>
                    <a:pt x="534" y="1149"/>
                  </a:lnTo>
                  <a:lnTo>
                    <a:pt x="543" y="1143"/>
                  </a:lnTo>
                  <a:lnTo>
                    <a:pt x="553" y="1139"/>
                  </a:lnTo>
                  <a:lnTo>
                    <a:pt x="562" y="1133"/>
                  </a:lnTo>
                  <a:lnTo>
                    <a:pt x="570" y="1128"/>
                  </a:lnTo>
                  <a:lnTo>
                    <a:pt x="579" y="1120"/>
                  </a:lnTo>
                  <a:lnTo>
                    <a:pt x="587" y="1112"/>
                  </a:lnTo>
                  <a:lnTo>
                    <a:pt x="597" y="1105"/>
                  </a:lnTo>
                  <a:lnTo>
                    <a:pt x="604" y="1095"/>
                  </a:lnTo>
                  <a:lnTo>
                    <a:pt x="614" y="1087"/>
                  </a:lnTo>
                  <a:lnTo>
                    <a:pt x="614" y="1087"/>
                  </a:lnTo>
                  <a:lnTo>
                    <a:pt x="621" y="1082"/>
                  </a:lnTo>
                  <a:lnTo>
                    <a:pt x="629" y="1076"/>
                  </a:lnTo>
                  <a:lnTo>
                    <a:pt x="637" y="1070"/>
                  </a:lnTo>
                  <a:lnTo>
                    <a:pt x="644" y="1063"/>
                  </a:lnTo>
                  <a:lnTo>
                    <a:pt x="652" y="1057"/>
                  </a:lnTo>
                  <a:lnTo>
                    <a:pt x="656" y="1047"/>
                  </a:lnTo>
                  <a:lnTo>
                    <a:pt x="660" y="1038"/>
                  </a:lnTo>
                  <a:lnTo>
                    <a:pt x="658" y="1026"/>
                  </a:lnTo>
                  <a:lnTo>
                    <a:pt x="658" y="1026"/>
                  </a:lnTo>
                  <a:lnTo>
                    <a:pt x="665" y="1025"/>
                  </a:lnTo>
                  <a:lnTo>
                    <a:pt x="673" y="1021"/>
                  </a:lnTo>
                  <a:lnTo>
                    <a:pt x="679" y="1017"/>
                  </a:lnTo>
                  <a:lnTo>
                    <a:pt x="684" y="1013"/>
                  </a:lnTo>
                  <a:lnTo>
                    <a:pt x="690" y="1009"/>
                  </a:lnTo>
                  <a:lnTo>
                    <a:pt x="698" y="1005"/>
                  </a:lnTo>
                  <a:lnTo>
                    <a:pt x="703" y="1004"/>
                  </a:lnTo>
                  <a:lnTo>
                    <a:pt x="711" y="1002"/>
                  </a:lnTo>
                  <a:lnTo>
                    <a:pt x="711" y="1002"/>
                  </a:lnTo>
                  <a:lnTo>
                    <a:pt x="717" y="1002"/>
                  </a:lnTo>
                  <a:lnTo>
                    <a:pt x="723" y="1004"/>
                  </a:lnTo>
                  <a:lnTo>
                    <a:pt x="728" y="1005"/>
                  </a:lnTo>
                  <a:lnTo>
                    <a:pt x="734" y="1007"/>
                  </a:lnTo>
                  <a:lnTo>
                    <a:pt x="740" y="1011"/>
                  </a:lnTo>
                  <a:lnTo>
                    <a:pt x="743" y="1013"/>
                  </a:lnTo>
                  <a:lnTo>
                    <a:pt x="747" y="1015"/>
                  </a:lnTo>
                  <a:lnTo>
                    <a:pt x="751" y="1015"/>
                  </a:lnTo>
                  <a:lnTo>
                    <a:pt x="751" y="1015"/>
                  </a:lnTo>
                  <a:lnTo>
                    <a:pt x="749" y="1013"/>
                  </a:lnTo>
                  <a:lnTo>
                    <a:pt x="749" y="1011"/>
                  </a:lnTo>
                  <a:lnTo>
                    <a:pt x="747" y="1009"/>
                  </a:lnTo>
                  <a:lnTo>
                    <a:pt x="745" y="1005"/>
                  </a:lnTo>
                  <a:lnTo>
                    <a:pt x="745" y="1004"/>
                  </a:lnTo>
                  <a:lnTo>
                    <a:pt x="743" y="1002"/>
                  </a:lnTo>
                  <a:lnTo>
                    <a:pt x="743" y="998"/>
                  </a:lnTo>
                  <a:lnTo>
                    <a:pt x="743" y="996"/>
                  </a:lnTo>
                  <a:lnTo>
                    <a:pt x="743" y="996"/>
                  </a:lnTo>
                  <a:lnTo>
                    <a:pt x="743" y="994"/>
                  </a:lnTo>
                  <a:lnTo>
                    <a:pt x="745" y="992"/>
                  </a:lnTo>
                  <a:lnTo>
                    <a:pt x="747" y="990"/>
                  </a:lnTo>
                  <a:lnTo>
                    <a:pt x="749" y="986"/>
                  </a:lnTo>
                  <a:lnTo>
                    <a:pt x="749" y="986"/>
                  </a:lnTo>
                  <a:lnTo>
                    <a:pt x="751" y="983"/>
                  </a:lnTo>
                  <a:lnTo>
                    <a:pt x="753" y="981"/>
                  </a:lnTo>
                  <a:lnTo>
                    <a:pt x="753" y="979"/>
                  </a:lnTo>
                  <a:lnTo>
                    <a:pt x="753" y="979"/>
                  </a:lnTo>
                  <a:lnTo>
                    <a:pt x="753" y="971"/>
                  </a:lnTo>
                  <a:lnTo>
                    <a:pt x="749" y="965"/>
                  </a:lnTo>
                  <a:lnTo>
                    <a:pt x="747" y="962"/>
                  </a:lnTo>
                  <a:lnTo>
                    <a:pt x="743" y="960"/>
                  </a:lnTo>
                  <a:lnTo>
                    <a:pt x="740" y="956"/>
                  </a:lnTo>
                  <a:lnTo>
                    <a:pt x="736" y="954"/>
                  </a:lnTo>
                  <a:lnTo>
                    <a:pt x="732" y="952"/>
                  </a:lnTo>
                  <a:lnTo>
                    <a:pt x="730" y="948"/>
                  </a:lnTo>
                  <a:lnTo>
                    <a:pt x="730" y="948"/>
                  </a:lnTo>
                  <a:lnTo>
                    <a:pt x="726" y="944"/>
                  </a:lnTo>
                  <a:lnTo>
                    <a:pt x="724" y="937"/>
                  </a:lnTo>
                  <a:lnTo>
                    <a:pt x="723" y="931"/>
                  </a:lnTo>
                  <a:lnTo>
                    <a:pt x="721" y="923"/>
                  </a:lnTo>
                  <a:lnTo>
                    <a:pt x="719" y="916"/>
                  </a:lnTo>
                  <a:lnTo>
                    <a:pt x="717" y="908"/>
                  </a:lnTo>
                  <a:lnTo>
                    <a:pt x="715" y="901"/>
                  </a:lnTo>
                  <a:lnTo>
                    <a:pt x="713" y="893"/>
                  </a:lnTo>
                  <a:lnTo>
                    <a:pt x="711" y="887"/>
                  </a:lnTo>
                  <a:lnTo>
                    <a:pt x="709" y="880"/>
                  </a:lnTo>
                  <a:lnTo>
                    <a:pt x="705" y="874"/>
                  </a:lnTo>
                  <a:lnTo>
                    <a:pt x="700" y="868"/>
                  </a:lnTo>
                  <a:lnTo>
                    <a:pt x="696" y="862"/>
                  </a:lnTo>
                  <a:lnTo>
                    <a:pt x="688" y="860"/>
                  </a:lnTo>
                  <a:lnTo>
                    <a:pt x="681" y="859"/>
                  </a:lnTo>
                  <a:lnTo>
                    <a:pt x="673" y="857"/>
                  </a:lnTo>
                  <a:lnTo>
                    <a:pt x="673" y="857"/>
                  </a:lnTo>
                  <a:lnTo>
                    <a:pt x="669" y="857"/>
                  </a:lnTo>
                  <a:lnTo>
                    <a:pt x="667" y="857"/>
                  </a:lnTo>
                  <a:lnTo>
                    <a:pt x="665" y="855"/>
                  </a:lnTo>
                  <a:lnTo>
                    <a:pt x="663" y="853"/>
                  </a:lnTo>
                  <a:lnTo>
                    <a:pt x="661" y="851"/>
                  </a:lnTo>
                  <a:lnTo>
                    <a:pt x="661" y="849"/>
                  </a:lnTo>
                  <a:lnTo>
                    <a:pt x="661" y="845"/>
                  </a:lnTo>
                  <a:lnTo>
                    <a:pt x="661" y="843"/>
                  </a:lnTo>
                  <a:lnTo>
                    <a:pt x="661" y="843"/>
                  </a:lnTo>
                  <a:lnTo>
                    <a:pt x="661" y="838"/>
                  </a:lnTo>
                  <a:lnTo>
                    <a:pt x="663" y="832"/>
                  </a:lnTo>
                  <a:lnTo>
                    <a:pt x="667" y="828"/>
                  </a:lnTo>
                  <a:lnTo>
                    <a:pt x="669" y="824"/>
                  </a:lnTo>
                  <a:lnTo>
                    <a:pt x="673" y="820"/>
                  </a:lnTo>
                  <a:lnTo>
                    <a:pt x="679" y="817"/>
                  </a:lnTo>
                  <a:lnTo>
                    <a:pt x="681" y="815"/>
                  </a:lnTo>
                  <a:lnTo>
                    <a:pt x="684" y="813"/>
                  </a:lnTo>
                  <a:lnTo>
                    <a:pt x="682" y="813"/>
                  </a:lnTo>
                  <a:lnTo>
                    <a:pt x="682" y="813"/>
                  </a:lnTo>
                  <a:lnTo>
                    <a:pt x="684" y="813"/>
                  </a:lnTo>
                  <a:lnTo>
                    <a:pt x="688" y="811"/>
                  </a:lnTo>
                  <a:lnTo>
                    <a:pt x="688" y="809"/>
                  </a:lnTo>
                  <a:lnTo>
                    <a:pt x="690" y="807"/>
                  </a:lnTo>
                  <a:lnTo>
                    <a:pt x="692" y="805"/>
                  </a:lnTo>
                  <a:lnTo>
                    <a:pt x="694" y="803"/>
                  </a:lnTo>
                  <a:lnTo>
                    <a:pt x="694" y="799"/>
                  </a:lnTo>
                  <a:lnTo>
                    <a:pt x="694" y="798"/>
                  </a:lnTo>
                  <a:lnTo>
                    <a:pt x="694" y="798"/>
                  </a:lnTo>
                  <a:lnTo>
                    <a:pt x="694" y="794"/>
                  </a:lnTo>
                  <a:lnTo>
                    <a:pt x="692" y="790"/>
                  </a:lnTo>
                  <a:lnTo>
                    <a:pt x="690" y="784"/>
                  </a:lnTo>
                  <a:lnTo>
                    <a:pt x="690" y="780"/>
                  </a:lnTo>
                  <a:lnTo>
                    <a:pt x="688" y="778"/>
                  </a:lnTo>
                  <a:lnTo>
                    <a:pt x="686" y="775"/>
                  </a:lnTo>
                  <a:lnTo>
                    <a:pt x="684" y="771"/>
                  </a:lnTo>
                  <a:lnTo>
                    <a:pt x="682" y="769"/>
                  </a:lnTo>
                  <a:lnTo>
                    <a:pt x="682" y="769"/>
                  </a:lnTo>
                  <a:lnTo>
                    <a:pt x="686" y="765"/>
                  </a:lnTo>
                  <a:lnTo>
                    <a:pt x="690" y="763"/>
                  </a:lnTo>
                  <a:lnTo>
                    <a:pt x="698" y="759"/>
                  </a:lnTo>
                  <a:lnTo>
                    <a:pt x="703" y="756"/>
                  </a:lnTo>
                  <a:lnTo>
                    <a:pt x="709" y="750"/>
                  </a:lnTo>
                  <a:lnTo>
                    <a:pt x="715" y="746"/>
                  </a:lnTo>
                  <a:lnTo>
                    <a:pt x="719" y="740"/>
                  </a:lnTo>
                  <a:lnTo>
                    <a:pt x="721" y="736"/>
                  </a:lnTo>
                  <a:lnTo>
                    <a:pt x="721" y="736"/>
                  </a:lnTo>
                  <a:lnTo>
                    <a:pt x="719" y="735"/>
                  </a:lnTo>
                  <a:lnTo>
                    <a:pt x="719" y="731"/>
                  </a:lnTo>
                  <a:lnTo>
                    <a:pt x="715" y="729"/>
                  </a:lnTo>
                  <a:lnTo>
                    <a:pt x="713" y="727"/>
                  </a:lnTo>
                  <a:lnTo>
                    <a:pt x="711" y="723"/>
                  </a:lnTo>
                  <a:lnTo>
                    <a:pt x="707" y="721"/>
                  </a:lnTo>
                  <a:lnTo>
                    <a:pt x="705" y="717"/>
                  </a:lnTo>
                  <a:lnTo>
                    <a:pt x="705" y="714"/>
                  </a:lnTo>
                  <a:lnTo>
                    <a:pt x="705" y="714"/>
                  </a:lnTo>
                  <a:lnTo>
                    <a:pt x="705" y="710"/>
                  </a:lnTo>
                  <a:lnTo>
                    <a:pt x="705" y="708"/>
                  </a:lnTo>
                  <a:lnTo>
                    <a:pt x="705" y="706"/>
                  </a:lnTo>
                  <a:lnTo>
                    <a:pt x="705" y="704"/>
                  </a:lnTo>
                  <a:lnTo>
                    <a:pt x="723" y="700"/>
                  </a:lnTo>
                  <a:lnTo>
                    <a:pt x="723" y="700"/>
                  </a:lnTo>
                  <a:lnTo>
                    <a:pt x="726" y="698"/>
                  </a:lnTo>
                  <a:lnTo>
                    <a:pt x="728" y="694"/>
                  </a:lnTo>
                  <a:lnTo>
                    <a:pt x="730" y="691"/>
                  </a:lnTo>
                  <a:lnTo>
                    <a:pt x="732" y="687"/>
                  </a:lnTo>
                  <a:lnTo>
                    <a:pt x="734" y="683"/>
                  </a:lnTo>
                  <a:lnTo>
                    <a:pt x="736" y="677"/>
                  </a:lnTo>
                  <a:lnTo>
                    <a:pt x="738" y="674"/>
                  </a:lnTo>
                  <a:lnTo>
                    <a:pt x="740" y="668"/>
                  </a:lnTo>
                  <a:lnTo>
                    <a:pt x="742" y="662"/>
                  </a:lnTo>
                  <a:lnTo>
                    <a:pt x="743" y="656"/>
                  </a:lnTo>
                  <a:lnTo>
                    <a:pt x="743" y="653"/>
                  </a:lnTo>
                  <a:lnTo>
                    <a:pt x="745" y="647"/>
                  </a:lnTo>
                  <a:lnTo>
                    <a:pt x="745" y="641"/>
                  </a:lnTo>
                  <a:lnTo>
                    <a:pt x="747" y="635"/>
                  </a:lnTo>
                  <a:lnTo>
                    <a:pt x="747" y="632"/>
                  </a:lnTo>
                  <a:lnTo>
                    <a:pt x="747" y="626"/>
                  </a:lnTo>
                  <a:lnTo>
                    <a:pt x="747" y="626"/>
                  </a:lnTo>
                  <a:lnTo>
                    <a:pt x="751" y="626"/>
                  </a:lnTo>
                  <a:lnTo>
                    <a:pt x="757" y="624"/>
                  </a:lnTo>
                  <a:lnTo>
                    <a:pt x="761" y="624"/>
                  </a:lnTo>
                  <a:lnTo>
                    <a:pt x="764" y="622"/>
                  </a:lnTo>
                  <a:lnTo>
                    <a:pt x="770" y="622"/>
                  </a:lnTo>
                  <a:lnTo>
                    <a:pt x="774" y="622"/>
                  </a:lnTo>
                  <a:lnTo>
                    <a:pt x="778" y="620"/>
                  </a:lnTo>
                  <a:lnTo>
                    <a:pt x="784" y="620"/>
                  </a:lnTo>
                  <a:lnTo>
                    <a:pt x="787" y="620"/>
                  </a:lnTo>
                  <a:lnTo>
                    <a:pt x="793" y="620"/>
                  </a:lnTo>
                  <a:lnTo>
                    <a:pt x="797" y="618"/>
                  </a:lnTo>
                  <a:lnTo>
                    <a:pt x="803" y="618"/>
                  </a:lnTo>
                  <a:lnTo>
                    <a:pt x="806" y="618"/>
                  </a:lnTo>
                  <a:lnTo>
                    <a:pt x="812" y="618"/>
                  </a:lnTo>
                  <a:lnTo>
                    <a:pt x="818" y="618"/>
                  </a:lnTo>
                  <a:lnTo>
                    <a:pt x="824" y="618"/>
                  </a:lnTo>
                  <a:lnTo>
                    <a:pt x="816" y="307"/>
                  </a:lnTo>
                  <a:lnTo>
                    <a:pt x="209" y="0"/>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6" name="Freeform 250"/>
            <p:cNvSpPr>
              <a:spLocks/>
            </p:cNvSpPr>
            <p:nvPr/>
          </p:nvSpPr>
          <p:spPr bwMode="gray">
            <a:xfrm>
              <a:off x="1586" y="1336"/>
              <a:ext cx="686" cy="503"/>
            </a:xfrm>
            <a:custGeom>
              <a:avLst/>
              <a:gdLst/>
              <a:ahLst/>
              <a:cxnLst>
                <a:cxn ang="0">
                  <a:pos x="225" y="883"/>
                </a:cxn>
                <a:cxn ang="0">
                  <a:pos x="183" y="862"/>
                </a:cxn>
                <a:cxn ang="0">
                  <a:pos x="151" y="887"/>
                </a:cxn>
                <a:cxn ang="0">
                  <a:pos x="134" y="864"/>
                </a:cxn>
                <a:cxn ang="0">
                  <a:pos x="141" y="862"/>
                </a:cxn>
                <a:cxn ang="0">
                  <a:pos x="149" y="845"/>
                </a:cxn>
                <a:cxn ang="0">
                  <a:pos x="126" y="834"/>
                </a:cxn>
                <a:cxn ang="0">
                  <a:pos x="107" y="841"/>
                </a:cxn>
                <a:cxn ang="0">
                  <a:pos x="65" y="814"/>
                </a:cxn>
                <a:cxn ang="0">
                  <a:pos x="67" y="797"/>
                </a:cxn>
                <a:cxn ang="0">
                  <a:pos x="69" y="778"/>
                </a:cxn>
                <a:cxn ang="0">
                  <a:pos x="19" y="727"/>
                </a:cxn>
                <a:cxn ang="0">
                  <a:pos x="4" y="656"/>
                </a:cxn>
                <a:cxn ang="0">
                  <a:pos x="38" y="660"/>
                </a:cxn>
                <a:cxn ang="0">
                  <a:pos x="75" y="649"/>
                </a:cxn>
                <a:cxn ang="0">
                  <a:pos x="239" y="628"/>
                </a:cxn>
                <a:cxn ang="0">
                  <a:pos x="300" y="586"/>
                </a:cxn>
                <a:cxn ang="0">
                  <a:pos x="326" y="505"/>
                </a:cxn>
                <a:cxn ang="0">
                  <a:pos x="326" y="431"/>
                </a:cxn>
                <a:cxn ang="0">
                  <a:pos x="323" y="378"/>
                </a:cxn>
                <a:cxn ang="0">
                  <a:pos x="456" y="309"/>
                </a:cxn>
                <a:cxn ang="0">
                  <a:pos x="969" y="2"/>
                </a:cxn>
                <a:cxn ang="0">
                  <a:pos x="1013" y="15"/>
                </a:cxn>
                <a:cxn ang="0">
                  <a:pos x="1053" y="32"/>
                </a:cxn>
                <a:cxn ang="0">
                  <a:pos x="1095" y="65"/>
                </a:cxn>
                <a:cxn ang="0">
                  <a:pos x="1149" y="46"/>
                </a:cxn>
                <a:cxn ang="0">
                  <a:pos x="1170" y="173"/>
                </a:cxn>
                <a:cxn ang="0">
                  <a:pos x="1198" y="217"/>
                </a:cxn>
                <a:cxn ang="0">
                  <a:pos x="1211" y="248"/>
                </a:cxn>
                <a:cxn ang="0">
                  <a:pos x="1198" y="267"/>
                </a:cxn>
                <a:cxn ang="0">
                  <a:pos x="1154" y="544"/>
                </a:cxn>
                <a:cxn ang="0">
                  <a:pos x="1097" y="620"/>
                </a:cxn>
                <a:cxn ang="0">
                  <a:pos x="1046" y="690"/>
                </a:cxn>
                <a:cxn ang="0">
                  <a:pos x="1025" y="721"/>
                </a:cxn>
                <a:cxn ang="0">
                  <a:pos x="1032" y="757"/>
                </a:cxn>
                <a:cxn ang="0">
                  <a:pos x="1015" y="780"/>
                </a:cxn>
                <a:cxn ang="0">
                  <a:pos x="965" y="811"/>
                </a:cxn>
                <a:cxn ang="0">
                  <a:pos x="931" y="828"/>
                </a:cxn>
                <a:cxn ang="0">
                  <a:pos x="889" y="813"/>
                </a:cxn>
                <a:cxn ang="0">
                  <a:pos x="847" y="795"/>
                </a:cxn>
                <a:cxn ang="0">
                  <a:pos x="792" y="801"/>
                </a:cxn>
                <a:cxn ang="0">
                  <a:pos x="742" y="828"/>
                </a:cxn>
                <a:cxn ang="0">
                  <a:pos x="691" y="837"/>
                </a:cxn>
                <a:cxn ang="0">
                  <a:pos x="643" y="818"/>
                </a:cxn>
                <a:cxn ang="0">
                  <a:pos x="599" y="797"/>
                </a:cxn>
                <a:cxn ang="0">
                  <a:pos x="569" y="803"/>
                </a:cxn>
                <a:cxn ang="0">
                  <a:pos x="540" y="816"/>
                </a:cxn>
                <a:cxn ang="0">
                  <a:pos x="510" y="816"/>
                </a:cxn>
                <a:cxn ang="0">
                  <a:pos x="485" y="782"/>
                </a:cxn>
                <a:cxn ang="0">
                  <a:pos x="454" y="765"/>
                </a:cxn>
                <a:cxn ang="0">
                  <a:pos x="408" y="753"/>
                </a:cxn>
                <a:cxn ang="0">
                  <a:pos x="365" y="753"/>
                </a:cxn>
                <a:cxn ang="0">
                  <a:pos x="313" y="769"/>
                </a:cxn>
                <a:cxn ang="0">
                  <a:pos x="294" y="805"/>
                </a:cxn>
                <a:cxn ang="0">
                  <a:pos x="267" y="843"/>
                </a:cxn>
                <a:cxn ang="0">
                  <a:pos x="248" y="898"/>
                </a:cxn>
              </a:cxnLst>
              <a:rect l="0" t="0" r="r" b="b"/>
              <a:pathLst>
                <a:path w="1211" h="916">
                  <a:moveTo>
                    <a:pt x="252" y="908"/>
                  </a:moveTo>
                  <a:lnTo>
                    <a:pt x="256" y="916"/>
                  </a:lnTo>
                  <a:lnTo>
                    <a:pt x="256" y="916"/>
                  </a:lnTo>
                  <a:lnTo>
                    <a:pt x="248" y="910"/>
                  </a:lnTo>
                  <a:lnTo>
                    <a:pt x="242" y="902"/>
                  </a:lnTo>
                  <a:lnTo>
                    <a:pt x="233" y="895"/>
                  </a:lnTo>
                  <a:lnTo>
                    <a:pt x="225" y="883"/>
                  </a:lnTo>
                  <a:lnTo>
                    <a:pt x="216" y="874"/>
                  </a:lnTo>
                  <a:lnTo>
                    <a:pt x="208" y="866"/>
                  </a:lnTo>
                  <a:lnTo>
                    <a:pt x="199" y="860"/>
                  </a:lnTo>
                  <a:lnTo>
                    <a:pt x="193" y="858"/>
                  </a:lnTo>
                  <a:lnTo>
                    <a:pt x="193" y="858"/>
                  </a:lnTo>
                  <a:lnTo>
                    <a:pt x="189" y="860"/>
                  </a:lnTo>
                  <a:lnTo>
                    <a:pt x="183" y="862"/>
                  </a:lnTo>
                  <a:lnTo>
                    <a:pt x="176" y="866"/>
                  </a:lnTo>
                  <a:lnTo>
                    <a:pt x="168" y="872"/>
                  </a:lnTo>
                  <a:lnTo>
                    <a:pt x="162" y="876"/>
                  </a:lnTo>
                  <a:lnTo>
                    <a:pt x="157" y="879"/>
                  </a:lnTo>
                  <a:lnTo>
                    <a:pt x="153" y="883"/>
                  </a:lnTo>
                  <a:lnTo>
                    <a:pt x="151" y="887"/>
                  </a:lnTo>
                  <a:lnTo>
                    <a:pt x="151" y="887"/>
                  </a:lnTo>
                  <a:lnTo>
                    <a:pt x="147" y="885"/>
                  </a:lnTo>
                  <a:lnTo>
                    <a:pt x="143" y="883"/>
                  </a:lnTo>
                  <a:lnTo>
                    <a:pt x="141" y="879"/>
                  </a:lnTo>
                  <a:lnTo>
                    <a:pt x="138" y="877"/>
                  </a:lnTo>
                  <a:lnTo>
                    <a:pt x="136" y="874"/>
                  </a:lnTo>
                  <a:lnTo>
                    <a:pt x="134" y="870"/>
                  </a:lnTo>
                  <a:lnTo>
                    <a:pt x="134" y="864"/>
                  </a:lnTo>
                  <a:lnTo>
                    <a:pt x="134" y="858"/>
                  </a:lnTo>
                  <a:lnTo>
                    <a:pt x="134" y="858"/>
                  </a:lnTo>
                  <a:lnTo>
                    <a:pt x="136" y="860"/>
                  </a:lnTo>
                  <a:lnTo>
                    <a:pt x="138" y="862"/>
                  </a:lnTo>
                  <a:lnTo>
                    <a:pt x="139" y="862"/>
                  </a:lnTo>
                  <a:lnTo>
                    <a:pt x="139" y="862"/>
                  </a:lnTo>
                  <a:lnTo>
                    <a:pt x="141" y="862"/>
                  </a:lnTo>
                  <a:lnTo>
                    <a:pt x="145" y="860"/>
                  </a:lnTo>
                  <a:lnTo>
                    <a:pt x="147" y="860"/>
                  </a:lnTo>
                  <a:lnTo>
                    <a:pt x="151" y="858"/>
                  </a:lnTo>
                  <a:lnTo>
                    <a:pt x="151" y="858"/>
                  </a:lnTo>
                  <a:lnTo>
                    <a:pt x="151" y="855"/>
                  </a:lnTo>
                  <a:lnTo>
                    <a:pt x="149" y="849"/>
                  </a:lnTo>
                  <a:lnTo>
                    <a:pt x="149" y="845"/>
                  </a:lnTo>
                  <a:lnTo>
                    <a:pt x="147" y="841"/>
                  </a:lnTo>
                  <a:lnTo>
                    <a:pt x="143" y="837"/>
                  </a:lnTo>
                  <a:lnTo>
                    <a:pt x="141" y="835"/>
                  </a:lnTo>
                  <a:lnTo>
                    <a:pt x="136" y="834"/>
                  </a:lnTo>
                  <a:lnTo>
                    <a:pt x="132" y="834"/>
                  </a:lnTo>
                  <a:lnTo>
                    <a:pt x="132" y="834"/>
                  </a:lnTo>
                  <a:lnTo>
                    <a:pt x="126" y="834"/>
                  </a:lnTo>
                  <a:lnTo>
                    <a:pt x="122" y="834"/>
                  </a:lnTo>
                  <a:lnTo>
                    <a:pt x="120" y="835"/>
                  </a:lnTo>
                  <a:lnTo>
                    <a:pt x="117" y="837"/>
                  </a:lnTo>
                  <a:lnTo>
                    <a:pt x="115" y="839"/>
                  </a:lnTo>
                  <a:lnTo>
                    <a:pt x="113" y="839"/>
                  </a:lnTo>
                  <a:lnTo>
                    <a:pt x="109" y="841"/>
                  </a:lnTo>
                  <a:lnTo>
                    <a:pt x="107" y="841"/>
                  </a:lnTo>
                  <a:lnTo>
                    <a:pt x="107" y="841"/>
                  </a:lnTo>
                  <a:lnTo>
                    <a:pt x="101" y="839"/>
                  </a:lnTo>
                  <a:lnTo>
                    <a:pt x="94" y="837"/>
                  </a:lnTo>
                  <a:lnTo>
                    <a:pt x="86" y="832"/>
                  </a:lnTo>
                  <a:lnTo>
                    <a:pt x="78" y="826"/>
                  </a:lnTo>
                  <a:lnTo>
                    <a:pt x="71" y="820"/>
                  </a:lnTo>
                  <a:lnTo>
                    <a:pt x="65" y="814"/>
                  </a:lnTo>
                  <a:lnTo>
                    <a:pt x="59" y="809"/>
                  </a:lnTo>
                  <a:lnTo>
                    <a:pt x="56" y="803"/>
                  </a:lnTo>
                  <a:lnTo>
                    <a:pt x="56" y="803"/>
                  </a:lnTo>
                  <a:lnTo>
                    <a:pt x="59" y="801"/>
                  </a:lnTo>
                  <a:lnTo>
                    <a:pt x="61" y="799"/>
                  </a:lnTo>
                  <a:lnTo>
                    <a:pt x="65" y="799"/>
                  </a:lnTo>
                  <a:lnTo>
                    <a:pt x="67" y="797"/>
                  </a:lnTo>
                  <a:lnTo>
                    <a:pt x="71" y="795"/>
                  </a:lnTo>
                  <a:lnTo>
                    <a:pt x="73" y="794"/>
                  </a:lnTo>
                  <a:lnTo>
                    <a:pt x="77" y="792"/>
                  </a:lnTo>
                  <a:lnTo>
                    <a:pt x="80" y="790"/>
                  </a:lnTo>
                  <a:lnTo>
                    <a:pt x="80" y="790"/>
                  </a:lnTo>
                  <a:lnTo>
                    <a:pt x="75" y="784"/>
                  </a:lnTo>
                  <a:lnTo>
                    <a:pt x="69" y="778"/>
                  </a:lnTo>
                  <a:lnTo>
                    <a:pt x="63" y="773"/>
                  </a:lnTo>
                  <a:lnTo>
                    <a:pt x="56" y="765"/>
                  </a:lnTo>
                  <a:lnTo>
                    <a:pt x="48" y="759"/>
                  </a:lnTo>
                  <a:lnTo>
                    <a:pt x="40" y="752"/>
                  </a:lnTo>
                  <a:lnTo>
                    <a:pt x="35" y="744"/>
                  </a:lnTo>
                  <a:lnTo>
                    <a:pt x="27" y="734"/>
                  </a:lnTo>
                  <a:lnTo>
                    <a:pt x="19" y="727"/>
                  </a:lnTo>
                  <a:lnTo>
                    <a:pt x="14" y="717"/>
                  </a:lnTo>
                  <a:lnTo>
                    <a:pt x="10" y="708"/>
                  </a:lnTo>
                  <a:lnTo>
                    <a:pt x="4" y="698"/>
                  </a:lnTo>
                  <a:lnTo>
                    <a:pt x="2" y="689"/>
                  </a:lnTo>
                  <a:lnTo>
                    <a:pt x="0" y="677"/>
                  </a:lnTo>
                  <a:lnTo>
                    <a:pt x="0" y="668"/>
                  </a:lnTo>
                  <a:lnTo>
                    <a:pt x="4" y="656"/>
                  </a:lnTo>
                  <a:lnTo>
                    <a:pt x="4" y="656"/>
                  </a:lnTo>
                  <a:lnTo>
                    <a:pt x="8" y="654"/>
                  </a:lnTo>
                  <a:lnTo>
                    <a:pt x="14" y="652"/>
                  </a:lnTo>
                  <a:lnTo>
                    <a:pt x="19" y="654"/>
                  </a:lnTo>
                  <a:lnTo>
                    <a:pt x="25" y="656"/>
                  </a:lnTo>
                  <a:lnTo>
                    <a:pt x="31" y="658"/>
                  </a:lnTo>
                  <a:lnTo>
                    <a:pt x="38" y="660"/>
                  </a:lnTo>
                  <a:lnTo>
                    <a:pt x="46" y="662"/>
                  </a:lnTo>
                  <a:lnTo>
                    <a:pt x="54" y="662"/>
                  </a:lnTo>
                  <a:lnTo>
                    <a:pt x="54" y="662"/>
                  </a:lnTo>
                  <a:lnTo>
                    <a:pt x="59" y="660"/>
                  </a:lnTo>
                  <a:lnTo>
                    <a:pt x="65" y="658"/>
                  </a:lnTo>
                  <a:lnTo>
                    <a:pt x="69" y="654"/>
                  </a:lnTo>
                  <a:lnTo>
                    <a:pt x="75" y="649"/>
                  </a:lnTo>
                  <a:lnTo>
                    <a:pt x="80" y="643"/>
                  </a:lnTo>
                  <a:lnTo>
                    <a:pt x="84" y="639"/>
                  </a:lnTo>
                  <a:lnTo>
                    <a:pt x="88" y="635"/>
                  </a:lnTo>
                  <a:lnTo>
                    <a:pt x="92" y="631"/>
                  </a:lnTo>
                  <a:lnTo>
                    <a:pt x="174" y="631"/>
                  </a:lnTo>
                  <a:lnTo>
                    <a:pt x="174" y="628"/>
                  </a:lnTo>
                  <a:lnTo>
                    <a:pt x="239" y="628"/>
                  </a:lnTo>
                  <a:lnTo>
                    <a:pt x="239" y="628"/>
                  </a:lnTo>
                  <a:lnTo>
                    <a:pt x="252" y="622"/>
                  </a:lnTo>
                  <a:lnTo>
                    <a:pt x="263" y="616"/>
                  </a:lnTo>
                  <a:lnTo>
                    <a:pt x="275" y="610"/>
                  </a:lnTo>
                  <a:lnTo>
                    <a:pt x="283" y="603"/>
                  </a:lnTo>
                  <a:lnTo>
                    <a:pt x="292" y="595"/>
                  </a:lnTo>
                  <a:lnTo>
                    <a:pt x="300" y="586"/>
                  </a:lnTo>
                  <a:lnTo>
                    <a:pt x="305" y="576"/>
                  </a:lnTo>
                  <a:lnTo>
                    <a:pt x="311" y="566"/>
                  </a:lnTo>
                  <a:lnTo>
                    <a:pt x="315" y="555"/>
                  </a:lnTo>
                  <a:lnTo>
                    <a:pt x="319" y="544"/>
                  </a:lnTo>
                  <a:lnTo>
                    <a:pt x="323" y="532"/>
                  </a:lnTo>
                  <a:lnTo>
                    <a:pt x="324" y="519"/>
                  </a:lnTo>
                  <a:lnTo>
                    <a:pt x="326" y="505"/>
                  </a:lnTo>
                  <a:lnTo>
                    <a:pt x="326" y="490"/>
                  </a:lnTo>
                  <a:lnTo>
                    <a:pt x="328" y="473"/>
                  </a:lnTo>
                  <a:lnTo>
                    <a:pt x="328" y="458"/>
                  </a:lnTo>
                  <a:lnTo>
                    <a:pt x="328" y="458"/>
                  </a:lnTo>
                  <a:lnTo>
                    <a:pt x="328" y="448"/>
                  </a:lnTo>
                  <a:lnTo>
                    <a:pt x="328" y="439"/>
                  </a:lnTo>
                  <a:lnTo>
                    <a:pt x="326" y="431"/>
                  </a:lnTo>
                  <a:lnTo>
                    <a:pt x="326" y="421"/>
                  </a:lnTo>
                  <a:lnTo>
                    <a:pt x="324" y="414"/>
                  </a:lnTo>
                  <a:lnTo>
                    <a:pt x="324" y="406"/>
                  </a:lnTo>
                  <a:lnTo>
                    <a:pt x="324" y="399"/>
                  </a:lnTo>
                  <a:lnTo>
                    <a:pt x="323" y="391"/>
                  </a:lnTo>
                  <a:lnTo>
                    <a:pt x="323" y="385"/>
                  </a:lnTo>
                  <a:lnTo>
                    <a:pt x="323" y="378"/>
                  </a:lnTo>
                  <a:lnTo>
                    <a:pt x="323" y="370"/>
                  </a:lnTo>
                  <a:lnTo>
                    <a:pt x="323" y="362"/>
                  </a:lnTo>
                  <a:lnTo>
                    <a:pt x="323" y="357"/>
                  </a:lnTo>
                  <a:lnTo>
                    <a:pt x="324" y="347"/>
                  </a:lnTo>
                  <a:lnTo>
                    <a:pt x="326" y="339"/>
                  </a:lnTo>
                  <a:lnTo>
                    <a:pt x="328" y="332"/>
                  </a:lnTo>
                  <a:lnTo>
                    <a:pt x="456" y="309"/>
                  </a:lnTo>
                  <a:lnTo>
                    <a:pt x="593" y="194"/>
                  </a:lnTo>
                  <a:lnTo>
                    <a:pt x="937" y="0"/>
                  </a:lnTo>
                  <a:lnTo>
                    <a:pt x="937" y="0"/>
                  </a:lnTo>
                  <a:lnTo>
                    <a:pt x="944" y="0"/>
                  </a:lnTo>
                  <a:lnTo>
                    <a:pt x="954" y="0"/>
                  </a:lnTo>
                  <a:lnTo>
                    <a:pt x="962" y="2"/>
                  </a:lnTo>
                  <a:lnTo>
                    <a:pt x="969" y="2"/>
                  </a:lnTo>
                  <a:lnTo>
                    <a:pt x="977" y="4"/>
                  </a:lnTo>
                  <a:lnTo>
                    <a:pt x="983" y="6"/>
                  </a:lnTo>
                  <a:lnTo>
                    <a:pt x="990" y="8"/>
                  </a:lnTo>
                  <a:lnTo>
                    <a:pt x="996" y="9"/>
                  </a:lnTo>
                  <a:lnTo>
                    <a:pt x="1002" y="11"/>
                  </a:lnTo>
                  <a:lnTo>
                    <a:pt x="1007" y="13"/>
                  </a:lnTo>
                  <a:lnTo>
                    <a:pt x="1013" y="15"/>
                  </a:lnTo>
                  <a:lnTo>
                    <a:pt x="1021" y="19"/>
                  </a:lnTo>
                  <a:lnTo>
                    <a:pt x="1026" y="21"/>
                  </a:lnTo>
                  <a:lnTo>
                    <a:pt x="1032" y="25"/>
                  </a:lnTo>
                  <a:lnTo>
                    <a:pt x="1040" y="27"/>
                  </a:lnTo>
                  <a:lnTo>
                    <a:pt x="1046" y="28"/>
                  </a:lnTo>
                  <a:lnTo>
                    <a:pt x="1046" y="28"/>
                  </a:lnTo>
                  <a:lnTo>
                    <a:pt x="1053" y="32"/>
                  </a:lnTo>
                  <a:lnTo>
                    <a:pt x="1059" y="38"/>
                  </a:lnTo>
                  <a:lnTo>
                    <a:pt x="1065" y="44"/>
                  </a:lnTo>
                  <a:lnTo>
                    <a:pt x="1070" y="49"/>
                  </a:lnTo>
                  <a:lnTo>
                    <a:pt x="1074" y="55"/>
                  </a:lnTo>
                  <a:lnTo>
                    <a:pt x="1082" y="61"/>
                  </a:lnTo>
                  <a:lnTo>
                    <a:pt x="1088" y="63"/>
                  </a:lnTo>
                  <a:lnTo>
                    <a:pt x="1095" y="65"/>
                  </a:lnTo>
                  <a:lnTo>
                    <a:pt x="1095" y="65"/>
                  </a:lnTo>
                  <a:lnTo>
                    <a:pt x="1105" y="65"/>
                  </a:lnTo>
                  <a:lnTo>
                    <a:pt x="1112" y="61"/>
                  </a:lnTo>
                  <a:lnTo>
                    <a:pt x="1122" y="59"/>
                  </a:lnTo>
                  <a:lnTo>
                    <a:pt x="1131" y="55"/>
                  </a:lnTo>
                  <a:lnTo>
                    <a:pt x="1141" y="51"/>
                  </a:lnTo>
                  <a:lnTo>
                    <a:pt x="1149" y="46"/>
                  </a:lnTo>
                  <a:lnTo>
                    <a:pt x="1156" y="42"/>
                  </a:lnTo>
                  <a:lnTo>
                    <a:pt x="1160" y="38"/>
                  </a:lnTo>
                  <a:lnTo>
                    <a:pt x="1160" y="166"/>
                  </a:lnTo>
                  <a:lnTo>
                    <a:pt x="1160" y="166"/>
                  </a:lnTo>
                  <a:lnTo>
                    <a:pt x="1162" y="168"/>
                  </a:lnTo>
                  <a:lnTo>
                    <a:pt x="1166" y="170"/>
                  </a:lnTo>
                  <a:lnTo>
                    <a:pt x="1170" y="173"/>
                  </a:lnTo>
                  <a:lnTo>
                    <a:pt x="1171" y="179"/>
                  </a:lnTo>
                  <a:lnTo>
                    <a:pt x="1175" y="185"/>
                  </a:lnTo>
                  <a:lnTo>
                    <a:pt x="1181" y="191"/>
                  </a:lnTo>
                  <a:lnTo>
                    <a:pt x="1185" y="196"/>
                  </a:lnTo>
                  <a:lnTo>
                    <a:pt x="1189" y="204"/>
                  </a:lnTo>
                  <a:lnTo>
                    <a:pt x="1194" y="210"/>
                  </a:lnTo>
                  <a:lnTo>
                    <a:pt x="1198" y="217"/>
                  </a:lnTo>
                  <a:lnTo>
                    <a:pt x="1202" y="223"/>
                  </a:lnTo>
                  <a:lnTo>
                    <a:pt x="1206" y="231"/>
                  </a:lnTo>
                  <a:lnTo>
                    <a:pt x="1208" y="236"/>
                  </a:lnTo>
                  <a:lnTo>
                    <a:pt x="1210" y="240"/>
                  </a:lnTo>
                  <a:lnTo>
                    <a:pt x="1211" y="244"/>
                  </a:lnTo>
                  <a:lnTo>
                    <a:pt x="1211" y="248"/>
                  </a:lnTo>
                  <a:lnTo>
                    <a:pt x="1211" y="248"/>
                  </a:lnTo>
                  <a:lnTo>
                    <a:pt x="1211" y="252"/>
                  </a:lnTo>
                  <a:lnTo>
                    <a:pt x="1210" y="254"/>
                  </a:lnTo>
                  <a:lnTo>
                    <a:pt x="1208" y="257"/>
                  </a:lnTo>
                  <a:lnTo>
                    <a:pt x="1206" y="259"/>
                  </a:lnTo>
                  <a:lnTo>
                    <a:pt x="1204" y="263"/>
                  </a:lnTo>
                  <a:lnTo>
                    <a:pt x="1200" y="265"/>
                  </a:lnTo>
                  <a:lnTo>
                    <a:pt x="1198" y="267"/>
                  </a:lnTo>
                  <a:lnTo>
                    <a:pt x="1196" y="267"/>
                  </a:lnTo>
                  <a:lnTo>
                    <a:pt x="1196" y="378"/>
                  </a:lnTo>
                  <a:lnTo>
                    <a:pt x="1179" y="515"/>
                  </a:lnTo>
                  <a:lnTo>
                    <a:pt x="1179" y="515"/>
                  </a:lnTo>
                  <a:lnTo>
                    <a:pt x="1170" y="525"/>
                  </a:lnTo>
                  <a:lnTo>
                    <a:pt x="1162" y="534"/>
                  </a:lnTo>
                  <a:lnTo>
                    <a:pt x="1154" y="544"/>
                  </a:lnTo>
                  <a:lnTo>
                    <a:pt x="1145" y="553"/>
                  </a:lnTo>
                  <a:lnTo>
                    <a:pt x="1137" y="565"/>
                  </a:lnTo>
                  <a:lnTo>
                    <a:pt x="1129" y="574"/>
                  </a:lnTo>
                  <a:lnTo>
                    <a:pt x="1120" y="586"/>
                  </a:lnTo>
                  <a:lnTo>
                    <a:pt x="1112" y="597"/>
                  </a:lnTo>
                  <a:lnTo>
                    <a:pt x="1105" y="608"/>
                  </a:lnTo>
                  <a:lnTo>
                    <a:pt x="1097" y="620"/>
                  </a:lnTo>
                  <a:lnTo>
                    <a:pt x="1088" y="631"/>
                  </a:lnTo>
                  <a:lnTo>
                    <a:pt x="1080" y="643"/>
                  </a:lnTo>
                  <a:lnTo>
                    <a:pt x="1072" y="656"/>
                  </a:lnTo>
                  <a:lnTo>
                    <a:pt x="1063" y="668"/>
                  </a:lnTo>
                  <a:lnTo>
                    <a:pt x="1055" y="679"/>
                  </a:lnTo>
                  <a:lnTo>
                    <a:pt x="1046" y="690"/>
                  </a:lnTo>
                  <a:lnTo>
                    <a:pt x="1046" y="690"/>
                  </a:lnTo>
                  <a:lnTo>
                    <a:pt x="1044" y="696"/>
                  </a:lnTo>
                  <a:lnTo>
                    <a:pt x="1040" y="700"/>
                  </a:lnTo>
                  <a:lnTo>
                    <a:pt x="1036" y="704"/>
                  </a:lnTo>
                  <a:lnTo>
                    <a:pt x="1032" y="708"/>
                  </a:lnTo>
                  <a:lnTo>
                    <a:pt x="1028" y="711"/>
                  </a:lnTo>
                  <a:lnTo>
                    <a:pt x="1026" y="715"/>
                  </a:lnTo>
                  <a:lnTo>
                    <a:pt x="1025" y="721"/>
                  </a:lnTo>
                  <a:lnTo>
                    <a:pt x="1025" y="727"/>
                  </a:lnTo>
                  <a:lnTo>
                    <a:pt x="1025" y="727"/>
                  </a:lnTo>
                  <a:lnTo>
                    <a:pt x="1025" y="732"/>
                  </a:lnTo>
                  <a:lnTo>
                    <a:pt x="1026" y="740"/>
                  </a:lnTo>
                  <a:lnTo>
                    <a:pt x="1026" y="746"/>
                  </a:lnTo>
                  <a:lnTo>
                    <a:pt x="1028" y="752"/>
                  </a:lnTo>
                  <a:lnTo>
                    <a:pt x="1032" y="757"/>
                  </a:lnTo>
                  <a:lnTo>
                    <a:pt x="1034" y="763"/>
                  </a:lnTo>
                  <a:lnTo>
                    <a:pt x="1036" y="769"/>
                  </a:lnTo>
                  <a:lnTo>
                    <a:pt x="1038" y="773"/>
                  </a:lnTo>
                  <a:lnTo>
                    <a:pt x="1038" y="773"/>
                  </a:lnTo>
                  <a:lnTo>
                    <a:pt x="1030" y="774"/>
                  </a:lnTo>
                  <a:lnTo>
                    <a:pt x="1023" y="776"/>
                  </a:lnTo>
                  <a:lnTo>
                    <a:pt x="1015" y="780"/>
                  </a:lnTo>
                  <a:lnTo>
                    <a:pt x="1007" y="784"/>
                  </a:lnTo>
                  <a:lnTo>
                    <a:pt x="1002" y="788"/>
                  </a:lnTo>
                  <a:lnTo>
                    <a:pt x="994" y="792"/>
                  </a:lnTo>
                  <a:lnTo>
                    <a:pt x="986" y="797"/>
                  </a:lnTo>
                  <a:lnTo>
                    <a:pt x="979" y="801"/>
                  </a:lnTo>
                  <a:lnTo>
                    <a:pt x="973" y="807"/>
                  </a:lnTo>
                  <a:lnTo>
                    <a:pt x="965" y="811"/>
                  </a:lnTo>
                  <a:lnTo>
                    <a:pt x="960" y="814"/>
                  </a:lnTo>
                  <a:lnTo>
                    <a:pt x="954" y="818"/>
                  </a:lnTo>
                  <a:lnTo>
                    <a:pt x="946" y="822"/>
                  </a:lnTo>
                  <a:lnTo>
                    <a:pt x="941" y="824"/>
                  </a:lnTo>
                  <a:lnTo>
                    <a:pt x="935" y="826"/>
                  </a:lnTo>
                  <a:lnTo>
                    <a:pt x="931" y="828"/>
                  </a:lnTo>
                  <a:lnTo>
                    <a:pt x="931" y="828"/>
                  </a:lnTo>
                  <a:lnTo>
                    <a:pt x="923" y="826"/>
                  </a:lnTo>
                  <a:lnTo>
                    <a:pt x="918" y="826"/>
                  </a:lnTo>
                  <a:lnTo>
                    <a:pt x="910" y="824"/>
                  </a:lnTo>
                  <a:lnTo>
                    <a:pt x="904" y="822"/>
                  </a:lnTo>
                  <a:lnTo>
                    <a:pt x="899" y="818"/>
                  </a:lnTo>
                  <a:lnTo>
                    <a:pt x="895" y="816"/>
                  </a:lnTo>
                  <a:lnTo>
                    <a:pt x="889" y="813"/>
                  </a:lnTo>
                  <a:lnTo>
                    <a:pt x="883" y="811"/>
                  </a:lnTo>
                  <a:lnTo>
                    <a:pt x="878" y="807"/>
                  </a:lnTo>
                  <a:lnTo>
                    <a:pt x="874" y="805"/>
                  </a:lnTo>
                  <a:lnTo>
                    <a:pt x="868" y="801"/>
                  </a:lnTo>
                  <a:lnTo>
                    <a:pt x="861" y="799"/>
                  </a:lnTo>
                  <a:lnTo>
                    <a:pt x="855" y="797"/>
                  </a:lnTo>
                  <a:lnTo>
                    <a:pt x="847" y="795"/>
                  </a:lnTo>
                  <a:lnTo>
                    <a:pt x="840" y="794"/>
                  </a:lnTo>
                  <a:lnTo>
                    <a:pt x="830" y="794"/>
                  </a:lnTo>
                  <a:lnTo>
                    <a:pt x="830" y="794"/>
                  </a:lnTo>
                  <a:lnTo>
                    <a:pt x="819" y="794"/>
                  </a:lnTo>
                  <a:lnTo>
                    <a:pt x="809" y="795"/>
                  </a:lnTo>
                  <a:lnTo>
                    <a:pt x="799" y="797"/>
                  </a:lnTo>
                  <a:lnTo>
                    <a:pt x="792" y="801"/>
                  </a:lnTo>
                  <a:lnTo>
                    <a:pt x="784" y="805"/>
                  </a:lnTo>
                  <a:lnTo>
                    <a:pt x="777" y="809"/>
                  </a:lnTo>
                  <a:lnTo>
                    <a:pt x="769" y="813"/>
                  </a:lnTo>
                  <a:lnTo>
                    <a:pt x="763" y="816"/>
                  </a:lnTo>
                  <a:lnTo>
                    <a:pt x="758" y="820"/>
                  </a:lnTo>
                  <a:lnTo>
                    <a:pt x="750" y="824"/>
                  </a:lnTo>
                  <a:lnTo>
                    <a:pt x="742" y="828"/>
                  </a:lnTo>
                  <a:lnTo>
                    <a:pt x="737" y="832"/>
                  </a:lnTo>
                  <a:lnTo>
                    <a:pt x="729" y="834"/>
                  </a:lnTo>
                  <a:lnTo>
                    <a:pt x="719" y="837"/>
                  </a:lnTo>
                  <a:lnTo>
                    <a:pt x="710" y="837"/>
                  </a:lnTo>
                  <a:lnTo>
                    <a:pt x="700" y="839"/>
                  </a:lnTo>
                  <a:lnTo>
                    <a:pt x="700" y="839"/>
                  </a:lnTo>
                  <a:lnTo>
                    <a:pt x="691" y="837"/>
                  </a:lnTo>
                  <a:lnTo>
                    <a:pt x="683" y="837"/>
                  </a:lnTo>
                  <a:lnTo>
                    <a:pt x="675" y="835"/>
                  </a:lnTo>
                  <a:lnTo>
                    <a:pt x="668" y="832"/>
                  </a:lnTo>
                  <a:lnTo>
                    <a:pt x="662" y="830"/>
                  </a:lnTo>
                  <a:lnTo>
                    <a:pt x="654" y="826"/>
                  </a:lnTo>
                  <a:lnTo>
                    <a:pt x="649" y="822"/>
                  </a:lnTo>
                  <a:lnTo>
                    <a:pt x="643" y="818"/>
                  </a:lnTo>
                  <a:lnTo>
                    <a:pt x="637" y="814"/>
                  </a:lnTo>
                  <a:lnTo>
                    <a:pt x="632" y="811"/>
                  </a:lnTo>
                  <a:lnTo>
                    <a:pt x="626" y="807"/>
                  </a:lnTo>
                  <a:lnTo>
                    <a:pt x="620" y="803"/>
                  </a:lnTo>
                  <a:lnTo>
                    <a:pt x="613" y="801"/>
                  </a:lnTo>
                  <a:lnTo>
                    <a:pt x="607" y="799"/>
                  </a:lnTo>
                  <a:lnTo>
                    <a:pt x="599" y="797"/>
                  </a:lnTo>
                  <a:lnTo>
                    <a:pt x="592" y="797"/>
                  </a:lnTo>
                  <a:lnTo>
                    <a:pt x="592" y="797"/>
                  </a:lnTo>
                  <a:lnTo>
                    <a:pt x="586" y="797"/>
                  </a:lnTo>
                  <a:lnTo>
                    <a:pt x="582" y="797"/>
                  </a:lnTo>
                  <a:lnTo>
                    <a:pt x="576" y="799"/>
                  </a:lnTo>
                  <a:lnTo>
                    <a:pt x="572" y="801"/>
                  </a:lnTo>
                  <a:lnTo>
                    <a:pt x="569" y="803"/>
                  </a:lnTo>
                  <a:lnTo>
                    <a:pt x="563" y="805"/>
                  </a:lnTo>
                  <a:lnTo>
                    <a:pt x="559" y="807"/>
                  </a:lnTo>
                  <a:lnTo>
                    <a:pt x="555" y="809"/>
                  </a:lnTo>
                  <a:lnTo>
                    <a:pt x="551" y="811"/>
                  </a:lnTo>
                  <a:lnTo>
                    <a:pt x="548" y="813"/>
                  </a:lnTo>
                  <a:lnTo>
                    <a:pt x="544" y="814"/>
                  </a:lnTo>
                  <a:lnTo>
                    <a:pt x="540" y="816"/>
                  </a:lnTo>
                  <a:lnTo>
                    <a:pt x="534" y="818"/>
                  </a:lnTo>
                  <a:lnTo>
                    <a:pt x="531" y="820"/>
                  </a:lnTo>
                  <a:lnTo>
                    <a:pt x="525" y="820"/>
                  </a:lnTo>
                  <a:lnTo>
                    <a:pt x="521" y="820"/>
                  </a:lnTo>
                  <a:lnTo>
                    <a:pt x="521" y="820"/>
                  </a:lnTo>
                  <a:lnTo>
                    <a:pt x="513" y="820"/>
                  </a:lnTo>
                  <a:lnTo>
                    <a:pt x="510" y="816"/>
                  </a:lnTo>
                  <a:lnTo>
                    <a:pt x="504" y="813"/>
                  </a:lnTo>
                  <a:lnTo>
                    <a:pt x="500" y="807"/>
                  </a:lnTo>
                  <a:lnTo>
                    <a:pt x="496" y="799"/>
                  </a:lnTo>
                  <a:lnTo>
                    <a:pt x="492" y="794"/>
                  </a:lnTo>
                  <a:lnTo>
                    <a:pt x="489" y="788"/>
                  </a:lnTo>
                  <a:lnTo>
                    <a:pt x="485" y="782"/>
                  </a:lnTo>
                  <a:lnTo>
                    <a:pt x="485" y="782"/>
                  </a:lnTo>
                  <a:lnTo>
                    <a:pt x="483" y="780"/>
                  </a:lnTo>
                  <a:lnTo>
                    <a:pt x="479" y="776"/>
                  </a:lnTo>
                  <a:lnTo>
                    <a:pt x="475" y="774"/>
                  </a:lnTo>
                  <a:lnTo>
                    <a:pt x="471" y="773"/>
                  </a:lnTo>
                  <a:lnTo>
                    <a:pt x="466" y="769"/>
                  </a:lnTo>
                  <a:lnTo>
                    <a:pt x="460" y="767"/>
                  </a:lnTo>
                  <a:lnTo>
                    <a:pt x="454" y="765"/>
                  </a:lnTo>
                  <a:lnTo>
                    <a:pt x="447" y="763"/>
                  </a:lnTo>
                  <a:lnTo>
                    <a:pt x="441" y="761"/>
                  </a:lnTo>
                  <a:lnTo>
                    <a:pt x="433" y="759"/>
                  </a:lnTo>
                  <a:lnTo>
                    <a:pt x="428" y="757"/>
                  </a:lnTo>
                  <a:lnTo>
                    <a:pt x="420" y="755"/>
                  </a:lnTo>
                  <a:lnTo>
                    <a:pt x="414" y="753"/>
                  </a:lnTo>
                  <a:lnTo>
                    <a:pt x="408" y="753"/>
                  </a:lnTo>
                  <a:lnTo>
                    <a:pt x="403" y="752"/>
                  </a:lnTo>
                  <a:lnTo>
                    <a:pt x="399" y="752"/>
                  </a:lnTo>
                  <a:lnTo>
                    <a:pt x="399" y="752"/>
                  </a:lnTo>
                  <a:lnTo>
                    <a:pt x="391" y="752"/>
                  </a:lnTo>
                  <a:lnTo>
                    <a:pt x="382" y="753"/>
                  </a:lnTo>
                  <a:lnTo>
                    <a:pt x="374" y="753"/>
                  </a:lnTo>
                  <a:lnTo>
                    <a:pt x="365" y="753"/>
                  </a:lnTo>
                  <a:lnTo>
                    <a:pt x="357" y="755"/>
                  </a:lnTo>
                  <a:lnTo>
                    <a:pt x="349" y="757"/>
                  </a:lnTo>
                  <a:lnTo>
                    <a:pt x="340" y="759"/>
                  </a:lnTo>
                  <a:lnTo>
                    <a:pt x="332" y="761"/>
                  </a:lnTo>
                  <a:lnTo>
                    <a:pt x="326" y="763"/>
                  </a:lnTo>
                  <a:lnTo>
                    <a:pt x="319" y="765"/>
                  </a:lnTo>
                  <a:lnTo>
                    <a:pt x="313" y="769"/>
                  </a:lnTo>
                  <a:lnTo>
                    <a:pt x="309" y="773"/>
                  </a:lnTo>
                  <a:lnTo>
                    <a:pt x="304" y="778"/>
                  </a:lnTo>
                  <a:lnTo>
                    <a:pt x="302" y="782"/>
                  </a:lnTo>
                  <a:lnTo>
                    <a:pt x="298" y="788"/>
                  </a:lnTo>
                  <a:lnTo>
                    <a:pt x="296" y="795"/>
                  </a:lnTo>
                  <a:lnTo>
                    <a:pt x="296" y="795"/>
                  </a:lnTo>
                  <a:lnTo>
                    <a:pt x="294" y="805"/>
                  </a:lnTo>
                  <a:lnTo>
                    <a:pt x="292" y="814"/>
                  </a:lnTo>
                  <a:lnTo>
                    <a:pt x="288" y="822"/>
                  </a:lnTo>
                  <a:lnTo>
                    <a:pt x="284" y="828"/>
                  </a:lnTo>
                  <a:lnTo>
                    <a:pt x="281" y="832"/>
                  </a:lnTo>
                  <a:lnTo>
                    <a:pt x="277" y="835"/>
                  </a:lnTo>
                  <a:lnTo>
                    <a:pt x="273" y="839"/>
                  </a:lnTo>
                  <a:lnTo>
                    <a:pt x="267" y="843"/>
                  </a:lnTo>
                  <a:lnTo>
                    <a:pt x="263" y="847"/>
                  </a:lnTo>
                  <a:lnTo>
                    <a:pt x="260" y="851"/>
                  </a:lnTo>
                  <a:lnTo>
                    <a:pt x="256" y="856"/>
                  </a:lnTo>
                  <a:lnTo>
                    <a:pt x="254" y="864"/>
                  </a:lnTo>
                  <a:lnTo>
                    <a:pt x="252" y="874"/>
                  </a:lnTo>
                  <a:lnTo>
                    <a:pt x="250" y="885"/>
                  </a:lnTo>
                  <a:lnTo>
                    <a:pt x="248" y="898"/>
                  </a:lnTo>
                  <a:lnTo>
                    <a:pt x="250" y="916"/>
                  </a:lnTo>
                  <a:lnTo>
                    <a:pt x="252" y="908"/>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7" name="Freeform 251"/>
            <p:cNvSpPr>
              <a:spLocks/>
            </p:cNvSpPr>
            <p:nvPr/>
          </p:nvSpPr>
          <p:spPr bwMode="gray">
            <a:xfrm>
              <a:off x="2541" y="1330"/>
              <a:ext cx="714" cy="873"/>
            </a:xfrm>
            <a:custGeom>
              <a:avLst/>
              <a:gdLst/>
              <a:ahLst/>
              <a:cxnLst>
                <a:cxn ang="0">
                  <a:pos x="857" y="117"/>
                </a:cxn>
                <a:cxn ang="0">
                  <a:pos x="891" y="84"/>
                </a:cxn>
                <a:cxn ang="0">
                  <a:pos x="943" y="67"/>
                </a:cxn>
                <a:cxn ang="0">
                  <a:pos x="998" y="10"/>
                </a:cxn>
                <a:cxn ang="0">
                  <a:pos x="1061" y="40"/>
                </a:cxn>
                <a:cxn ang="0">
                  <a:pos x="1137" y="149"/>
                </a:cxn>
                <a:cxn ang="0">
                  <a:pos x="1156" y="268"/>
                </a:cxn>
                <a:cxn ang="0">
                  <a:pos x="1198" y="353"/>
                </a:cxn>
                <a:cxn ang="0">
                  <a:pos x="1259" y="392"/>
                </a:cxn>
                <a:cxn ang="0">
                  <a:pos x="1195" y="468"/>
                </a:cxn>
                <a:cxn ang="0">
                  <a:pos x="1149" y="537"/>
                </a:cxn>
                <a:cxn ang="0">
                  <a:pos x="1139" y="588"/>
                </a:cxn>
                <a:cxn ang="0">
                  <a:pos x="1126" y="653"/>
                </a:cxn>
                <a:cxn ang="0">
                  <a:pos x="1134" y="706"/>
                </a:cxn>
                <a:cxn ang="0">
                  <a:pos x="1116" y="773"/>
                </a:cxn>
                <a:cxn ang="0">
                  <a:pos x="1105" y="840"/>
                </a:cxn>
                <a:cxn ang="0">
                  <a:pos x="1069" y="867"/>
                </a:cxn>
                <a:cxn ang="0">
                  <a:pos x="1040" y="937"/>
                </a:cxn>
                <a:cxn ang="0">
                  <a:pos x="1006" y="998"/>
                </a:cxn>
                <a:cxn ang="0">
                  <a:pos x="987" y="1040"/>
                </a:cxn>
                <a:cxn ang="0">
                  <a:pos x="968" y="1113"/>
                </a:cxn>
                <a:cxn ang="0">
                  <a:pos x="958" y="1179"/>
                </a:cxn>
                <a:cxn ang="0">
                  <a:pos x="901" y="1208"/>
                </a:cxn>
                <a:cxn ang="0">
                  <a:pos x="893" y="1239"/>
                </a:cxn>
                <a:cxn ang="0">
                  <a:pos x="964" y="1265"/>
                </a:cxn>
                <a:cxn ang="0">
                  <a:pos x="1027" y="1332"/>
                </a:cxn>
                <a:cxn ang="0">
                  <a:pos x="1046" y="1391"/>
                </a:cxn>
                <a:cxn ang="0">
                  <a:pos x="1092" y="1422"/>
                </a:cxn>
                <a:cxn ang="0">
                  <a:pos x="1116" y="1475"/>
                </a:cxn>
                <a:cxn ang="0">
                  <a:pos x="992" y="1504"/>
                </a:cxn>
                <a:cxn ang="0">
                  <a:pos x="928" y="1561"/>
                </a:cxn>
                <a:cxn ang="0">
                  <a:pos x="893" y="1561"/>
                </a:cxn>
                <a:cxn ang="0">
                  <a:pos x="844" y="1576"/>
                </a:cxn>
                <a:cxn ang="0">
                  <a:pos x="783" y="1565"/>
                </a:cxn>
                <a:cxn ang="0">
                  <a:pos x="729" y="1584"/>
                </a:cxn>
                <a:cxn ang="0">
                  <a:pos x="701" y="1571"/>
                </a:cxn>
                <a:cxn ang="0">
                  <a:pos x="676" y="1559"/>
                </a:cxn>
                <a:cxn ang="0">
                  <a:pos x="611" y="1513"/>
                </a:cxn>
                <a:cxn ang="0">
                  <a:pos x="563" y="1519"/>
                </a:cxn>
                <a:cxn ang="0">
                  <a:pos x="519" y="1532"/>
                </a:cxn>
                <a:cxn ang="0">
                  <a:pos x="462" y="1483"/>
                </a:cxn>
                <a:cxn ang="0">
                  <a:pos x="435" y="1441"/>
                </a:cxn>
                <a:cxn ang="0">
                  <a:pos x="388" y="1401"/>
                </a:cxn>
                <a:cxn ang="0">
                  <a:pos x="355" y="1343"/>
                </a:cxn>
                <a:cxn ang="0">
                  <a:pos x="304" y="1303"/>
                </a:cxn>
                <a:cxn ang="0">
                  <a:pos x="269" y="1263"/>
                </a:cxn>
                <a:cxn ang="0">
                  <a:pos x="248" y="1233"/>
                </a:cxn>
                <a:cxn ang="0">
                  <a:pos x="189" y="1183"/>
                </a:cxn>
                <a:cxn ang="0">
                  <a:pos x="147" y="1181"/>
                </a:cxn>
                <a:cxn ang="0">
                  <a:pos x="142" y="1126"/>
                </a:cxn>
                <a:cxn ang="0">
                  <a:pos x="115" y="1054"/>
                </a:cxn>
                <a:cxn ang="0">
                  <a:pos x="86" y="998"/>
                </a:cxn>
                <a:cxn ang="0">
                  <a:pos x="75" y="962"/>
                </a:cxn>
                <a:cxn ang="0">
                  <a:pos x="50" y="895"/>
                </a:cxn>
                <a:cxn ang="0">
                  <a:pos x="2" y="861"/>
                </a:cxn>
                <a:cxn ang="0">
                  <a:pos x="20" y="823"/>
                </a:cxn>
                <a:cxn ang="0">
                  <a:pos x="33" y="806"/>
                </a:cxn>
                <a:cxn ang="0">
                  <a:pos x="37" y="767"/>
                </a:cxn>
                <a:cxn ang="0">
                  <a:pos x="46" y="729"/>
                </a:cxn>
                <a:cxn ang="0">
                  <a:pos x="69" y="699"/>
                </a:cxn>
                <a:cxn ang="0">
                  <a:pos x="86" y="640"/>
                </a:cxn>
                <a:cxn ang="0">
                  <a:pos x="132" y="628"/>
                </a:cxn>
              </a:cxnLst>
              <a:rect l="0" t="0" r="r" b="b"/>
              <a:pathLst>
                <a:path w="1261" h="1590">
                  <a:moveTo>
                    <a:pt x="155" y="315"/>
                  </a:moveTo>
                  <a:lnTo>
                    <a:pt x="153" y="279"/>
                  </a:lnTo>
                  <a:lnTo>
                    <a:pt x="227" y="279"/>
                  </a:lnTo>
                  <a:lnTo>
                    <a:pt x="218" y="121"/>
                  </a:lnTo>
                  <a:lnTo>
                    <a:pt x="830" y="105"/>
                  </a:lnTo>
                  <a:lnTo>
                    <a:pt x="830" y="105"/>
                  </a:lnTo>
                  <a:lnTo>
                    <a:pt x="838" y="107"/>
                  </a:lnTo>
                  <a:lnTo>
                    <a:pt x="842" y="109"/>
                  </a:lnTo>
                  <a:lnTo>
                    <a:pt x="847" y="111"/>
                  </a:lnTo>
                  <a:lnTo>
                    <a:pt x="849" y="113"/>
                  </a:lnTo>
                  <a:lnTo>
                    <a:pt x="853" y="115"/>
                  </a:lnTo>
                  <a:lnTo>
                    <a:pt x="857" y="117"/>
                  </a:lnTo>
                  <a:lnTo>
                    <a:pt x="863" y="117"/>
                  </a:lnTo>
                  <a:lnTo>
                    <a:pt x="868" y="119"/>
                  </a:lnTo>
                  <a:lnTo>
                    <a:pt x="868" y="119"/>
                  </a:lnTo>
                  <a:lnTo>
                    <a:pt x="874" y="117"/>
                  </a:lnTo>
                  <a:lnTo>
                    <a:pt x="880" y="113"/>
                  </a:lnTo>
                  <a:lnTo>
                    <a:pt x="884" y="109"/>
                  </a:lnTo>
                  <a:lnTo>
                    <a:pt x="884" y="103"/>
                  </a:lnTo>
                  <a:lnTo>
                    <a:pt x="886" y="98"/>
                  </a:lnTo>
                  <a:lnTo>
                    <a:pt x="887" y="94"/>
                  </a:lnTo>
                  <a:lnTo>
                    <a:pt x="889" y="88"/>
                  </a:lnTo>
                  <a:lnTo>
                    <a:pt x="891" y="84"/>
                  </a:lnTo>
                  <a:lnTo>
                    <a:pt x="891" y="84"/>
                  </a:lnTo>
                  <a:lnTo>
                    <a:pt x="897" y="82"/>
                  </a:lnTo>
                  <a:lnTo>
                    <a:pt x="903" y="81"/>
                  </a:lnTo>
                  <a:lnTo>
                    <a:pt x="908" y="81"/>
                  </a:lnTo>
                  <a:lnTo>
                    <a:pt x="914" y="79"/>
                  </a:lnTo>
                  <a:lnTo>
                    <a:pt x="920" y="79"/>
                  </a:lnTo>
                  <a:lnTo>
                    <a:pt x="924" y="79"/>
                  </a:lnTo>
                  <a:lnTo>
                    <a:pt x="929" y="79"/>
                  </a:lnTo>
                  <a:lnTo>
                    <a:pt x="933" y="77"/>
                  </a:lnTo>
                  <a:lnTo>
                    <a:pt x="933" y="77"/>
                  </a:lnTo>
                  <a:lnTo>
                    <a:pt x="937" y="73"/>
                  </a:lnTo>
                  <a:lnTo>
                    <a:pt x="941" y="69"/>
                  </a:lnTo>
                  <a:lnTo>
                    <a:pt x="943" y="67"/>
                  </a:lnTo>
                  <a:lnTo>
                    <a:pt x="947" y="61"/>
                  </a:lnTo>
                  <a:lnTo>
                    <a:pt x="947" y="58"/>
                  </a:lnTo>
                  <a:lnTo>
                    <a:pt x="949" y="54"/>
                  </a:lnTo>
                  <a:lnTo>
                    <a:pt x="950" y="48"/>
                  </a:lnTo>
                  <a:lnTo>
                    <a:pt x="954" y="44"/>
                  </a:lnTo>
                  <a:lnTo>
                    <a:pt x="954" y="44"/>
                  </a:lnTo>
                  <a:lnTo>
                    <a:pt x="960" y="37"/>
                  </a:lnTo>
                  <a:lnTo>
                    <a:pt x="966" y="29"/>
                  </a:lnTo>
                  <a:lnTo>
                    <a:pt x="973" y="23"/>
                  </a:lnTo>
                  <a:lnTo>
                    <a:pt x="981" y="20"/>
                  </a:lnTo>
                  <a:lnTo>
                    <a:pt x="990" y="14"/>
                  </a:lnTo>
                  <a:lnTo>
                    <a:pt x="998" y="10"/>
                  </a:lnTo>
                  <a:lnTo>
                    <a:pt x="1006" y="4"/>
                  </a:lnTo>
                  <a:lnTo>
                    <a:pt x="1013" y="0"/>
                  </a:lnTo>
                  <a:lnTo>
                    <a:pt x="1013" y="0"/>
                  </a:lnTo>
                  <a:lnTo>
                    <a:pt x="1017" y="10"/>
                  </a:lnTo>
                  <a:lnTo>
                    <a:pt x="1023" y="16"/>
                  </a:lnTo>
                  <a:lnTo>
                    <a:pt x="1029" y="20"/>
                  </a:lnTo>
                  <a:lnTo>
                    <a:pt x="1034" y="23"/>
                  </a:lnTo>
                  <a:lnTo>
                    <a:pt x="1042" y="27"/>
                  </a:lnTo>
                  <a:lnTo>
                    <a:pt x="1048" y="31"/>
                  </a:lnTo>
                  <a:lnTo>
                    <a:pt x="1055" y="37"/>
                  </a:lnTo>
                  <a:lnTo>
                    <a:pt x="1061" y="40"/>
                  </a:lnTo>
                  <a:lnTo>
                    <a:pt x="1061" y="40"/>
                  </a:lnTo>
                  <a:lnTo>
                    <a:pt x="1069" y="50"/>
                  </a:lnTo>
                  <a:lnTo>
                    <a:pt x="1076" y="58"/>
                  </a:lnTo>
                  <a:lnTo>
                    <a:pt x="1086" y="65"/>
                  </a:lnTo>
                  <a:lnTo>
                    <a:pt x="1092" y="75"/>
                  </a:lnTo>
                  <a:lnTo>
                    <a:pt x="1099" y="82"/>
                  </a:lnTo>
                  <a:lnTo>
                    <a:pt x="1107" y="92"/>
                  </a:lnTo>
                  <a:lnTo>
                    <a:pt x="1113" y="100"/>
                  </a:lnTo>
                  <a:lnTo>
                    <a:pt x="1118" y="109"/>
                  </a:lnTo>
                  <a:lnTo>
                    <a:pt x="1124" y="119"/>
                  </a:lnTo>
                  <a:lnTo>
                    <a:pt x="1130" y="128"/>
                  </a:lnTo>
                  <a:lnTo>
                    <a:pt x="1134" y="138"/>
                  </a:lnTo>
                  <a:lnTo>
                    <a:pt x="1137" y="149"/>
                  </a:lnTo>
                  <a:lnTo>
                    <a:pt x="1139" y="161"/>
                  </a:lnTo>
                  <a:lnTo>
                    <a:pt x="1141" y="174"/>
                  </a:lnTo>
                  <a:lnTo>
                    <a:pt x="1143" y="187"/>
                  </a:lnTo>
                  <a:lnTo>
                    <a:pt x="1143" y="201"/>
                  </a:lnTo>
                  <a:lnTo>
                    <a:pt x="1143" y="201"/>
                  </a:lnTo>
                  <a:lnTo>
                    <a:pt x="1143" y="206"/>
                  </a:lnTo>
                  <a:lnTo>
                    <a:pt x="1145" y="214"/>
                  </a:lnTo>
                  <a:lnTo>
                    <a:pt x="1147" y="224"/>
                  </a:lnTo>
                  <a:lnTo>
                    <a:pt x="1149" y="233"/>
                  </a:lnTo>
                  <a:lnTo>
                    <a:pt x="1151" y="245"/>
                  </a:lnTo>
                  <a:lnTo>
                    <a:pt x="1153" y="256"/>
                  </a:lnTo>
                  <a:lnTo>
                    <a:pt x="1156" y="268"/>
                  </a:lnTo>
                  <a:lnTo>
                    <a:pt x="1160" y="281"/>
                  </a:lnTo>
                  <a:lnTo>
                    <a:pt x="1164" y="292"/>
                  </a:lnTo>
                  <a:lnTo>
                    <a:pt x="1168" y="304"/>
                  </a:lnTo>
                  <a:lnTo>
                    <a:pt x="1172" y="313"/>
                  </a:lnTo>
                  <a:lnTo>
                    <a:pt x="1176" y="323"/>
                  </a:lnTo>
                  <a:lnTo>
                    <a:pt x="1179" y="332"/>
                  </a:lnTo>
                  <a:lnTo>
                    <a:pt x="1183" y="340"/>
                  </a:lnTo>
                  <a:lnTo>
                    <a:pt x="1187" y="344"/>
                  </a:lnTo>
                  <a:lnTo>
                    <a:pt x="1191" y="348"/>
                  </a:lnTo>
                  <a:lnTo>
                    <a:pt x="1191" y="348"/>
                  </a:lnTo>
                  <a:lnTo>
                    <a:pt x="1195" y="351"/>
                  </a:lnTo>
                  <a:lnTo>
                    <a:pt x="1198" y="353"/>
                  </a:lnTo>
                  <a:lnTo>
                    <a:pt x="1204" y="357"/>
                  </a:lnTo>
                  <a:lnTo>
                    <a:pt x="1210" y="359"/>
                  </a:lnTo>
                  <a:lnTo>
                    <a:pt x="1216" y="361"/>
                  </a:lnTo>
                  <a:lnTo>
                    <a:pt x="1221" y="365"/>
                  </a:lnTo>
                  <a:lnTo>
                    <a:pt x="1227" y="369"/>
                  </a:lnTo>
                  <a:lnTo>
                    <a:pt x="1233" y="371"/>
                  </a:lnTo>
                  <a:lnTo>
                    <a:pt x="1238" y="374"/>
                  </a:lnTo>
                  <a:lnTo>
                    <a:pt x="1244" y="376"/>
                  </a:lnTo>
                  <a:lnTo>
                    <a:pt x="1248" y="380"/>
                  </a:lnTo>
                  <a:lnTo>
                    <a:pt x="1252" y="384"/>
                  </a:lnTo>
                  <a:lnTo>
                    <a:pt x="1256" y="388"/>
                  </a:lnTo>
                  <a:lnTo>
                    <a:pt x="1259" y="392"/>
                  </a:lnTo>
                  <a:lnTo>
                    <a:pt x="1261" y="393"/>
                  </a:lnTo>
                  <a:lnTo>
                    <a:pt x="1261" y="397"/>
                  </a:lnTo>
                  <a:lnTo>
                    <a:pt x="1261" y="397"/>
                  </a:lnTo>
                  <a:lnTo>
                    <a:pt x="1259" y="411"/>
                  </a:lnTo>
                  <a:lnTo>
                    <a:pt x="1256" y="420"/>
                  </a:lnTo>
                  <a:lnTo>
                    <a:pt x="1250" y="430"/>
                  </a:lnTo>
                  <a:lnTo>
                    <a:pt x="1244" y="437"/>
                  </a:lnTo>
                  <a:lnTo>
                    <a:pt x="1235" y="445"/>
                  </a:lnTo>
                  <a:lnTo>
                    <a:pt x="1225" y="451"/>
                  </a:lnTo>
                  <a:lnTo>
                    <a:pt x="1216" y="456"/>
                  </a:lnTo>
                  <a:lnTo>
                    <a:pt x="1206" y="462"/>
                  </a:lnTo>
                  <a:lnTo>
                    <a:pt x="1195" y="468"/>
                  </a:lnTo>
                  <a:lnTo>
                    <a:pt x="1185" y="474"/>
                  </a:lnTo>
                  <a:lnTo>
                    <a:pt x="1176" y="479"/>
                  </a:lnTo>
                  <a:lnTo>
                    <a:pt x="1166" y="487"/>
                  </a:lnTo>
                  <a:lnTo>
                    <a:pt x="1160" y="495"/>
                  </a:lnTo>
                  <a:lnTo>
                    <a:pt x="1155" y="504"/>
                  </a:lnTo>
                  <a:lnTo>
                    <a:pt x="1151" y="514"/>
                  </a:lnTo>
                  <a:lnTo>
                    <a:pt x="1149" y="525"/>
                  </a:lnTo>
                  <a:lnTo>
                    <a:pt x="1149" y="525"/>
                  </a:lnTo>
                  <a:lnTo>
                    <a:pt x="1149" y="529"/>
                  </a:lnTo>
                  <a:lnTo>
                    <a:pt x="1149" y="533"/>
                  </a:lnTo>
                  <a:lnTo>
                    <a:pt x="1149" y="535"/>
                  </a:lnTo>
                  <a:lnTo>
                    <a:pt x="1149" y="537"/>
                  </a:lnTo>
                  <a:lnTo>
                    <a:pt x="1149" y="540"/>
                  </a:lnTo>
                  <a:lnTo>
                    <a:pt x="1149" y="544"/>
                  </a:lnTo>
                  <a:lnTo>
                    <a:pt x="1149" y="546"/>
                  </a:lnTo>
                  <a:lnTo>
                    <a:pt x="1149" y="550"/>
                  </a:lnTo>
                  <a:lnTo>
                    <a:pt x="1149" y="550"/>
                  </a:lnTo>
                  <a:lnTo>
                    <a:pt x="1149" y="554"/>
                  </a:lnTo>
                  <a:lnTo>
                    <a:pt x="1149" y="559"/>
                  </a:lnTo>
                  <a:lnTo>
                    <a:pt x="1147" y="565"/>
                  </a:lnTo>
                  <a:lnTo>
                    <a:pt x="1145" y="569"/>
                  </a:lnTo>
                  <a:lnTo>
                    <a:pt x="1143" y="575"/>
                  </a:lnTo>
                  <a:lnTo>
                    <a:pt x="1141" y="582"/>
                  </a:lnTo>
                  <a:lnTo>
                    <a:pt x="1139" y="588"/>
                  </a:lnTo>
                  <a:lnTo>
                    <a:pt x="1137" y="594"/>
                  </a:lnTo>
                  <a:lnTo>
                    <a:pt x="1135" y="599"/>
                  </a:lnTo>
                  <a:lnTo>
                    <a:pt x="1134" y="607"/>
                  </a:lnTo>
                  <a:lnTo>
                    <a:pt x="1132" y="613"/>
                  </a:lnTo>
                  <a:lnTo>
                    <a:pt x="1130" y="619"/>
                  </a:lnTo>
                  <a:lnTo>
                    <a:pt x="1128" y="626"/>
                  </a:lnTo>
                  <a:lnTo>
                    <a:pt x="1126" y="632"/>
                  </a:lnTo>
                  <a:lnTo>
                    <a:pt x="1126" y="638"/>
                  </a:lnTo>
                  <a:lnTo>
                    <a:pt x="1126" y="643"/>
                  </a:lnTo>
                  <a:lnTo>
                    <a:pt x="1126" y="643"/>
                  </a:lnTo>
                  <a:lnTo>
                    <a:pt x="1126" y="649"/>
                  </a:lnTo>
                  <a:lnTo>
                    <a:pt x="1126" y="653"/>
                  </a:lnTo>
                  <a:lnTo>
                    <a:pt x="1126" y="657"/>
                  </a:lnTo>
                  <a:lnTo>
                    <a:pt x="1126" y="662"/>
                  </a:lnTo>
                  <a:lnTo>
                    <a:pt x="1128" y="666"/>
                  </a:lnTo>
                  <a:lnTo>
                    <a:pt x="1128" y="670"/>
                  </a:lnTo>
                  <a:lnTo>
                    <a:pt x="1130" y="676"/>
                  </a:lnTo>
                  <a:lnTo>
                    <a:pt x="1130" y="680"/>
                  </a:lnTo>
                  <a:lnTo>
                    <a:pt x="1130" y="683"/>
                  </a:lnTo>
                  <a:lnTo>
                    <a:pt x="1132" y="689"/>
                  </a:lnTo>
                  <a:lnTo>
                    <a:pt x="1132" y="693"/>
                  </a:lnTo>
                  <a:lnTo>
                    <a:pt x="1134" y="697"/>
                  </a:lnTo>
                  <a:lnTo>
                    <a:pt x="1134" y="702"/>
                  </a:lnTo>
                  <a:lnTo>
                    <a:pt x="1134" y="706"/>
                  </a:lnTo>
                  <a:lnTo>
                    <a:pt x="1134" y="710"/>
                  </a:lnTo>
                  <a:lnTo>
                    <a:pt x="1134" y="714"/>
                  </a:lnTo>
                  <a:lnTo>
                    <a:pt x="1134" y="714"/>
                  </a:lnTo>
                  <a:lnTo>
                    <a:pt x="1134" y="723"/>
                  </a:lnTo>
                  <a:lnTo>
                    <a:pt x="1132" y="733"/>
                  </a:lnTo>
                  <a:lnTo>
                    <a:pt x="1130" y="741"/>
                  </a:lnTo>
                  <a:lnTo>
                    <a:pt x="1126" y="748"/>
                  </a:lnTo>
                  <a:lnTo>
                    <a:pt x="1122" y="756"/>
                  </a:lnTo>
                  <a:lnTo>
                    <a:pt x="1120" y="762"/>
                  </a:lnTo>
                  <a:lnTo>
                    <a:pt x="1118" y="767"/>
                  </a:lnTo>
                  <a:lnTo>
                    <a:pt x="1116" y="773"/>
                  </a:lnTo>
                  <a:lnTo>
                    <a:pt x="1116" y="773"/>
                  </a:lnTo>
                  <a:lnTo>
                    <a:pt x="1116" y="783"/>
                  </a:lnTo>
                  <a:lnTo>
                    <a:pt x="1116" y="790"/>
                  </a:lnTo>
                  <a:lnTo>
                    <a:pt x="1118" y="798"/>
                  </a:lnTo>
                  <a:lnTo>
                    <a:pt x="1118" y="806"/>
                  </a:lnTo>
                  <a:lnTo>
                    <a:pt x="1120" y="813"/>
                  </a:lnTo>
                  <a:lnTo>
                    <a:pt x="1120" y="821"/>
                  </a:lnTo>
                  <a:lnTo>
                    <a:pt x="1116" y="828"/>
                  </a:lnTo>
                  <a:lnTo>
                    <a:pt x="1114" y="836"/>
                  </a:lnTo>
                  <a:lnTo>
                    <a:pt x="1114" y="836"/>
                  </a:lnTo>
                  <a:lnTo>
                    <a:pt x="1111" y="838"/>
                  </a:lnTo>
                  <a:lnTo>
                    <a:pt x="1109" y="840"/>
                  </a:lnTo>
                  <a:lnTo>
                    <a:pt x="1105" y="840"/>
                  </a:lnTo>
                  <a:lnTo>
                    <a:pt x="1099" y="840"/>
                  </a:lnTo>
                  <a:lnTo>
                    <a:pt x="1095" y="840"/>
                  </a:lnTo>
                  <a:lnTo>
                    <a:pt x="1092" y="840"/>
                  </a:lnTo>
                  <a:lnTo>
                    <a:pt x="1090" y="840"/>
                  </a:lnTo>
                  <a:lnTo>
                    <a:pt x="1086" y="842"/>
                  </a:lnTo>
                  <a:lnTo>
                    <a:pt x="1086" y="842"/>
                  </a:lnTo>
                  <a:lnTo>
                    <a:pt x="1080" y="846"/>
                  </a:lnTo>
                  <a:lnTo>
                    <a:pt x="1076" y="849"/>
                  </a:lnTo>
                  <a:lnTo>
                    <a:pt x="1074" y="853"/>
                  </a:lnTo>
                  <a:lnTo>
                    <a:pt x="1073" y="857"/>
                  </a:lnTo>
                  <a:lnTo>
                    <a:pt x="1071" y="863"/>
                  </a:lnTo>
                  <a:lnTo>
                    <a:pt x="1069" y="867"/>
                  </a:lnTo>
                  <a:lnTo>
                    <a:pt x="1065" y="872"/>
                  </a:lnTo>
                  <a:lnTo>
                    <a:pt x="1063" y="876"/>
                  </a:lnTo>
                  <a:lnTo>
                    <a:pt x="1063" y="876"/>
                  </a:lnTo>
                  <a:lnTo>
                    <a:pt x="1057" y="884"/>
                  </a:lnTo>
                  <a:lnTo>
                    <a:pt x="1053" y="889"/>
                  </a:lnTo>
                  <a:lnTo>
                    <a:pt x="1052" y="897"/>
                  </a:lnTo>
                  <a:lnTo>
                    <a:pt x="1048" y="903"/>
                  </a:lnTo>
                  <a:lnTo>
                    <a:pt x="1046" y="910"/>
                  </a:lnTo>
                  <a:lnTo>
                    <a:pt x="1044" y="916"/>
                  </a:lnTo>
                  <a:lnTo>
                    <a:pt x="1042" y="924"/>
                  </a:lnTo>
                  <a:lnTo>
                    <a:pt x="1042" y="931"/>
                  </a:lnTo>
                  <a:lnTo>
                    <a:pt x="1040" y="937"/>
                  </a:lnTo>
                  <a:lnTo>
                    <a:pt x="1038" y="945"/>
                  </a:lnTo>
                  <a:lnTo>
                    <a:pt x="1038" y="952"/>
                  </a:lnTo>
                  <a:lnTo>
                    <a:pt x="1036" y="960"/>
                  </a:lnTo>
                  <a:lnTo>
                    <a:pt x="1034" y="968"/>
                  </a:lnTo>
                  <a:lnTo>
                    <a:pt x="1032" y="975"/>
                  </a:lnTo>
                  <a:lnTo>
                    <a:pt x="1031" y="985"/>
                  </a:lnTo>
                  <a:lnTo>
                    <a:pt x="1027" y="992"/>
                  </a:lnTo>
                  <a:lnTo>
                    <a:pt x="1027" y="992"/>
                  </a:lnTo>
                  <a:lnTo>
                    <a:pt x="1025" y="994"/>
                  </a:lnTo>
                  <a:lnTo>
                    <a:pt x="1021" y="994"/>
                  </a:lnTo>
                  <a:lnTo>
                    <a:pt x="1013" y="996"/>
                  </a:lnTo>
                  <a:lnTo>
                    <a:pt x="1006" y="998"/>
                  </a:lnTo>
                  <a:lnTo>
                    <a:pt x="998" y="1000"/>
                  </a:lnTo>
                  <a:lnTo>
                    <a:pt x="992" y="1004"/>
                  </a:lnTo>
                  <a:lnTo>
                    <a:pt x="989" y="1010"/>
                  </a:lnTo>
                  <a:lnTo>
                    <a:pt x="987" y="1019"/>
                  </a:lnTo>
                  <a:lnTo>
                    <a:pt x="987" y="1019"/>
                  </a:lnTo>
                  <a:lnTo>
                    <a:pt x="987" y="1023"/>
                  </a:lnTo>
                  <a:lnTo>
                    <a:pt x="987" y="1027"/>
                  </a:lnTo>
                  <a:lnTo>
                    <a:pt x="987" y="1031"/>
                  </a:lnTo>
                  <a:lnTo>
                    <a:pt x="987" y="1033"/>
                  </a:lnTo>
                  <a:lnTo>
                    <a:pt x="987" y="1036"/>
                  </a:lnTo>
                  <a:lnTo>
                    <a:pt x="987" y="1038"/>
                  </a:lnTo>
                  <a:lnTo>
                    <a:pt x="987" y="1040"/>
                  </a:lnTo>
                  <a:lnTo>
                    <a:pt x="987" y="1042"/>
                  </a:lnTo>
                  <a:lnTo>
                    <a:pt x="987" y="1042"/>
                  </a:lnTo>
                  <a:lnTo>
                    <a:pt x="983" y="1052"/>
                  </a:lnTo>
                  <a:lnTo>
                    <a:pt x="981" y="1059"/>
                  </a:lnTo>
                  <a:lnTo>
                    <a:pt x="977" y="1067"/>
                  </a:lnTo>
                  <a:lnTo>
                    <a:pt x="975" y="1073"/>
                  </a:lnTo>
                  <a:lnTo>
                    <a:pt x="973" y="1080"/>
                  </a:lnTo>
                  <a:lnTo>
                    <a:pt x="971" y="1088"/>
                  </a:lnTo>
                  <a:lnTo>
                    <a:pt x="969" y="1095"/>
                  </a:lnTo>
                  <a:lnTo>
                    <a:pt x="968" y="1105"/>
                  </a:lnTo>
                  <a:lnTo>
                    <a:pt x="968" y="1105"/>
                  </a:lnTo>
                  <a:lnTo>
                    <a:pt x="968" y="1113"/>
                  </a:lnTo>
                  <a:lnTo>
                    <a:pt x="968" y="1120"/>
                  </a:lnTo>
                  <a:lnTo>
                    <a:pt x="968" y="1128"/>
                  </a:lnTo>
                  <a:lnTo>
                    <a:pt x="968" y="1136"/>
                  </a:lnTo>
                  <a:lnTo>
                    <a:pt x="968" y="1141"/>
                  </a:lnTo>
                  <a:lnTo>
                    <a:pt x="968" y="1147"/>
                  </a:lnTo>
                  <a:lnTo>
                    <a:pt x="968" y="1153"/>
                  </a:lnTo>
                  <a:lnTo>
                    <a:pt x="968" y="1158"/>
                  </a:lnTo>
                  <a:lnTo>
                    <a:pt x="968" y="1158"/>
                  </a:lnTo>
                  <a:lnTo>
                    <a:pt x="968" y="1166"/>
                  </a:lnTo>
                  <a:lnTo>
                    <a:pt x="966" y="1172"/>
                  </a:lnTo>
                  <a:lnTo>
                    <a:pt x="962" y="1176"/>
                  </a:lnTo>
                  <a:lnTo>
                    <a:pt x="958" y="1179"/>
                  </a:lnTo>
                  <a:lnTo>
                    <a:pt x="952" y="1181"/>
                  </a:lnTo>
                  <a:lnTo>
                    <a:pt x="947" y="1185"/>
                  </a:lnTo>
                  <a:lnTo>
                    <a:pt x="941" y="1187"/>
                  </a:lnTo>
                  <a:lnTo>
                    <a:pt x="935" y="1187"/>
                  </a:lnTo>
                  <a:lnTo>
                    <a:pt x="928" y="1189"/>
                  </a:lnTo>
                  <a:lnTo>
                    <a:pt x="922" y="1191"/>
                  </a:lnTo>
                  <a:lnTo>
                    <a:pt x="916" y="1191"/>
                  </a:lnTo>
                  <a:lnTo>
                    <a:pt x="912" y="1193"/>
                  </a:lnTo>
                  <a:lnTo>
                    <a:pt x="907" y="1195"/>
                  </a:lnTo>
                  <a:lnTo>
                    <a:pt x="905" y="1198"/>
                  </a:lnTo>
                  <a:lnTo>
                    <a:pt x="903" y="1202"/>
                  </a:lnTo>
                  <a:lnTo>
                    <a:pt x="901" y="1208"/>
                  </a:lnTo>
                  <a:lnTo>
                    <a:pt x="901" y="1208"/>
                  </a:lnTo>
                  <a:lnTo>
                    <a:pt x="901" y="1210"/>
                  </a:lnTo>
                  <a:lnTo>
                    <a:pt x="899" y="1214"/>
                  </a:lnTo>
                  <a:lnTo>
                    <a:pt x="897" y="1216"/>
                  </a:lnTo>
                  <a:lnTo>
                    <a:pt x="895" y="1218"/>
                  </a:lnTo>
                  <a:lnTo>
                    <a:pt x="893" y="1219"/>
                  </a:lnTo>
                  <a:lnTo>
                    <a:pt x="891" y="1223"/>
                  </a:lnTo>
                  <a:lnTo>
                    <a:pt x="889" y="1225"/>
                  </a:lnTo>
                  <a:lnTo>
                    <a:pt x="889" y="1229"/>
                  </a:lnTo>
                  <a:lnTo>
                    <a:pt x="889" y="1229"/>
                  </a:lnTo>
                  <a:lnTo>
                    <a:pt x="891" y="1235"/>
                  </a:lnTo>
                  <a:lnTo>
                    <a:pt x="893" y="1239"/>
                  </a:lnTo>
                  <a:lnTo>
                    <a:pt x="899" y="1240"/>
                  </a:lnTo>
                  <a:lnTo>
                    <a:pt x="907" y="1240"/>
                  </a:lnTo>
                  <a:lnTo>
                    <a:pt x="914" y="1240"/>
                  </a:lnTo>
                  <a:lnTo>
                    <a:pt x="920" y="1240"/>
                  </a:lnTo>
                  <a:lnTo>
                    <a:pt x="928" y="1240"/>
                  </a:lnTo>
                  <a:lnTo>
                    <a:pt x="933" y="1242"/>
                  </a:lnTo>
                  <a:lnTo>
                    <a:pt x="933" y="1242"/>
                  </a:lnTo>
                  <a:lnTo>
                    <a:pt x="939" y="1246"/>
                  </a:lnTo>
                  <a:lnTo>
                    <a:pt x="945" y="1250"/>
                  </a:lnTo>
                  <a:lnTo>
                    <a:pt x="950" y="1256"/>
                  </a:lnTo>
                  <a:lnTo>
                    <a:pt x="958" y="1260"/>
                  </a:lnTo>
                  <a:lnTo>
                    <a:pt x="964" y="1265"/>
                  </a:lnTo>
                  <a:lnTo>
                    <a:pt x="971" y="1271"/>
                  </a:lnTo>
                  <a:lnTo>
                    <a:pt x="977" y="1277"/>
                  </a:lnTo>
                  <a:lnTo>
                    <a:pt x="983" y="1282"/>
                  </a:lnTo>
                  <a:lnTo>
                    <a:pt x="990" y="1290"/>
                  </a:lnTo>
                  <a:lnTo>
                    <a:pt x="996" y="1296"/>
                  </a:lnTo>
                  <a:lnTo>
                    <a:pt x="1002" y="1302"/>
                  </a:lnTo>
                  <a:lnTo>
                    <a:pt x="1008" y="1307"/>
                  </a:lnTo>
                  <a:lnTo>
                    <a:pt x="1013" y="1315"/>
                  </a:lnTo>
                  <a:lnTo>
                    <a:pt x="1019" y="1321"/>
                  </a:lnTo>
                  <a:lnTo>
                    <a:pt x="1023" y="1326"/>
                  </a:lnTo>
                  <a:lnTo>
                    <a:pt x="1027" y="1332"/>
                  </a:lnTo>
                  <a:lnTo>
                    <a:pt x="1027" y="1332"/>
                  </a:lnTo>
                  <a:lnTo>
                    <a:pt x="1031" y="1336"/>
                  </a:lnTo>
                  <a:lnTo>
                    <a:pt x="1032" y="1340"/>
                  </a:lnTo>
                  <a:lnTo>
                    <a:pt x="1034" y="1345"/>
                  </a:lnTo>
                  <a:lnTo>
                    <a:pt x="1036" y="1351"/>
                  </a:lnTo>
                  <a:lnTo>
                    <a:pt x="1038" y="1355"/>
                  </a:lnTo>
                  <a:lnTo>
                    <a:pt x="1040" y="1361"/>
                  </a:lnTo>
                  <a:lnTo>
                    <a:pt x="1040" y="1366"/>
                  </a:lnTo>
                  <a:lnTo>
                    <a:pt x="1042" y="1372"/>
                  </a:lnTo>
                  <a:lnTo>
                    <a:pt x="1042" y="1376"/>
                  </a:lnTo>
                  <a:lnTo>
                    <a:pt x="1044" y="1382"/>
                  </a:lnTo>
                  <a:lnTo>
                    <a:pt x="1046" y="1387"/>
                  </a:lnTo>
                  <a:lnTo>
                    <a:pt x="1046" y="1391"/>
                  </a:lnTo>
                  <a:lnTo>
                    <a:pt x="1050" y="1397"/>
                  </a:lnTo>
                  <a:lnTo>
                    <a:pt x="1052" y="1403"/>
                  </a:lnTo>
                  <a:lnTo>
                    <a:pt x="1053" y="1406"/>
                  </a:lnTo>
                  <a:lnTo>
                    <a:pt x="1057" y="1412"/>
                  </a:lnTo>
                  <a:lnTo>
                    <a:pt x="1057" y="1412"/>
                  </a:lnTo>
                  <a:lnTo>
                    <a:pt x="1061" y="1416"/>
                  </a:lnTo>
                  <a:lnTo>
                    <a:pt x="1065" y="1418"/>
                  </a:lnTo>
                  <a:lnTo>
                    <a:pt x="1071" y="1420"/>
                  </a:lnTo>
                  <a:lnTo>
                    <a:pt x="1074" y="1422"/>
                  </a:lnTo>
                  <a:lnTo>
                    <a:pt x="1080" y="1422"/>
                  </a:lnTo>
                  <a:lnTo>
                    <a:pt x="1086" y="1422"/>
                  </a:lnTo>
                  <a:lnTo>
                    <a:pt x="1092" y="1422"/>
                  </a:lnTo>
                  <a:lnTo>
                    <a:pt x="1099" y="1424"/>
                  </a:lnTo>
                  <a:lnTo>
                    <a:pt x="1099" y="1424"/>
                  </a:lnTo>
                  <a:lnTo>
                    <a:pt x="1105" y="1427"/>
                  </a:lnTo>
                  <a:lnTo>
                    <a:pt x="1109" y="1431"/>
                  </a:lnTo>
                  <a:lnTo>
                    <a:pt x="1113" y="1437"/>
                  </a:lnTo>
                  <a:lnTo>
                    <a:pt x="1114" y="1445"/>
                  </a:lnTo>
                  <a:lnTo>
                    <a:pt x="1116" y="1452"/>
                  </a:lnTo>
                  <a:lnTo>
                    <a:pt x="1116" y="1460"/>
                  </a:lnTo>
                  <a:lnTo>
                    <a:pt x="1116" y="1467"/>
                  </a:lnTo>
                  <a:lnTo>
                    <a:pt x="1116" y="1473"/>
                  </a:lnTo>
                  <a:lnTo>
                    <a:pt x="1116" y="1473"/>
                  </a:lnTo>
                  <a:lnTo>
                    <a:pt x="1116" y="1475"/>
                  </a:lnTo>
                  <a:lnTo>
                    <a:pt x="1116" y="1477"/>
                  </a:lnTo>
                  <a:lnTo>
                    <a:pt x="1118" y="1481"/>
                  </a:lnTo>
                  <a:lnTo>
                    <a:pt x="1118" y="1483"/>
                  </a:lnTo>
                  <a:lnTo>
                    <a:pt x="1120" y="1485"/>
                  </a:lnTo>
                  <a:lnTo>
                    <a:pt x="1120" y="1487"/>
                  </a:lnTo>
                  <a:lnTo>
                    <a:pt x="1122" y="1490"/>
                  </a:lnTo>
                  <a:lnTo>
                    <a:pt x="1122" y="1490"/>
                  </a:lnTo>
                  <a:lnTo>
                    <a:pt x="1004" y="1490"/>
                  </a:lnTo>
                  <a:lnTo>
                    <a:pt x="1004" y="1490"/>
                  </a:lnTo>
                  <a:lnTo>
                    <a:pt x="1002" y="1494"/>
                  </a:lnTo>
                  <a:lnTo>
                    <a:pt x="998" y="1500"/>
                  </a:lnTo>
                  <a:lnTo>
                    <a:pt x="992" y="1504"/>
                  </a:lnTo>
                  <a:lnTo>
                    <a:pt x="989" y="1509"/>
                  </a:lnTo>
                  <a:lnTo>
                    <a:pt x="983" y="1515"/>
                  </a:lnTo>
                  <a:lnTo>
                    <a:pt x="977" y="1521"/>
                  </a:lnTo>
                  <a:lnTo>
                    <a:pt x="971" y="1527"/>
                  </a:lnTo>
                  <a:lnTo>
                    <a:pt x="966" y="1532"/>
                  </a:lnTo>
                  <a:lnTo>
                    <a:pt x="960" y="1538"/>
                  </a:lnTo>
                  <a:lnTo>
                    <a:pt x="954" y="1544"/>
                  </a:lnTo>
                  <a:lnTo>
                    <a:pt x="949" y="1550"/>
                  </a:lnTo>
                  <a:lnTo>
                    <a:pt x="943" y="1553"/>
                  </a:lnTo>
                  <a:lnTo>
                    <a:pt x="937" y="1557"/>
                  </a:lnTo>
                  <a:lnTo>
                    <a:pt x="933" y="1559"/>
                  </a:lnTo>
                  <a:lnTo>
                    <a:pt x="928" y="1561"/>
                  </a:lnTo>
                  <a:lnTo>
                    <a:pt x="924" y="1561"/>
                  </a:lnTo>
                  <a:lnTo>
                    <a:pt x="924" y="1561"/>
                  </a:lnTo>
                  <a:lnTo>
                    <a:pt x="920" y="1561"/>
                  </a:lnTo>
                  <a:lnTo>
                    <a:pt x="916" y="1561"/>
                  </a:lnTo>
                  <a:lnTo>
                    <a:pt x="912" y="1561"/>
                  </a:lnTo>
                  <a:lnTo>
                    <a:pt x="908" y="1561"/>
                  </a:lnTo>
                  <a:lnTo>
                    <a:pt x="905" y="1561"/>
                  </a:lnTo>
                  <a:lnTo>
                    <a:pt x="903" y="1561"/>
                  </a:lnTo>
                  <a:lnTo>
                    <a:pt x="899" y="1561"/>
                  </a:lnTo>
                  <a:lnTo>
                    <a:pt x="897" y="1561"/>
                  </a:lnTo>
                  <a:lnTo>
                    <a:pt x="897" y="1561"/>
                  </a:lnTo>
                  <a:lnTo>
                    <a:pt x="893" y="1561"/>
                  </a:lnTo>
                  <a:lnTo>
                    <a:pt x="891" y="1563"/>
                  </a:lnTo>
                  <a:lnTo>
                    <a:pt x="887" y="1563"/>
                  </a:lnTo>
                  <a:lnTo>
                    <a:pt x="884" y="1565"/>
                  </a:lnTo>
                  <a:lnTo>
                    <a:pt x="878" y="1565"/>
                  </a:lnTo>
                  <a:lnTo>
                    <a:pt x="874" y="1567"/>
                  </a:lnTo>
                  <a:lnTo>
                    <a:pt x="870" y="1569"/>
                  </a:lnTo>
                  <a:lnTo>
                    <a:pt x="866" y="1569"/>
                  </a:lnTo>
                  <a:lnTo>
                    <a:pt x="863" y="1571"/>
                  </a:lnTo>
                  <a:lnTo>
                    <a:pt x="857" y="1572"/>
                  </a:lnTo>
                  <a:lnTo>
                    <a:pt x="853" y="1572"/>
                  </a:lnTo>
                  <a:lnTo>
                    <a:pt x="849" y="1574"/>
                  </a:lnTo>
                  <a:lnTo>
                    <a:pt x="844" y="1576"/>
                  </a:lnTo>
                  <a:lnTo>
                    <a:pt x="840" y="1576"/>
                  </a:lnTo>
                  <a:lnTo>
                    <a:pt x="834" y="1576"/>
                  </a:lnTo>
                  <a:lnTo>
                    <a:pt x="830" y="1576"/>
                  </a:lnTo>
                  <a:lnTo>
                    <a:pt x="830" y="1576"/>
                  </a:lnTo>
                  <a:lnTo>
                    <a:pt x="825" y="1576"/>
                  </a:lnTo>
                  <a:lnTo>
                    <a:pt x="819" y="1574"/>
                  </a:lnTo>
                  <a:lnTo>
                    <a:pt x="815" y="1572"/>
                  </a:lnTo>
                  <a:lnTo>
                    <a:pt x="809" y="1571"/>
                  </a:lnTo>
                  <a:lnTo>
                    <a:pt x="804" y="1569"/>
                  </a:lnTo>
                  <a:lnTo>
                    <a:pt x="798" y="1567"/>
                  </a:lnTo>
                  <a:lnTo>
                    <a:pt x="790" y="1565"/>
                  </a:lnTo>
                  <a:lnTo>
                    <a:pt x="783" y="1565"/>
                  </a:lnTo>
                  <a:lnTo>
                    <a:pt x="783" y="1565"/>
                  </a:lnTo>
                  <a:lnTo>
                    <a:pt x="775" y="1565"/>
                  </a:lnTo>
                  <a:lnTo>
                    <a:pt x="769" y="1567"/>
                  </a:lnTo>
                  <a:lnTo>
                    <a:pt x="763" y="1567"/>
                  </a:lnTo>
                  <a:lnTo>
                    <a:pt x="758" y="1569"/>
                  </a:lnTo>
                  <a:lnTo>
                    <a:pt x="754" y="1571"/>
                  </a:lnTo>
                  <a:lnTo>
                    <a:pt x="748" y="1572"/>
                  </a:lnTo>
                  <a:lnTo>
                    <a:pt x="744" y="1574"/>
                  </a:lnTo>
                  <a:lnTo>
                    <a:pt x="741" y="1576"/>
                  </a:lnTo>
                  <a:lnTo>
                    <a:pt x="737" y="1580"/>
                  </a:lnTo>
                  <a:lnTo>
                    <a:pt x="733" y="1582"/>
                  </a:lnTo>
                  <a:lnTo>
                    <a:pt x="729" y="1584"/>
                  </a:lnTo>
                  <a:lnTo>
                    <a:pt x="727" y="1586"/>
                  </a:lnTo>
                  <a:lnTo>
                    <a:pt x="723" y="1586"/>
                  </a:lnTo>
                  <a:lnTo>
                    <a:pt x="720" y="1588"/>
                  </a:lnTo>
                  <a:lnTo>
                    <a:pt x="716" y="1588"/>
                  </a:lnTo>
                  <a:lnTo>
                    <a:pt x="712" y="1590"/>
                  </a:lnTo>
                  <a:lnTo>
                    <a:pt x="712" y="1590"/>
                  </a:lnTo>
                  <a:lnTo>
                    <a:pt x="706" y="1588"/>
                  </a:lnTo>
                  <a:lnTo>
                    <a:pt x="704" y="1586"/>
                  </a:lnTo>
                  <a:lnTo>
                    <a:pt x="702" y="1582"/>
                  </a:lnTo>
                  <a:lnTo>
                    <a:pt x="701" y="1578"/>
                  </a:lnTo>
                  <a:lnTo>
                    <a:pt x="701" y="1574"/>
                  </a:lnTo>
                  <a:lnTo>
                    <a:pt x="701" y="1571"/>
                  </a:lnTo>
                  <a:lnTo>
                    <a:pt x="701" y="1569"/>
                  </a:lnTo>
                  <a:lnTo>
                    <a:pt x="701" y="1565"/>
                  </a:lnTo>
                  <a:lnTo>
                    <a:pt x="701" y="1565"/>
                  </a:lnTo>
                  <a:lnTo>
                    <a:pt x="699" y="1563"/>
                  </a:lnTo>
                  <a:lnTo>
                    <a:pt x="695" y="1561"/>
                  </a:lnTo>
                  <a:lnTo>
                    <a:pt x="693" y="1561"/>
                  </a:lnTo>
                  <a:lnTo>
                    <a:pt x="689" y="1561"/>
                  </a:lnTo>
                  <a:lnTo>
                    <a:pt x="687" y="1561"/>
                  </a:lnTo>
                  <a:lnTo>
                    <a:pt x="683" y="1559"/>
                  </a:lnTo>
                  <a:lnTo>
                    <a:pt x="680" y="1559"/>
                  </a:lnTo>
                  <a:lnTo>
                    <a:pt x="676" y="1559"/>
                  </a:lnTo>
                  <a:lnTo>
                    <a:pt x="676" y="1559"/>
                  </a:lnTo>
                  <a:lnTo>
                    <a:pt x="668" y="1553"/>
                  </a:lnTo>
                  <a:lnTo>
                    <a:pt x="662" y="1548"/>
                  </a:lnTo>
                  <a:lnTo>
                    <a:pt x="657" y="1538"/>
                  </a:lnTo>
                  <a:lnTo>
                    <a:pt x="651" y="1529"/>
                  </a:lnTo>
                  <a:lnTo>
                    <a:pt x="645" y="1521"/>
                  </a:lnTo>
                  <a:lnTo>
                    <a:pt x="638" y="1513"/>
                  </a:lnTo>
                  <a:lnTo>
                    <a:pt x="630" y="1509"/>
                  </a:lnTo>
                  <a:lnTo>
                    <a:pt x="620" y="1506"/>
                  </a:lnTo>
                  <a:lnTo>
                    <a:pt x="620" y="1506"/>
                  </a:lnTo>
                  <a:lnTo>
                    <a:pt x="617" y="1508"/>
                  </a:lnTo>
                  <a:lnTo>
                    <a:pt x="613" y="1509"/>
                  </a:lnTo>
                  <a:lnTo>
                    <a:pt x="611" y="1513"/>
                  </a:lnTo>
                  <a:lnTo>
                    <a:pt x="607" y="1515"/>
                  </a:lnTo>
                  <a:lnTo>
                    <a:pt x="605" y="1519"/>
                  </a:lnTo>
                  <a:lnTo>
                    <a:pt x="603" y="1523"/>
                  </a:lnTo>
                  <a:lnTo>
                    <a:pt x="599" y="1525"/>
                  </a:lnTo>
                  <a:lnTo>
                    <a:pt x="596" y="1527"/>
                  </a:lnTo>
                  <a:lnTo>
                    <a:pt x="596" y="1527"/>
                  </a:lnTo>
                  <a:lnTo>
                    <a:pt x="590" y="1525"/>
                  </a:lnTo>
                  <a:lnTo>
                    <a:pt x="584" y="1525"/>
                  </a:lnTo>
                  <a:lnTo>
                    <a:pt x="580" y="1523"/>
                  </a:lnTo>
                  <a:lnTo>
                    <a:pt x="575" y="1521"/>
                  </a:lnTo>
                  <a:lnTo>
                    <a:pt x="569" y="1521"/>
                  </a:lnTo>
                  <a:lnTo>
                    <a:pt x="563" y="1519"/>
                  </a:lnTo>
                  <a:lnTo>
                    <a:pt x="557" y="1519"/>
                  </a:lnTo>
                  <a:lnTo>
                    <a:pt x="552" y="1519"/>
                  </a:lnTo>
                  <a:lnTo>
                    <a:pt x="552" y="1519"/>
                  </a:lnTo>
                  <a:lnTo>
                    <a:pt x="546" y="1519"/>
                  </a:lnTo>
                  <a:lnTo>
                    <a:pt x="542" y="1521"/>
                  </a:lnTo>
                  <a:lnTo>
                    <a:pt x="538" y="1523"/>
                  </a:lnTo>
                  <a:lnTo>
                    <a:pt x="535" y="1525"/>
                  </a:lnTo>
                  <a:lnTo>
                    <a:pt x="533" y="1527"/>
                  </a:lnTo>
                  <a:lnTo>
                    <a:pt x="529" y="1530"/>
                  </a:lnTo>
                  <a:lnTo>
                    <a:pt x="525" y="1532"/>
                  </a:lnTo>
                  <a:lnTo>
                    <a:pt x="519" y="1532"/>
                  </a:lnTo>
                  <a:lnTo>
                    <a:pt x="519" y="1532"/>
                  </a:lnTo>
                  <a:lnTo>
                    <a:pt x="510" y="1530"/>
                  </a:lnTo>
                  <a:lnTo>
                    <a:pt x="502" y="1529"/>
                  </a:lnTo>
                  <a:lnTo>
                    <a:pt x="496" y="1525"/>
                  </a:lnTo>
                  <a:lnTo>
                    <a:pt x="491" y="1519"/>
                  </a:lnTo>
                  <a:lnTo>
                    <a:pt x="487" y="1511"/>
                  </a:lnTo>
                  <a:lnTo>
                    <a:pt x="483" y="1506"/>
                  </a:lnTo>
                  <a:lnTo>
                    <a:pt x="479" y="1500"/>
                  </a:lnTo>
                  <a:lnTo>
                    <a:pt x="475" y="1494"/>
                  </a:lnTo>
                  <a:lnTo>
                    <a:pt x="475" y="1494"/>
                  </a:lnTo>
                  <a:lnTo>
                    <a:pt x="472" y="1490"/>
                  </a:lnTo>
                  <a:lnTo>
                    <a:pt x="466" y="1485"/>
                  </a:lnTo>
                  <a:lnTo>
                    <a:pt x="462" y="1483"/>
                  </a:lnTo>
                  <a:lnTo>
                    <a:pt x="454" y="1479"/>
                  </a:lnTo>
                  <a:lnTo>
                    <a:pt x="451" y="1475"/>
                  </a:lnTo>
                  <a:lnTo>
                    <a:pt x="445" y="1473"/>
                  </a:lnTo>
                  <a:lnTo>
                    <a:pt x="441" y="1471"/>
                  </a:lnTo>
                  <a:lnTo>
                    <a:pt x="437" y="1467"/>
                  </a:lnTo>
                  <a:lnTo>
                    <a:pt x="437" y="1467"/>
                  </a:lnTo>
                  <a:lnTo>
                    <a:pt x="433" y="1464"/>
                  </a:lnTo>
                  <a:lnTo>
                    <a:pt x="433" y="1460"/>
                  </a:lnTo>
                  <a:lnTo>
                    <a:pt x="433" y="1454"/>
                  </a:lnTo>
                  <a:lnTo>
                    <a:pt x="433" y="1450"/>
                  </a:lnTo>
                  <a:lnTo>
                    <a:pt x="433" y="1445"/>
                  </a:lnTo>
                  <a:lnTo>
                    <a:pt x="435" y="1441"/>
                  </a:lnTo>
                  <a:lnTo>
                    <a:pt x="435" y="1435"/>
                  </a:lnTo>
                  <a:lnTo>
                    <a:pt x="433" y="1431"/>
                  </a:lnTo>
                  <a:lnTo>
                    <a:pt x="433" y="1431"/>
                  </a:lnTo>
                  <a:lnTo>
                    <a:pt x="430" y="1426"/>
                  </a:lnTo>
                  <a:lnTo>
                    <a:pt x="426" y="1420"/>
                  </a:lnTo>
                  <a:lnTo>
                    <a:pt x="420" y="1416"/>
                  </a:lnTo>
                  <a:lnTo>
                    <a:pt x="414" y="1412"/>
                  </a:lnTo>
                  <a:lnTo>
                    <a:pt x="407" y="1408"/>
                  </a:lnTo>
                  <a:lnTo>
                    <a:pt x="401" y="1405"/>
                  </a:lnTo>
                  <a:lnTo>
                    <a:pt x="393" y="1403"/>
                  </a:lnTo>
                  <a:lnTo>
                    <a:pt x="388" y="1401"/>
                  </a:lnTo>
                  <a:lnTo>
                    <a:pt x="388" y="1401"/>
                  </a:lnTo>
                  <a:lnTo>
                    <a:pt x="382" y="1397"/>
                  </a:lnTo>
                  <a:lnTo>
                    <a:pt x="378" y="1395"/>
                  </a:lnTo>
                  <a:lnTo>
                    <a:pt x="374" y="1391"/>
                  </a:lnTo>
                  <a:lnTo>
                    <a:pt x="371" y="1385"/>
                  </a:lnTo>
                  <a:lnTo>
                    <a:pt x="369" y="1382"/>
                  </a:lnTo>
                  <a:lnTo>
                    <a:pt x="367" y="1376"/>
                  </a:lnTo>
                  <a:lnTo>
                    <a:pt x="365" y="1370"/>
                  </a:lnTo>
                  <a:lnTo>
                    <a:pt x="363" y="1364"/>
                  </a:lnTo>
                  <a:lnTo>
                    <a:pt x="361" y="1359"/>
                  </a:lnTo>
                  <a:lnTo>
                    <a:pt x="359" y="1353"/>
                  </a:lnTo>
                  <a:lnTo>
                    <a:pt x="357" y="1349"/>
                  </a:lnTo>
                  <a:lnTo>
                    <a:pt x="355" y="1343"/>
                  </a:lnTo>
                  <a:lnTo>
                    <a:pt x="353" y="1338"/>
                  </a:lnTo>
                  <a:lnTo>
                    <a:pt x="350" y="1334"/>
                  </a:lnTo>
                  <a:lnTo>
                    <a:pt x="346" y="1330"/>
                  </a:lnTo>
                  <a:lnTo>
                    <a:pt x="342" y="1326"/>
                  </a:lnTo>
                  <a:lnTo>
                    <a:pt x="342" y="1326"/>
                  </a:lnTo>
                  <a:lnTo>
                    <a:pt x="338" y="1323"/>
                  </a:lnTo>
                  <a:lnTo>
                    <a:pt x="334" y="1321"/>
                  </a:lnTo>
                  <a:lnTo>
                    <a:pt x="329" y="1317"/>
                  </a:lnTo>
                  <a:lnTo>
                    <a:pt x="323" y="1313"/>
                  </a:lnTo>
                  <a:lnTo>
                    <a:pt x="317" y="1309"/>
                  </a:lnTo>
                  <a:lnTo>
                    <a:pt x="311" y="1307"/>
                  </a:lnTo>
                  <a:lnTo>
                    <a:pt x="304" y="1303"/>
                  </a:lnTo>
                  <a:lnTo>
                    <a:pt x="298" y="1300"/>
                  </a:lnTo>
                  <a:lnTo>
                    <a:pt x="292" y="1296"/>
                  </a:lnTo>
                  <a:lnTo>
                    <a:pt x="287" y="1292"/>
                  </a:lnTo>
                  <a:lnTo>
                    <a:pt x="283" y="1288"/>
                  </a:lnTo>
                  <a:lnTo>
                    <a:pt x="277" y="1284"/>
                  </a:lnTo>
                  <a:lnTo>
                    <a:pt x="273" y="1281"/>
                  </a:lnTo>
                  <a:lnTo>
                    <a:pt x="271" y="1277"/>
                  </a:lnTo>
                  <a:lnTo>
                    <a:pt x="269" y="1273"/>
                  </a:lnTo>
                  <a:lnTo>
                    <a:pt x="269" y="1269"/>
                  </a:lnTo>
                  <a:lnTo>
                    <a:pt x="269" y="1269"/>
                  </a:lnTo>
                  <a:lnTo>
                    <a:pt x="269" y="1265"/>
                  </a:lnTo>
                  <a:lnTo>
                    <a:pt x="269" y="1263"/>
                  </a:lnTo>
                  <a:lnTo>
                    <a:pt x="269" y="1261"/>
                  </a:lnTo>
                  <a:lnTo>
                    <a:pt x="269" y="1260"/>
                  </a:lnTo>
                  <a:lnTo>
                    <a:pt x="269" y="1258"/>
                  </a:lnTo>
                  <a:lnTo>
                    <a:pt x="269" y="1258"/>
                  </a:lnTo>
                  <a:lnTo>
                    <a:pt x="269" y="1256"/>
                  </a:lnTo>
                  <a:lnTo>
                    <a:pt x="269" y="1252"/>
                  </a:lnTo>
                  <a:lnTo>
                    <a:pt x="269" y="1252"/>
                  </a:lnTo>
                  <a:lnTo>
                    <a:pt x="268" y="1246"/>
                  </a:lnTo>
                  <a:lnTo>
                    <a:pt x="266" y="1242"/>
                  </a:lnTo>
                  <a:lnTo>
                    <a:pt x="260" y="1239"/>
                  </a:lnTo>
                  <a:lnTo>
                    <a:pt x="254" y="1235"/>
                  </a:lnTo>
                  <a:lnTo>
                    <a:pt x="248" y="1233"/>
                  </a:lnTo>
                  <a:lnTo>
                    <a:pt x="241" y="1231"/>
                  </a:lnTo>
                  <a:lnTo>
                    <a:pt x="231" y="1229"/>
                  </a:lnTo>
                  <a:lnTo>
                    <a:pt x="224" y="1227"/>
                  </a:lnTo>
                  <a:lnTo>
                    <a:pt x="216" y="1225"/>
                  </a:lnTo>
                  <a:lnTo>
                    <a:pt x="208" y="1221"/>
                  </a:lnTo>
                  <a:lnTo>
                    <a:pt x="201" y="1219"/>
                  </a:lnTo>
                  <a:lnTo>
                    <a:pt x="195" y="1218"/>
                  </a:lnTo>
                  <a:lnTo>
                    <a:pt x="191" y="1214"/>
                  </a:lnTo>
                  <a:lnTo>
                    <a:pt x="187" y="1210"/>
                  </a:lnTo>
                  <a:lnTo>
                    <a:pt x="187" y="1204"/>
                  </a:lnTo>
                  <a:lnTo>
                    <a:pt x="189" y="1198"/>
                  </a:lnTo>
                  <a:lnTo>
                    <a:pt x="189" y="1183"/>
                  </a:lnTo>
                  <a:lnTo>
                    <a:pt x="189" y="1183"/>
                  </a:lnTo>
                  <a:lnTo>
                    <a:pt x="184" y="1183"/>
                  </a:lnTo>
                  <a:lnTo>
                    <a:pt x="178" y="1183"/>
                  </a:lnTo>
                  <a:lnTo>
                    <a:pt x="174" y="1183"/>
                  </a:lnTo>
                  <a:lnTo>
                    <a:pt x="170" y="1183"/>
                  </a:lnTo>
                  <a:lnTo>
                    <a:pt x="166" y="1183"/>
                  </a:lnTo>
                  <a:lnTo>
                    <a:pt x="163" y="1183"/>
                  </a:lnTo>
                  <a:lnTo>
                    <a:pt x="161" y="1183"/>
                  </a:lnTo>
                  <a:lnTo>
                    <a:pt x="157" y="1183"/>
                  </a:lnTo>
                  <a:lnTo>
                    <a:pt x="157" y="1183"/>
                  </a:lnTo>
                  <a:lnTo>
                    <a:pt x="151" y="1183"/>
                  </a:lnTo>
                  <a:lnTo>
                    <a:pt x="147" y="1181"/>
                  </a:lnTo>
                  <a:lnTo>
                    <a:pt x="142" y="1178"/>
                  </a:lnTo>
                  <a:lnTo>
                    <a:pt x="138" y="1174"/>
                  </a:lnTo>
                  <a:lnTo>
                    <a:pt x="136" y="1168"/>
                  </a:lnTo>
                  <a:lnTo>
                    <a:pt x="132" y="1162"/>
                  </a:lnTo>
                  <a:lnTo>
                    <a:pt x="130" y="1157"/>
                  </a:lnTo>
                  <a:lnTo>
                    <a:pt x="130" y="1149"/>
                  </a:lnTo>
                  <a:lnTo>
                    <a:pt x="130" y="1149"/>
                  </a:lnTo>
                  <a:lnTo>
                    <a:pt x="130" y="1143"/>
                  </a:lnTo>
                  <a:lnTo>
                    <a:pt x="132" y="1137"/>
                  </a:lnTo>
                  <a:lnTo>
                    <a:pt x="136" y="1134"/>
                  </a:lnTo>
                  <a:lnTo>
                    <a:pt x="138" y="1130"/>
                  </a:lnTo>
                  <a:lnTo>
                    <a:pt x="142" y="1126"/>
                  </a:lnTo>
                  <a:lnTo>
                    <a:pt x="145" y="1120"/>
                  </a:lnTo>
                  <a:lnTo>
                    <a:pt x="147" y="1116"/>
                  </a:lnTo>
                  <a:lnTo>
                    <a:pt x="147" y="1111"/>
                  </a:lnTo>
                  <a:lnTo>
                    <a:pt x="147" y="1111"/>
                  </a:lnTo>
                  <a:lnTo>
                    <a:pt x="147" y="1103"/>
                  </a:lnTo>
                  <a:lnTo>
                    <a:pt x="145" y="1095"/>
                  </a:lnTo>
                  <a:lnTo>
                    <a:pt x="142" y="1088"/>
                  </a:lnTo>
                  <a:lnTo>
                    <a:pt x="138" y="1080"/>
                  </a:lnTo>
                  <a:lnTo>
                    <a:pt x="132" y="1073"/>
                  </a:lnTo>
                  <a:lnTo>
                    <a:pt x="126" y="1067"/>
                  </a:lnTo>
                  <a:lnTo>
                    <a:pt x="121" y="1059"/>
                  </a:lnTo>
                  <a:lnTo>
                    <a:pt x="115" y="1054"/>
                  </a:lnTo>
                  <a:lnTo>
                    <a:pt x="109" y="1046"/>
                  </a:lnTo>
                  <a:lnTo>
                    <a:pt x="103" y="1040"/>
                  </a:lnTo>
                  <a:lnTo>
                    <a:pt x="98" y="1034"/>
                  </a:lnTo>
                  <a:lnTo>
                    <a:pt x="92" y="1029"/>
                  </a:lnTo>
                  <a:lnTo>
                    <a:pt x="88" y="1021"/>
                  </a:lnTo>
                  <a:lnTo>
                    <a:pt x="86" y="1015"/>
                  </a:lnTo>
                  <a:lnTo>
                    <a:pt x="82" y="1010"/>
                  </a:lnTo>
                  <a:lnTo>
                    <a:pt x="82" y="1004"/>
                  </a:lnTo>
                  <a:lnTo>
                    <a:pt x="82" y="1004"/>
                  </a:lnTo>
                  <a:lnTo>
                    <a:pt x="82" y="1002"/>
                  </a:lnTo>
                  <a:lnTo>
                    <a:pt x="84" y="1000"/>
                  </a:lnTo>
                  <a:lnTo>
                    <a:pt x="86" y="998"/>
                  </a:lnTo>
                  <a:lnTo>
                    <a:pt x="88" y="994"/>
                  </a:lnTo>
                  <a:lnTo>
                    <a:pt x="88" y="994"/>
                  </a:lnTo>
                  <a:lnTo>
                    <a:pt x="90" y="991"/>
                  </a:lnTo>
                  <a:lnTo>
                    <a:pt x="92" y="989"/>
                  </a:lnTo>
                  <a:lnTo>
                    <a:pt x="92" y="987"/>
                  </a:lnTo>
                  <a:lnTo>
                    <a:pt x="92" y="987"/>
                  </a:lnTo>
                  <a:lnTo>
                    <a:pt x="92" y="979"/>
                  </a:lnTo>
                  <a:lnTo>
                    <a:pt x="88" y="973"/>
                  </a:lnTo>
                  <a:lnTo>
                    <a:pt x="86" y="970"/>
                  </a:lnTo>
                  <a:lnTo>
                    <a:pt x="82" y="968"/>
                  </a:lnTo>
                  <a:lnTo>
                    <a:pt x="79" y="964"/>
                  </a:lnTo>
                  <a:lnTo>
                    <a:pt x="75" y="962"/>
                  </a:lnTo>
                  <a:lnTo>
                    <a:pt x="71" y="960"/>
                  </a:lnTo>
                  <a:lnTo>
                    <a:pt x="69" y="956"/>
                  </a:lnTo>
                  <a:lnTo>
                    <a:pt x="69" y="956"/>
                  </a:lnTo>
                  <a:lnTo>
                    <a:pt x="65" y="952"/>
                  </a:lnTo>
                  <a:lnTo>
                    <a:pt x="63" y="945"/>
                  </a:lnTo>
                  <a:lnTo>
                    <a:pt x="62" y="939"/>
                  </a:lnTo>
                  <a:lnTo>
                    <a:pt x="60" y="931"/>
                  </a:lnTo>
                  <a:lnTo>
                    <a:pt x="58" y="924"/>
                  </a:lnTo>
                  <a:lnTo>
                    <a:pt x="56" y="916"/>
                  </a:lnTo>
                  <a:lnTo>
                    <a:pt x="54" y="909"/>
                  </a:lnTo>
                  <a:lnTo>
                    <a:pt x="52" y="901"/>
                  </a:lnTo>
                  <a:lnTo>
                    <a:pt x="50" y="895"/>
                  </a:lnTo>
                  <a:lnTo>
                    <a:pt x="48" y="888"/>
                  </a:lnTo>
                  <a:lnTo>
                    <a:pt x="44" y="882"/>
                  </a:lnTo>
                  <a:lnTo>
                    <a:pt x="39" y="876"/>
                  </a:lnTo>
                  <a:lnTo>
                    <a:pt x="35" y="870"/>
                  </a:lnTo>
                  <a:lnTo>
                    <a:pt x="27" y="868"/>
                  </a:lnTo>
                  <a:lnTo>
                    <a:pt x="20" y="867"/>
                  </a:lnTo>
                  <a:lnTo>
                    <a:pt x="12" y="865"/>
                  </a:lnTo>
                  <a:lnTo>
                    <a:pt x="12" y="865"/>
                  </a:lnTo>
                  <a:lnTo>
                    <a:pt x="8" y="865"/>
                  </a:lnTo>
                  <a:lnTo>
                    <a:pt x="6" y="865"/>
                  </a:lnTo>
                  <a:lnTo>
                    <a:pt x="4" y="863"/>
                  </a:lnTo>
                  <a:lnTo>
                    <a:pt x="2" y="861"/>
                  </a:lnTo>
                  <a:lnTo>
                    <a:pt x="0" y="859"/>
                  </a:lnTo>
                  <a:lnTo>
                    <a:pt x="0" y="857"/>
                  </a:lnTo>
                  <a:lnTo>
                    <a:pt x="0" y="853"/>
                  </a:lnTo>
                  <a:lnTo>
                    <a:pt x="0" y="851"/>
                  </a:lnTo>
                  <a:lnTo>
                    <a:pt x="0" y="851"/>
                  </a:lnTo>
                  <a:lnTo>
                    <a:pt x="0" y="846"/>
                  </a:lnTo>
                  <a:lnTo>
                    <a:pt x="2" y="840"/>
                  </a:lnTo>
                  <a:lnTo>
                    <a:pt x="6" y="836"/>
                  </a:lnTo>
                  <a:lnTo>
                    <a:pt x="8" y="832"/>
                  </a:lnTo>
                  <a:lnTo>
                    <a:pt x="12" y="828"/>
                  </a:lnTo>
                  <a:lnTo>
                    <a:pt x="18" y="825"/>
                  </a:lnTo>
                  <a:lnTo>
                    <a:pt x="20" y="823"/>
                  </a:lnTo>
                  <a:lnTo>
                    <a:pt x="23" y="821"/>
                  </a:lnTo>
                  <a:lnTo>
                    <a:pt x="21" y="821"/>
                  </a:lnTo>
                  <a:lnTo>
                    <a:pt x="21" y="821"/>
                  </a:lnTo>
                  <a:lnTo>
                    <a:pt x="23" y="821"/>
                  </a:lnTo>
                  <a:lnTo>
                    <a:pt x="27" y="819"/>
                  </a:lnTo>
                  <a:lnTo>
                    <a:pt x="27" y="817"/>
                  </a:lnTo>
                  <a:lnTo>
                    <a:pt x="29" y="815"/>
                  </a:lnTo>
                  <a:lnTo>
                    <a:pt x="31" y="813"/>
                  </a:lnTo>
                  <a:lnTo>
                    <a:pt x="33" y="811"/>
                  </a:lnTo>
                  <a:lnTo>
                    <a:pt x="33" y="807"/>
                  </a:lnTo>
                  <a:lnTo>
                    <a:pt x="33" y="806"/>
                  </a:lnTo>
                  <a:lnTo>
                    <a:pt x="33" y="806"/>
                  </a:lnTo>
                  <a:lnTo>
                    <a:pt x="33" y="802"/>
                  </a:lnTo>
                  <a:lnTo>
                    <a:pt x="31" y="798"/>
                  </a:lnTo>
                  <a:lnTo>
                    <a:pt x="29" y="792"/>
                  </a:lnTo>
                  <a:lnTo>
                    <a:pt x="29" y="788"/>
                  </a:lnTo>
                  <a:lnTo>
                    <a:pt x="27" y="786"/>
                  </a:lnTo>
                  <a:lnTo>
                    <a:pt x="25" y="783"/>
                  </a:lnTo>
                  <a:lnTo>
                    <a:pt x="23" y="779"/>
                  </a:lnTo>
                  <a:lnTo>
                    <a:pt x="21" y="777"/>
                  </a:lnTo>
                  <a:lnTo>
                    <a:pt x="21" y="777"/>
                  </a:lnTo>
                  <a:lnTo>
                    <a:pt x="25" y="773"/>
                  </a:lnTo>
                  <a:lnTo>
                    <a:pt x="29" y="771"/>
                  </a:lnTo>
                  <a:lnTo>
                    <a:pt x="37" y="767"/>
                  </a:lnTo>
                  <a:lnTo>
                    <a:pt x="42" y="764"/>
                  </a:lnTo>
                  <a:lnTo>
                    <a:pt x="48" y="758"/>
                  </a:lnTo>
                  <a:lnTo>
                    <a:pt x="54" y="754"/>
                  </a:lnTo>
                  <a:lnTo>
                    <a:pt x="58" y="748"/>
                  </a:lnTo>
                  <a:lnTo>
                    <a:pt x="60" y="744"/>
                  </a:lnTo>
                  <a:lnTo>
                    <a:pt x="60" y="744"/>
                  </a:lnTo>
                  <a:lnTo>
                    <a:pt x="58" y="743"/>
                  </a:lnTo>
                  <a:lnTo>
                    <a:pt x="58" y="739"/>
                  </a:lnTo>
                  <a:lnTo>
                    <a:pt x="54" y="737"/>
                  </a:lnTo>
                  <a:lnTo>
                    <a:pt x="52" y="735"/>
                  </a:lnTo>
                  <a:lnTo>
                    <a:pt x="50" y="731"/>
                  </a:lnTo>
                  <a:lnTo>
                    <a:pt x="46" y="729"/>
                  </a:lnTo>
                  <a:lnTo>
                    <a:pt x="44" y="725"/>
                  </a:lnTo>
                  <a:lnTo>
                    <a:pt x="44" y="722"/>
                  </a:lnTo>
                  <a:lnTo>
                    <a:pt x="44" y="722"/>
                  </a:lnTo>
                  <a:lnTo>
                    <a:pt x="44" y="718"/>
                  </a:lnTo>
                  <a:lnTo>
                    <a:pt x="44" y="716"/>
                  </a:lnTo>
                  <a:lnTo>
                    <a:pt x="44" y="714"/>
                  </a:lnTo>
                  <a:lnTo>
                    <a:pt x="44" y="712"/>
                  </a:lnTo>
                  <a:lnTo>
                    <a:pt x="62" y="708"/>
                  </a:lnTo>
                  <a:lnTo>
                    <a:pt x="62" y="708"/>
                  </a:lnTo>
                  <a:lnTo>
                    <a:pt x="65" y="706"/>
                  </a:lnTo>
                  <a:lnTo>
                    <a:pt x="67" y="702"/>
                  </a:lnTo>
                  <a:lnTo>
                    <a:pt x="69" y="699"/>
                  </a:lnTo>
                  <a:lnTo>
                    <a:pt x="71" y="695"/>
                  </a:lnTo>
                  <a:lnTo>
                    <a:pt x="73" y="691"/>
                  </a:lnTo>
                  <a:lnTo>
                    <a:pt x="75" y="685"/>
                  </a:lnTo>
                  <a:lnTo>
                    <a:pt x="77" y="682"/>
                  </a:lnTo>
                  <a:lnTo>
                    <a:pt x="79" y="676"/>
                  </a:lnTo>
                  <a:lnTo>
                    <a:pt x="81" y="670"/>
                  </a:lnTo>
                  <a:lnTo>
                    <a:pt x="82" y="664"/>
                  </a:lnTo>
                  <a:lnTo>
                    <a:pt x="82" y="661"/>
                  </a:lnTo>
                  <a:lnTo>
                    <a:pt x="84" y="655"/>
                  </a:lnTo>
                  <a:lnTo>
                    <a:pt x="84" y="649"/>
                  </a:lnTo>
                  <a:lnTo>
                    <a:pt x="86" y="643"/>
                  </a:lnTo>
                  <a:lnTo>
                    <a:pt x="86" y="640"/>
                  </a:lnTo>
                  <a:lnTo>
                    <a:pt x="86" y="634"/>
                  </a:lnTo>
                  <a:lnTo>
                    <a:pt x="86" y="634"/>
                  </a:lnTo>
                  <a:lnTo>
                    <a:pt x="90" y="634"/>
                  </a:lnTo>
                  <a:lnTo>
                    <a:pt x="96" y="632"/>
                  </a:lnTo>
                  <a:lnTo>
                    <a:pt x="100" y="632"/>
                  </a:lnTo>
                  <a:lnTo>
                    <a:pt x="103" y="630"/>
                  </a:lnTo>
                  <a:lnTo>
                    <a:pt x="109" y="630"/>
                  </a:lnTo>
                  <a:lnTo>
                    <a:pt x="113" y="630"/>
                  </a:lnTo>
                  <a:lnTo>
                    <a:pt x="117" y="628"/>
                  </a:lnTo>
                  <a:lnTo>
                    <a:pt x="123" y="628"/>
                  </a:lnTo>
                  <a:lnTo>
                    <a:pt x="126" y="628"/>
                  </a:lnTo>
                  <a:lnTo>
                    <a:pt x="132" y="628"/>
                  </a:lnTo>
                  <a:lnTo>
                    <a:pt x="136" y="626"/>
                  </a:lnTo>
                  <a:lnTo>
                    <a:pt x="142" y="626"/>
                  </a:lnTo>
                  <a:lnTo>
                    <a:pt x="145" y="626"/>
                  </a:lnTo>
                  <a:lnTo>
                    <a:pt x="151" y="626"/>
                  </a:lnTo>
                  <a:lnTo>
                    <a:pt x="157" y="626"/>
                  </a:lnTo>
                  <a:lnTo>
                    <a:pt x="163" y="626"/>
                  </a:lnTo>
                  <a:lnTo>
                    <a:pt x="155" y="315"/>
                  </a:lnTo>
                  <a:lnTo>
                    <a:pt x="155" y="315"/>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8" name="Freeform 252"/>
            <p:cNvSpPr>
              <a:spLocks/>
            </p:cNvSpPr>
            <p:nvPr/>
          </p:nvSpPr>
          <p:spPr bwMode="gray">
            <a:xfrm>
              <a:off x="2010" y="926"/>
              <a:ext cx="659" cy="577"/>
            </a:xfrm>
            <a:custGeom>
              <a:avLst/>
              <a:gdLst/>
              <a:ahLst/>
              <a:cxnLst>
                <a:cxn ang="0">
                  <a:pos x="1116" y="92"/>
                </a:cxn>
                <a:cxn ang="0">
                  <a:pos x="1087" y="88"/>
                </a:cxn>
                <a:cxn ang="0">
                  <a:pos x="1057" y="94"/>
                </a:cxn>
                <a:cxn ang="0">
                  <a:pos x="1001" y="94"/>
                </a:cxn>
                <a:cxn ang="0">
                  <a:pos x="967" y="63"/>
                </a:cxn>
                <a:cxn ang="0">
                  <a:pos x="935" y="44"/>
                </a:cxn>
                <a:cxn ang="0">
                  <a:pos x="895" y="31"/>
                </a:cxn>
                <a:cxn ang="0">
                  <a:pos x="853" y="27"/>
                </a:cxn>
                <a:cxn ang="0">
                  <a:pos x="793" y="46"/>
                </a:cxn>
                <a:cxn ang="0">
                  <a:pos x="757" y="88"/>
                </a:cxn>
                <a:cxn ang="0">
                  <a:pos x="776" y="135"/>
                </a:cxn>
                <a:cxn ang="0">
                  <a:pos x="776" y="177"/>
                </a:cxn>
                <a:cxn ang="0">
                  <a:pos x="717" y="212"/>
                </a:cxn>
                <a:cxn ang="0">
                  <a:pos x="666" y="197"/>
                </a:cxn>
                <a:cxn ang="0">
                  <a:pos x="622" y="174"/>
                </a:cxn>
                <a:cxn ang="0">
                  <a:pos x="587" y="156"/>
                </a:cxn>
                <a:cxn ang="0">
                  <a:pos x="553" y="145"/>
                </a:cxn>
                <a:cxn ang="0">
                  <a:pos x="509" y="143"/>
                </a:cxn>
                <a:cxn ang="0">
                  <a:pos x="479" y="135"/>
                </a:cxn>
                <a:cxn ang="0">
                  <a:pos x="450" y="97"/>
                </a:cxn>
                <a:cxn ang="0">
                  <a:pos x="441" y="61"/>
                </a:cxn>
                <a:cxn ang="0">
                  <a:pos x="410" y="38"/>
                </a:cxn>
                <a:cxn ang="0">
                  <a:pos x="345" y="17"/>
                </a:cxn>
                <a:cxn ang="0">
                  <a:pos x="303" y="11"/>
                </a:cxn>
                <a:cxn ang="0">
                  <a:pos x="263" y="29"/>
                </a:cxn>
                <a:cxn ang="0">
                  <a:pos x="227" y="23"/>
                </a:cxn>
                <a:cxn ang="0">
                  <a:pos x="194" y="6"/>
                </a:cxn>
                <a:cxn ang="0">
                  <a:pos x="175" y="17"/>
                </a:cxn>
                <a:cxn ang="0">
                  <a:pos x="173" y="44"/>
                </a:cxn>
                <a:cxn ang="0">
                  <a:pos x="118" y="78"/>
                </a:cxn>
                <a:cxn ang="0">
                  <a:pos x="78" y="118"/>
                </a:cxn>
                <a:cxn ang="0">
                  <a:pos x="76" y="145"/>
                </a:cxn>
                <a:cxn ang="0">
                  <a:pos x="80" y="172"/>
                </a:cxn>
                <a:cxn ang="0">
                  <a:pos x="51" y="204"/>
                </a:cxn>
                <a:cxn ang="0">
                  <a:pos x="13" y="221"/>
                </a:cxn>
                <a:cxn ang="0">
                  <a:pos x="32" y="261"/>
                </a:cxn>
                <a:cxn ang="0">
                  <a:pos x="44" y="307"/>
                </a:cxn>
                <a:cxn ang="0">
                  <a:pos x="44" y="349"/>
                </a:cxn>
                <a:cxn ang="0">
                  <a:pos x="44" y="380"/>
                </a:cxn>
                <a:cxn ang="0">
                  <a:pos x="44" y="410"/>
                </a:cxn>
                <a:cxn ang="0">
                  <a:pos x="32" y="443"/>
                </a:cxn>
                <a:cxn ang="0">
                  <a:pos x="42" y="473"/>
                </a:cxn>
                <a:cxn ang="0">
                  <a:pos x="19" y="504"/>
                </a:cxn>
                <a:cxn ang="0">
                  <a:pos x="2" y="532"/>
                </a:cxn>
                <a:cxn ang="0">
                  <a:pos x="27" y="582"/>
                </a:cxn>
                <a:cxn ang="0">
                  <a:pos x="53" y="626"/>
                </a:cxn>
                <a:cxn ang="0">
                  <a:pos x="61" y="649"/>
                </a:cxn>
                <a:cxn ang="0">
                  <a:pos x="76" y="656"/>
                </a:cxn>
                <a:cxn ang="0">
                  <a:pos x="103" y="656"/>
                </a:cxn>
                <a:cxn ang="0">
                  <a:pos x="149" y="677"/>
                </a:cxn>
                <a:cxn ang="0">
                  <a:pos x="162" y="710"/>
                </a:cxn>
                <a:cxn ang="0">
                  <a:pos x="183" y="736"/>
                </a:cxn>
                <a:cxn ang="0">
                  <a:pos x="219" y="750"/>
                </a:cxn>
                <a:cxn ang="0">
                  <a:pos x="263" y="763"/>
                </a:cxn>
                <a:cxn ang="0">
                  <a:pos x="303" y="780"/>
                </a:cxn>
                <a:cxn ang="0">
                  <a:pos x="345" y="813"/>
                </a:cxn>
                <a:cxn ang="0">
                  <a:pos x="399" y="794"/>
                </a:cxn>
                <a:cxn ang="0">
                  <a:pos x="1163" y="1015"/>
                </a:cxn>
                <a:cxn ang="0">
                  <a:pos x="1116" y="256"/>
                </a:cxn>
                <a:cxn ang="0">
                  <a:pos x="1110" y="210"/>
                </a:cxn>
                <a:cxn ang="0">
                  <a:pos x="1125" y="177"/>
                </a:cxn>
                <a:cxn ang="0">
                  <a:pos x="1108" y="141"/>
                </a:cxn>
                <a:cxn ang="0">
                  <a:pos x="1116" y="115"/>
                </a:cxn>
              </a:cxnLst>
              <a:rect l="0" t="0" r="r" b="b"/>
              <a:pathLst>
                <a:path w="1163" h="1051">
                  <a:moveTo>
                    <a:pt x="1125" y="109"/>
                  </a:moveTo>
                  <a:lnTo>
                    <a:pt x="1125" y="109"/>
                  </a:lnTo>
                  <a:lnTo>
                    <a:pt x="1125" y="107"/>
                  </a:lnTo>
                  <a:lnTo>
                    <a:pt x="1123" y="103"/>
                  </a:lnTo>
                  <a:lnTo>
                    <a:pt x="1122" y="99"/>
                  </a:lnTo>
                  <a:lnTo>
                    <a:pt x="1120" y="95"/>
                  </a:lnTo>
                  <a:lnTo>
                    <a:pt x="1116" y="92"/>
                  </a:lnTo>
                  <a:lnTo>
                    <a:pt x="1112" y="88"/>
                  </a:lnTo>
                  <a:lnTo>
                    <a:pt x="1106" y="86"/>
                  </a:lnTo>
                  <a:lnTo>
                    <a:pt x="1102" y="86"/>
                  </a:lnTo>
                  <a:lnTo>
                    <a:pt x="1102" y="86"/>
                  </a:lnTo>
                  <a:lnTo>
                    <a:pt x="1095" y="86"/>
                  </a:lnTo>
                  <a:lnTo>
                    <a:pt x="1091" y="86"/>
                  </a:lnTo>
                  <a:lnTo>
                    <a:pt x="1087" y="88"/>
                  </a:lnTo>
                  <a:lnTo>
                    <a:pt x="1083" y="90"/>
                  </a:lnTo>
                  <a:lnTo>
                    <a:pt x="1081" y="92"/>
                  </a:lnTo>
                  <a:lnTo>
                    <a:pt x="1078" y="94"/>
                  </a:lnTo>
                  <a:lnTo>
                    <a:pt x="1072" y="94"/>
                  </a:lnTo>
                  <a:lnTo>
                    <a:pt x="1066" y="94"/>
                  </a:lnTo>
                  <a:lnTo>
                    <a:pt x="1066" y="94"/>
                  </a:lnTo>
                  <a:lnTo>
                    <a:pt x="1057" y="94"/>
                  </a:lnTo>
                  <a:lnTo>
                    <a:pt x="1047" y="94"/>
                  </a:lnTo>
                  <a:lnTo>
                    <a:pt x="1041" y="94"/>
                  </a:lnTo>
                  <a:lnTo>
                    <a:pt x="1036" y="94"/>
                  </a:lnTo>
                  <a:lnTo>
                    <a:pt x="1028" y="94"/>
                  </a:lnTo>
                  <a:lnTo>
                    <a:pt x="1022" y="94"/>
                  </a:lnTo>
                  <a:lnTo>
                    <a:pt x="1013" y="94"/>
                  </a:lnTo>
                  <a:lnTo>
                    <a:pt x="1001" y="94"/>
                  </a:lnTo>
                  <a:lnTo>
                    <a:pt x="1001" y="94"/>
                  </a:lnTo>
                  <a:lnTo>
                    <a:pt x="992" y="94"/>
                  </a:lnTo>
                  <a:lnTo>
                    <a:pt x="984" y="90"/>
                  </a:lnTo>
                  <a:lnTo>
                    <a:pt x="978" y="84"/>
                  </a:lnTo>
                  <a:lnTo>
                    <a:pt x="975" y="76"/>
                  </a:lnTo>
                  <a:lnTo>
                    <a:pt x="971" y="69"/>
                  </a:lnTo>
                  <a:lnTo>
                    <a:pt x="967" y="63"/>
                  </a:lnTo>
                  <a:lnTo>
                    <a:pt x="963" y="57"/>
                  </a:lnTo>
                  <a:lnTo>
                    <a:pt x="957" y="53"/>
                  </a:lnTo>
                  <a:lnTo>
                    <a:pt x="957" y="53"/>
                  </a:lnTo>
                  <a:lnTo>
                    <a:pt x="952" y="50"/>
                  </a:lnTo>
                  <a:lnTo>
                    <a:pt x="944" y="48"/>
                  </a:lnTo>
                  <a:lnTo>
                    <a:pt x="938" y="46"/>
                  </a:lnTo>
                  <a:lnTo>
                    <a:pt x="935" y="44"/>
                  </a:lnTo>
                  <a:lnTo>
                    <a:pt x="929" y="40"/>
                  </a:lnTo>
                  <a:lnTo>
                    <a:pt x="923" y="38"/>
                  </a:lnTo>
                  <a:lnTo>
                    <a:pt x="917" y="36"/>
                  </a:lnTo>
                  <a:lnTo>
                    <a:pt x="912" y="34"/>
                  </a:lnTo>
                  <a:lnTo>
                    <a:pt x="906" y="32"/>
                  </a:lnTo>
                  <a:lnTo>
                    <a:pt x="900" y="31"/>
                  </a:lnTo>
                  <a:lnTo>
                    <a:pt x="895" y="31"/>
                  </a:lnTo>
                  <a:lnTo>
                    <a:pt x="889" y="29"/>
                  </a:lnTo>
                  <a:lnTo>
                    <a:pt x="881" y="27"/>
                  </a:lnTo>
                  <a:lnTo>
                    <a:pt x="875" y="27"/>
                  </a:lnTo>
                  <a:lnTo>
                    <a:pt x="868" y="27"/>
                  </a:lnTo>
                  <a:lnTo>
                    <a:pt x="860" y="27"/>
                  </a:lnTo>
                  <a:lnTo>
                    <a:pt x="860" y="27"/>
                  </a:lnTo>
                  <a:lnTo>
                    <a:pt x="853" y="27"/>
                  </a:lnTo>
                  <a:lnTo>
                    <a:pt x="843" y="27"/>
                  </a:lnTo>
                  <a:lnTo>
                    <a:pt x="835" y="29"/>
                  </a:lnTo>
                  <a:lnTo>
                    <a:pt x="826" y="31"/>
                  </a:lnTo>
                  <a:lnTo>
                    <a:pt x="818" y="34"/>
                  </a:lnTo>
                  <a:lnTo>
                    <a:pt x="811" y="38"/>
                  </a:lnTo>
                  <a:lnTo>
                    <a:pt x="801" y="42"/>
                  </a:lnTo>
                  <a:lnTo>
                    <a:pt x="793" y="46"/>
                  </a:lnTo>
                  <a:lnTo>
                    <a:pt x="786" y="50"/>
                  </a:lnTo>
                  <a:lnTo>
                    <a:pt x="778" y="55"/>
                  </a:lnTo>
                  <a:lnTo>
                    <a:pt x="772" y="61"/>
                  </a:lnTo>
                  <a:lnTo>
                    <a:pt x="767" y="67"/>
                  </a:lnTo>
                  <a:lnTo>
                    <a:pt x="763" y="74"/>
                  </a:lnTo>
                  <a:lnTo>
                    <a:pt x="759" y="80"/>
                  </a:lnTo>
                  <a:lnTo>
                    <a:pt x="757" y="88"/>
                  </a:lnTo>
                  <a:lnTo>
                    <a:pt x="757" y="94"/>
                  </a:lnTo>
                  <a:lnTo>
                    <a:pt x="757" y="94"/>
                  </a:lnTo>
                  <a:lnTo>
                    <a:pt x="757" y="103"/>
                  </a:lnTo>
                  <a:lnTo>
                    <a:pt x="761" y="111"/>
                  </a:lnTo>
                  <a:lnTo>
                    <a:pt x="765" y="120"/>
                  </a:lnTo>
                  <a:lnTo>
                    <a:pt x="771" y="128"/>
                  </a:lnTo>
                  <a:lnTo>
                    <a:pt x="776" y="135"/>
                  </a:lnTo>
                  <a:lnTo>
                    <a:pt x="782" y="143"/>
                  </a:lnTo>
                  <a:lnTo>
                    <a:pt x="784" y="151"/>
                  </a:lnTo>
                  <a:lnTo>
                    <a:pt x="786" y="158"/>
                  </a:lnTo>
                  <a:lnTo>
                    <a:pt x="786" y="158"/>
                  </a:lnTo>
                  <a:lnTo>
                    <a:pt x="784" y="162"/>
                  </a:lnTo>
                  <a:lnTo>
                    <a:pt x="780" y="170"/>
                  </a:lnTo>
                  <a:lnTo>
                    <a:pt x="776" y="177"/>
                  </a:lnTo>
                  <a:lnTo>
                    <a:pt x="769" y="187"/>
                  </a:lnTo>
                  <a:lnTo>
                    <a:pt x="759" y="197"/>
                  </a:lnTo>
                  <a:lnTo>
                    <a:pt x="750" y="204"/>
                  </a:lnTo>
                  <a:lnTo>
                    <a:pt x="738" y="210"/>
                  </a:lnTo>
                  <a:lnTo>
                    <a:pt x="727" y="212"/>
                  </a:lnTo>
                  <a:lnTo>
                    <a:pt x="727" y="212"/>
                  </a:lnTo>
                  <a:lnTo>
                    <a:pt x="717" y="212"/>
                  </a:lnTo>
                  <a:lnTo>
                    <a:pt x="709" y="212"/>
                  </a:lnTo>
                  <a:lnTo>
                    <a:pt x="700" y="210"/>
                  </a:lnTo>
                  <a:lnTo>
                    <a:pt x="692" y="208"/>
                  </a:lnTo>
                  <a:lnTo>
                    <a:pt x="687" y="206"/>
                  </a:lnTo>
                  <a:lnTo>
                    <a:pt x="679" y="202"/>
                  </a:lnTo>
                  <a:lnTo>
                    <a:pt x="673" y="200"/>
                  </a:lnTo>
                  <a:lnTo>
                    <a:pt x="666" y="197"/>
                  </a:lnTo>
                  <a:lnTo>
                    <a:pt x="660" y="195"/>
                  </a:lnTo>
                  <a:lnTo>
                    <a:pt x="654" y="191"/>
                  </a:lnTo>
                  <a:lnTo>
                    <a:pt x="647" y="187"/>
                  </a:lnTo>
                  <a:lnTo>
                    <a:pt x="641" y="183"/>
                  </a:lnTo>
                  <a:lnTo>
                    <a:pt x="635" y="179"/>
                  </a:lnTo>
                  <a:lnTo>
                    <a:pt x="627" y="177"/>
                  </a:lnTo>
                  <a:lnTo>
                    <a:pt x="622" y="174"/>
                  </a:lnTo>
                  <a:lnTo>
                    <a:pt x="614" y="172"/>
                  </a:lnTo>
                  <a:lnTo>
                    <a:pt x="614" y="172"/>
                  </a:lnTo>
                  <a:lnTo>
                    <a:pt x="608" y="168"/>
                  </a:lnTo>
                  <a:lnTo>
                    <a:pt x="603" y="166"/>
                  </a:lnTo>
                  <a:lnTo>
                    <a:pt x="599" y="162"/>
                  </a:lnTo>
                  <a:lnTo>
                    <a:pt x="593" y="158"/>
                  </a:lnTo>
                  <a:lnTo>
                    <a:pt x="587" y="156"/>
                  </a:lnTo>
                  <a:lnTo>
                    <a:pt x="582" y="153"/>
                  </a:lnTo>
                  <a:lnTo>
                    <a:pt x="574" y="151"/>
                  </a:lnTo>
                  <a:lnTo>
                    <a:pt x="568" y="147"/>
                  </a:lnTo>
                  <a:lnTo>
                    <a:pt x="568" y="147"/>
                  </a:lnTo>
                  <a:lnTo>
                    <a:pt x="563" y="147"/>
                  </a:lnTo>
                  <a:lnTo>
                    <a:pt x="557" y="145"/>
                  </a:lnTo>
                  <a:lnTo>
                    <a:pt x="553" y="145"/>
                  </a:lnTo>
                  <a:lnTo>
                    <a:pt x="545" y="145"/>
                  </a:lnTo>
                  <a:lnTo>
                    <a:pt x="540" y="143"/>
                  </a:lnTo>
                  <a:lnTo>
                    <a:pt x="534" y="143"/>
                  </a:lnTo>
                  <a:lnTo>
                    <a:pt x="528" y="143"/>
                  </a:lnTo>
                  <a:lnTo>
                    <a:pt x="523" y="143"/>
                  </a:lnTo>
                  <a:lnTo>
                    <a:pt x="515" y="143"/>
                  </a:lnTo>
                  <a:lnTo>
                    <a:pt x="509" y="143"/>
                  </a:lnTo>
                  <a:lnTo>
                    <a:pt x="503" y="143"/>
                  </a:lnTo>
                  <a:lnTo>
                    <a:pt x="498" y="141"/>
                  </a:lnTo>
                  <a:lnTo>
                    <a:pt x="492" y="141"/>
                  </a:lnTo>
                  <a:lnTo>
                    <a:pt x="488" y="139"/>
                  </a:lnTo>
                  <a:lnTo>
                    <a:pt x="482" y="137"/>
                  </a:lnTo>
                  <a:lnTo>
                    <a:pt x="479" y="135"/>
                  </a:lnTo>
                  <a:lnTo>
                    <a:pt x="479" y="135"/>
                  </a:lnTo>
                  <a:lnTo>
                    <a:pt x="471" y="130"/>
                  </a:lnTo>
                  <a:lnTo>
                    <a:pt x="465" y="124"/>
                  </a:lnTo>
                  <a:lnTo>
                    <a:pt x="460" y="120"/>
                  </a:lnTo>
                  <a:lnTo>
                    <a:pt x="456" y="115"/>
                  </a:lnTo>
                  <a:lnTo>
                    <a:pt x="454" y="109"/>
                  </a:lnTo>
                  <a:lnTo>
                    <a:pt x="450" y="103"/>
                  </a:lnTo>
                  <a:lnTo>
                    <a:pt x="450" y="97"/>
                  </a:lnTo>
                  <a:lnTo>
                    <a:pt x="448" y="94"/>
                  </a:lnTo>
                  <a:lnTo>
                    <a:pt x="448" y="88"/>
                  </a:lnTo>
                  <a:lnTo>
                    <a:pt x="446" y="82"/>
                  </a:lnTo>
                  <a:lnTo>
                    <a:pt x="446" y="76"/>
                  </a:lnTo>
                  <a:lnTo>
                    <a:pt x="444" y="71"/>
                  </a:lnTo>
                  <a:lnTo>
                    <a:pt x="442" y="67"/>
                  </a:lnTo>
                  <a:lnTo>
                    <a:pt x="441" y="61"/>
                  </a:lnTo>
                  <a:lnTo>
                    <a:pt x="437" y="55"/>
                  </a:lnTo>
                  <a:lnTo>
                    <a:pt x="431" y="50"/>
                  </a:lnTo>
                  <a:lnTo>
                    <a:pt x="431" y="50"/>
                  </a:lnTo>
                  <a:lnTo>
                    <a:pt x="429" y="48"/>
                  </a:lnTo>
                  <a:lnTo>
                    <a:pt x="423" y="46"/>
                  </a:lnTo>
                  <a:lnTo>
                    <a:pt x="418" y="42"/>
                  </a:lnTo>
                  <a:lnTo>
                    <a:pt x="410" y="38"/>
                  </a:lnTo>
                  <a:lnTo>
                    <a:pt x="402" y="36"/>
                  </a:lnTo>
                  <a:lnTo>
                    <a:pt x="393" y="32"/>
                  </a:lnTo>
                  <a:lnTo>
                    <a:pt x="383" y="29"/>
                  </a:lnTo>
                  <a:lnTo>
                    <a:pt x="374" y="27"/>
                  </a:lnTo>
                  <a:lnTo>
                    <a:pt x="364" y="23"/>
                  </a:lnTo>
                  <a:lnTo>
                    <a:pt x="355" y="21"/>
                  </a:lnTo>
                  <a:lnTo>
                    <a:pt x="345" y="17"/>
                  </a:lnTo>
                  <a:lnTo>
                    <a:pt x="336" y="15"/>
                  </a:lnTo>
                  <a:lnTo>
                    <a:pt x="328" y="13"/>
                  </a:lnTo>
                  <a:lnTo>
                    <a:pt x="320" y="13"/>
                  </a:lnTo>
                  <a:lnTo>
                    <a:pt x="315" y="11"/>
                  </a:lnTo>
                  <a:lnTo>
                    <a:pt x="311" y="11"/>
                  </a:lnTo>
                  <a:lnTo>
                    <a:pt x="311" y="11"/>
                  </a:lnTo>
                  <a:lnTo>
                    <a:pt x="303" y="11"/>
                  </a:lnTo>
                  <a:lnTo>
                    <a:pt x="297" y="15"/>
                  </a:lnTo>
                  <a:lnTo>
                    <a:pt x="292" y="17"/>
                  </a:lnTo>
                  <a:lnTo>
                    <a:pt x="288" y="21"/>
                  </a:lnTo>
                  <a:lnTo>
                    <a:pt x="282" y="23"/>
                  </a:lnTo>
                  <a:lnTo>
                    <a:pt x="276" y="27"/>
                  </a:lnTo>
                  <a:lnTo>
                    <a:pt x="271" y="29"/>
                  </a:lnTo>
                  <a:lnTo>
                    <a:pt x="263" y="29"/>
                  </a:lnTo>
                  <a:lnTo>
                    <a:pt x="263" y="29"/>
                  </a:lnTo>
                  <a:lnTo>
                    <a:pt x="255" y="29"/>
                  </a:lnTo>
                  <a:lnTo>
                    <a:pt x="250" y="29"/>
                  </a:lnTo>
                  <a:lnTo>
                    <a:pt x="244" y="27"/>
                  </a:lnTo>
                  <a:lnTo>
                    <a:pt x="238" y="27"/>
                  </a:lnTo>
                  <a:lnTo>
                    <a:pt x="233" y="25"/>
                  </a:lnTo>
                  <a:lnTo>
                    <a:pt x="227" y="23"/>
                  </a:lnTo>
                  <a:lnTo>
                    <a:pt x="223" y="21"/>
                  </a:lnTo>
                  <a:lnTo>
                    <a:pt x="217" y="19"/>
                  </a:lnTo>
                  <a:lnTo>
                    <a:pt x="214" y="15"/>
                  </a:lnTo>
                  <a:lnTo>
                    <a:pt x="208" y="13"/>
                  </a:lnTo>
                  <a:lnTo>
                    <a:pt x="204" y="11"/>
                  </a:lnTo>
                  <a:lnTo>
                    <a:pt x="198" y="10"/>
                  </a:lnTo>
                  <a:lnTo>
                    <a:pt x="194" y="6"/>
                  </a:lnTo>
                  <a:lnTo>
                    <a:pt x="189" y="4"/>
                  </a:lnTo>
                  <a:lnTo>
                    <a:pt x="183" y="2"/>
                  </a:lnTo>
                  <a:lnTo>
                    <a:pt x="177" y="0"/>
                  </a:lnTo>
                  <a:lnTo>
                    <a:pt x="177" y="0"/>
                  </a:lnTo>
                  <a:lnTo>
                    <a:pt x="177" y="8"/>
                  </a:lnTo>
                  <a:lnTo>
                    <a:pt x="177" y="13"/>
                  </a:lnTo>
                  <a:lnTo>
                    <a:pt x="175" y="17"/>
                  </a:lnTo>
                  <a:lnTo>
                    <a:pt x="173" y="21"/>
                  </a:lnTo>
                  <a:lnTo>
                    <a:pt x="172" y="25"/>
                  </a:lnTo>
                  <a:lnTo>
                    <a:pt x="173" y="29"/>
                  </a:lnTo>
                  <a:lnTo>
                    <a:pt x="173" y="34"/>
                  </a:lnTo>
                  <a:lnTo>
                    <a:pt x="177" y="40"/>
                  </a:lnTo>
                  <a:lnTo>
                    <a:pt x="177" y="40"/>
                  </a:lnTo>
                  <a:lnTo>
                    <a:pt x="173" y="44"/>
                  </a:lnTo>
                  <a:lnTo>
                    <a:pt x="166" y="48"/>
                  </a:lnTo>
                  <a:lnTo>
                    <a:pt x="160" y="52"/>
                  </a:lnTo>
                  <a:lnTo>
                    <a:pt x="152" y="55"/>
                  </a:lnTo>
                  <a:lnTo>
                    <a:pt x="143" y="61"/>
                  </a:lnTo>
                  <a:lnTo>
                    <a:pt x="135" y="67"/>
                  </a:lnTo>
                  <a:lnTo>
                    <a:pt x="128" y="73"/>
                  </a:lnTo>
                  <a:lnTo>
                    <a:pt x="118" y="78"/>
                  </a:lnTo>
                  <a:lnTo>
                    <a:pt x="111" y="84"/>
                  </a:lnTo>
                  <a:lnTo>
                    <a:pt x="103" y="90"/>
                  </a:lnTo>
                  <a:lnTo>
                    <a:pt x="95" y="95"/>
                  </a:lnTo>
                  <a:lnTo>
                    <a:pt x="90" y="103"/>
                  </a:lnTo>
                  <a:lnTo>
                    <a:pt x="84" y="109"/>
                  </a:lnTo>
                  <a:lnTo>
                    <a:pt x="80" y="113"/>
                  </a:lnTo>
                  <a:lnTo>
                    <a:pt x="78" y="118"/>
                  </a:lnTo>
                  <a:lnTo>
                    <a:pt x="78" y="124"/>
                  </a:lnTo>
                  <a:lnTo>
                    <a:pt x="78" y="124"/>
                  </a:lnTo>
                  <a:lnTo>
                    <a:pt x="78" y="130"/>
                  </a:lnTo>
                  <a:lnTo>
                    <a:pt x="76" y="135"/>
                  </a:lnTo>
                  <a:lnTo>
                    <a:pt x="76" y="139"/>
                  </a:lnTo>
                  <a:lnTo>
                    <a:pt x="76" y="143"/>
                  </a:lnTo>
                  <a:lnTo>
                    <a:pt x="76" y="145"/>
                  </a:lnTo>
                  <a:lnTo>
                    <a:pt x="76" y="149"/>
                  </a:lnTo>
                  <a:lnTo>
                    <a:pt x="76" y="151"/>
                  </a:lnTo>
                  <a:lnTo>
                    <a:pt x="78" y="153"/>
                  </a:lnTo>
                  <a:lnTo>
                    <a:pt x="78" y="153"/>
                  </a:lnTo>
                  <a:lnTo>
                    <a:pt x="80" y="158"/>
                  </a:lnTo>
                  <a:lnTo>
                    <a:pt x="80" y="166"/>
                  </a:lnTo>
                  <a:lnTo>
                    <a:pt x="80" y="172"/>
                  </a:lnTo>
                  <a:lnTo>
                    <a:pt x="78" y="177"/>
                  </a:lnTo>
                  <a:lnTo>
                    <a:pt x="74" y="181"/>
                  </a:lnTo>
                  <a:lnTo>
                    <a:pt x="70" y="187"/>
                  </a:lnTo>
                  <a:lnTo>
                    <a:pt x="67" y="193"/>
                  </a:lnTo>
                  <a:lnTo>
                    <a:pt x="63" y="197"/>
                  </a:lnTo>
                  <a:lnTo>
                    <a:pt x="57" y="200"/>
                  </a:lnTo>
                  <a:lnTo>
                    <a:pt x="51" y="204"/>
                  </a:lnTo>
                  <a:lnTo>
                    <a:pt x="44" y="208"/>
                  </a:lnTo>
                  <a:lnTo>
                    <a:pt x="38" y="212"/>
                  </a:lnTo>
                  <a:lnTo>
                    <a:pt x="32" y="216"/>
                  </a:lnTo>
                  <a:lnTo>
                    <a:pt x="25" y="218"/>
                  </a:lnTo>
                  <a:lnTo>
                    <a:pt x="19" y="219"/>
                  </a:lnTo>
                  <a:lnTo>
                    <a:pt x="13" y="221"/>
                  </a:lnTo>
                  <a:lnTo>
                    <a:pt x="13" y="221"/>
                  </a:lnTo>
                  <a:lnTo>
                    <a:pt x="17" y="227"/>
                  </a:lnTo>
                  <a:lnTo>
                    <a:pt x="19" y="233"/>
                  </a:lnTo>
                  <a:lnTo>
                    <a:pt x="21" y="239"/>
                  </a:lnTo>
                  <a:lnTo>
                    <a:pt x="25" y="244"/>
                  </a:lnTo>
                  <a:lnTo>
                    <a:pt x="27" y="250"/>
                  </a:lnTo>
                  <a:lnTo>
                    <a:pt x="30" y="256"/>
                  </a:lnTo>
                  <a:lnTo>
                    <a:pt x="32" y="261"/>
                  </a:lnTo>
                  <a:lnTo>
                    <a:pt x="34" y="269"/>
                  </a:lnTo>
                  <a:lnTo>
                    <a:pt x="36" y="275"/>
                  </a:lnTo>
                  <a:lnTo>
                    <a:pt x="38" y="280"/>
                  </a:lnTo>
                  <a:lnTo>
                    <a:pt x="40" y="288"/>
                  </a:lnTo>
                  <a:lnTo>
                    <a:pt x="42" y="294"/>
                  </a:lnTo>
                  <a:lnTo>
                    <a:pt x="44" y="301"/>
                  </a:lnTo>
                  <a:lnTo>
                    <a:pt x="44" y="307"/>
                  </a:lnTo>
                  <a:lnTo>
                    <a:pt x="44" y="315"/>
                  </a:lnTo>
                  <a:lnTo>
                    <a:pt x="44" y="322"/>
                  </a:lnTo>
                  <a:lnTo>
                    <a:pt x="44" y="322"/>
                  </a:lnTo>
                  <a:lnTo>
                    <a:pt x="44" y="330"/>
                  </a:lnTo>
                  <a:lnTo>
                    <a:pt x="44" y="338"/>
                  </a:lnTo>
                  <a:lnTo>
                    <a:pt x="44" y="343"/>
                  </a:lnTo>
                  <a:lnTo>
                    <a:pt x="44" y="349"/>
                  </a:lnTo>
                  <a:lnTo>
                    <a:pt x="44" y="355"/>
                  </a:lnTo>
                  <a:lnTo>
                    <a:pt x="44" y="359"/>
                  </a:lnTo>
                  <a:lnTo>
                    <a:pt x="44" y="364"/>
                  </a:lnTo>
                  <a:lnTo>
                    <a:pt x="44" y="368"/>
                  </a:lnTo>
                  <a:lnTo>
                    <a:pt x="44" y="372"/>
                  </a:lnTo>
                  <a:lnTo>
                    <a:pt x="44" y="376"/>
                  </a:lnTo>
                  <a:lnTo>
                    <a:pt x="44" y="380"/>
                  </a:lnTo>
                  <a:lnTo>
                    <a:pt x="44" y="385"/>
                  </a:lnTo>
                  <a:lnTo>
                    <a:pt x="44" y="389"/>
                  </a:lnTo>
                  <a:lnTo>
                    <a:pt x="44" y="395"/>
                  </a:lnTo>
                  <a:lnTo>
                    <a:pt x="44" y="401"/>
                  </a:lnTo>
                  <a:lnTo>
                    <a:pt x="44" y="408"/>
                  </a:lnTo>
                  <a:lnTo>
                    <a:pt x="44" y="408"/>
                  </a:lnTo>
                  <a:lnTo>
                    <a:pt x="44" y="410"/>
                  </a:lnTo>
                  <a:lnTo>
                    <a:pt x="44" y="414"/>
                  </a:lnTo>
                  <a:lnTo>
                    <a:pt x="40" y="420"/>
                  </a:lnTo>
                  <a:lnTo>
                    <a:pt x="38" y="424"/>
                  </a:lnTo>
                  <a:lnTo>
                    <a:pt x="36" y="429"/>
                  </a:lnTo>
                  <a:lnTo>
                    <a:pt x="34" y="433"/>
                  </a:lnTo>
                  <a:lnTo>
                    <a:pt x="34" y="439"/>
                  </a:lnTo>
                  <a:lnTo>
                    <a:pt x="32" y="443"/>
                  </a:lnTo>
                  <a:lnTo>
                    <a:pt x="32" y="443"/>
                  </a:lnTo>
                  <a:lnTo>
                    <a:pt x="34" y="448"/>
                  </a:lnTo>
                  <a:lnTo>
                    <a:pt x="34" y="454"/>
                  </a:lnTo>
                  <a:lnTo>
                    <a:pt x="36" y="460"/>
                  </a:lnTo>
                  <a:lnTo>
                    <a:pt x="38" y="464"/>
                  </a:lnTo>
                  <a:lnTo>
                    <a:pt x="40" y="467"/>
                  </a:lnTo>
                  <a:lnTo>
                    <a:pt x="42" y="473"/>
                  </a:lnTo>
                  <a:lnTo>
                    <a:pt x="44" y="479"/>
                  </a:lnTo>
                  <a:lnTo>
                    <a:pt x="44" y="485"/>
                  </a:lnTo>
                  <a:lnTo>
                    <a:pt x="44" y="485"/>
                  </a:lnTo>
                  <a:lnTo>
                    <a:pt x="40" y="490"/>
                  </a:lnTo>
                  <a:lnTo>
                    <a:pt x="34" y="496"/>
                  </a:lnTo>
                  <a:lnTo>
                    <a:pt x="27" y="500"/>
                  </a:lnTo>
                  <a:lnTo>
                    <a:pt x="19" y="504"/>
                  </a:lnTo>
                  <a:lnTo>
                    <a:pt x="11" y="508"/>
                  </a:lnTo>
                  <a:lnTo>
                    <a:pt x="6" y="511"/>
                  </a:lnTo>
                  <a:lnTo>
                    <a:pt x="2" y="517"/>
                  </a:lnTo>
                  <a:lnTo>
                    <a:pt x="0" y="523"/>
                  </a:lnTo>
                  <a:lnTo>
                    <a:pt x="0" y="523"/>
                  </a:lnTo>
                  <a:lnTo>
                    <a:pt x="2" y="528"/>
                  </a:lnTo>
                  <a:lnTo>
                    <a:pt x="2" y="532"/>
                  </a:lnTo>
                  <a:lnTo>
                    <a:pt x="4" y="538"/>
                  </a:lnTo>
                  <a:lnTo>
                    <a:pt x="8" y="546"/>
                  </a:lnTo>
                  <a:lnTo>
                    <a:pt x="11" y="551"/>
                  </a:lnTo>
                  <a:lnTo>
                    <a:pt x="15" y="559"/>
                  </a:lnTo>
                  <a:lnTo>
                    <a:pt x="19" y="567"/>
                  </a:lnTo>
                  <a:lnTo>
                    <a:pt x="23" y="574"/>
                  </a:lnTo>
                  <a:lnTo>
                    <a:pt x="27" y="582"/>
                  </a:lnTo>
                  <a:lnTo>
                    <a:pt x="32" y="590"/>
                  </a:lnTo>
                  <a:lnTo>
                    <a:pt x="36" y="597"/>
                  </a:lnTo>
                  <a:lnTo>
                    <a:pt x="40" y="603"/>
                  </a:lnTo>
                  <a:lnTo>
                    <a:pt x="44" y="611"/>
                  </a:lnTo>
                  <a:lnTo>
                    <a:pt x="48" y="616"/>
                  </a:lnTo>
                  <a:lnTo>
                    <a:pt x="51" y="622"/>
                  </a:lnTo>
                  <a:lnTo>
                    <a:pt x="53" y="626"/>
                  </a:lnTo>
                  <a:lnTo>
                    <a:pt x="53" y="626"/>
                  </a:lnTo>
                  <a:lnTo>
                    <a:pt x="55" y="630"/>
                  </a:lnTo>
                  <a:lnTo>
                    <a:pt x="57" y="633"/>
                  </a:lnTo>
                  <a:lnTo>
                    <a:pt x="57" y="637"/>
                  </a:lnTo>
                  <a:lnTo>
                    <a:pt x="59" y="641"/>
                  </a:lnTo>
                  <a:lnTo>
                    <a:pt x="59" y="645"/>
                  </a:lnTo>
                  <a:lnTo>
                    <a:pt x="61" y="649"/>
                  </a:lnTo>
                  <a:lnTo>
                    <a:pt x="63" y="652"/>
                  </a:lnTo>
                  <a:lnTo>
                    <a:pt x="67" y="656"/>
                  </a:lnTo>
                  <a:lnTo>
                    <a:pt x="67" y="656"/>
                  </a:lnTo>
                  <a:lnTo>
                    <a:pt x="69" y="656"/>
                  </a:lnTo>
                  <a:lnTo>
                    <a:pt x="70" y="656"/>
                  </a:lnTo>
                  <a:lnTo>
                    <a:pt x="74" y="656"/>
                  </a:lnTo>
                  <a:lnTo>
                    <a:pt x="76" y="656"/>
                  </a:lnTo>
                  <a:lnTo>
                    <a:pt x="78" y="654"/>
                  </a:lnTo>
                  <a:lnTo>
                    <a:pt x="82" y="654"/>
                  </a:lnTo>
                  <a:lnTo>
                    <a:pt x="84" y="652"/>
                  </a:lnTo>
                  <a:lnTo>
                    <a:pt x="86" y="652"/>
                  </a:lnTo>
                  <a:lnTo>
                    <a:pt x="86" y="652"/>
                  </a:lnTo>
                  <a:lnTo>
                    <a:pt x="95" y="654"/>
                  </a:lnTo>
                  <a:lnTo>
                    <a:pt x="103" y="656"/>
                  </a:lnTo>
                  <a:lnTo>
                    <a:pt x="111" y="660"/>
                  </a:lnTo>
                  <a:lnTo>
                    <a:pt x="118" y="664"/>
                  </a:lnTo>
                  <a:lnTo>
                    <a:pt x="124" y="668"/>
                  </a:lnTo>
                  <a:lnTo>
                    <a:pt x="131" y="672"/>
                  </a:lnTo>
                  <a:lnTo>
                    <a:pt x="139" y="675"/>
                  </a:lnTo>
                  <a:lnTo>
                    <a:pt x="149" y="677"/>
                  </a:lnTo>
                  <a:lnTo>
                    <a:pt x="149" y="677"/>
                  </a:lnTo>
                  <a:lnTo>
                    <a:pt x="149" y="683"/>
                  </a:lnTo>
                  <a:lnTo>
                    <a:pt x="151" y="687"/>
                  </a:lnTo>
                  <a:lnTo>
                    <a:pt x="152" y="693"/>
                  </a:lnTo>
                  <a:lnTo>
                    <a:pt x="154" y="696"/>
                  </a:lnTo>
                  <a:lnTo>
                    <a:pt x="156" y="702"/>
                  </a:lnTo>
                  <a:lnTo>
                    <a:pt x="160" y="706"/>
                  </a:lnTo>
                  <a:lnTo>
                    <a:pt x="162" y="710"/>
                  </a:lnTo>
                  <a:lnTo>
                    <a:pt x="166" y="712"/>
                  </a:lnTo>
                  <a:lnTo>
                    <a:pt x="170" y="715"/>
                  </a:lnTo>
                  <a:lnTo>
                    <a:pt x="172" y="719"/>
                  </a:lnTo>
                  <a:lnTo>
                    <a:pt x="175" y="723"/>
                  </a:lnTo>
                  <a:lnTo>
                    <a:pt x="179" y="729"/>
                  </a:lnTo>
                  <a:lnTo>
                    <a:pt x="181" y="733"/>
                  </a:lnTo>
                  <a:lnTo>
                    <a:pt x="183" y="736"/>
                  </a:lnTo>
                  <a:lnTo>
                    <a:pt x="185" y="742"/>
                  </a:lnTo>
                  <a:lnTo>
                    <a:pt x="187" y="748"/>
                  </a:lnTo>
                  <a:lnTo>
                    <a:pt x="187" y="748"/>
                  </a:lnTo>
                  <a:lnTo>
                    <a:pt x="194" y="748"/>
                  </a:lnTo>
                  <a:lnTo>
                    <a:pt x="204" y="748"/>
                  </a:lnTo>
                  <a:lnTo>
                    <a:pt x="212" y="750"/>
                  </a:lnTo>
                  <a:lnTo>
                    <a:pt x="219" y="750"/>
                  </a:lnTo>
                  <a:lnTo>
                    <a:pt x="227" y="752"/>
                  </a:lnTo>
                  <a:lnTo>
                    <a:pt x="233" y="754"/>
                  </a:lnTo>
                  <a:lnTo>
                    <a:pt x="240" y="756"/>
                  </a:lnTo>
                  <a:lnTo>
                    <a:pt x="246" y="757"/>
                  </a:lnTo>
                  <a:lnTo>
                    <a:pt x="252" y="759"/>
                  </a:lnTo>
                  <a:lnTo>
                    <a:pt x="257" y="761"/>
                  </a:lnTo>
                  <a:lnTo>
                    <a:pt x="263" y="763"/>
                  </a:lnTo>
                  <a:lnTo>
                    <a:pt x="271" y="767"/>
                  </a:lnTo>
                  <a:lnTo>
                    <a:pt x="276" y="769"/>
                  </a:lnTo>
                  <a:lnTo>
                    <a:pt x="282" y="773"/>
                  </a:lnTo>
                  <a:lnTo>
                    <a:pt x="290" y="775"/>
                  </a:lnTo>
                  <a:lnTo>
                    <a:pt x="296" y="776"/>
                  </a:lnTo>
                  <a:lnTo>
                    <a:pt x="296" y="776"/>
                  </a:lnTo>
                  <a:lnTo>
                    <a:pt x="303" y="780"/>
                  </a:lnTo>
                  <a:lnTo>
                    <a:pt x="309" y="786"/>
                  </a:lnTo>
                  <a:lnTo>
                    <a:pt x="315" y="792"/>
                  </a:lnTo>
                  <a:lnTo>
                    <a:pt x="320" y="797"/>
                  </a:lnTo>
                  <a:lnTo>
                    <a:pt x="324" y="803"/>
                  </a:lnTo>
                  <a:lnTo>
                    <a:pt x="332" y="809"/>
                  </a:lnTo>
                  <a:lnTo>
                    <a:pt x="338" y="811"/>
                  </a:lnTo>
                  <a:lnTo>
                    <a:pt x="345" y="813"/>
                  </a:lnTo>
                  <a:lnTo>
                    <a:pt x="345" y="813"/>
                  </a:lnTo>
                  <a:lnTo>
                    <a:pt x="355" y="813"/>
                  </a:lnTo>
                  <a:lnTo>
                    <a:pt x="362" y="809"/>
                  </a:lnTo>
                  <a:lnTo>
                    <a:pt x="372" y="807"/>
                  </a:lnTo>
                  <a:lnTo>
                    <a:pt x="381" y="803"/>
                  </a:lnTo>
                  <a:lnTo>
                    <a:pt x="391" y="799"/>
                  </a:lnTo>
                  <a:lnTo>
                    <a:pt x="399" y="794"/>
                  </a:lnTo>
                  <a:lnTo>
                    <a:pt x="406" y="790"/>
                  </a:lnTo>
                  <a:lnTo>
                    <a:pt x="410" y="786"/>
                  </a:lnTo>
                  <a:lnTo>
                    <a:pt x="484" y="744"/>
                  </a:lnTo>
                  <a:lnTo>
                    <a:pt x="1091" y="1051"/>
                  </a:lnTo>
                  <a:lnTo>
                    <a:pt x="1091" y="1051"/>
                  </a:lnTo>
                  <a:lnTo>
                    <a:pt x="1089" y="1015"/>
                  </a:lnTo>
                  <a:lnTo>
                    <a:pt x="1163" y="1015"/>
                  </a:lnTo>
                  <a:lnTo>
                    <a:pt x="1154" y="857"/>
                  </a:lnTo>
                  <a:lnTo>
                    <a:pt x="1125" y="280"/>
                  </a:lnTo>
                  <a:lnTo>
                    <a:pt x="1125" y="280"/>
                  </a:lnTo>
                  <a:lnTo>
                    <a:pt x="1123" y="275"/>
                  </a:lnTo>
                  <a:lnTo>
                    <a:pt x="1122" y="269"/>
                  </a:lnTo>
                  <a:lnTo>
                    <a:pt x="1120" y="263"/>
                  </a:lnTo>
                  <a:lnTo>
                    <a:pt x="1116" y="256"/>
                  </a:lnTo>
                  <a:lnTo>
                    <a:pt x="1112" y="248"/>
                  </a:lnTo>
                  <a:lnTo>
                    <a:pt x="1110" y="239"/>
                  </a:lnTo>
                  <a:lnTo>
                    <a:pt x="1108" y="231"/>
                  </a:lnTo>
                  <a:lnTo>
                    <a:pt x="1106" y="221"/>
                  </a:lnTo>
                  <a:lnTo>
                    <a:pt x="1106" y="221"/>
                  </a:lnTo>
                  <a:lnTo>
                    <a:pt x="1108" y="216"/>
                  </a:lnTo>
                  <a:lnTo>
                    <a:pt x="1110" y="210"/>
                  </a:lnTo>
                  <a:lnTo>
                    <a:pt x="1112" y="204"/>
                  </a:lnTo>
                  <a:lnTo>
                    <a:pt x="1116" y="200"/>
                  </a:lnTo>
                  <a:lnTo>
                    <a:pt x="1120" y="197"/>
                  </a:lnTo>
                  <a:lnTo>
                    <a:pt x="1122" y="191"/>
                  </a:lnTo>
                  <a:lnTo>
                    <a:pt x="1123" y="185"/>
                  </a:lnTo>
                  <a:lnTo>
                    <a:pt x="1125" y="177"/>
                  </a:lnTo>
                  <a:lnTo>
                    <a:pt x="1125" y="177"/>
                  </a:lnTo>
                  <a:lnTo>
                    <a:pt x="1123" y="172"/>
                  </a:lnTo>
                  <a:lnTo>
                    <a:pt x="1122" y="166"/>
                  </a:lnTo>
                  <a:lnTo>
                    <a:pt x="1120" y="160"/>
                  </a:lnTo>
                  <a:lnTo>
                    <a:pt x="1116" y="156"/>
                  </a:lnTo>
                  <a:lnTo>
                    <a:pt x="1112" y="153"/>
                  </a:lnTo>
                  <a:lnTo>
                    <a:pt x="1110" y="147"/>
                  </a:lnTo>
                  <a:lnTo>
                    <a:pt x="1108" y="141"/>
                  </a:lnTo>
                  <a:lnTo>
                    <a:pt x="1106" y="135"/>
                  </a:lnTo>
                  <a:lnTo>
                    <a:pt x="1106" y="135"/>
                  </a:lnTo>
                  <a:lnTo>
                    <a:pt x="1108" y="130"/>
                  </a:lnTo>
                  <a:lnTo>
                    <a:pt x="1108" y="124"/>
                  </a:lnTo>
                  <a:lnTo>
                    <a:pt x="1110" y="120"/>
                  </a:lnTo>
                  <a:lnTo>
                    <a:pt x="1112" y="116"/>
                  </a:lnTo>
                  <a:lnTo>
                    <a:pt x="1116" y="115"/>
                  </a:lnTo>
                  <a:lnTo>
                    <a:pt x="1120" y="113"/>
                  </a:lnTo>
                  <a:lnTo>
                    <a:pt x="1125" y="111"/>
                  </a:lnTo>
                  <a:lnTo>
                    <a:pt x="1131" y="111"/>
                  </a:lnTo>
                  <a:lnTo>
                    <a:pt x="1125" y="109"/>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09" name="Freeform 253"/>
            <p:cNvSpPr>
              <a:spLocks/>
            </p:cNvSpPr>
            <p:nvPr/>
          </p:nvSpPr>
          <p:spPr bwMode="gray">
            <a:xfrm>
              <a:off x="2113" y="2568"/>
              <a:ext cx="30" cy="49"/>
            </a:xfrm>
            <a:custGeom>
              <a:avLst/>
              <a:gdLst/>
              <a:ahLst/>
              <a:cxnLst>
                <a:cxn ang="0">
                  <a:pos x="0" y="88"/>
                </a:cxn>
                <a:cxn ang="0">
                  <a:pos x="8" y="86"/>
                </a:cxn>
                <a:cxn ang="0">
                  <a:pos x="12" y="81"/>
                </a:cxn>
                <a:cxn ang="0">
                  <a:pos x="15" y="75"/>
                </a:cxn>
                <a:cxn ang="0">
                  <a:pos x="15" y="65"/>
                </a:cxn>
                <a:cxn ang="0">
                  <a:pos x="15" y="56"/>
                </a:cxn>
                <a:cxn ang="0">
                  <a:pos x="15" y="46"/>
                </a:cxn>
                <a:cxn ang="0">
                  <a:pos x="15" y="37"/>
                </a:cxn>
                <a:cxn ang="0">
                  <a:pos x="17" y="29"/>
                </a:cxn>
                <a:cxn ang="0">
                  <a:pos x="21" y="23"/>
                </a:cxn>
                <a:cxn ang="0">
                  <a:pos x="25" y="20"/>
                </a:cxn>
                <a:cxn ang="0">
                  <a:pos x="29" y="16"/>
                </a:cxn>
                <a:cxn ang="0">
                  <a:pos x="34" y="14"/>
                </a:cxn>
                <a:cxn ang="0">
                  <a:pos x="38" y="10"/>
                </a:cxn>
                <a:cxn ang="0">
                  <a:pos x="44" y="8"/>
                </a:cxn>
                <a:cxn ang="0">
                  <a:pos x="48" y="4"/>
                </a:cxn>
                <a:cxn ang="0">
                  <a:pos x="52" y="0"/>
                </a:cxn>
                <a:cxn ang="0">
                  <a:pos x="0" y="88"/>
                </a:cxn>
              </a:cxnLst>
              <a:rect l="0" t="0" r="r" b="b"/>
              <a:pathLst>
                <a:path w="52" h="88">
                  <a:moveTo>
                    <a:pt x="0" y="88"/>
                  </a:moveTo>
                  <a:lnTo>
                    <a:pt x="8" y="86"/>
                  </a:lnTo>
                  <a:lnTo>
                    <a:pt x="12" y="81"/>
                  </a:lnTo>
                  <a:lnTo>
                    <a:pt x="15" y="75"/>
                  </a:lnTo>
                  <a:lnTo>
                    <a:pt x="15" y="65"/>
                  </a:lnTo>
                  <a:lnTo>
                    <a:pt x="15" y="56"/>
                  </a:lnTo>
                  <a:lnTo>
                    <a:pt x="15" y="46"/>
                  </a:lnTo>
                  <a:lnTo>
                    <a:pt x="15" y="37"/>
                  </a:lnTo>
                  <a:lnTo>
                    <a:pt x="17" y="29"/>
                  </a:lnTo>
                  <a:lnTo>
                    <a:pt x="21" y="23"/>
                  </a:lnTo>
                  <a:lnTo>
                    <a:pt x="25" y="20"/>
                  </a:lnTo>
                  <a:lnTo>
                    <a:pt x="29" y="16"/>
                  </a:lnTo>
                  <a:lnTo>
                    <a:pt x="34" y="14"/>
                  </a:lnTo>
                  <a:lnTo>
                    <a:pt x="38" y="10"/>
                  </a:lnTo>
                  <a:lnTo>
                    <a:pt x="44" y="8"/>
                  </a:lnTo>
                  <a:lnTo>
                    <a:pt x="48" y="4"/>
                  </a:lnTo>
                  <a:lnTo>
                    <a:pt x="52" y="0"/>
                  </a:lnTo>
                  <a:lnTo>
                    <a:pt x="0" y="88"/>
                  </a:lnTo>
                  <a:close/>
                </a:path>
              </a:pathLst>
            </a:custGeom>
            <a:solidFill>
              <a:schemeClr val="accent2"/>
            </a:solid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510" name="Freeform 254"/>
            <p:cNvSpPr>
              <a:spLocks/>
            </p:cNvSpPr>
            <p:nvPr/>
          </p:nvSpPr>
          <p:spPr bwMode="gray">
            <a:xfrm>
              <a:off x="2111" y="920"/>
              <a:ext cx="1" cy="6"/>
            </a:xfrm>
            <a:custGeom>
              <a:avLst/>
              <a:gdLst/>
              <a:ahLst/>
              <a:cxnLst>
                <a:cxn ang="0">
                  <a:pos x="0" y="0"/>
                </a:cxn>
                <a:cxn ang="0">
                  <a:pos x="0" y="1"/>
                </a:cxn>
                <a:cxn ang="0">
                  <a:pos x="0" y="3"/>
                </a:cxn>
                <a:cxn ang="0">
                  <a:pos x="0" y="5"/>
                </a:cxn>
                <a:cxn ang="0">
                  <a:pos x="0" y="9"/>
                </a:cxn>
                <a:cxn ang="0">
                  <a:pos x="0" y="0"/>
                </a:cxn>
              </a:cxnLst>
              <a:rect l="0" t="0" r="r" b="b"/>
              <a:pathLst>
                <a:path h="9">
                  <a:moveTo>
                    <a:pt x="0" y="0"/>
                  </a:moveTo>
                  <a:lnTo>
                    <a:pt x="0" y="1"/>
                  </a:lnTo>
                  <a:lnTo>
                    <a:pt x="0" y="3"/>
                  </a:lnTo>
                  <a:lnTo>
                    <a:pt x="0" y="5"/>
                  </a:lnTo>
                  <a:lnTo>
                    <a:pt x="0" y="9"/>
                  </a:lnTo>
                  <a:lnTo>
                    <a:pt x="0" y="0"/>
                  </a:lnTo>
                  <a:close/>
                </a:path>
              </a:pathLst>
            </a:custGeom>
            <a:solidFill>
              <a:schemeClr val="accent2"/>
            </a:solidFill>
            <a:ln w="9525" cmpd="sng">
              <a:solidFill>
                <a:srgbClr val="808080"/>
              </a:solidFill>
              <a:round/>
              <a:headEnd/>
              <a:tailEnd/>
            </a:ln>
          </p:spPr>
          <p:txBody>
            <a:bodyPr/>
            <a:lstStyle/>
            <a:p>
              <a:endParaRPr lang="en-US" dirty="0">
                <a:solidFill>
                  <a:srgbClr val="000000"/>
                </a:solidFill>
                <a:latin typeface="Arial" charset="0"/>
              </a:endParaRPr>
            </a:p>
          </p:txBody>
        </p:sp>
        <p:sp>
          <p:nvSpPr>
            <p:cNvPr id="608511" name="Freeform 255"/>
            <p:cNvSpPr>
              <a:spLocks/>
            </p:cNvSpPr>
            <p:nvPr/>
          </p:nvSpPr>
          <p:spPr bwMode="gray">
            <a:xfrm>
              <a:off x="2111" y="920"/>
              <a:ext cx="1" cy="6"/>
            </a:xfrm>
            <a:custGeom>
              <a:avLst/>
              <a:gdLst/>
              <a:ahLst/>
              <a:cxnLst>
                <a:cxn ang="0">
                  <a:pos x="0" y="0"/>
                </a:cxn>
                <a:cxn ang="0">
                  <a:pos x="0" y="0"/>
                </a:cxn>
                <a:cxn ang="0">
                  <a:pos x="0" y="1"/>
                </a:cxn>
                <a:cxn ang="0">
                  <a:pos x="0" y="3"/>
                </a:cxn>
                <a:cxn ang="0">
                  <a:pos x="0" y="5"/>
                </a:cxn>
                <a:cxn ang="0">
                  <a:pos x="0" y="9"/>
                </a:cxn>
              </a:cxnLst>
              <a:rect l="0" t="0" r="r" b="b"/>
              <a:pathLst>
                <a:path h="9">
                  <a:moveTo>
                    <a:pt x="0" y="0"/>
                  </a:moveTo>
                  <a:lnTo>
                    <a:pt x="0" y="0"/>
                  </a:lnTo>
                  <a:lnTo>
                    <a:pt x="0" y="1"/>
                  </a:lnTo>
                  <a:lnTo>
                    <a:pt x="0" y="3"/>
                  </a:lnTo>
                  <a:lnTo>
                    <a:pt x="0" y="5"/>
                  </a:lnTo>
                  <a:lnTo>
                    <a:pt x="0" y="9"/>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12" name="Freeform 256"/>
            <p:cNvSpPr>
              <a:spLocks/>
            </p:cNvSpPr>
            <p:nvPr/>
          </p:nvSpPr>
          <p:spPr bwMode="gray">
            <a:xfrm>
              <a:off x="2892" y="2165"/>
              <a:ext cx="249" cy="259"/>
            </a:xfrm>
            <a:custGeom>
              <a:avLst/>
              <a:gdLst/>
              <a:ahLst/>
              <a:cxnLst>
                <a:cxn ang="0">
                  <a:pos x="96" y="82"/>
                </a:cxn>
                <a:cxn ang="0">
                  <a:pos x="94" y="107"/>
                </a:cxn>
                <a:cxn ang="0">
                  <a:pos x="96" y="118"/>
                </a:cxn>
                <a:cxn ang="0">
                  <a:pos x="98" y="130"/>
                </a:cxn>
                <a:cxn ang="0">
                  <a:pos x="92" y="143"/>
                </a:cxn>
                <a:cxn ang="0">
                  <a:pos x="92" y="160"/>
                </a:cxn>
                <a:cxn ang="0">
                  <a:pos x="121" y="174"/>
                </a:cxn>
                <a:cxn ang="0">
                  <a:pos x="123" y="195"/>
                </a:cxn>
                <a:cxn ang="0">
                  <a:pos x="100" y="216"/>
                </a:cxn>
                <a:cxn ang="0">
                  <a:pos x="75" y="240"/>
                </a:cxn>
                <a:cxn ang="0">
                  <a:pos x="40" y="275"/>
                </a:cxn>
                <a:cxn ang="0">
                  <a:pos x="31" y="284"/>
                </a:cxn>
                <a:cxn ang="0">
                  <a:pos x="25" y="296"/>
                </a:cxn>
                <a:cxn ang="0">
                  <a:pos x="19" y="340"/>
                </a:cxn>
                <a:cxn ang="0">
                  <a:pos x="8" y="385"/>
                </a:cxn>
                <a:cxn ang="0">
                  <a:pos x="2" y="437"/>
                </a:cxn>
                <a:cxn ang="0">
                  <a:pos x="0" y="456"/>
                </a:cxn>
                <a:cxn ang="0">
                  <a:pos x="2" y="471"/>
                </a:cxn>
                <a:cxn ang="0">
                  <a:pos x="12" y="467"/>
                </a:cxn>
                <a:cxn ang="0">
                  <a:pos x="21" y="465"/>
                </a:cxn>
                <a:cxn ang="0">
                  <a:pos x="33" y="471"/>
                </a:cxn>
                <a:cxn ang="0">
                  <a:pos x="60" y="456"/>
                </a:cxn>
                <a:cxn ang="0">
                  <a:pos x="77" y="446"/>
                </a:cxn>
                <a:cxn ang="0">
                  <a:pos x="189" y="435"/>
                </a:cxn>
                <a:cxn ang="0">
                  <a:pos x="184" y="427"/>
                </a:cxn>
                <a:cxn ang="0">
                  <a:pos x="180" y="418"/>
                </a:cxn>
                <a:cxn ang="0">
                  <a:pos x="187" y="403"/>
                </a:cxn>
                <a:cxn ang="0">
                  <a:pos x="195" y="397"/>
                </a:cxn>
                <a:cxn ang="0">
                  <a:pos x="199" y="380"/>
                </a:cxn>
                <a:cxn ang="0">
                  <a:pos x="206" y="368"/>
                </a:cxn>
                <a:cxn ang="0">
                  <a:pos x="237" y="357"/>
                </a:cxn>
                <a:cxn ang="0">
                  <a:pos x="245" y="355"/>
                </a:cxn>
                <a:cxn ang="0">
                  <a:pos x="252" y="351"/>
                </a:cxn>
                <a:cxn ang="0">
                  <a:pos x="266" y="343"/>
                </a:cxn>
                <a:cxn ang="0">
                  <a:pos x="277" y="349"/>
                </a:cxn>
                <a:cxn ang="0">
                  <a:pos x="287" y="343"/>
                </a:cxn>
                <a:cxn ang="0">
                  <a:pos x="292" y="336"/>
                </a:cxn>
                <a:cxn ang="0">
                  <a:pos x="302" y="343"/>
                </a:cxn>
                <a:cxn ang="0">
                  <a:pos x="317" y="330"/>
                </a:cxn>
                <a:cxn ang="0">
                  <a:pos x="327" y="322"/>
                </a:cxn>
                <a:cxn ang="0">
                  <a:pos x="334" y="328"/>
                </a:cxn>
                <a:cxn ang="0">
                  <a:pos x="351" y="357"/>
                </a:cxn>
                <a:cxn ang="0">
                  <a:pos x="359" y="355"/>
                </a:cxn>
                <a:cxn ang="0">
                  <a:pos x="363" y="336"/>
                </a:cxn>
                <a:cxn ang="0">
                  <a:pos x="378" y="303"/>
                </a:cxn>
                <a:cxn ang="0">
                  <a:pos x="409" y="265"/>
                </a:cxn>
                <a:cxn ang="0">
                  <a:pos x="435" y="223"/>
                </a:cxn>
                <a:cxn ang="0">
                  <a:pos x="439" y="176"/>
                </a:cxn>
                <a:cxn ang="0">
                  <a:pos x="422" y="111"/>
                </a:cxn>
                <a:cxn ang="0">
                  <a:pos x="390" y="52"/>
                </a:cxn>
                <a:cxn ang="0">
                  <a:pos x="361" y="0"/>
                </a:cxn>
                <a:cxn ang="0">
                  <a:pos x="329" y="29"/>
                </a:cxn>
                <a:cxn ang="0">
                  <a:pos x="304" y="42"/>
                </a:cxn>
                <a:cxn ang="0">
                  <a:pos x="285" y="42"/>
                </a:cxn>
                <a:cxn ang="0">
                  <a:pos x="273" y="42"/>
                </a:cxn>
                <a:cxn ang="0">
                  <a:pos x="254" y="48"/>
                </a:cxn>
                <a:cxn ang="0">
                  <a:pos x="233" y="53"/>
                </a:cxn>
                <a:cxn ang="0">
                  <a:pos x="210" y="57"/>
                </a:cxn>
                <a:cxn ang="0">
                  <a:pos x="189" y="52"/>
                </a:cxn>
                <a:cxn ang="0">
                  <a:pos x="163" y="46"/>
                </a:cxn>
                <a:cxn ang="0">
                  <a:pos x="134" y="52"/>
                </a:cxn>
                <a:cxn ang="0">
                  <a:pos x="113" y="63"/>
                </a:cxn>
                <a:cxn ang="0">
                  <a:pos x="96" y="69"/>
                </a:cxn>
              </a:cxnLst>
              <a:rect l="0" t="0" r="r" b="b"/>
              <a:pathLst>
                <a:path w="441" h="471">
                  <a:moveTo>
                    <a:pt x="94" y="69"/>
                  </a:moveTo>
                  <a:lnTo>
                    <a:pt x="94" y="69"/>
                  </a:lnTo>
                  <a:lnTo>
                    <a:pt x="96" y="74"/>
                  </a:lnTo>
                  <a:lnTo>
                    <a:pt x="96" y="78"/>
                  </a:lnTo>
                  <a:lnTo>
                    <a:pt x="96" y="82"/>
                  </a:lnTo>
                  <a:lnTo>
                    <a:pt x="96" y="86"/>
                  </a:lnTo>
                  <a:lnTo>
                    <a:pt x="96" y="92"/>
                  </a:lnTo>
                  <a:lnTo>
                    <a:pt x="94" y="95"/>
                  </a:lnTo>
                  <a:lnTo>
                    <a:pt x="94" y="101"/>
                  </a:lnTo>
                  <a:lnTo>
                    <a:pt x="94" y="107"/>
                  </a:lnTo>
                  <a:lnTo>
                    <a:pt x="94" y="107"/>
                  </a:lnTo>
                  <a:lnTo>
                    <a:pt x="94" y="111"/>
                  </a:lnTo>
                  <a:lnTo>
                    <a:pt x="94" y="114"/>
                  </a:lnTo>
                  <a:lnTo>
                    <a:pt x="94" y="116"/>
                  </a:lnTo>
                  <a:lnTo>
                    <a:pt x="96" y="118"/>
                  </a:lnTo>
                  <a:lnTo>
                    <a:pt x="96" y="120"/>
                  </a:lnTo>
                  <a:lnTo>
                    <a:pt x="98" y="122"/>
                  </a:lnTo>
                  <a:lnTo>
                    <a:pt x="98" y="126"/>
                  </a:lnTo>
                  <a:lnTo>
                    <a:pt x="98" y="130"/>
                  </a:lnTo>
                  <a:lnTo>
                    <a:pt x="98" y="130"/>
                  </a:lnTo>
                  <a:lnTo>
                    <a:pt x="98" y="134"/>
                  </a:lnTo>
                  <a:lnTo>
                    <a:pt x="96" y="135"/>
                  </a:lnTo>
                  <a:lnTo>
                    <a:pt x="96" y="137"/>
                  </a:lnTo>
                  <a:lnTo>
                    <a:pt x="94" y="139"/>
                  </a:lnTo>
                  <a:lnTo>
                    <a:pt x="92" y="143"/>
                  </a:lnTo>
                  <a:lnTo>
                    <a:pt x="90" y="145"/>
                  </a:lnTo>
                  <a:lnTo>
                    <a:pt x="90" y="149"/>
                  </a:lnTo>
                  <a:lnTo>
                    <a:pt x="90" y="155"/>
                  </a:lnTo>
                  <a:lnTo>
                    <a:pt x="90" y="155"/>
                  </a:lnTo>
                  <a:lnTo>
                    <a:pt x="92" y="160"/>
                  </a:lnTo>
                  <a:lnTo>
                    <a:pt x="96" y="164"/>
                  </a:lnTo>
                  <a:lnTo>
                    <a:pt x="102" y="166"/>
                  </a:lnTo>
                  <a:lnTo>
                    <a:pt x="107" y="168"/>
                  </a:lnTo>
                  <a:lnTo>
                    <a:pt x="115" y="170"/>
                  </a:lnTo>
                  <a:lnTo>
                    <a:pt x="121" y="174"/>
                  </a:lnTo>
                  <a:lnTo>
                    <a:pt x="124" y="177"/>
                  </a:lnTo>
                  <a:lnTo>
                    <a:pt x="124" y="183"/>
                  </a:lnTo>
                  <a:lnTo>
                    <a:pt x="124" y="183"/>
                  </a:lnTo>
                  <a:lnTo>
                    <a:pt x="124" y="189"/>
                  </a:lnTo>
                  <a:lnTo>
                    <a:pt x="123" y="195"/>
                  </a:lnTo>
                  <a:lnTo>
                    <a:pt x="119" y="198"/>
                  </a:lnTo>
                  <a:lnTo>
                    <a:pt x="115" y="204"/>
                  </a:lnTo>
                  <a:lnTo>
                    <a:pt x="111" y="208"/>
                  </a:lnTo>
                  <a:lnTo>
                    <a:pt x="105" y="212"/>
                  </a:lnTo>
                  <a:lnTo>
                    <a:pt x="100" y="216"/>
                  </a:lnTo>
                  <a:lnTo>
                    <a:pt x="96" y="219"/>
                  </a:lnTo>
                  <a:lnTo>
                    <a:pt x="96" y="219"/>
                  </a:lnTo>
                  <a:lnTo>
                    <a:pt x="88" y="227"/>
                  </a:lnTo>
                  <a:lnTo>
                    <a:pt x="82" y="233"/>
                  </a:lnTo>
                  <a:lnTo>
                    <a:pt x="75" y="240"/>
                  </a:lnTo>
                  <a:lnTo>
                    <a:pt x="69" y="248"/>
                  </a:lnTo>
                  <a:lnTo>
                    <a:pt x="61" y="254"/>
                  </a:lnTo>
                  <a:lnTo>
                    <a:pt x="56" y="261"/>
                  </a:lnTo>
                  <a:lnTo>
                    <a:pt x="48" y="269"/>
                  </a:lnTo>
                  <a:lnTo>
                    <a:pt x="40" y="275"/>
                  </a:lnTo>
                  <a:lnTo>
                    <a:pt x="40" y="275"/>
                  </a:lnTo>
                  <a:lnTo>
                    <a:pt x="39" y="277"/>
                  </a:lnTo>
                  <a:lnTo>
                    <a:pt x="37" y="280"/>
                  </a:lnTo>
                  <a:lnTo>
                    <a:pt x="33" y="282"/>
                  </a:lnTo>
                  <a:lnTo>
                    <a:pt x="31" y="284"/>
                  </a:lnTo>
                  <a:lnTo>
                    <a:pt x="29" y="286"/>
                  </a:lnTo>
                  <a:lnTo>
                    <a:pt x="27" y="290"/>
                  </a:lnTo>
                  <a:lnTo>
                    <a:pt x="25" y="294"/>
                  </a:lnTo>
                  <a:lnTo>
                    <a:pt x="25" y="296"/>
                  </a:lnTo>
                  <a:lnTo>
                    <a:pt x="25" y="296"/>
                  </a:lnTo>
                  <a:lnTo>
                    <a:pt x="25" y="305"/>
                  </a:lnTo>
                  <a:lnTo>
                    <a:pt x="23" y="313"/>
                  </a:lnTo>
                  <a:lnTo>
                    <a:pt x="23" y="322"/>
                  </a:lnTo>
                  <a:lnTo>
                    <a:pt x="21" y="330"/>
                  </a:lnTo>
                  <a:lnTo>
                    <a:pt x="19" y="340"/>
                  </a:lnTo>
                  <a:lnTo>
                    <a:pt x="18" y="347"/>
                  </a:lnTo>
                  <a:lnTo>
                    <a:pt x="16" y="357"/>
                  </a:lnTo>
                  <a:lnTo>
                    <a:pt x="14" y="366"/>
                  </a:lnTo>
                  <a:lnTo>
                    <a:pt x="10" y="376"/>
                  </a:lnTo>
                  <a:lnTo>
                    <a:pt x="8" y="385"/>
                  </a:lnTo>
                  <a:lnTo>
                    <a:pt x="6" y="395"/>
                  </a:lnTo>
                  <a:lnTo>
                    <a:pt x="4" y="404"/>
                  </a:lnTo>
                  <a:lnTo>
                    <a:pt x="2" y="414"/>
                  </a:lnTo>
                  <a:lnTo>
                    <a:pt x="2" y="425"/>
                  </a:lnTo>
                  <a:lnTo>
                    <a:pt x="2" y="437"/>
                  </a:lnTo>
                  <a:lnTo>
                    <a:pt x="0" y="448"/>
                  </a:lnTo>
                  <a:lnTo>
                    <a:pt x="0" y="448"/>
                  </a:lnTo>
                  <a:lnTo>
                    <a:pt x="0" y="450"/>
                  </a:lnTo>
                  <a:lnTo>
                    <a:pt x="0" y="454"/>
                  </a:lnTo>
                  <a:lnTo>
                    <a:pt x="0" y="456"/>
                  </a:lnTo>
                  <a:lnTo>
                    <a:pt x="0" y="460"/>
                  </a:lnTo>
                  <a:lnTo>
                    <a:pt x="2" y="462"/>
                  </a:lnTo>
                  <a:lnTo>
                    <a:pt x="2" y="465"/>
                  </a:lnTo>
                  <a:lnTo>
                    <a:pt x="2" y="467"/>
                  </a:lnTo>
                  <a:lnTo>
                    <a:pt x="2" y="471"/>
                  </a:lnTo>
                  <a:lnTo>
                    <a:pt x="2" y="471"/>
                  </a:lnTo>
                  <a:lnTo>
                    <a:pt x="4" y="469"/>
                  </a:lnTo>
                  <a:lnTo>
                    <a:pt x="8" y="469"/>
                  </a:lnTo>
                  <a:lnTo>
                    <a:pt x="10" y="467"/>
                  </a:lnTo>
                  <a:lnTo>
                    <a:pt x="12" y="467"/>
                  </a:lnTo>
                  <a:lnTo>
                    <a:pt x="14" y="465"/>
                  </a:lnTo>
                  <a:lnTo>
                    <a:pt x="16" y="465"/>
                  </a:lnTo>
                  <a:lnTo>
                    <a:pt x="19" y="465"/>
                  </a:lnTo>
                  <a:lnTo>
                    <a:pt x="21" y="465"/>
                  </a:lnTo>
                  <a:lnTo>
                    <a:pt x="21" y="465"/>
                  </a:lnTo>
                  <a:lnTo>
                    <a:pt x="25" y="465"/>
                  </a:lnTo>
                  <a:lnTo>
                    <a:pt x="29" y="469"/>
                  </a:lnTo>
                  <a:lnTo>
                    <a:pt x="31" y="471"/>
                  </a:lnTo>
                  <a:lnTo>
                    <a:pt x="33" y="471"/>
                  </a:lnTo>
                  <a:lnTo>
                    <a:pt x="33" y="471"/>
                  </a:lnTo>
                  <a:lnTo>
                    <a:pt x="40" y="471"/>
                  </a:lnTo>
                  <a:lnTo>
                    <a:pt x="46" y="467"/>
                  </a:lnTo>
                  <a:lnTo>
                    <a:pt x="50" y="465"/>
                  </a:lnTo>
                  <a:lnTo>
                    <a:pt x="56" y="462"/>
                  </a:lnTo>
                  <a:lnTo>
                    <a:pt x="60" y="456"/>
                  </a:lnTo>
                  <a:lnTo>
                    <a:pt x="63" y="454"/>
                  </a:lnTo>
                  <a:lnTo>
                    <a:pt x="69" y="450"/>
                  </a:lnTo>
                  <a:lnTo>
                    <a:pt x="75" y="448"/>
                  </a:lnTo>
                  <a:lnTo>
                    <a:pt x="77" y="446"/>
                  </a:lnTo>
                  <a:lnTo>
                    <a:pt x="77" y="446"/>
                  </a:lnTo>
                  <a:lnTo>
                    <a:pt x="77" y="443"/>
                  </a:lnTo>
                  <a:lnTo>
                    <a:pt x="79" y="441"/>
                  </a:lnTo>
                  <a:lnTo>
                    <a:pt x="81" y="439"/>
                  </a:lnTo>
                  <a:lnTo>
                    <a:pt x="84" y="435"/>
                  </a:lnTo>
                  <a:lnTo>
                    <a:pt x="189" y="435"/>
                  </a:lnTo>
                  <a:lnTo>
                    <a:pt x="189" y="435"/>
                  </a:lnTo>
                  <a:lnTo>
                    <a:pt x="187" y="433"/>
                  </a:lnTo>
                  <a:lnTo>
                    <a:pt x="187" y="431"/>
                  </a:lnTo>
                  <a:lnTo>
                    <a:pt x="185" y="429"/>
                  </a:lnTo>
                  <a:lnTo>
                    <a:pt x="184" y="427"/>
                  </a:lnTo>
                  <a:lnTo>
                    <a:pt x="182" y="425"/>
                  </a:lnTo>
                  <a:lnTo>
                    <a:pt x="182" y="424"/>
                  </a:lnTo>
                  <a:lnTo>
                    <a:pt x="180" y="420"/>
                  </a:lnTo>
                  <a:lnTo>
                    <a:pt x="180" y="418"/>
                  </a:lnTo>
                  <a:lnTo>
                    <a:pt x="180" y="418"/>
                  </a:lnTo>
                  <a:lnTo>
                    <a:pt x="182" y="414"/>
                  </a:lnTo>
                  <a:lnTo>
                    <a:pt x="182" y="410"/>
                  </a:lnTo>
                  <a:lnTo>
                    <a:pt x="184" y="408"/>
                  </a:lnTo>
                  <a:lnTo>
                    <a:pt x="185" y="404"/>
                  </a:lnTo>
                  <a:lnTo>
                    <a:pt x="187" y="403"/>
                  </a:lnTo>
                  <a:lnTo>
                    <a:pt x="189" y="403"/>
                  </a:lnTo>
                  <a:lnTo>
                    <a:pt x="191" y="401"/>
                  </a:lnTo>
                  <a:lnTo>
                    <a:pt x="193" y="399"/>
                  </a:lnTo>
                  <a:lnTo>
                    <a:pt x="193" y="399"/>
                  </a:lnTo>
                  <a:lnTo>
                    <a:pt x="195" y="397"/>
                  </a:lnTo>
                  <a:lnTo>
                    <a:pt x="197" y="393"/>
                  </a:lnTo>
                  <a:lnTo>
                    <a:pt x="197" y="391"/>
                  </a:lnTo>
                  <a:lnTo>
                    <a:pt x="199" y="387"/>
                  </a:lnTo>
                  <a:lnTo>
                    <a:pt x="199" y="383"/>
                  </a:lnTo>
                  <a:lnTo>
                    <a:pt x="199" y="380"/>
                  </a:lnTo>
                  <a:lnTo>
                    <a:pt x="201" y="378"/>
                  </a:lnTo>
                  <a:lnTo>
                    <a:pt x="201" y="374"/>
                  </a:lnTo>
                  <a:lnTo>
                    <a:pt x="201" y="374"/>
                  </a:lnTo>
                  <a:lnTo>
                    <a:pt x="203" y="370"/>
                  </a:lnTo>
                  <a:lnTo>
                    <a:pt x="206" y="368"/>
                  </a:lnTo>
                  <a:lnTo>
                    <a:pt x="212" y="366"/>
                  </a:lnTo>
                  <a:lnTo>
                    <a:pt x="220" y="362"/>
                  </a:lnTo>
                  <a:lnTo>
                    <a:pt x="227" y="361"/>
                  </a:lnTo>
                  <a:lnTo>
                    <a:pt x="233" y="359"/>
                  </a:lnTo>
                  <a:lnTo>
                    <a:pt x="237" y="357"/>
                  </a:lnTo>
                  <a:lnTo>
                    <a:pt x="239" y="355"/>
                  </a:lnTo>
                  <a:lnTo>
                    <a:pt x="239" y="355"/>
                  </a:lnTo>
                  <a:lnTo>
                    <a:pt x="241" y="357"/>
                  </a:lnTo>
                  <a:lnTo>
                    <a:pt x="243" y="357"/>
                  </a:lnTo>
                  <a:lnTo>
                    <a:pt x="245" y="355"/>
                  </a:lnTo>
                  <a:lnTo>
                    <a:pt x="246" y="355"/>
                  </a:lnTo>
                  <a:lnTo>
                    <a:pt x="246" y="355"/>
                  </a:lnTo>
                  <a:lnTo>
                    <a:pt x="248" y="355"/>
                  </a:lnTo>
                  <a:lnTo>
                    <a:pt x="250" y="355"/>
                  </a:lnTo>
                  <a:lnTo>
                    <a:pt x="252" y="351"/>
                  </a:lnTo>
                  <a:lnTo>
                    <a:pt x="254" y="349"/>
                  </a:lnTo>
                  <a:lnTo>
                    <a:pt x="256" y="347"/>
                  </a:lnTo>
                  <a:lnTo>
                    <a:pt x="260" y="345"/>
                  </a:lnTo>
                  <a:lnTo>
                    <a:pt x="262" y="345"/>
                  </a:lnTo>
                  <a:lnTo>
                    <a:pt x="266" y="343"/>
                  </a:lnTo>
                  <a:lnTo>
                    <a:pt x="266" y="343"/>
                  </a:lnTo>
                  <a:lnTo>
                    <a:pt x="267" y="345"/>
                  </a:lnTo>
                  <a:lnTo>
                    <a:pt x="271" y="345"/>
                  </a:lnTo>
                  <a:lnTo>
                    <a:pt x="273" y="347"/>
                  </a:lnTo>
                  <a:lnTo>
                    <a:pt x="277" y="349"/>
                  </a:lnTo>
                  <a:lnTo>
                    <a:pt x="277" y="349"/>
                  </a:lnTo>
                  <a:lnTo>
                    <a:pt x="279" y="347"/>
                  </a:lnTo>
                  <a:lnTo>
                    <a:pt x="283" y="347"/>
                  </a:lnTo>
                  <a:lnTo>
                    <a:pt x="285" y="345"/>
                  </a:lnTo>
                  <a:lnTo>
                    <a:pt x="287" y="343"/>
                  </a:lnTo>
                  <a:lnTo>
                    <a:pt x="288" y="341"/>
                  </a:lnTo>
                  <a:lnTo>
                    <a:pt x="288" y="340"/>
                  </a:lnTo>
                  <a:lnTo>
                    <a:pt x="290" y="338"/>
                  </a:lnTo>
                  <a:lnTo>
                    <a:pt x="292" y="336"/>
                  </a:lnTo>
                  <a:lnTo>
                    <a:pt x="292" y="336"/>
                  </a:lnTo>
                  <a:lnTo>
                    <a:pt x="294" y="338"/>
                  </a:lnTo>
                  <a:lnTo>
                    <a:pt x="296" y="341"/>
                  </a:lnTo>
                  <a:lnTo>
                    <a:pt x="300" y="343"/>
                  </a:lnTo>
                  <a:lnTo>
                    <a:pt x="302" y="343"/>
                  </a:lnTo>
                  <a:lnTo>
                    <a:pt x="302" y="343"/>
                  </a:lnTo>
                  <a:lnTo>
                    <a:pt x="308" y="343"/>
                  </a:lnTo>
                  <a:lnTo>
                    <a:pt x="311" y="341"/>
                  </a:lnTo>
                  <a:lnTo>
                    <a:pt x="313" y="338"/>
                  </a:lnTo>
                  <a:lnTo>
                    <a:pt x="315" y="334"/>
                  </a:lnTo>
                  <a:lnTo>
                    <a:pt x="317" y="330"/>
                  </a:lnTo>
                  <a:lnTo>
                    <a:pt x="319" y="326"/>
                  </a:lnTo>
                  <a:lnTo>
                    <a:pt x="321" y="322"/>
                  </a:lnTo>
                  <a:lnTo>
                    <a:pt x="323" y="322"/>
                  </a:lnTo>
                  <a:lnTo>
                    <a:pt x="323" y="322"/>
                  </a:lnTo>
                  <a:lnTo>
                    <a:pt x="327" y="322"/>
                  </a:lnTo>
                  <a:lnTo>
                    <a:pt x="329" y="322"/>
                  </a:lnTo>
                  <a:lnTo>
                    <a:pt x="332" y="322"/>
                  </a:lnTo>
                  <a:lnTo>
                    <a:pt x="334" y="322"/>
                  </a:lnTo>
                  <a:lnTo>
                    <a:pt x="334" y="322"/>
                  </a:lnTo>
                  <a:lnTo>
                    <a:pt x="334" y="328"/>
                  </a:lnTo>
                  <a:lnTo>
                    <a:pt x="336" y="336"/>
                  </a:lnTo>
                  <a:lnTo>
                    <a:pt x="340" y="341"/>
                  </a:lnTo>
                  <a:lnTo>
                    <a:pt x="344" y="347"/>
                  </a:lnTo>
                  <a:lnTo>
                    <a:pt x="348" y="353"/>
                  </a:lnTo>
                  <a:lnTo>
                    <a:pt x="351" y="357"/>
                  </a:lnTo>
                  <a:lnTo>
                    <a:pt x="355" y="361"/>
                  </a:lnTo>
                  <a:lnTo>
                    <a:pt x="359" y="362"/>
                  </a:lnTo>
                  <a:lnTo>
                    <a:pt x="359" y="362"/>
                  </a:lnTo>
                  <a:lnTo>
                    <a:pt x="359" y="359"/>
                  </a:lnTo>
                  <a:lnTo>
                    <a:pt x="359" y="355"/>
                  </a:lnTo>
                  <a:lnTo>
                    <a:pt x="361" y="351"/>
                  </a:lnTo>
                  <a:lnTo>
                    <a:pt x="361" y="347"/>
                  </a:lnTo>
                  <a:lnTo>
                    <a:pt x="361" y="345"/>
                  </a:lnTo>
                  <a:lnTo>
                    <a:pt x="361" y="341"/>
                  </a:lnTo>
                  <a:lnTo>
                    <a:pt x="363" y="336"/>
                  </a:lnTo>
                  <a:lnTo>
                    <a:pt x="363" y="332"/>
                  </a:lnTo>
                  <a:lnTo>
                    <a:pt x="363" y="332"/>
                  </a:lnTo>
                  <a:lnTo>
                    <a:pt x="367" y="322"/>
                  </a:lnTo>
                  <a:lnTo>
                    <a:pt x="372" y="313"/>
                  </a:lnTo>
                  <a:lnTo>
                    <a:pt x="378" y="303"/>
                  </a:lnTo>
                  <a:lnTo>
                    <a:pt x="384" y="296"/>
                  </a:lnTo>
                  <a:lnTo>
                    <a:pt x="390" y="288"/>
                  </a:lnTo>
                  <a:lnTo>
                    <a:pt x="395" y="280"/>
                  </a:lnTo>
                  <a:lnTo>
                    <a:pt x="403" y="273"/>
                  </a:lnTo>
                  <a:lnTo>
                    <a:pt x="409" y="265"/>
                  </a:lnTo>
                  <a:lnTo>
                    <a:pt x="414" y="258"/>
                  </a:lnTo>
                  <a:lnTo>
                    <a:pt x="420" y="250"/>
                  </a:lnTo>
                  <a:lnTo>
                    <a:pt x="426" y="240"/>
                  </a:lnTo>
                  <a:lnTo>
                    <a:pt x="432" y="233"/>
                  </a:lnTo>
                  <a:lnTo>
                    <a:pt x="435" y="223"/>
                  </a:lnTo>
                  <a:lnTo>
                    <a:pt x="437" y="214"/>
                  </a:lnTo>
                  <a:lnTo>
                    <a:pt x="439" y="202"/>
                  </a:lnTo>
                  <a:lnTo>
                    <a:pt x="441" y="191"/>
                  </a:lnTo>
                  <a:lnTo>
                    <a:pt x="441" y="191"/>
                  </a:lnTo>
                  <a:lnTo>
                    <a:pt x="439" y="176"/>
                  </a:lnTo>
                  <a:lnTo>
                    <a:pt x="437" y="162"/>
                  </a:lnTo>
                  <a:lnTo>
                    <a:pt x="435" y="149"/>
                  </a:lnTo>
                  <a:lnTo>
                    <a:pt x="432" y="135"/>
                  </a:lnTo>
                  <a:lnTo>
                    <a:pt x="428" y="124"/>
                  </a:lnTo>
                  <a:lnTo>
                    <a:pt x="422" y="111"/>
                  </a:lnTo>
                  <a:lnTo>
                    <a:pt x="416" y="99"/>
                  </a:lnTo>
                  <a:lnTo>
                    <a:pt x="411" y="86"/>
                  </a:lnTo>
                  <a:lnTo>
                    <a:pt x="403" y="74"/>
                  </a:lnTo>
                  <a:lnTo>
                    <a:pt x="397" y="63"/>
                  </a:lnTo>
                  <a:lnTo>
                    <a:pt x="390" y="52"/>
                  </a:lnTo>
                  <a:lnTo>
                    <a:pt x="384" y="42"/>
                  </a:lnTo>
                  <a:lnTo>
                    <a:pt x="376" y="31"/>
                  </a:lnTo>
                  <a:lnTo>
                    <a:pt x="370" y="21"/>
                  </a:lnTo>
                  <a:lnTo>
                    <a:pt x="367" y="10"/>
                  </a:lnTo>
                  <a:lnTo>
                    <a:pt x="361" y="0"/>
                  </a:lnTo>
                  <a:lnTo>
                    <a:pt x="361" y="0"/>
                  </a:lnTo>
                  <a:lnTo>
                    <a:pt x="353" y="8"/>
                  </a:lnTo>
                  <a:lnTo>
                    <a:pt x="346" y="15"/>
                  </a:lnTo>
                  <a:lnTo>
                    <a:pt x="338" y="21"/>
                  </a:lnTo>
                  <a:lnTo>
                    <a:pt x="329" y="29"/>
                  </a:lnTo>
                  <a:lnTo>
                    <a:pt x="323" y="34"/>
                  </a:lnTo>
                  <a:lnTo>
                    <a:pt x="315" y="38"/>
                  </a:lnTo>
                  <a:lnTo>
                    <a:pt x="309" y="42"/>
                  </a:lnTo>
                  <a:lnTo>
                    <a:pt x="304" y="42"/>
                  </a:lnTo>
                  <a:lnTo>
                    <a:pt x="304" y="42"/>
                  </a:lnTo>
                  <a:lnTo>
                    <a:pt x="300" y="42"/>
                  </a:lnTo>
                  <a:lnTo>
                    <a:pt x="296" y="42"/>
                  </a:lnTo>
                  <a:lnTo>
                    <a:pt x="292" y="42"/>
                  </a:lnTo>
                  <a:lnTo>
                    <a:pt x="288" y="42"/>
                  </a:lnTo>
                  <a:lnTo>
                    <a:pt x="285" y="42"/>
                  </a:lnTo>
                  <a:lnTo>
                    <a:pt x="283" y="42"/>
                  </a:lnTo>
                  <a:lnTo>
                    <a:pt x="279" y="42"/>
                  </a:lnTo>
                  <a:lnTo>
                    <a:pt x="277" y="42"/>
                  </a:lnTo>
                  <a:lnTo>
                    <a:pt x="277" y="42"/>
                  </a:lnTo>
                  <a:lnTo>
                    <a:pt x="273" y="42"/>
                  </a:lnTo>
                  <a:lnTo>
                    <a:pt x="271" y="44"/>
                  </a:lnTo>
                  <a:lnTo>
                    <a:pt x="267" y="44"/>
                  </a:lnTo>
                  <a:lnTo>
                    <a:pt x="264" y="46"/>
                  </a:lnTo>
                  <a:lnTo>
                    <a:pt x="258" y="46"/>
                  </a:lnTo>
                  <a:lnTo>
                    <a:pt x="254" y="48"/>
                  </a:lnTo>
                  <a:lnTo>
                    <a:pt x="250" y="50"/>
                  </a:lnTo>
                  <a:lnTo>
                    <a:pt x="246" y="50"/>
                  </a:lnTo>
                  <a:lnTo>
                    <a:pt x="243" y="52"/>
                  </a:lnTo>
                  <a:lnTo>
                    <a:pt x="237" y="53"/>
                  </a:lnTo>
                  <a:lnTo>
                    <a:pt x="233" y="53"/>
                  </a:lnTo>
                  <a:lnTo>
                    <a:pt x="229" y="55"/>
                  </a:lnTo>
                  <a:lnTo>
                    <a:pt x="224" y="57"/>
                  </a:lnTo>
                  <a:lnTo>
                    <a:pt x="220" y="57"/>
                  </a:lnTo>
                  <a:lnTo>
                    <a:pt x="214" y="57"/>
                  </a:lnTo>
                  <a:lnTo>
                    <a:pt x="210" y="57"/>
                  </a:lnTo>
                  <a:lnTo>
                    <a:pt x="210" y="57"/>
                  </a:lnTo>
                  <a:lnTo>
                    <a:pt x="205" y="57"/>
                  </a:lnTo>
                  <a:lnTo>
                    <a:pt x="199" y="55"/>
                  </a:lnTo>
                  <a:lnTo>
                    <a:pt x="195" y="53"/>
                  </a:lnTo>
                  <a:lnTo>
                    <a:pt x="189" y="52"/>
                  </a:lnTo>
                  <a:lnTo>
                    <a:pt x="184" y="50"/>
                  </a:lnTo>
                  <a:lnTo>
                    <a:pt x="178" y="48"/>
                  </a:lnTo>
                  <a:lnTo>
                    <a:pt x="170" y="46"/>
                  </a:lnTo>
                  <a:lnTo>
                    <a:pt x="163" y="46"/>
                  </a:lnTo>
                  <a:lnTo>
                    <a:pt x="163" y="46"/>
                  </a:lnTo>
                  <a:lnTo>
                    <a:pt x="155" y="46"/>
                  </a:lnTo>
                  <a:lnTo>
                    <a:pt x="149" y="48"/>
                  </a:lnTo>
                  <a:lnTo>
                    <a:pt x="143" y="48"/>
                  </a:lnTo>
                  <a:lnTo>
                    <a:pt x="138" y="50"/>
                  </a:lnTo>
                  <a:lnTo>
                    <a:pt x="134" y="52"/>
                  </a:lnTo>
                  <a:lnTo>
                    <a:pt x="128" y="53"/>
                  </a:lnTo>
                  <a:lnTo>
                    <a:pt x="124" y="55"/>
                  </a:lnTo>
                  <a:lnTo>
                    <a:pt x="121" y="57"/>
                  </a:lnTo>
                  <a:lnTo>
                    <a:pt x="117" y="61"/>
                  </a:lnTo>
                  <a:lnTo>
                    <a:pt x="113" y="63"/>
                  </a:lnTo>
                  <a:lnTo>
                    <a:pt x="109" y="65"/>
                  </a:lnTo>
                  <a:lnTo>
                    <a:pt x="107" y="67"/>
                  </a:lnTo>
                  <a:lnTo>
                    <a:pt x="103" y="67"/>
                  </a:lnTo>
                  <a:lnTo>
                    <a:pt x="100" y="69"/>
                  </a:lnTo>
                  <a:lnTo>
                    <a:pt x="96" y="69"/>
                  </a:lnTo>
                  <a:lnTo>
                    <a:pt x="92" y="71"/>
                  </a:lnTo>
                  <a:lnTo>
                    <a:pt x="94" y="69"/>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13" name="Freeform 257"/>
            <p:cNvSpPr>
              <a:spLocks/>
            </p:cNvSpPr>
            <p:nvPr/>
          </p:nvSpPr>
          <p:spPr bwMode="gray">
            <a:xfrm>
              <a:off x="3178" y="1548"/>
              <a:ext cx="292" cy="242"/>
            </a:xfrm>
            <a:custGeom>
              <a:avLst/>
              <a:gdLst/>
              <a:ahLst/>
              <a:cxnLst>
                <a:cxn ang="0">
                  <a:pos x="74" y="296"/>
                </a:cxn>
                <a:cxn ang="0">
                  <a:pos x="86" y="311"/>
                </a:cxn>
                <a:cxn ang="0">
                  <a:pos x="99" y="315"/>
                </a:cxn>
                <a:cxn ang="0">
                  <a:pos x="116" y="275"/>
                </a:cxn>
                <a:cxn ang="0">
                  <a:pos x="135" y="269"/>
                </a:cxn>
                <a:cxn ang="0">
                  <a:pos x="172" y="290"/>
                </a:cxn>
                <a:cxn ang="0">
                  <a:pos x="193" y="286"/>
                </a:cxn>
                <a:cxn ang="0">
                  <a:pos x="208" y="277"/>
                </a:cxn>
                <a:cxn ang="0">
                  <a:pos x="217" y="283"/>
                </a:cxn>
                <a:cxn ang="0">
                  <a:pos x="221" y="290"/>
                </a:cxn>
                <a:cxn ang="0">
                  <a:pos x="248" y="286"/>
                </a:cxn>
                <a:cxn ang="0">
                  <a:pos x="269" y="286"/>
                </a:cxn>
                <a:cxn ang="0">
                  <a:pos x="301" y="290"/>
                </a:cxn>
                <a:cxn ang="0">
                  <a:pos x="332" y="300"/>
                </a:cxn>
                <a:cxn ang="0">
                  <a:pos x="359" y="319"/>
                </a:cxn>
                <a:cxn ang="0">
                  <a:pos x="366" y="334"/>
                </a:cxn>
                <a:cxn ang="0">
                  <a:pos x="374" y="349"/>
                </a:cxn>
                <a:cxn ang="0">
                  <a:pos x="406" y="374"/>
                </a:cxn>
                <a:cxn ang="0">
                  <a:pos x="441" y="401"/>
                </a:cxn>
                <a:cxn ang="0">
                  <a:pos x="469" y="433"/>
                </a:cxn>
                <a:cxn ang="0">
                  <a:pos x="490" y="431"/>
                </a:cxn>
                <a:cxn ang="0">
                  <a:pos x="515" y="418"/>
                </a:cxn>
                <a:cxn ang="0">
                  <a:pos x="490" y="399"/>
                </a:cxn>
                <a:cxn ang="0">
                  <a:pos x="469" y="378"/>
                </a:cxn>
                <a:cxn ang="0">
                  <a:pos x="462" y="355"/>
                </a:cxn>
                <a:cxn ang="0">
                  <a:pos x="446" y="342"/>
                </a:cxn>
                <a:cxn ang="0">
                  <a:pos x="412" y="328"/>
                </a:cxn>
                <a:cxn ang="0">
                  <a:pos x="389" y="305"/>
                </a:cxn>
                <a:cxn ang="0">
                  <a:pos x="362" y="271"/>
                </a:cxn>
                <a:cxn ang="0">
                  <a:pos x="341" y="262"/>
                </a:cxn>
                <a:cxn ang="0">
                  <a:pos x="320" y="260"/>
                </a:cxn>
                <a:cxn ang="0">
                  <a:pos x="299" y="254"/>
                </a:cxn>
                <a:cxn ang="0">
                  <a:pos x="282" y="243"/>
                </a:cxn>
                <a:cxn ang="0">
                  <a:pos x="271" y="218"/>
                </a:cxn>
                <a:cxn ang="0">
                  <a:pos x="252" y="212"/>
                </a:cxn>
                <a:cxn ang="0">
                  <a:pos x="227" y="187"/>
                </a:cxn>
                <a:cxn ang="0">
                  <a:pos x="204" y="143"/>
                </a:cxn>
                <a:cxn ang="0">
                  <a:pos x="194" y="119"/>
                </a:cxn>
                <a:cxn ang="0">
                  <a:pos x="185" y="77"/>
                </a:cxn>
                <a:cxn ang="0">
                  <a:pos x="168" y="33"/>
                </a:cxn>
                <a:cxn ang="0">
                  <a:pos x="143" y="4"/>
                </a:cxn>
                <a:cxn ang="0">
                  <a:pos x="126" y="33"/>
                </a:cxn>
                <a:cxn ang="0">
                  <a:pos x="80" y="65"/>
                </a:cxn>
                <a:cxn ang="0">
                  <a:pos x="34" y="98"/>
                </a:cxn>
                <a:cxn ang="0">
                  <a:pos x="25" y="130"/>
                </a:cxn>
                <a:cxn ang="0">
                  <a:pos x="25" y="145"/>
                </a:cxn>
                <a:cxn ang="0">
                  <a:pos x="23" y="162"/>
                </a:cxn>
                <a:cxn ang="0">
                  <a:pos x="15" y="191"/>
                </a:cxn>
                <a:cxn ang="0">
                  <a:pos x="4" y="222"/>
                </a:cxn>
                <a:cxn ang="0">
                  <a:pos x="0" y="246"/>
                </a:cxn>
                <a:cxn ang="0">
                  <a:pos x="6" y="285"/>
                </a:cxn>
              </a:cxnLst>
              <a:rect l="0" t="0" r="r" b="b"/>
              <a:pathLst>
                <a:path w="515" h="441">
                  <a:moveTo>
                    <a:pt x="6" y="307"/>
                  </a:moveTo>
                  <a:lnTo>
                    <a:pt x="38" y="304"/>
                  </a:lnTo>
                  <a:lnTo>
                    <a:pt x="50" y="311"/>
                  </a:lnTo>
                  <a:lnTo>
                    <a:pt x="74" y="296"/>
                  </a:lnTo>
                  <a:lnTo>
                    <a:pt x="74" y="296"/>
                  </a:lnTo>
                  <a:lnTo>
                    <a:pt x="78" y="298"/>
                  </a:lnTo>
                  <a:lnTo>
                    <a:pt x="80" y="302"/>
                  </a:lnTo>
                  <a:lnTo>
                    <a:pt x="82" y="305"/>
                  </a:lnTo>
                  <a:lnTo>
                    <a:pt x="84" y="307"/>
                  </a:lnTo>
                  <a:lnTo>
                    <a:pt x="86" y="311"/>
                  </a:lnTo>
                  <a:lnTo>
                    <a:pt x="88" y="315"/>
                  </a:lnTo>
                  <a:lnTo>
                    <a:pt x="91" y="317"/>
                  </a:lnTo>
                  <a:lnTo>
                    <a:pt x="95" y="317"/>
                  </a:lnTo>
                  <a:lnTo>
                    <a:pt x="95" y="317"/>
                  </a:lnTo>
                  <a:lnTo>
                    <a:pt x="99" y="315"/>
                  </a:lnTo>
                  <a:lnTo>
                    <a:pt x="103" y="309"/>
                  </a:lnTo>
                  <a:lnTo>
                    <a:pt x="107" y="302"/>
                  </a:lnTo>
                  <a:lnTo>
                    <a:pt x="111" y="294"/>
                  </a:lnTo>
                  <a:lnTo>
                    <a:pt x="114" y="285"/>
                  </a:lnTo>
                  <a:lnTo>
                    <a:pt x="116" y="275"/>
                  </a:lnTo>
                  <a:lnTo>
                    <a:pt x="120" y="267"/>
                  </a:lnTo>
                  <a:lnTo>
                    <a:pt x="122" y="262"/>
                  </a:lnTo>
                  <a:lnTo>
                    <a:pt x="122" y="262"/>
                  </a:lnTo>
                  <a:lnTo>
                    <a:pt x="130" y="265"/>
                  </a:lnTo>
                  <a:lnTo>
                    <a:pt x="135" y="269"/>
                  </a:lnTo>
                  <a:lnTo>
                    <a:pt x="143" y="275"/>
                  </a:lnTo>
                  <a:lnTo>
                    <a:pt x="149" y="279"/>
                  </a:lnTo>
                  <a:lnTo>
                    <a:pt x="156" y="285"/>
                  </a:lnTo>
                  <a:lnTo>
                    <a:pt x="162" y="288"/>
                  </a:lnTo>
                  <a:lnTo>
                    <a:pt x="172" y="290"/>
                  </a:lnTo>
                  <a:lnTo>
                    <a:pt x="181" y="290"/>
                  </a:lnTo>
                  <a:lnTo>
                    <a:pt x="181" y="290"/>
                  </a:lnTo>
                  <a:lnTo>
                    <a:pt x="187" y="290"/>
                  </a:lnTo>
                  <a:lnTo>
                    <a:pt x="191" y="288"/>
                  </a:lnTo>
                  <a:lnTo>
                    <a:pt x="193" y="286"/>
                  </a:lnTo>
                  <a:lnTo>
                    <a:pt x="196" y="283"/>
                  </a:lnTo>
                  <a:lnTo>
                    <a:pt x="198" y="281"/>
                  </a:lnTo>
                  <a:lnTo>
                    <a:pt x="200" y="279"/>
                  </a:lnTo>
                  <a:lnTo>
                    <a:pt x="204" y="277"/>
                  </a:lnTo>
                  <a:lnTo>
                    <a:pt x="208" y="277"/>
                  </a:lnTo>
                  <a:lnTo>
                    <a:pt x="208" y="277"/>
                  </a:lnTo>
                  <a:lnTo>
                    <a:pt x="212" y="277"/>
                  </a:lnTo>
                  <a:lnTo>
                    <a:pt x="214" y="277"/>
                  </a:lnTo>
                  <a:lnTo>
                    <a:pt x="215" y="279"/>
                  </a:lnTo>
                  <a:lnTo>
                    <a:pt x="217" y="283"/>
                  </a:lnTo>
                  <a:lnTo>
                    <a:pt x="219" y="285"/>
                  </a:lnTo>
                  <a:lnTo>
                    <a:pt x="219" y="286"/>
                  </a:lnTo>
                  <a:lnTo>
                    <a:pt x="221" y="288"/>
                  </a:lnTo>
                  <a:lnTo>
                    <a:pt x="221" y="290"/>
                  </a:lnTo>
                  <a:lnTo>
                    <a:pt x="221" y="290"/>
                  </a:lnTo>
                  <a:lnTo>
                    <a:pt x="227" y="290"/>
                  </a:lnTo>
                  <a:lnTo>
                    <a:pt x="233" y="288"/>
                  </a:lnTo>
                  <a:lnTo>
                    <a:pt x="236" y="286"/>
                  </a:lnTo>
                  <a:lnTo>
                    <a:pt x="242" y="286"/>
                  </a:lnTo>
                  <a:lnTo>
                    <a:pt x="248" y="286"/>
                  </a:lnTo>
                  <a:lnTo>
                    <a:pt x="252" y="286"/>
                  </a:lnTo>
                  <a:lnTo>
                    <a:pt x="257" y="286"/>
                  </a:lnTo>
                  <a:lnTo>
                    <a:pt x="263" y="286"/>
                  </a:lnTo>
                  <a:lnTo>
                    <a:pt x="263" y="286"/>
                  </a:lnTo>
                  <a:lnTo>
                    <a:pt x="269" y="286"/>
                  </a:lnTo>
                  <a:lnTo>
                    <a:pt x="277" y="286"/>
                  </a:lnTo>
                  <a:lnTo>
                    <a:pt x="282" y="286"/>
                  </a:lnTo>
                  <a:lnTo>
                    <a:pt x="290" y="288"/>
                  </a:lnTo>
                  <a:lnTo>
                    <a:pt x="296" y="288"/>
                  </a:lnTo>
                  <a:lnTo>
                    <a:pt x="301" y="290"/>
                  </a:lnTo>
                  <a:lnTo>
                    <a:pt x="307" y="290"/>
                  </a:lnTo>
                  <a:lnTo>
                    <a:pt x="315" y="292"/>
                  </a:lnTo>
                  <a:lnTo>
                    <a:pt x="320" y="294"/>
                  </a:lnTo>
                  <a:lnTo>
                    <a:pt x="326" y="298"/>
                  </a:lnTo>
                  <a:lnTo>
                    <a:pt x="332" y="300"/>
                  </a:lnTo>
                  <a:lnTo>
                    <a:pt x="336" y="304"/>
                  </a:lnTo>
                  <a:lnTo>
                    <a:pt x="341" y="305"/>
                  </a:lnTo>
                  <a:lnTo>
                    <a:pt x="347" y="309"/>
                  </a:lnTo>
                  <a:lnTo>
                    <a:pt x="353" y="315"/>
                  </a:lnTo>
                  <a:lnTo>
                    <a:pt x="359" y="319"/>
                  </a:lnTo>
                  <a:lnTo>
                    <a:pt x="359" y="319"/>
                  </a:lnTo>
                  <a:lnTo>
                    <a:pt x="360" y="323"/>
                  </a:lnTo>
                  <a:lnTo>
                    <a:pt x="362" y="326"/>
                  </a:lnTo>
                  <a:lnTo>
                    <a:pt x="364" y="330"/>
                  </a:lnTo>
                  <a:lnTo>
                    <a:pt x="366" y="334"/>
                  </a:lnTo>
                  <a:lnTo>
                    <a:pt x="368" y="338"/>
                  </a:lnTo>
                  <a:lnTo>
                    <a:pt x="368" y="342"/>
                  </a:lnTo>
                  <a:lnTo>
                    <a:pt x="370" y="346"/>
                  </a:lnTo>
                  <a:lnTo>
                    <a:pt x="374" y="349"/>
                  </a:lnTo>
                  <a:lnTo>
                    <a:pt x="374" y="349"/>
                  </a:lnTo>
                  <a:lnTo>
                    <a:pt x="380" y="353"/>
                  </a:lnTo>
                  <a:lnTo>
                    <a:pt x="385" y="359"/>
                  </a:lnTo>
                  <a:lnTo>
                    <a:pt x="393" y="365"/>
                  </a:lnTo>
                  <a:lnTo>
                    <a:pt x="399" y="370"/>
                  </a:lnTo>
                  <a:lnTo>
                    <a:pt x="406" y="374"/>
                  </a:lnTo>
                  <a:lnTo>
                    <a:pt x="414" y="380"/>
                  </a:lnTo>
                  <a:lnTo>
                    <a:pt x="420" y="386"/>
                  </a:lnTo>
                  <a:lnTo>
                    <a:pt x="427" y="389"/>
                  </a:lnTo>
                  <a:lnTo>
                    <a:pt x="433" y="395"/>
                  </a:lnTo>
                  <a:lnTo>
                    <a:pt x="441" y="401"/>
                  </a:lnTo>
                  <a:lnTo>
                    <a:pt x="446" y="407"/>
                  </a:lnTo>
                  <a:lnTo>
                    <a:pt x="454" y="412"/>
                  </a:lnTo>
                  <a:lnTo>
                    <a:pt x="460" y="420"/>
                  </a:lnTo>
                  <a:lnTo>
                    <a:pt x="463" y="426"/>
                  </a:lnTo>
                  <a:lnTo>
                    <a:pt x="469" y="433"/>
                  </a:lnTo>
                  <a:lnTo>
                    <a:pt x="473" y="441"/>
                  </a:lnTo>
                  <a:lnTo>
                    <a:pt x="473" y="441"/>
                  </a:lnTo>
                  <a:lnTo>
                    <a:pt x="479" y="437"/>
                  </a:lnTo>
                  <a:lnTo>
                    <a:pt x="484" y="433"/>
                  </a:lnTo>
                  <a:lnTo>
                    <a:pt x="490" y="431"/>
                  </a:lnTo>
                  <a:lnTo>
                    <a:pt x="496" y="428"/>
                  </a:lnTo>
                  <a:lnTo>
                    <a:pt x="500" y="426"/>
                  </a:lnTo>
                  <a:lnTo>
                    <a:pt x="505" y="424"/>
                  </a:lnTo>
                  <a:lnTo>
                    <a:pt x="509" y="420"/>
                  </a:lnTo>
                  <a:lnTo>
                    <a:pt x="515" y="418"/>
                  </a:lnTo>
                  <a:lnTo>
                    <a:pt x="515" y="418"/>
                  </a:lnTo>
                  <a:lnTo>
                    <a:pt x="509" y="414"/>
                  </a:lnTo>
                  <a:lnTo>
                    <a:pt x="504" y="410"/>
                  </a:lnTo>
                  <a:lnTo>
                    <a:pt x="498" y="405"/>
                  </a:lnTo>
                  <a:lnTo>
                    <a:pt x="490" y="399"/>
                  </a:lnTo>
                  <a:lnTo>
                    <a:pt x="483" y="393"/>
                  </a:lnTo>
                  <a:lnTo>
                    <a:pt x="477" y="389"/>
                  </a:lnTo>
                  <a:lnTo>
                    <a:pt x="473" y="384"/>
                  </a:lnTo>
                  <a:lnTo>
                    <a:pt x="469" y="378"/>
                  </a:lnTo>
                  <a:lnTo>
                    <a:pt x="469" y="378"/>
                  </a:lnTo>
                  <a:lnTo>
                    <a:pt x="467" y="374"/>
                  </a:lnTo>
                  <a:lnTo>
                    <a:pt x="467" y="370"/>
                  </a:lnTo>
                  <a:lnTo>
                    <a:pt x="465" y="365"/>
                  </a:lnTo>
                  <a:lnTo>
                    <a:pt x="463" y="361"/>
                  </a:lnTo>
                  <a:lnTo>
                    <a:pt x="462" y="355"/>
                  </a:lnTo>
                  <a:lnTo>
                    <a:pt x="460" y="351"/>
                  </a:lnTo>
                  <a:lnTo>
                    <a:pt x="458" y="349"/>
                  </a:lnTo>
                  <a:lnTo>
                    <a:pt x="456" y="347"/>
                  </a:lnTo>
                  <a:lnTo>
                    <a:pt x="456" y="347"/>
                  </a:lnTo>
                  <a:lnTo>
                    <a:pt x="446" y="342"/>
                  </a:lnTo>
                  <a:lnTo>
                    <a:pt x="439" y="340"/>
                  </a:lnTo>
                  <a:lnTo>
                    <a:pt x="431" y="336"/>
                  </a:lnTo>
                  <a:lnTo>
                    <a:pt x="425" y="334"/>
                  </a:lnTo>
                  <a:lnTo>
                    <a:pt x="418" y="330"/>
                  </a:lnTo>
                  <a:lnTo>
                    <a:pt x="412" y="328"/>
                  </a:lnTo>
                  <a:lnTo>
                    <a:pt x="404" y="325"/>
                  </a:lnTo>
                  <a:lnTo>
                    <a:pt x="399" y="317"/>
                  </a:lnTo>
                  <a:lnTo>
                    <a:pt x="399" y="317"/>
                  </a:lnTo>
                  <a:lnTo>
                    <a:pt x="393" y="311"/>
                  </a:lnTo>
                  <a:lnTo>
                    <a:pt x="389" y="305"/>
                  </a:lnTo>
                  <a:lnTo>
                    <a:pt x="383" y="298"/>
                  </a:lnTo>
                  <a:lnTo>
                    <a:pt x="380" y="290"/>
                  </a:lnTo>
                  <a:lnTo>
                    <a:pt x="374" y="283"/>
                  </a:lnTo>
                  <a:lnTo>
                    <a:pt x="368" y="277"/>
                  </a:lnTo>
                  <a:lnTo>
                    <a:pt x="362" y="271"/>
                  </a:lnTo>
                  <a:lnTo>
                    <a:pt x="355" y="267"/>
                  </a:lnTo>
                  <a:lnTo>
                    <a:pt x="355" y="267"/>
                  </a:lnTo>
                  <a:lnTo>
                    <a:pt x="351" y="265"/>
                  </a:lnTo>
                  <a:lnTo>
                    <a:pt x="345" y="264"/>
                  </a:lnTo>
                  <a:lnTo>
                    <a:pt x="341" y="262"/>
                  </a:lnTo>
                  <a:lnTo>
                    <a:pt x="338" y="262"/>
                  </a:lnTo>
                  <a:lnTo>
                    <a:pt x="334" y="262"/>
                  </a:lnTo>
                  <a:lnTo>
                    <a:pt x="328" y="260"/>
                  </a:lnTo>
                  <a:lnTo>
                    <a:pt x="324" y="260"/>
                  </a:lnTo>
                  <a:lnTo>
                    <a:pt x="320" y="260"/>
                  </a:lnTo>
                  <a:lnTo>
                    <a:pt x="317" y="258"/>
                  </a:lnTo>
                  <a:lnTo>
                    <a:pt x="311" y="258"/>
                  </a:lnTo>
                  <a:lnTo>
                    <a:pt x="307" y="256"/>
                  </a:lnTo>
                  <a:lnTo>
                    <a:pt x="303" y="256"/>
                  </a:lnTo>
                  <a:lnTo>
                    <a:pt x="299" y="254"/>
                  </a:lnTo>
                  <a:lnTo>
                    <a:pt x="296" y="252"/>
                  </a:lnTo>
                  <a:lnTo>
                    <a:pt x="290" y="248"/>
                  </a:lnTo>
                  <a:lnTo>
                    <a:pt x="286" y="246"/>
                  </a:lnTo>
                  <a:lnTo>
                    <a:pt x="286" y="246"/>
                  </a:lnTo>
                  <a:lnTo>
                    <a:pt x="282" y="243"/>
                  </a:lnTo>
                  <a:lnTo>
                    <a:pt x="278" y="239"/>
                  </a:lnTo>
                  <a:lnTo>
                    <a:pt x="277" y="233"/>
                  </a:lnTo>
                  <a:lnTo>
                    <a:pt x="275" y="227"/>
                  </a:lnTo>
                  <a:lnTo>
                    <a:pt x="273" y="223"/>
                  </a:lnTo>
                  <a:lnTo>
                    <a:pt x="271" y="218"/>
                  </a:lnTo>
                  <a:lnTo>
                    <a:pt x="265" y="214"/>
                  </a:lnTo>
                  <a:lnTo>
                    <a:pt x="259" y="210"/>
                  </a:lnTo>
                  <a:lnTo>
                    <a:pt x="259" y="210"/>
                  </a:lnTo>
                  <a:lnTo>
                    <a:pt x="256" y="212"/>
                  </a:lnTo>
                  <a:lnTo>
                    <a:pt x="252" y="212"/>
                  </a:lnTo>
                  <a:lnTo>
                    <a:pt x="248" y="210"/>
                  </a:lnTo>
                  <a:lnTo>
                    <a:pt x="242" y="206"/>
                  </a:lnTo>
                  <a:lnTo>
                    <a:pt x="238" y="201"/>
                  </a:lnTo>
                  <a:lnTo>
                    <a:pt x="233" y="195"/>
                  </a:lnTo>
                  <a:lnTo>
                    <a:pt x="227" y="187"/>
                  </a:lnTo>
                  <a:lnTo>
                    <a:pt x="221" y="180"/>
                  </a:lnTo>
                  <a:lnTo>
                    <a:pt x="217" y="170"/>
                  </a:lnTo>
                  <a:lnTo>
                    <a:pt x="212" y="162"/>
                  </a:lnTo>
                  <a:lnTo>
                    <a:pt x="208" y="153"/>
                  </a:lnTo>
                  <a:lnTo>
                    <a:pt x="204" y="143"/>
                  </a:lnTo>
                  <a:lnTo>
                    <a:pt x="200" y="136"/>
                  </a:lnTo>
                  <a:lnTo>
                    <a:pt x="198" y="130"/>
                  </a:lnTo>
                  <a:lnTo>
                    <a:pt x="196" y="124"/>
                  </a:lnTo>
                  <a:lnTo>
                    <a:pt x="194" y="119"/>
                  </a:lnTo>
                  <a:lnTo>
                    <a:pt x="194" y="119"/>
                  </a:lnTo>
                  <a:lnTo>
                    <a:pt x="194" y="111"/>
                  </a:lnTo>
                  <a:lnTo>
                    <a:pt x="193" y="103"/>
                  </a:lnTo>
                  <a:lnTo>
                    <a:pt x="191" y="94"/>
                  </a:lnTo>
                  <a:lnTo>
                    <a:pt x="189" y="86"/>
                  </a:lnTo>
                  <a:lnTo>
                    <a:pt x="185" y="77"/>
                  </a:lnTo>
                  <a:lnTo>
                    <a:pt x="183" y="67"/>
                  </a:lnTo>
                  <a:lnTo>
                    <a:pt x="179" y="59"/>
                  </a:lnTo>
                  <a:lnTo>
                    <a:pt x="175" y="50"/>
                  </a:lnTo>
                  <a:lnTo>
                    <a:pt x="172" y="42"/>
                  </a:lnTo>
                  <a:lnTo>
                    <a:pt x="168" y="33"/>
                  </a:lnTo>
                  <a:lnTo>
                    <a:pt x="164" y="25"/>
                  </a:lnTo>
                  <a:lnTo>
                    <a:pt x="158" y="19"/>
                  </a:lnTo>
                  <a:lnTo>
                    <a:pt x="153" y="14"/>
                  </a:lnTo>
                  <a:lnTo>
                    <a:pt x="149" y="8"/>
                  </a:lnTo>
                  <a:lnTo>
                    <a:pt x="143" y="4"/>
                  </a:lnTo>
                  <a:lnTo>
                    <a:pt x="135" y="0"/>
                  </a:lnTo>
                  <a:lnTo>
                    <a:pt x="135" y="0"/>
                  </a:lnTo>
                  <a:lnTo>
                    <a:pt x="135" y="12"/>
                  </a:lnTo>
                  <a:lnTo>
                    <a:pt x="132" y="23"/>
                  </a:lnTo>
                  <a:lnTo>
                    <a:pt x="126" y="33"/>
                  </a:lnTo>
                  <a:lnTo>
                    <a:pt x="118" y="40"/>
                  </a:lnTo>
                  <a:lnTo>
                    <a:pt x="111" y="46"/>
                  </a:lnTo>
                  <a:lnTo>
                    <a:pt x="101" y="54"/>
                  </a:lnTo>
                  <a:lnTo>
                    <a:pt x="91" y="59"/>
                  </a:lnTo>
                  <a:lnTo>
                    <a:pt x="80" y="65"/>
                  </a:lnTo>
                  <a:lnTo>
                    <a:pt x="69" y="71"/>
                  </a:lnTo>
                  <a:lnTo>
                    <a:pt x="59" y="77"/>
                  </a:lnTo>
                  <a:lnTo>
                    <a:pt x="50" y="82"/>
                  </a:lnTo>
                  <a:lnTo>
                    <a:pt x="42" y="90"/>
                  </a:lnTo>
                  <a:lnTo>
                    <a:pt x="34" y="98"/>
                  </a:lnTo>
                  <a:lnTo>
                    <a:pt x="29" y="105"/>
                  </a:lnTo>
                  <a:lnTo>
                    <a:pt x="25" y="117"/>
                  </a:lnTo>
                  <a:lnTo>
                    <a:pt x="25" y="128"/>
                  </a:lnTo>
                  <a:lnTo>
                    <a:pt x="25" y="128"/>
                  </a:lnTo>
                  <a:lnTo>
                    <a:pt x="25" y="130"/>
                  </a:lnTo>
                  <a:lnTo>
                    <a:pt x="25" y="134"/>
                  </a:lnTo>
                  <a:lnTo>
                    <a:pt x="25" y="138"/>
                  </a:lnTo>
                  <a:lnTo>
                    <a:pt x="25" y="140"/>
                  </a:lnTo>
                  <a:lnTo>
                    <a:pt x="25" y="143"/>
                  </a:lnTo>
                  <a:lnTo>
                    <a:pt x="25" y="145"/>
                  </a:lnTo>
                  <a:lnTo>
                    <a:pt x="25" y="149"/>
                  </a:lnTo>
                  <a:lnTo>
                    <a:pt x="25" y="153"/>
                  </a:lnTo>
                  <a:lnTo>
                    <a:pt x="25" y="153"/>
                  </a:lnTo>
                  <a:lnTo>
                    <a:pt x="23" y="157"/>
                  </a:lnTo>
                  <a:lnTo>
                    <a:pt x="23" y="162"/>
                  </a:lnTo>
                  <a:lnTo>
                    <a:pt x="23" y="166"/>
                  </a:lnTo>
                  <a:lnTo>
                    <a:pt x="21" y="172"/>
                  </a:lnTo>
                  <a:lnTo>
                    <a:pt x="19" y="178"/>
                  </a:lnTo>
                  <a:lnTo>
                    <a:pt x="17" y="183"/>
                  </a:lnTo>
                  <a:lnTo>
                    <a:pt x="15" y="191"/>
                  </a:lnTo>
                  <a:lnTo>
                    <a:pt x="13" y="197"/>
                  </a:lnTo>
                  <a:lnTo>
                    <a:pt x="9" y="202"/>
                  </a:lnTo>
                  <a:lnTo>
                    <a:pt x="8" y="208"/>
                  </a:lnTo>
                  <a:lnTo>
                    <a:pt x="6" y="216"/>
                  </a:lnTo>
                  <a:lnTo>
                    <a:pt x="4" y="222"/>
                  </a:lnTo>
                  <a:lnTo>
                    <a:pt x="2" y="227"/>
                  </a:lnTo>
                  <a:lnTo>
                    <a:pt x="2" y="235"/>
                  </a:lnTo>
                  <a:lnTo>
                    <a:pt x="0" y="241"/>
                  </a:lnTo>
                  <a:lnTo>
                    <a:pt x="0" y="246"/>
                  </a:lnTo>
                  <a:lnTo>
                    <a:pt x="0" y="246"/>
                  </a:lnTo>
                  <a:lnTo>
                    <a:pt x="0" y="254"/>
                  </a:lnTo>
                  <a:lnTo>
                    <a:pt x="2" y="262"/>
                  </a:lnTo>
                  <a:lnTo>
                    <a:pt x="2" y="269"/>
                  </a:lnTo>
                  <a:lnTo>
                    <a:pt x="4" y="277"/>
                  </a:lnTo>
                  <a:lnTo>
                    <a:pt x="6" y="285"/>
                  </a:lnTo>
                  <a:lnTo>
                    <a:pt x="6" y="292"/>
                  </a:lnTo>
                  <a:lnTo>
                    <a:pt x="8" y="300"/>
                  </a:lnTo>
                  <a:lnTo>
                    <a:pt x="8" y="307"/>
                  </a:lnTo>
                  <a:lnTo>
                    <a:pt x="6" y="307"/>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14" name="Freeform 258"/>
            <p:cNvSpPr>
              <a:spLocks/>
            </p:cNvSpPr>
            <p:nvPr/>
          </p:nvSpPr>
          <p:spPr bwMode="gray">
            <a:xfrm>
              <a:off x="3044" y="1692"/>
              <a:ext cx="656" cy="506"/>
            </a:xfrm>
            <a:custGeom>
              <a:avLst/>
              <a:gdLst/>
              <a:ahLst/>
              <a:cxnLst>
                <a:cxn ang="0">
                  <a:pos x="246" y="55"/>
                </a:cxn>
                <a:cxn ang="0">
                  <a:pos x="229" y="108"/>
                </a:cxn>
                <a:cxn ang="0">
                  <a:pos x="231" y="154"/>
                </a:cxn>
                <a:cxn ang="0">
                  <a:pos x="216" y="181"/>
                </a:cxn>
                <a:cxn ang="0">
                  <a:pos x="193" y="185"/>
                </a:cxn>
                <a:cxn ang="0">
                  <a:pos x="174" y="217"/>
                </a:cxn>
                <a:cxn ang="0">
                  <a:pos x="157" y="257"/>
                </a:cxn>
                <a:cxn ang="0">
                  <a:pos x="147" y="309"/>
                </a:cxn>
                <a:cxn ang="0">
                  <a:pos x="126" y="337"/>
                </a:cxn>
                <a:cxn ang="0">
                  <a:pos x="98" y="362"/>
                </a:cxn>
                <a:cxn ang="0">
                  <a:pos x="98" y="383"/>
                </a:cxn>
                <a:cxn ang="0">
                  <a:pos x="82" y="429"/>
                </a:cxn>
                <a:cxn ang="0">
                  <a:pos x="80" y="475"/>
                </a:cxn>
                <a:cxn ang="0">
                  <a:pos x="77" y="511"/>
                </a:cxn>
                <a:cxn ang="0">
                  <a:pos x="40" y="530"/>
                </a:cxn>
                <a:cxn ang="0">
                  <a:pos x="14" y="547"/>
                </a:cxn>
                <a:cxn ang="0">
                  <a:pos x="2" y="562"/>
                </a:cxn>
                <a:cxn ang="0">
                  <a:pos x="18" y="581"/>
                </a:cxn>
                <a:cxn ang="0">
                  <a:pos x="58" y="591"/>
                </a:cxn>
                <a:cxn ang="0">
                  <a:pos x="101" y="629"/>
                </a:cxn>
                <a:cxn ang="0">
                  <a:pos x="140" y="673"/>
                </a:cxn>
                <a:cxn ang="0">
                  <a:pos x="151" y="702"/>
                </a:cxn>
                <a:cxn ang="0">
                  <a:pos x="161" y="738"/>
                </a:cxn>
                <a:cxn ang="0">
                  <a:pos x="182" y="761"/>
                </a:cxn>
                <a:cxn ang="0">
                  <a:pos x="216" y="768"/>
                </a:cxn>
                <a:cxn ang="0">
                  <a:pos x="227" y="814"/>
                </a:cxn>
                <a:cxn ang="0">
                  <a:pos x="233" y="828"/>
                </a:cxn>
                <a:cxn ang="0">
                  <a:pos x="281" y="849"/>
                </a:cxn>
                <a:cxn ang="0">
                  <a:pos x="348" y="873"/>
                </a:cxn>
                <a:cxn ang="0">
                  <a:pos x="456" y="906"/>
                </a:cxn>
                <a:cxn ang="0">
                  <a:pos x="504" y="919"/>
                </a:cxn>
                <a:cxn ang="0">
                  <a:pos x="542" y="904"/>
                </a:cxn>
                <a:cxn ang="0">
                  <a:pos x="582" y="860"/>
                </a:cxn>
                <a:cxn ang="0">
                  <a:pos x="624" y="852"/>
                </a:cxn>
                <a:cxn ang="0">
                  <a:pos x="657" y="873"/>
                </a:cxn>
                <a:cxn ang="0">
                  <a:pos x="754" y="850"/>
                </a:cxn>
                <a:cxn ang="0">
                  <a:pos x="830" y="799"/>
                </a:cxn>
                <a:cxn ang="0">
                  <a:pos x="853" y="454"/>
                </a:cxn>
                <a:cxn ang="0">
                  <a:pos x="813" y="425"/>
                </a:cxn>
                <a:cxn ang="0">
                  <a:pos x="779" y="379"/>
                </a:cxn>
                <a:cxn ang="0">
                  <a:pos x="754" y="347"/>
                </a:cxn>
                <a:cxn ang="0">
                  <a:pos x="737" y="322"/>
                </a:cxn>
                <a:cxn ang="0">
                  <a:pos x="765" y="284"/>
                </a:cxn>
                <a:cxn ang="0">
                  <a:pos x="748" y="276"/>
                </a:cxn>
                <a:cxn ang="0">
                  <a:pos x="693" y="299"/>
                </a:cxn>
                <a:cxn ang="0">
                  <a:pos x="668" y="265"/>
                </a:cxn>
                <a:cxn ang="0">
                  <a:pos x="674" y="215"/>
                </a:cxn>
                <a:cxn ang="0">
                  <a:pos x="706" y="171"/>
                </a:cxn>
                <a:cxn ang="0">
                  <a:pos x="664" y="127"/>
                </a:cxn>
                <a:cxn ang="0">
                  <a:pos x="617" y="91"/>
                </a:cxn>
                <a:cxn ang="0">
                  <a:pos x="601" y="68"/>
                </a:cxn>
                <a:cxn ang="0">
                  <a:pos x="578" y="43"/>
                </a:cxn>
                <a:cxn ang="0">
                  <a:pos x="538" y="28"/>
                </a:cxn>
                <a:cxn ang="0">
                  <a:pos x="500" y="24"/>
                </a:cxn>
                <a:cxn ang="0">
                  <a:pos x="464" y="28"/>
                </a:cxn>
                <a:cxn ang="0">
                  <a:pos x="452" y="17"/>
                </a:cxn>
                <a:cxn ang="0">
                  <a:pos x="435" y="19"/>
                </a:cxn>
                <a:cxn ang="0">
                  <a:pos x="409" y="28"/>
                </a:cxn>
                <a:cxn ang="0">
                  <a:pos x="359" y="0"/>
                </a:cxn>
                <a:cxn ang="0">
                  <a:pos x="340" y="47"/>
                </a:cxn>
                <a:cxn ang="0">
                  <a:pos x="321" y="45"/>
                </a:cxn>
                <a:cxn ang="0">
                  <a:pos x="245" y="45"/>
                </a:cxn>
              </a:cxnLst>
              <a:rect l="0" t="0" r="r" b="b"/>
              <a:pathLst>
                <a:path w="1158" h="919">
                  <a:moveTo>
                    <a:pt x="245" y="45"/>
                  </a:moveTo>
                  <a:lnTo>
                    <a:pt x="245" y="45"/>
                  </a:lnTo>
                  <a:lnTo>
                    <a:pt x="245" y="47"/>
                  </a:lnTo>
                  <a:lnTo>
                    <a:pt x="246" y="49"/>
                  </a:lnTo>
                  <a:lnTo>
                    <a:pt x="246" y="53"/>
                  </a:lnTo>
                  <a:lnTo>
                    <a:pt x="246" y="55"/>
                  </a:lnTo>
                  <a:lnTo>
                    <a:pt x="246" y="55"/>
                  </a:lnTo>
                  <a:lnTo>
                    <a:pt x="245" y="64"/>
                  </a:lnTo>
                  <a:lnTo>
                    <a:pt x="243" y="74"/>
                  </a:lnTo>
                  <a:lnTo>
                    <a:pt x="241" y="82"/>
                  </a:lnTo>
                  <a:lnTo>
                    <a:pt x="237" y="87"/>
                  </a:lnTo>
                  <a:lnTo>
                    <a:pt x="235" y="95"/>
                  </a:lnTo>
                  <a:lnTo>
                    <a:pt x="231" y="103"/>
                  </a:lnTo>
                  <a:lnTo>
                    <a:pt x="229" y="108"/>
                  </a:lnTo>
                  <a:lnTo>
                    <a:pt x="227" y="114"/>
                  </a:lnTo>
                  <a:lnTo>
                    <a:pt x="227" y="114"/>
                  </a:lnTo>
                  <a:lnTo>
                    <a:pt x="227" y="122"/>
                  </a:lnTo>
                  <a:lnTo>
                    <a:pt x="227" y="131"/>
                  </a:lnTo>
                  <a:lnTo>
                    <a:pt x="229" y="139"/>
                  </a:lnTo>
                  <a:lnTo>
                    <a:pt x="231" y="147"/>
                  </a:lnTo>
                  <a:lnTo>
                    <a:pt x="231" y="154"/>
                  </a:lnTo>
                  <a:lnTo>
                    <a:pt x="231" y="162"/>
                  </a:lnTo>
                  <a:lnTo>
                    <a:pt x="229" y="169"/>
                  </a:lnTo>
                  <a:lnTo>
                    <a:pt x="225" y="175"/>
                  </a:lnTo>
                  <a:lnTo>
                    <a:pt x="225" y="175"/>
                  </a:lnTo>
                  <a:lnTo>
                    <a:pt x="224" y="177"/>
                  </a:lnTo>
                  <a:lnTo>
                    <a:pt x="220" y="179"/>
                  </a:lnTo>
                  <a:lnTo>
                    <a:pt x="216" y="181"/>
                  </a:lnTo>
                  <a:lnTo>
                    <a:pt x="212" y="181"/>
                  </a:lnTo>
                  <a:lnTo>
                    <a:pt x="208" y="181"/>
                  </a:lnTo>
                  <a:lnTo>
                    <a:pt x="204" y="181"/>
                  </a:lnTo>
                  <a:lnTo>
                    <a:pt x="201" y="181"/>
                  </a:lnTo>
                  <a:lnTo>
                    <a:pt x="199" y="181"/>
                  </a:lnTo>
                  <a:lnTo>
                    <a:pt x="199" y="181"/>
                  </a:lnTo>
                  <a:lnTo>
                    <a:pt x="193" y="185"/>
                  </a:lnTo>
                  <a:lnTo>
                    <a:pt x="189" y="190"/>
                  </a:lnTo>
                  <a:lnTo>
                    <a:pt x="185" y="194"/>
                  </a:lnTo>
                  <a:lnTo>
                    <a:pt x="184" y="198"/>
                  </a:lnTo>
                  <a:lnTo>
                    <a:pt x="182" y="202"/>
                  </a:lnTo>
                  <a:lnTo>
                    <a:pt x="180" y="208"/>
                  </a:lnTo>
                  <a:lnTo>
                    <a:pt x="178" y="211"/>
                  </a:lnTo>
                  <a:lnTo>
                    <a:pt x="174" y="217"/>
                  </a:lnTo>
                  <a:lnTo>
                    <a:pt x="174" y="217"/>
                  </a:lnTo>
                  <a:lnTo>
                    <a:pt x="170" y="225"/>
                  </a:lnTo>
                  <a:lnTo>
                    <a:pt x="166" y="230"/>
                  </a:lnTo>
                  <a:lnTo>
                    <a:pt x="163" y="236"/>
                  </a:lnTo>
                  <a:lnTo>
                    <a:pt x="161" y="244"/>
                  </a:lnTo>
                  <a:lnTo>
                    <a:pt x="157" y="251"/>
                  </a:lnTo>
                  <a:lnTo>
                    <a:pt x="157" y="257"/>
                  </a:lnTo>
                  <a:lnTo>
                    <a:pt x="155" y="265"/>
                  </a:lnTo>
                  <a:lnTo>
                    <a:pt x="153" y="271"/>
                  </a:lnTo>
                  <a:lnTo>
                    <a:pt x="151" y="278"/>
                  </a:lnTo>
                  <a:lnTo>
                    <a:pt x="151" y="286"/>
                  </a:lnTo>
                  <a:lnTo>
                    <a:pt x="149" y="293"/>
                  </a:lnTo>
                  <a:lnTo>
                    <a:pt x="149" y="301"/>
                  </a:lnTo>
                  <a:lnTo>
                    <a:pt x="147" y="309"/>
                  </a:lnTo>
                  <a:lnTo>
                    <a:pt x="145" y="316"/>
                  </a:lnTo>
                  <a:lnTo>
                    <a:pt x="142" y="324"/>
                  </a:lnTo>
                  <a:lnTo>
                    <a:pt x="140" y="333"/>
                  </a:lnTo>
                  <a:lnTo>
                    <a:pt x="140" y="333"/>
                  </a:lnTo>
                  <a:lnTo>
                    <a:pt x="138" y="335"/>
                  </a:lnTo>
                  <a:lnTo>
                    <a:pt x="132" y="335"/>
                  </a:lnTo>
                  <a:lnTo>
                    <a:pt x="126" y="337"/>
                  </a:lnTo>
                  <a:lnTo>
                    <a:pt x="119" y="337"/>
                  </a:lnTo>
                  <a:lnTo>
                    <a:pt x="111" y="339"/>
                  </a:lnTo>
                  <a:lnTo>
                    <a:pt x="103" y="343"/>
                  </a:lnTo>
                  <a:lnTo>
                    <a:pt x="100" y="351"/>
                  </a:lnTo>
                  <a:lnTo>
                    <a:pt x="98" y="358"/>
                  </a:lnTo>
                  <a:lnTo>
                    <a:pt x="98" y="358"/>
                  </a:lnTo>
                  <a:lnTo>
                    <a:pt x="98" y="362"/>
                  </a:lnTo>
                  <a:lnTo>
                    <a:pt x="98" y="368"/>
                  </a:lnTo>
                  <a:lnTo>
                    <a:pt x="98" y="370"/>
                  </a:lnTo>
                  <a:lnTo>
                    <a:pt x="98" y="374"/>
                  </a:lnTo>
                  <a:lnTo>
                    <a:pt x="98" y="377"/>
                  </a:lnTo>
                  <a:lnTo>
                    <a:pt x="98" y="379"/>
                  </a:lnTo>
                  <a:lnTo>
                    <a:pt x="98" y="381"/>
                  </a:lnTo>
                  <a:lnTo>
                    <a:pt x="98" y="383"/>
                  </a:lnTo>
                  <a:lnTo>
                    <a:pt x="98" y="383"/>
                  </a:lnTo>
                  <a:lnTo>
                    <a:pt x="96" y="391"/>
                  </a:lnTo>
                  <a:lnTo>
                    <a:pt x="92" y="398"/>
                  </a:lnTo>
                  <a:lnTo>
                    <a:pt x="90" y="406"/>
                  </a:lnTo>
                  <a:lnTo>
                    <a:pt x="86" y="414"/>
                  </a:lnTo>
                  <a:lnTo>
                    <a:pt x="84" y="421"/>
                  </a:lnTo>
                  <a:lnTo>
                    <a:pt x="82" y="429"/>
                  </a:lnTo>
                  <a:lnTo>
                    <a:pt x="80" y="436"/>
                  </a:lnTo>
                  <a:lnTo>
                    <a:pt x="80" y="444"/>
                  </a:lnTo>
                  <a:lnTo>
                    <a:pt x="80" y="444"/>
                  </a:lnTo>
                  <a:lnTo>
                    <a:pt x="80" y="454"/>
                  </a:lnTo>
                  <a:lnTo>
                    <a:pt x="80" y="461"/>
                  </a:lnTo>
                  <a:lnTo>
                    <a:pt x="80" y="469"/>
                  </a:lnTo>
                  <a:lnTo>
                    <a:pt x="80" y="475"/>
                  </a:lnTo>
                  <a:lnTo>
                    <a:pt x="80" y="482"/>
                  </a:lnTo>
                  <a:lnTo>
                    <a:pt x="80" y="488"/>
                  </a:lnTo>
                  <a:lnTo>
                    <a:pt x="80" y="494"/>
                  </a:lnTo>
                  <a:lnTo>
                    <a:pt x="80" y="498"/>
                  </a:lnTo>
                  <a:lnTo>
                    <a:pt x="80" y="498"/>
                  </a:lnTo>
                  <a:lnTo>
                    <a:pt x="79" y="505"/>
                  </a:lnTo>
                  <a:lnTo>
                    <a:pt x="77" y="511"/>
                  </a:lnTo>
                  <a:lnTo>
                    <a:pt x="75" y="517"/>
                  </a:lnTo>
                  <a:lnTo>
                    <a:pt x="69" y="520"/>
                  </a:lnTo>
                  <a:lnTo>
                    <a:pt x="65" y="522"/>
                  </a:lnTo>
                  <a:lnTo>
                    <a:pt x="60" y="524"/>
                  </a:lnTo>
                  <a:lnTo>
                    <a:pt x="54" y="526"/>
                  </a:lnTo>
                  <a:lnTo>
                    <a:pt x="46" y="528"/>
                  </a:lnTo>
                  <a:lnTo>
                    <a:pt x="40" y="530"/>
                  </a:lnTo>
                  <a:lnTo>
                    <a:pt x="35" y="530"/>
                  </a:lnTo>
                  <a:lnTo>
                    <a:pt x="29" y="532"/>
                  </a:lnTo>
                  <a:lnTo>
                    <a:pt x="23" y="534"/>
                  </a:lnTo>
                  <a:lnTo>
                    <a:pt x="19" y="536"/>
                  </a:lnTo>
                  <a:lnTo>
                    <a:pt x="16" y="539"/>
                  </a:lnTo>
                  <a:lnTo>
                    <a:pt x="14" y="543"/>
                  </a:lnTo>
                  <a:lnTo>
                    <a:pt x="14" y="547"/>
                  </a:lnTo>
                  <a:lnTo>
                    <a:pt x="14" y="547"/>
                  </a:lnTo>
                  <a:lnTo>
                    <a:pt x="12" y="551"/>
                  </a:lnTo>
                  <a:lnTo>
                    <a:pt x="10" y="555"/>
                  </a:lnTo>
                  <a:lnTo>
                    <a:pt x="10" y="557"/>
                  </a:lnTo>
                  <a:lnTo>
                    <a:pt x="8" y="559"/>
                  </a:lnTo>
                  <a:lnTo>
                    <a:pt x="4" y="560"/>
                  </a:lnTo>
                  <a:lnTo>
                    <a:pt x="2" y="562"/>
                  </a:lnTo>
                  <a:lnTo>
                    <a:pt x="2" y="566"/>
                  </a:lnTo>
                  <a:lnTo>
                    <a:pt x="0" y="570"/>
                  </a:lnTo>
                  <a:lnTo>
                    <a:pt x="0" y="570"/>
                  </a:lnTo>
                  <a:lnTo>
                    <a:pt x="2" y="576"/>
                  </a:lnTo>
                  <a:lnTo>
                    <a:pt x="6" y="580"/>
                  </a:lnTo>
                  <a:lnTo>
                    <a:pt x="12" y="581"/>
                  </a:lnTo>
                  <a:lnTo>
                    <a:pt x="18" y="581"/>
                  </a:lnTo>
                  <a:lnTo>
                    <a:pt x="25" y="581"/>
                  </a:lnTo>
                  <a:lnTo>
                    <a:pt x="33" y="581"/>
                  </a:lnTo>
                  <a:lnTo>
                    <a:pt x="39" y="581"/>
                  </a:lnTo>
                  <a:lnTo>
                    <a:pt x="44" y="583"/>
                  </a:lnTo>
                  <a:lnTo>
                    <a:pt x="44" y="583"/>
                  </a:lnTo>
                  <a:lnTo>
                    <a:pt x="50" y="587"/>
                  </a:lnTo>
                  <a:lnTo>
                    <a:pt x="58" y="591"/>
                  </a:lnTo>
                  <a:lnTo>
                    <a:pt x="63" y="595"/>
                  </a:lnTo>
                  <a:lnTo>
                    <a:pt x="69" y="601"/>
                  </a:lnTo>
                  <a:lnTo>
                    <a:pt x="77" y="606"/>
                  </a:lnTo>
                  <a:lnTo>
                    <a:pt x="82" y="612"/>
                  </a:lnTo>
                  <a:lnTo>
                    <a:pt x="88" y="618"/>
                  </a:lnTo>
                  <a:lnTo>
                    <a:pt x="96" y="623"/>
                  </a:lnTo>
                  <a:lnTo>
                    <a:pt x="101" y="629"/>
                  </a:lnTo>
                  <a:lnTo>
                    <a:pt x="107" y="637"/>
                  </a:lnTo>
                  <a:lnTo>
                    <a:pt x="115" y="643"/>
                  </a:lnTo>
                  <a:lnTo>
                    <a:pt x="121" y="648"/>
                  </a:lnTo>
                  <a:lnTo>
                    <a:pt x="126" y="654"/>
                  </a:lnTo>
                  <a:lnTo>
                    <a:pt x="130" y="662"/>
                  </a:lnTo>
                  <a:lnTo>
                    <a:pt x="136" y="667"/>
                  </a:lnTo>
                  <a:lnTo>
                    <a:pt x="140" y="673"/>
                  </a:lnTo>
                  <a:lnTo>
                    <a:pt x="140" y="673"/>
                  </a:lnTo>
                  <a:lnTo>
                    <a:pt x="142" y="677"/>
                  </a:lnTo>
                  <a:lnTo>
                    <a:pt x="145" y="681"/>
                  </a:lnTo>
                  <a:lnTo>
                    <a:pt x="147" y="686"/>
                  </a:lnTo>
                  <a:lnTo>
                    <a:pt x="149" y="690"/>
                  </a:lnTo>
                  <a:lnTo>
                    <a:pt x="151" y="696"/>
                  </a:lnTo>
                  <a:lnTo>
                    <a:pt x="151" y="702"/>
                  </a:lnTo>
                  <a:lnTo>
                    <a:pt x="153" y="707"/>
                  </a:lnTo>
                  <a:lnTo>
                    <a:pt x="153" y="711"/>
                  </a:lnTo>
                  <a:lnTo>
                    <a:pt x="155" y="717"/>
                  </a:lnTo>
                  <a:lnTo>
                    <a:pt x="157" y="723"/>
                  </a:lnTo>
                  <a:lnTo>
                    <a:pt x="157" y="728"/>
                  </a:lnTo>
                  <a:lnTo>
                    <a:pt x="159" y="732"/>
                  </a:lnTo>
                  <a:lnTo>
                    <a:pt x="161" y="738"/>
                  </a:lnTo>
                  <a:lnTo>
                    <a:pt x="163" y="744"/>
                  </a:lnTo>
                  <a:lnTo>
                    <a:pt x="166" y="747"/>
                  </a:lnTo>
                  <a:lnTo>
                    <a:pt x="168" y="753"/>
                  </a:lnTo>
                  <a:lnTo>
                    <a:pt x="168" y="753"/>
                  </a:lnTo>
                  <a:lnTo>
                    <a:pt x="172" y="757"/>
                  </a:lnTo>
                  <a:lnTo>
                    <a:pt x="178" y="759"/>
                  </a:lnTo>
                  <a:lnTo>
                    <a:pt x="182" y="761"/>
                  </a:lnTo>
                  <a:lnTo>
                    <a:pt x="187" y="761"/>
                  </a:lnTo>
                  <a:lnTo>
                    <a:pt x="193" y="763"/>
                  </a:lnTo>
                  <a:lnTo>
                    <a:pt x="199" y="763"/>
                  </a:lnTo>
                  <a:lnTo>
                    <a:pt x="204" y="763"/>
                  </a:lnTo>
                  <a:lnTo>
                    <a:pt x="210" y="765"/>
                  </a:lnTo>
                  <a:lnTo>
                    <a:pt x="210" y="765"/>
                  </a:lnTo>
                  <a:lnTo>
                    <a:pt x="216" y="768"/>
                  </a:lnTo>
                  <a:lnTo>
                    <a:pt x="222" y="772"/>
                  </a:lnTo>
                  <a:lnTo>
                    <a:pt x="224" y="778"/>
                  </a:lnTo>
                  <a:lnTo>
                    <a:pt x="225" y="786"/>
                  </a:lnTo>
                  <a:lnTo>
                    <a:pt x="227" y="793"/>
                  </a:lnTo>
                  <a:lnTo>
                    <a:pt x="227" y="801"/>
                  </a:lnTo>
                  <a:lnTo>
                    <a:pt x="227" y="808"/>
                  </a:lnTo>
                  <a:lnTo>
                    <a:pt x="227" y="814"/>
                  </a:lnTo>
                  <a:lnTo>
                    <a:pt x="227" y="814"/>
                  </a:lnTo>
                  <a:lnTo>
                    <a:pt x="227" y="816"/>
                  </a:lnTo>
                  <a:lnTo>
                    <a:pt x="229" y="818"/>
                  </a:lnTo>
                  <a:lnTo>
                    <a:pt x="229" y="822"/>
                  </a:lnTo>
                  <a:lnTo>
                    <a:pt x="231" y="824"/>
                  </a:lnTo>
                  <a:lnTo>
                    <a:pt x="231" y="826"/>
                  </a:lnTo>
                  <a:lnTo>
                    <a:pt x="233" y="828"/>
                  </a:lnTo>
                  <a:lnTo>
                    <a:pt x="233" y="829"/>
                  </a:lnTo>
                  <a:lnTo>
                    <a:pt x="233" y="831"/>
                  </a:lnTo>
                  <a:lnTo>
                    <a:pt x="233" y="831"/>
                  </a:lnTo>
                  <a:lnTo>
                    <a:pt x="246" y="837"/>
                  </a:lnTo>
                  <a:lnTo>
                    <a:pt x="260" y="841"/>
                  </a:lnTo>
                  <a:lnTo>
                    <a:pt x="269" y="845"/>
                  </a:lnTo>
                  <a:lnTo>
                    <a:pt x="281" y="849"/>
                  </a:lnTo>
                  <a:lnTo>
                    <a:pt x="292" y="852"/>
                  </a:lnTo>
                  <a:lnTo>
                    <a:pt x="302" y="854"/>
                  </a:lnTo>
                  <a:lnTo>
                    <a:pt x="311" y="858"/>
                  </a:lnTo>
                  <a:lnTo>
                    <a:pt x="321" y="862"/>
                  </a:lnTo>
                  <a:lnTo>
                    <a:pt x="330" y="866"/>
                  </a:lnTo>
                  <a:lnTo>
                    <a:pt x="340" y="870"/>
                  </a:lnTo>
                  <a:lnTo>
                    <a:pt x="348" y="873"/>
                  </a:lnTo>
                  <a:lnTo>
                    <a:pt x="357" y="877"/>
                  </a:lnTo>
                  <a:lnTo>
                    <a:pt x="367" y="885"/>
                  </a:lnTo>
                  <a:lnTo>
                    <a:pt x="376" y="891"/>
                  </a:lnTo>
                  <a:lnTo>
                    <a:pt x="388" y="898"/>
                  </a:lnTo>
                  <a:lnTo>
                    <a:pt x="397" y="906"/>
                  </a:lnTo>
                  <a:lnTo>
                    <a:pt x="456" y="906"/>
                  </a:lnTo>
                  <a:lnTo>
                    <a:pt x="456" y="906"/>
                  </a:lnTo>
                  <a:lnTo>
                    <a:pt x="460" y="908"/>
                  </a:lnTo>
                  <a:lnTo>
                    <a:pt x="466" y="912"/>
                  </a:lnTo>
                  <a:lnTo>
                    <a:pt x="473" y="913"/>
                  </a:lnTo>
                  <a:lnTo>
                    <a:pt x="481" y="915"/>
                  </a:lnTo>
                  <a:lnTo>
                    <a:pt x="489" y="917"/>
                  </a:lnTo>
                  <a:lnTo>
                    <a:pt x="496" y="919"/>
                  </a:lnTo>
                  <a:lnTo>
                    <a:pt x="504" y="919"/>
                  </a:lnTo>
                  <a:lnTo>
                    <a:pt x="512" y="919"/>
                  </a:lnTo>
                  <a:lnTo>
                    <a:pt x="512" y="919"/>
                  </a:lnTo>
                  <a:lnTo>
                    <a:pt x="517" y="919"/>
                  </a:lnTo>
                  <a:lnTo>
                    <a:pt x="525" y="917"/>
                  </a:lnTo>
                  <a:lnTo>
                    <a:pt x="531" y="913"/>
                  </a:lnTo>
                  <a:lnTo>
                    <a:pt x="536" y="910"/>
                  </a:lnTo>
                  <a:lnTo>
                    <a:pt x="542" y="904"/>
                  </a:lnTo>
                  <a:lnTo>
                    <a:pt x="548" y="898"/>
                  </a:lnTo>
                  <a:lnTo>
                    <a:pt x="552" y="891"/>
                  </a:lnTo>
                  <a:lnTo>
                    <a:pt x="557" y="885"/>
                  </a:lnTo>
                  <a:lnTo>
                    <a:pt x="563" y="877"/>
                  </a:lnTo>
                  <a:lnTo>
                    <a:pt x="569" y="871"/>
                  </a:lnTo>
                  <a:lnTo>
                    <a:pt x="575" y="866"/>
                  </a:lnTo>
                  <a:lnTo>
                    <a:pt x="582" y="860"/>
                  </a:lnTo>
                  <a:lnTo>
                    <a:pt x="588" y="856"/>
                  </a:lnTo>
                  <a:lnTo>
                    <a:pt x="596" y="852"/>
                  </a:lnTo>
                  <a:lnTo>
                    <a:pt x="603" y="850"/>
                  </a:lnTo>
                  <a:lnTo>
                    <a:pt x="611" y="849"/>
                  </a:lnTo>
                  <a:lnTo>
                    <a:pt x="611" y="849"/>
                  </a:lnTo>
                  <a:lnTo>
                    <a:pt x="618" y="850"/>
                  </a:lnTo>
                  <a:lnTo>
                    <a:pt x="624" y="852"/>
                  </a:lnTo>
                  <a:lnTo>
                    <a:pt x="630" y="856"/>
                  </a:lnTo>
                  <a:lnTo>
                    <a:pt x="634" y="860"/>
                  </a:lnTo>
                  <a:lnTo>
                    <a:pt x="637" y="866"/>
                  </a:lnTo>
                  <a:lnTo>
                    <a:pt x="641" y="870"/>
                  </a:lnTo>
                  <a:lnTo>
                    <a:pt x="649" y="871"/>
                  </a:lnTo>
                  <a:lnTo>
                    <a:pt x="657" y="873"/>
                  </a:lnTo>
                  <a:lnTo>
                    <a:pt x="657" y="873"/>
                  </a:lnTo>
                  <a:lnTo>
                    <a:pt x="672" y="871"/>
                  </a:lnTo>
                  <a:lnTo>
                    <a:pt x="685" y="871"/>
                  </a:lnTo>
                  <a:lnTo>
                    <a:pt x="700" y="868"/>
                  </a:lnTo>
                  <a:lnTo>
                    <a:pt x="714" y="866"/>
                  </a:lnTo>
                  <a:lnTo>
                    <a:pt x="727" y="860"/>
                  </a:lnTo>
                  <a:lnTo>
                    <a:pt x="741" y="856"/>
                  </a:lnTo>
                  <a:lnTo>
                    <a:pt x="754" y="850"/>
                  </a:lnTo>
                  <a:lnTo>
                    <a:pt x="765" y="843"/>
                  </a:lnTo>
                  <a:lnTo>
                    <a:pt x="779" y="837"/>
                  </a:lnTo>
                  <a:lnTo>
                    <a:pt x="790" y="831"/>
                  </a:lnTo>
                  <a:lnTo>
                    <a:pt x="802" y="824"/>
                  </a:lnTo>
                  <a:lnTo>
                    <a:pt x="811" y="816"/>
                  </a:lnTo>
                  <a:lnTo>
                    <a:pt x="823" y="808"/>
                  </a:lnTo>
                  <a:lnTo>
                    <a:pt x="830" y="799"/>
                  </a:lnTo>
                  <a:lnTo>
                    <a:pt x="840" y="791"/>
                  </a:lnTo>
                  <a:lnTo>
                    <a:pt x="847" y="784"/>
                  </a:lnTo>
                  <a:lnTo>
                    <a:pt x="943" y="784"/>
                  </a:lnTo>
                  <a:lnTo>
                    <a:pt x="1158" y="519"/>
                  </a:lnTo>
                  <a:lnTo>
                    <a:pt x="1158" y="522"/>
                  </a:lnTo>
                  <a:lnTo>
                    <a:pt x="1072" y="522"/>
                  </a:lnTo>
                  <a:lnTo>
                    <a:pt x="853" y="454"/>
                  </a:lnTo>
                  <a:lnTo>
                    <a:pt x="853" y="454"/>
                  </a:lnTo>
                  <a:lnTo>
                    <a:pt x="845" y="450"/>
                  </a:lnTo>
                  <a:lnTo>
                    <a:pt x="838" y="446"/>
                  </a:lnTo>
                  <a:lnTo>
                    <a:pt x="830" y="442"/>
                  </a:lnTo>
                  <a:lnTo>
                    <a:pt x="824" y="436"/>
                  </a:lnTo>
                  <a:lnTo>
                    <a:pt x="819" y="431"/>
                  </a:lnTo>
                  <a:lnTo>
                    <a:pt x="813" y="425"/>
                  </a:lnTo>
                  <a:lnTo>
                    <a:pt x="807" y="419"/>
                  </a:lnTo>
                  <a:lnTo>
                    <a:pt x="802" y="414"/>
                  </a:lnTo>
                  <a:lnTo>
                    <a:pt x="798" y="408"/>
                  </a:lnTo>
                  <a:lnTo>
                    <a:pt x="792" y="400"/>
                  </a:lnTo>
                  <a:lnTo>
                    <a:pt x="788" y="393"/>
                  </a:lnTo>
                  <a:lnTo>
                    <a:pt x="782" y="385"/>
                  </a:lnTo>
                  <a:lnTo>
                    <a:pt x="779" y="379"/>
                  </a:lnTo>
                  <a:lnTo>
                    <a:pt x="773" y="372"/>
                  </a:lnTo>
                  <a:lnTo>
                    <a:pt x="769" y="364"/>
                  </a:lnTo>
                  <a:lnTo>
                    <a:pt x="763" y="356"/>
                  </a:lnTo>
                  <a:lnTo>
                    <a:pt x="763" y="356"/>
                  </a:lnTo>
                  <a:lnTo>
                    <a:pt x="761" y="354"/>
                  </a:lnTo>
                  <a:lnTo>
                    <a:pt x="758" y="351"/>
                  </a:lnTo>
                  <a:lnTo>
                    <a:pt x="754" y="347"/>
                  </a:lnTo>
                  <a:lnTo>
                    <a:pt x="748" y="341"/>
                  </a:lnTo>
                  <a:lnTo>
                    <a:pt x="744" y="335"/>
                  </a:lnTo>
                  <a:lnTo>
                    <a:pt x="741" y="332"/>
                  </a:lnTo>
                  <a:lnTo>
                    <a:pt x="737" y="328"/>
                  </a:lnTo>
                  <a:lnTo>
                    <a:pt x="735" y="328"/>
                  </a:lnTo>
                  <a:lnTo>
                    <a:pt x="735" y="328"/>
                  </a:lnTo>
                  <a:lnTo>
                    <a:pt x="737" y="322"/>
                  </a:lnTo>
                  <a:lnTo>
                    <a:pt x="739" y="316"/>
                  </a:lnTo>
                  <a:lnTo>
                    <a:pt x="742" y="311"/>
                  </a:lnTo>
                  <a:lnTo>
                    <a:pt x="746" y="305"/>
                  </a:lnTo>
                  <a:lnTo>
                    <a:pt x="752" y="299"/>
                  </a:lnTo>
                  <a:lnTo>
                    <a:pt x="756" y="293"/>
                  </a:lnTo>
                  <a:lnTo>
                    <a:pt x="760" y="288"/>
                  </a:lnTo>
                  <a:lnTo>
                    <a:pt x="765" y="284"/>
                  </a:lnTo>
                  <a:lnTo>
                    <a:pt x="765" y="284"/>
                  </a:lnTo>
                  <a:lnTo>
                    <a:pt x="761" y="282"/>
                  </a:lnTo>
                  <a:lnTo>
                    <a:pt x="760" y="280"/>
                  </a:lnTo>
                  <a:lnTo>
                    <a:pt x="758" y="276"/>
                  </a:lnTo>
                  <a:lnTo>
                    <a:pt x="754" y="276"/>
                  </a:lnTo>
                  <a:lnTo>
                    <a:pt x="754" y="276"/>
                  </a:lnTo>
                  <a:lnTo>
                    <a:pt x="748" y="276"/>
                  </a:lnTo>
                  <a:lnTo>
                    <a:pt x="741" y="280"/>
                  </a:lnTo>
                  <a:lnTo>
                    <a:pt x="735" y="282"/>
                  </a:lnTo>
                  <a:lnTo>
                    <a:pt x="725" y="286"/>
                  </a:lnTo>
                  <a:lnTo>
                    <a:pt x="716" y="290"/>
                  </a:lnTo>
                  <a:lnTo>
                    <a:pt x="708" y="293"/>
                  </a:lnTo>
                  <a:lnTo>
                    <a:pt x="700" y="297"/>
                  </a:lnTo>
                  <a:lnTo>
                    <a:pt x="693" y="299"/>
                  </a:lnTo>
                  <a:lnTo>
                    <a:pt x="664" y="299"/>
                  </a:lnTo>
                  <a:lnTo>
                    <a:pt x="664" y="299"/>
                  </a:lnTo>
                  <a:lnTo>
                    <a:pt x="668" y="293"/>
                  </a:lnTo>
                  <a:lnTo>
                    <a:pt x="670" y="288"/>
                  </a:lnTo>
                  <a:lnTo>
                    <a:pt x="670" y="280"/>
                  </a:lnTo>
                  <a:lnTo>
                    <a:pt x="668" y="272"/>
                  </a:lnTo>
                  <a:lnTo>
                    <a:pt x="668" y="265"/>
                  </a:lnTo>
                  <a:lnTo>
                    <a:pt x="666" y="255"/>
                  </a:lnTo>
                  <a:lnTo>
                    <a:pt x="666" y="248"/>
                  </a:lnTo>
                  <a:lnTo>
                    <a:pt x="664" y="238"/>
                  </a:lnTo>
                  <a:lnTo>
                    <a:pt x="664" y="238"/>
                  </a:lnTo>
                  <a:lnTo>
                    <a:pt x="666" y="230"/>
                  </a:lnTo>
                  <a:lnTo>
                    <a:pt x="668" y="223"/>
                  </a:lnTo>
                  <a:lnTo>
                    <a:pt x="674" y="215"/>
                  </a:lnTo>
                  <a:lnTo>
                    <a:pt x="679" y="208"/>
                  </a:lnTo>
                  <a:lnTo>
                    <a:pt x="685" y="200"/>
                  </a:lnTo>
                  <a:lnTo>
                    <a:pt x="693" y="192"/>
                  </a:lnTo>
                  <a:lnTo>
                    <a:pt x="702" y="187"/>
                  </a:lnTo>
                  <a:lnTo>
                    <a:pt x="710" y="179"/>
                  </a:lnTo>
                  <a:lnTo>
                    <a:pt x="710" y="179"/>
                  </a:lnTo>
                  <a:lnTo>
                    <a:pt x="706" y="171"/>
                  </a:lnTo>
                  <a:lnTo>
                    <a:pt x="700" y="164"/>
                  </a:lnTo>
                  <a:lnTo>
                    <a:pt x="697" y="158"/>
                  </a:lnTo>
                  <a:lnTo>
                    <a:pt x="691" y="150"/>
                  </a:lnTo>
                  <a:lnTo>
                    <a:pt x="683" y="145"/>
                  </a:lnTo>
                  <a:lnTo>
                    <a:pt x="678" y="139"/>
                  </a:lnTo>
                  <a:lnTo>
                    <a:pt x="670" y="133"/>
                  </a:lnTo>
                  <a:lnTo>
                    <a:pt x="664" y="127"/>
                  </a:lnTo>
                  <a:lnTo>
                    <a:pt x="657" y="124"/>
                  </a:lnTo>
                  <a:lnTo>
                    <a:pt x="651" y="118"/>
                  </a:lnTo>
                  <a:lnTo>
                    <a:pt x="643" y="112"/>
                  </a:lnTo>
                  <a:lnTo>
                    <a:pt x="636" y="108"/>
                  </a:lnTo>
                  <a:lnTo>
                    <a:pt x="630" y="103"/>
                  </a:lnTo>
                  <a:lnTo>
                    <a:pt x="622" y="97"/>
                  </a:lnTo>
                  <a:lnTo>
                    <a:pt x="617" y="91"/>
                  </a:lnTo>
                  <a:lnTo>
                    <a:pt x="611" y="87"/>
                  </a:lnTo>
                  <a:lnTo>
                    <a:pt x="611" y="87"/>
                  </a:lnTo>
                  <a:lnTo>
                    <a:pt x="607" y="84"/>
                  </a:lnTo>
                  <a:lnTo>
                    <a:pt x="605" y="80"/>
                  </a:lnTo>
                  <a:lnTo>
                    <a:pt x="605" y="76"/>
                  </a:lnTo>
                  <a:lnTo>
                    <a:pt x="603" y="72"/>
                  </a:lnTo>
                  <a:lnTo>
                    <a:pt x="601" y="68"/>
                  </a:lnTo>
                  <a:lnTo>
                    <a:pt x="599" y="64"/>
                  </a:lnTo>
                  <a:lnTo>
                    <a:pt x="597" y="61"/>
                  </a:lnTo>
                  <a:lnTo>
                    <a:pt x="596" y="57"/>
                  </a:lnTo>
                  <a:lnTo>
                    <a:pt x="596" y="57"/>
                  </a:lnTo>
                  <a:lnTo>
                    <a:pt x="590" y="53"/>
                  </a:lnTo>
                  <a:lnTo>
                    <a:pt x="584" y="47"/>
                  </a:lnTo>
                  <a:lnTo>
                    <a:pt x="578" y="43"/>
                  </a:lnTo>
                  <a:lnTo>
                    <a:pt x="573" y="42"/>
                  </a:lnTo>
                  <a:lnTo>
                    <a:pt x="569" y="38"/>
                  </a:lnTo>
                  <a:lnTo>
                    <a:pt x="563" y="36"/>
                  </a:lnTo>
                  <a:lnTo>
                    <a:pt x="557" y="32"/>
                  </a:lnTo>
                  <a:lnTo>
                    <a:pt x="552" y="30"/>
                  </a:lnTo>
                  <a:lnTo>
                    <a:pt x="544" y="28"/>
                  </a:lnTo>
                  <a:lnTo>
                    <a:pt x="538" y="28"/>
                  </a:lnTo>
                  <a:lnTo>
                    <a:pt x="533" y="26"/>
                  </a:lnTo>
                  <a:lnTo>
                    <a:pt x="527" y="26"/>
                  </a:lnTo>
                  <a:lnTo>
                    <a:pt x="519" y="24"/>
                  </a:lnTo>
                  <a:lnTo>
                    <a:pt x="514" y="24"/>
                  </a:lnTo>
                  <a:lnTo>
                    <a:pt x="506" y="24"/>
                  </a:lnTo>
                  <a:lnTo>
                    <a:pt x="500" y="24"/>
                  </a:lnTo>
                  <a:lnTo>
                    <a:pt x="500" y="24"/>
                  </a:lnTo>
                  <a:lnTo>
                    <a:pt x="494" y="24"/>
                  </a:lnTo>
                  <a:lnTo>
                    <a:pt x="489" y="24"/>
                  </a:lnTo>
                  <a:lnTo>
                    <a:pt x="485" y="24"/>
                  </a:lnTo>
                  <a:lnTo>
                    <a:pt x="479" y="24"/>
                  </a:lnTo>
                  <a:lnTo>
                    <a:pt x="473" y="24"/>
                  </a:lnTo>
                  <a:lnTo>
                    <a:pt x="470" y="26"/>
                  </a:lnTo>
                  <a:lnTo>
                    <a:pt x="464" y="28"/>
                  </a:lnTo>
                  <a:lnTo>
                    <a:pt x="458" y="28"/>
                  </a:lnTo>
                  <a:lnTo>
                    <a:pt x="458" y="28"/>
                  </a:lnTo>
                  <a:lnTo>
                    <a:pt x="458" y="26"/>
                  </a:lnTo>
                  <a:lnTo>
                    <a:pt x="456" y="24"/>
                  </a:lnTo>
                  <a:lnTo>
                    <a:pt x="456" y="23"/>
                  </a:lnTo>
                  <a:lnTo>
                    <a:pt x="454" y="21"/>
                  </a:lnTo>
                  <a:lnTo>
                    <a:pt x="452" y="17"/>
                  </a:lnTo>
                  <a:lnTo>
                    <a:pt x="451" y="15"/>
                  </a:lnTo>
                  <a:lnTo>
                    <a:pt x="449" y="15"/>
                  </a:lnTo>
                  <a:lnTo>
                    <a:pt x="445" y="15"/>
                  </a:lnTo>
                  <a:lnTo>
                    <a:pt x="445" y="15"/>
                  </a:lnTo>
                  <a:lnTo>
                    <a:pt x="441" y="15"/>
                  </a:lnTo>
                  <a:lnTo>
                    <a:pt x="437" y="17"/>
                  </a:lnTo>
                  <a:lnTo>
                    <a:pt x="435" y="19"/>
                  </a:lnTo>
                  <a:lnTo>
                    <a:pt x="433" y="21"/>
                  </a:lnTo>
                  <a:lnTo>
                    <a:pt x="430" y="24"/>
                  </a:lnTo>
                  <a:lnTo>
                    <a:pt x="428" y="26"/>
                  </a:lnTo>
                  <a:lnTo>
                    <a:pt x="424" y="28"/>
                  </a:lnTo>
                  <a:lnTo>
                    <a:pt x="418" y="28"/>
                  </a:lnTo>
                  <a:lnTo>
                    <a:pt x="418" y="28"/>
                  </a:lnTo>
                  <a:lnTo>
                    <a:pt x="409" y="28"/>
                  </a:lnTo>
                  <a:lnTo>
                    <a:pt x="399" y="26"/>
                  </a:lnTo>
                  <a:lnTo>
                    <a:pt x="393" y="23"/>
                  </a:lnTo>
                  <a:lnTo>
                    <a:pt x="386" y="17"/>
                  </a:lnTo>
                  <a:lnTo>
                    <a:pt x="380" y="13"/>
                  </a:lnTo>
                  <a:lnTo>
                    <a:pt x="372" y="7"/>
                  </a:lnTo>
                  <a:lnTo>
                    <a:pt x="367" y="3"/>
                  </a:lnTo>
                  <a:lnTo>
                    <a:pt x="359" y="0"/>
                  </a:lnTo>
                  <a:lnTo>
                    <a:pt x="359" y="0"/>
                  </a:lnTo>
                  <a:lnTo>
                    <a:pt x="357" y="5"/>
                  </a:lnTo>
                  <a:lnTo>
                    <a:pt x="353" y="13"/>
                  </a:lnTo>
                  <a:lnTo>
                    <a:pt x="351" y="23"/>
                  </a:lnTo>
                  <a:lnTo>
                    <a:pt x="348" y="32"/>
                  </a:lnTo>
                  <a:lnTo>
                    <a:pt x="344" y="40"/>
                  </a:lnTo>
                  <a:lnTo>
                    <a:pt x="340" y="47"/>
                  </a:lnTo>
                  <a:lnTo>
                    <a:pt x="336" y="53"/>
                  </a:lnTo>
                  <a:lnTo>
                    <a:pt x="332" y="55"/>
                  </a:lnTo>
                  <a:lnTo>
                    <a:pt x="332" y="55"/>
                  </a:lnTo>
                  <a:lnTo>
                    <a:pt x="328" y="55"/>
                  </a:lnTo>
                  <a:lnTo>
                    <a:pt x="325" y="53"/>
                  </a:lnTo>
                  <a:lnTo>
                    <a:pt x="323" y="49"/>
                  </a:lnTo>
                  <a:lnTo>
                    <a:pt x="321" y="45"/>
                  </a:lnTo>
                  <a:lnTo>
                    <a:pt x="319" y="43"/>
                  </a:lnTo>
                  <a:lnTo>
                    <a:pt x="317" y="40"/>
                  </a:lnTo>
                  <a:lnTo>
                    <a:pt x="315" y="36"/>
                  </a:lnTo>
                  <a:lnTo>
                    <a:pt x="311" y="34"/>
                  </a:lnTo>
                  <a:lnTo>
                    <a:pt x="287" y="49"/>
                  </a:lnTo>
                  <a:lnTo>
                    <a:pt x="275" y="42"/>
                  </a:lnTo>
                  <a:lnTo>
                    <a:pt x="245" y="45"/>
                  </a:lnTo>
                </a:path>
              </a:pathLst>
            </a:custGeom>
            <a:solidFill>
              <a:schemeClr val="accent2"/>
            </a:solidFill>
            <a:ln w="9525" cmpd="sng">
              <a:solidFill>
                <a:srgbClr val="808080"/>
              </a:solidFill>
              <a:prstDash val="solid"/>
              <a:round/>
              <a:headEnd/>
              <a:tailEnd/>
            </a:ln>
          </p:spPr>
          <p:txBody>
            <a:bodyPr/>
            <a:lstStyle/>
            <a:p>
              <a:endParaRPr lang="en-US" dirty="0">
                <a:solidFill>
                  <a:srgbClr val="000000"/>
                </a:solidFill>
                <a:latin typeface="Arial" charset="0"/>
              </a:endParaRPr>
            </a:p>
          </p:txBody>
        </p:sp>
        <p:sp>
          <p:nvSpPr>
            <p:cNvPr id="608515" name="Freeform 259"/>
            <p:cNvSpPr>
              <a:spLocks/>
            </p:cNvSpPr>
            <p:nvPr/>
          </p:nvSpPr>
          <p:spPr bwMode="gray">
            <a:xfrm>
              <a:off x="2874" y="2531"/>
              <a:ext cx="95" cy="212"/>
            </a:xfrm>
            <a:custGeom>
              <a:avLst/>
              <a:gdLst/>
              <a:ahLst/>
              <a:cxnLst>
                <a:cxn ang="0">
                  <a:pos x="25" y="21"/>
                </a:cxn>
                <a:cxn ang="0">
                  <a:pos x="34" y="34"/>
                </a:cxn>
                <a:cxn ang="0">
                  <a:pos x="40" y="51"/>
                </a:cxn>
                <a:cxn ang="0">
                  <a:pos x="46" y="68"/>
                </a:cxn>
                <a:cxn ang="0">
                  <a:pos x="49" y="84"/>
                </a:cxn>
                <a:cxn ang="0">
                  <a:pos x="55" y="105"/>
                </a:cxn>
                <a:cxn ang="0">
                  <a:pos x="55" y="128"/>
                </a:cxn>
                <a:cxn ang="0">
                  <a:pos x="61" y="143"/>
                </a:cxn>
                <a:cxn ang="0">
                  <a:pos x="63" y="160"/>
                </a:cxn>
                <a:cxn ang="0">
                  <a:pos x="55" y="171"/>
                </a:cxn>
                <a:cxn ang="0">
                  <a:pos x="51" y="185"/>
                </a:cxn>
                <a:cxn ang="0">
                  <a:pos x="61" y="200"/>
                </a:cxn>
                <a:cxn ang="0">
                  <a:pos x="80" y="210"/>
                </a:cxn>
                <a:cxn ang="0">
                  <a:pos x="95" y="223"/>
                </a:cxn>
                <a:cxn ang="0">
                  <a:pos x="107" y="246"/>
                </a:cxn>
                <a:cxn ang="0">
                  <a:pos x="114" y="269"/>
                </a:cxn>
                <a:cxn ang="0">
                  <a:pos x="126" y="296"/>
                </a:cxn>
                <a:cxn ang="0">
                  <a:pos x="133" y="318"/>
                </a:cxn>
                <a:cxn ang="0">
                  <a:pos x="143" y="343"/>
                </a:cxn>
                <a:cxn ang="0">
                  <a:pos x="154" y="358"/>
                </a:cxn>
                <a:cxn ang="0">
                  <a:pos x="166" y="374"/>
                </a:cxn>
                <a:cxn ang="0">
                  <a:pos x="166" y="385"/>
                </a:cxn>
                <a:cxn ang="0">
                  <a:pos x="160" y="385"/>
                </a:cxn>
                <a:cxn ang="0">
                  <a:pos x="151" y="381"/>
                </a:cxn>
                <a:cxn ang="0">
                  <a:pos x="141" y="370"/>
                </a:cxn>
                <a:cxn ang="0">
                  <a:pos x="126" y="353"/>
                </a:cxn>
                <a:cxn ang="0">
                  <a:pos x="112" y="339"/>
                </a:cxn>
                <a:cxn ang="0">
                  <a:pos x="95" y="320"/>
                </a:cxn>
                <a:cxn ang="0">
                  <a:pos x="88" y="297"/>
                </a:cxn>
                <a:cxn ang="0">
                  <a:pos x="78" y="275"/>
                </a:cxn>
                <a:cxn ang="0">
                  <a:pos x="63" y="261"/>
                </a:cxn>
                <a:cxn ang="0">
                  <a:pos x="48" y="250"/>
                </a:cxn>
                <a:cxn ang="0">
                  <a:pos x="38" y="240"/>
                </a:cxn>
                <a:cxn ang="0">
                  <a:pos x="30" y="227"/>
                </a:cxn>
                <a:cxn ang="0">
                  <a:pos x="25" y="213"/>
                </a:cxn>
                <a:cxn ang="0">
                  <a:pos x="19" y="198"/>
                </a:cxn>
                <a:cxn ang="0">
                  <a:pos x="15" y="183"/>
                </a:cxn>
                <a:cxn ang="0">
                  <a:pos x="13" y="170"/>
                </a:cxn>
                <a:cxn ang="0">
                  <a:pos x="13" y="158"/>
                </a:cxn>
                <a:cxn ang="0">
                  <a:pos x="13" y="152"/>
                </a:cxn>
                <a:cxn ang="0">
                  <a:pos x="13" y="143"/>
                </a:cxn>
                <a:cxn ang="0">
                  <a:pos x="11" y="131"/>
                </a:cxn>
                <a:cxn ang="0">
                  <a:pos x="8" y="120"/>
                </a:cxn>
                <a:cxn ang="0">
                  <a:pos x="4" y="109"/>
                </a:cxn>
                <a:cxn ang="0">
                  <a:pos x="0" y="93"/>
                </a:cxn>
                <a:cxn ang="0">
                  <a:pos x="0" y="78"/>
                </a:cxn>
                <a:cxn ang="0">
                  <a:pos x="2" y="63"/>
                </a:cxn>
                <a:cxn ang="0">
                  <a:pos x="6" y="49"/>
                </a:cxn>
                <a:cxn ang="0">
                  <a:pos x="6" y="36"/>
                </a:cxn>
                <a:cxn ang="0">
                  <a:pos x="2" y="25"/>
                </a:cxn>
                <a:cxn ang="0">
                  <a:pos x="0" y="13"/>
                </a:cxn>
                <a:cxn ang="0">
                  <a:pos x="0" y="7"/>
                </a:cxn>
                <a:cxn ang="0">
                  <a:pos x="0" y="4"/>
                </a:cxn>
                <a:cxn ang="0">
                  <a:pos x="8" y="0"/>
                </a:cxn>
                <a:cxn ang="0">
                  <a:pos x="11" y="7"/>
                </a:cxn>
                <a:cxn ang="0">
                  <a:pos x="15" y="13"/>
                </a:cxn>
              </a:cxnLst>
              <a:rect l="0" t="0" r="r" b="b"/>
              <a:pathLst>
                <a:path w="168" h="385">
                  <a:moveTo>
                    <a:pt x="17" y="15"/>
                  </a:moveTo>
                  <a:lnTo>
                    <a:pt x="21" y="19"/>
                  </a:lnTo>
                  <a:lnTo>
                    <a:pt x="25" y="21"/>
                  </a:lnTo>
                  <a:lnTo>
                    <a:pt x="29" y="25"/>
                  </a:lnTo>
                  <a:lnTo>
                    <a:pt x="30" y="30"/>
                  </a:lnTo>
                  <a:lnTo>
                    <a:pt x="34" y="34"/>
                  </a:lnTo>
                  <a:lnTo>
                    <a:pt x="36" y="40"/>
                  </a:lnTo>
                  <a:lnTo>
                    <a:pt x="38" y="46"/>
                  </a:lnTo>
                  <a:lnTo>
                    <a:pt x="40" y="51"/>
                  </a:lnTo>
                  <a:lnTo>
                    <a:pt x="42" y="55"/>
                  </a:lnTo>
                  <a:lnTo>
                    <a:pt x="44" y="61"/>
                  </a:lnTo>
                  <a:lnTo>
                    <a:pt x="46" y="68"/>
                  </a:lnTo>
                  <a:lnTo>
                    <a:pt x="48" y="72"/>
                  </a:lnTo>
                  <a:lnTo>
                    <a:pt x="48" y="78"/>
                  </a:lnTo>
                  <a:lnTo>
                    <a:pt x="49" y="84"/>
                  </a:lnTo>
                  <a:lnTo>
                    <a:pt x="51" y="89"/>
                  </a:lnTo>
                  <a:lnTo>
                    <a:pt x="53" y="93"/>
                  </a:lnTo>
                  <a:lnTo>
                    <a:pt x="55" y="105"/>
                  </a:lnTo>
                  <a:lnTo>
                    <a:pt x="55" y="114"/>
                  </a:lnTo>
                  <a:lnTo>
                    <a:pt x="55" y="122"/>
                  </a:lnTo>
                  <a:lnTo>
                    <a:pt x="55" y="128"/>
                  </a:lnTo>
                  <a:lnTo>
                    <a:pt x="55" y="133"/>
                  </a:lnTo>
                  <a:lnTo>
                    <a:pt x="57" y="139"/>
                  </a:lnTo>
                  <a:lnTo>
                    <a:pt x="61" y="143"/>
                  </a:lnTo>
                  <a:lnTo>
                    <a:pt x="67" y="149"/>
                  </a:lnTo>
                  <a:lnTo>
                    <a:pt x="65" y="154"/>
                  </a:lnTo>
                  <a:lnTo>
                    <a:pt x="63" y="160"/>
                  </a:lnTo>
                  <a:lnTo>
                    <a:pt x="61" y="164"/>
                  </a:lnTo>
                  <a:lnTo>
                    <a:pt x="57" y="168"/>
                  </a:lnTo>
                  <a:lnTo>
                    <a:pt x="55" y="171"/>
                  </a:lnTo>
                  <a:lnTo>
                    <a:pt x="53" y="175"/>
                  </a:lnTo>
                  <a:lnTo>
                    <a:pt x="51" y="179"/>
                  </a:lnTo>
                  <a:lnTo>
                    <a:pt x="51" y="185"/>
                  </a:lnTo>
                  <a:lnTo>
                    <a:pt x="53" y="191"/>
                  </a:lnTo>
                  <a:lnTo>
                    <a:pt x="57" y="196"/>
                  </a:lnTo>
                  <a:lnTo>
                    <a:pt x="61" y="200"/>
                  </a:lnTo>
                  <a:lnTo>
                    <a:pt x="67" y="204"/>
                  </a:lnTo>
                  <a:lnTo>
                    <a:pt x="74" y="208"/>
                  </a:lnTo>
                  <a:lnTo>
                    <a:pt x="80" y="210"/>
                  </a:lnTo>
                  <a:lnTo>
                    <a:pt x="84" y="213"/>
                  </a:lnTo>
                  <a:lnTo>
                    <a:pt x="88" y="215"/>
                  </a:lnTo>
                  <a:lnTo>
                    <a:pt x="95" y="223"/>
                  </a:lnTo>
                  <a:lnTo>
                    <a:pt x="101" y="231"/>
                  </a:lnTo>
                  <a:lnTo>
                    <a:pt x="105" y="238"/>
                  </a:lnTo>
                  <a:lnTo>
                    <a:pt x="107" y="246"/>
                  </a:lnTo>
                  <a:lnTo>
                    <a:pt x="109" y="254"/>
                  </a:lnTo>
                  <a:lnTo>
                    <a:pt x="111" y="261"/>
                  </a:lnTo>
                  <a:lnTo>
                    <a:pt x="114" y="269"/>
                  </a:lnTo>
                  <a:lnTo>
                    <a:pt x="118" y="278"/>
                  </a:lnTo>
                  <a:lnTo>
                    <a:pt x="122" y="286"/>
                  </a:lnTo>
                  <a:lnTo>
                    <a:pt x="126" y="296"/>
                  </a:lnTo>
                  <a:lnTo>
                    <a:pt x="128" y="303"/>
                  </a:lnTo>
                  <a:lnTo>
                    <a:pt x="132" y="311"/>
                  </a:lnTo>
                  <a:lnTo>
                    <a:pt x="133" y="318"/>
                  </a:lnTo>
                  <a:lnTo>
                    <a:pt x="137" y="326"/>
                  </a:lnTo>
                  <a:lnTo>
                    <a:pt x="139" y="336"/>
                  </a:lnTo>
                  <a:lnTo>
                    <a:pt x="143" y="343"/>
                  </a:lnTo>
                  <a:lnTo>
                    <a:pt x="147" y="349"/>
                  </a:lnTo>
                  <a:lnTo>
                    <a:pt x="151" y="355"/>
                  </a:lnTo>
                  <a:lnTo>
                    <a:pt x="154" y="358"/>
                  </a:lnTo>
                  <a:lnTo>
                    <a:pt x="158" y="364"/>
                  </a:lnTo>
                  <a:lnTo>
                    <a:pt x="162" y="368"/>
                  </a:lnTo>
                  <a:lnTo>
                    <a:pt x="166" y="374"/>
                  </a:lnTo>
                  <a:lnTo>
                    <a:pt x="166" y="378"/>
                  </a:lnTo>
                  <a:lnTo>
                    <a:pt x="168" y="385"/>
                  </a:lnTo>
                  <a:lnTo>
                    <a:pt x="166" y="385"/>
                  </a:lnTo>
                  <a:lnTo>
                    <a:pt x="166" y="385"/>
                  </a:lnTo>
                  <a:lnTo>
                    <a:pt x="162" y="385"/>
                  </a:lnTo>
                  <a:lnTo>
                    <a:pt x="160" y="385"/>
                  </a:lnTo>
                  <a:lnTo>
                    <a:pt x="156" y="383"/>
                  </a:lnTo>
                  <a:lnTo>
                    <a:pt x="154" y="383"/>
                  </a:lnTo>
                  <a:lnTo>
                    <a:pt x="151" y="381"/>
                  </a:lnTo>
                  <a:lnTo>
                    <a:pt x="151" y="379"/>
                  </a:lnTo>
                  <a:lnTo>
                    <a:pt x="145" y="374"/>
                  </a:lnTo>
                  <a:lnTo>
                    <a:pt x="141" y="370"/>
                  </a:lnTo>
                  <a:lnTo>
                    <a:pt x="135" y="364"/>
                  </a:lnTo>
                  <a:lnTo>
                    <a:pt x="132" y="358"/>
                  </a:lnTo>
                  <a:lnTo>
                    <a:pt x="126" y="353"/>
                  </a:lnTo>
                  <a:lnTo>
                    <a:pt x="122" y="347"/>
                  </a:lnTo>
                  <a:lnTo>
                    <a:pt x="118" y="343"/>
                  </a:lnTo>
                  <a:lnTo>
                    <a:pt x="112" y="339"/>
                  </a:lnTo>
                  <a:lnTo>
                    <a:pt x="105" y="334"/>
                  </a:lnTo>
                  <a:lnTo>
                    <a:pt x="99" y="328"/>
                  </a:lnTo>
                  <a:lnTo>
                    <a:pt x="95" y="320"/>
                  </a:lnTo>
                  <a:lnTo>
                    <a:pt x="93" y="315"/>
                  </a:lnTo>
                  <a:lnTo>
                    <a:pt x="90" y="307"/>
                  </a:lnTo>
                  <a:lnTo>
                    <a:pt x="88" y="297"/>
                  </a:lnTo>
                  <a:lnTo>
                    <a:pt x="86" y="290"/>
                  </a:lnTo>
                  <a:lnTo>
                    <a:pt x="82" y="280"/>
                  </a:lnTo>
                  <a:lnTo>
                    <a:pt x="78" y="275"/>
                  </a:lnTo>
                  <a:lnTo>
                    <a:pt x="74" y="271"/>
                  </a:lnTo>
                  <a:lnTo>
                    <a:pt x="69" y="265"/>
                  </a:lnTo>
                  <a:lnTo>
                    <a:pt x="63" y="261"/>
                  </a:lnTo>
                  <a:lnTo>
                    <a:pt x="57" y="257"/>
                  </a:lnTo>
                  <a:lnTo>
                    <a:pt x="51" y="254"/>
                  </a:lnTo>
                  <a:lnTo>
                    <a:pt x="48" y="250"/>
                  </a:lnTo>
                  <a:lnTo>
                    <a:pt x="42" y="246"/>
                  </a:lnTo>
                  <a:lnTo>
                    <a:pt x="40" y="242"/>
                  </a:lnTo>
                  <a:lnTo>
                    <a:pt x="38" y="240"/>
                  </a:lnTo>
                  <a:lnTo>
                    <a:pt x="36" y="236"/>
                  </a:lnTo>
                  <a:lnTo>
                    <a:pt x="32" y="233"/>
                  </a:lnTo>
                  <a:lnTo>
                    <a:pt x="30" y="227"/>
                  </a:lnTo>
                  <a:lnTo>
                    <a:pt x="29" y="223"/>
                  </a:lnTo>
                  <a:lnTo>
                    <a:pt x="27" y="217"/>
                  </a:lnTo>
                  <a:lnTo>
                    <a:pt x="25" y="213"/>
                  </a:lnTo>
                  <a:lnTo>
                    <a:pt x="23" y="208"/>
                  </a:lnTo>
                  <a:lnTo>
                    <a:pt x="21" y="202"/>
                  </a:lnTo>
                  <a:lnTo>
                    <a:pt x="19" y="198"/>
                  </a:lnTo>
                  <a:lnTo>
                    <a:pt x="17" y="192"/>
                  </a:lnTo>
                  <a:lnTo>
                    <a:pt x="15" y="187"/>
                  </a:lnTo>
                  <a:lnTo>
                    <a:pt x="15" y="183"/>
                  </a:lnTo>
                  <a:lnTo>
                    <a:pt x="13" y="179"/>
                  </a:lnTo>
                  <a:lnTo>
                    <a:pt x="13" y="173"/>
                  </a:lnTo>
                  <a:lnTo>
                    <a:pt x="13" y="170"/>
                  </a:lnTo>
                  <a:lnTo>
                    <a:pt x="13" y="166"/>
                  </a:lnTo>
                  <a:lnTo>
                    <a:pt x="13" y="162"/>
                  </a:lnTo>
                  <a:lnTo>
                    <a:pt x="13" y="158"/>
                  </a:lnTo>
                  <a:lnTo>
                    <a:pt x="13" y="156"/>
                  </a:lnTo>
                  <a:lnTo>
                    <a:pt x="13" y="154"/>
                  </a:lnTo>
                  <a:lnTo>
                    <a:pt x="13" y="152"/>
                  </a:lnTo>
                  <a:lnTo>
                    <a:pt x="13" y="149"/>
                  </a:lnTo>
                  <a:lnTo>
                    <a:pt x="13" y="147"/>
                  </a:lnTo>
                  <a:lnTo>
                    <a:pt x="13" y="143"/>
                  </a:lnTo>
                  <a:lnTo>
                    <a:pt x="13" y="139"/>
                  </a:lnTo>
                  <a:lnTo>
                    <a:pt x="11" y="135"/>
                  </a:lnTo>
                  <a:lnTo>
                    <a:pt x="11" y="131"/>
                  </a:lnTo>
                  <a:lnTo>
                    <a:pt x="9" y="128"/>
                  </a:lnTo>
                  <a:lnTo>
                    <a:pt x="8" y="124"/>
                  </a:lnTo>
                  <a:lnTo>
                    <a:pt x="8" y="120"/>
                  </a:lnTo>
                  <a:lnTo>
                    <a:pt x="6" y="116"/>
                  </a:lnTo>
                  <a:lnTo>
                    <a:pt x="4" y="112"/>
                  </a:lnTo>
                  <a:lnTo>
                    <a:pt x="4" y="109"/>
                  </a:lnTo>
                  <a:lnTo>
                    <a:pt x="2" y="103"/>
                  </a:lnTo>
                  <a:lnTo>
                    <a:pt x="2" y="99"/>
                  </a:lnTo>
                  <a:lnTo>
                    <a:pt x="0" y="93"/>
                  </a:lnTo>
                  <a:lnTo>
                    <a:pt x="0" y="89"/>
                  </a:lnTo>
                  <a:lnTo>
                    <a:pt x="0" y="84"/>
                  </a:lnTo>
                  <a:lnTo>
                    <a:pt x="0" y="78"/>
                  </a:lnTo>
                  <a:lnTo>
                    <a:pt x="0" y="72"/>
                  </a:lnTo>
                  <a:lnTo>
                    <a:pt x="2" y="67"/>
                  </a:lnTo>
                  <a:lnTo>
                    <a:pt x="2" y="63"/>
                  </a:lnTo>
                  <a:lnTo>
                    <a:pt x="4" y="59"/>
                  </a:lnTo>
                  <a:lnTo>
                    <a:pt x="6" y="53"/>
                  </a:lnTo>
                  <a:lnTo>
                    <a:pt x="6" y="49"/>
                  </a:lnTo>
                  <a:lnTo>
                    <a:pt x="6" y="44"/>
                  </a:lnTo>
                  <a:lnTo>
                    <a:pt x="6" y="40"/>
                  </a:lnTo>
                  <a:lnTo>
                    <a:pt x="6" y="36"/>
                  </a:lnTo>
                  <a:lnTo>
                    <a:pt x="4" y="32"/>
                  </a:lnTo>
                  <a:lnTo>
                    <a:pt x="2" y="28"/>
                  </a:lnTo>
                  <a:lnTo>
                    <a:pt x="2" y="25"/>
                  </a:lnTo>
                  <a:lnTo>
                    <a:pt x="0" y="21"/>
                  </a:lnTo>
                  <a:lnTo>
                    <a:pt x="0" y="17"/>
                  </a:lnTo>
                  <a:lnTo>
                    <a:pt x="0" y="13"/>
                  </a:lnTo>
                  <a:lnTo>
                    <a:pt x="0" y="11"/>
                  </a:lnTo>
                  <a:lnTo>
                    <a:pt x="0" y="9"/>
                  </a:lnTo>
                  <a:lnTo>
                    <a:pt x="0" y="7"/>
                  </a:lnTo>
                  <a:lnTo>
                    <a:pt x="0" y="6"/>
                  </a:lnTo>
                  <a:lnTo>
                    <a:pt x="0" y="4"/>
                  </a:lnTo>
                  <a:lnTo>
                    <a:pt x="0" y="4"/>
                  </a:lnTo>
                  <a:lnTo>
                    <a:pt x="0" y="2"/>
                  </a:lnTo>
                  <a:lnTo>
                    <a:pt x="0" y="0"/>
                  </a:lnTo>
                  <a:lnTo>
                    <a:pt x="8" y="0"/>
                  </a:lnTo>
                  <a:lnTo>
                    <a:pt x="9" y="2"/>
                  </a:lnTo>
                  <a:lnTo>
                    <a:pt x="11" y="4"/>
                  </a:lnTo>
                  <a:lnTo>
                    <a:pt x="11" y="7"/>
                  </a:lnTo>
                  <a:lnTo>
                    <a:pt x="13" y="9"/>
                  </a:lnTo>
                  <a:lnTo>
                    <a:pt x="15" y="11"/>
                  </a:lnTo>
                  <a:lnTo>
                    <a:pt x="15" y="13"/>
                  </a:lnTo>
                  <a:lnTo>
                    <a:pt x="17" y="15"/>
                  </a:lnTo>
                  <a:lnTo>
                    <a:pt x="17" y="15"/>
                  </a:lnTo>
                  <a:close/>
                </a:path>
              </a:pathLst>
            </a:custGeom>
            <a:solidFill>
              <a:schemeClr val="accent2"/>
            </a:solid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516" name="Freeform 260"/>
            <p:cNvSpPr>
              <a:spLocks/>
            </p:cNvSpPr>
            <p:nvPr/>
          </p:nvSpPr>
          <p:spPr bwMode="gray">
            <a:xfrm>
              <a:off x="3086" y="2779"/>
              <a:ext cx="45" cy="208"/>
            </a:xfrm>
            <a:custGeom>
              <a:avLst/>
              <a:gdLst/>
              <a:ahLst/>
              <a:cxnLst>
                <a:cxn ang="0">
                  <a:pos x="9" y="53"/>
                </a:cxn>
                <a:cxn ang="0">
                  <a:pos x="7" y="42"/>
                </a:cxn>
                <a:cxn ang="0">
                  <a:pos x="2" y="27"/>
                </a:cxn>
                <a:cxn ang="0">
                  <a:pos x="0" y="8"/>
                </a:cxn>
                <a:cxn ang="0">
                  <a:pos x="2" y="0"/>
                </a:cxn>
                <a:cxn ang="0">
                  <a:pos x="15" y="8"/>
                </a:cxn>
                <a:cxn ang="0">
                  <a:pos x="32" y="27"/>
                </a:cxn>
                <a:cxn ang="0">
                  <a:pos x="44" y="51"/>
                </a:cxn>
                <a:cxn ang="0">
                  <a:pos x="49" y="103"/>
                </a:cxn>
                <a:cxn ang="0">
                  <a:pos x="51" y="114"/>
                </a:cxn>
                <a:cxn ang="0">
                  <a:pos x="51" y="126"/>
                </a:cxn>
                <a:cxn ang="0">
                  <a:pos x="55" y="141"/>
                </a:cxn>
                <a:cxn ang="0">
                  <a:pos x="67" y="154"/>
                </a:cxn>
                <a:cxn ang="0">
                  <a:pos x="74" y="170"/>
                </a:cxn>
                <a:cxn ang="0">
                  <a:pos x="68" y="189"/>
                </a:cxn>
                <a:cxn ang="0">
                  <a:pos x="57" y="204"/>
                </a:cxn>
                <a:cxn ang="0">
                  <a:pos x="51" y="219"/>
                </a:cxn>
                <a:cxn ang="0">
                  <a:pos x="53" y="235"/>
                </a:cxn>
                <a:cxn ang="0">
                  <a:pos x="55" y="252"/>
                </a:cxn>
                <a:cxn ang="0">
                  <a:pos x="57" y="311"/>
                </a:cxn>
                <a:cxn ang="0">
                  <a:pos x="68" y="334"/>
                </a:cxn>
                <a:cxn ang="0">
                  <a:pos x="80" y="351"/>
                </a:cxn>
                <a:cxn ang="0">
                  <a:pos x="80" y="364"/>
                </a:cxn>
                <a:cxn ang="0">
                  <a:pos x="78" y="370"/>
                </a:cxn>
                <a:cxn ang="0">
                  <a:pos x="80" y="376"/>
                </a:cxn>
                <a:cxn ang="0">
                  <a:pos x="72" y="372"/>
                </a:cxn>
                <a:cxn ang="0">
                  <a:pos x="63" y="366"/>
                </a:cxn>
                <a:cxn ang="0">
                  <a:pos x="55" y="364"/>
                </a:cxn>
                <a:cxn ang="0">
                  <a:pos x="51" y="370"/>
                </a:cxn>
                <a:cxn ang="0">
                  <a:pos x="51" y="376"/>
                </a:cxn>
                <a:cxn ang="0">
                  <a:pos x="44" y="376"/>
                </a:cxn>
                <a:cxn ang="0">
                  <a:pos x="36" y="368"/>
                </a:cxn>
                <a:cxn ang="0">
                  <a:pos x="34" y="359"/>
                </a:cxn>
                <a:cxn ang="0">
                  <a:pos x="34" y="351"/>
                </a:cxn>
                <a:cxn ang="0">
                  <a:pos x="38" y="343"/>
                </a:cxn>
                <a:cxn ang="0">
                  <a:pos x="38" y="336"/>
                </a:cxn>
                <a:cxn ang="0">
                  <a:pos x="34" y="328"/>
                </a:cxn>
                <a:cxn ang="0">
                  <a:pos x="28" y="324"/>
                </a:cxn>
                <a:cxn ang="0">
                  <a:pos x="21" y="307"/>
                </a:cxn>
                <a:cxn ang="0">
                  <a:pos x="17" y="282"/>
                </a:cxn>
                <a:cxn ang="0">
                  <a:pos x="17" y="259"/>
                </a:cxn>
                <a:cxn ang="0">
                  <a:pos x="11" y="242"/>
                </a:cxn>
                <a:cxn ang="0">
                  <a:pos x="4" y="231"/>
                </a:cxn>
                <a:cxn ang="0">
                  <a:pos x="2" y="221"/>
                </a:cxn>
                <a:cxn ang="0">
                  <a:pos x="7" y="214"/>
                </a:cxn>
                <a:cxn ang="0">
                  <a:pos x="13" y="198"/>
                </a:cxn>
                <a:cxn ang="0">
                  <a:pos x="19" y="181"/>
                </a:cxn>
                <a:cxn ang="0">
                  <a:pos x="23" y="166"/>
                </a:cxn>
                <a:cxn ang="0">
                  <a:pos x="26" y="156"/>
                </a:cxn>
                <a:cxn ang="0">
                  <a:pos x="21" y="67"/>
                </a:cxn>
                <a:cxn ang="0">
                  <a:pos x="17" y="61"/>
                </a:cxn>
                <a:cxn ang="0">
                  <a:pos x="11" y="57"/>
                </a:cxn>
              </a:cxnLst>
              <a:rect l="0" t="0" r="r" b="b"/>
              <a:pathLst>
                <a:path w="80" h="378">
                  <a:moveTo>
                    <a:pt x="11" y="57"/>
                  </a:moveTo>
                  <a:lnTo>
                    <a:pt x="11" y="55"/>
                  </a:lnTo>
                  <a:lnTo>
                    <a:pt x="9" y="53"/>
                  </a:lnTo>
                  <a:lnTo>
                    <a:pt x="9" y="50"/>
                  </a:lnTo>
                  <a:lnTo>
                    <a:pt x="9" y="48"/>
                  </a:lnTo>
                  <a:lnTo>
                    <a:pt x="7" y="42"/>
                  </a:lnTo>
                  <a:lnTo>
                    <a:pt x="5" y="36"/>
                  </a:lnTo>
                  <a:lnTo>
                    <a:pt x="4" y="32"/>
                  </a:lnTo>
                  <a:lnTo>
                    <a:pt x="2" y="27"/>
                  </a:lnTo>
                  <a:lnTo>
                    <a:pt x="0" y="21"/>
                  </a:lnTo>
                  <a:lnTo>
                    <a:pt x="0" y="15"/>
                  </a:lnTo>
                  <a:lnTo>
                    <a:pt x="0" y="8"/>
                  </a:lnTo>
                  <a:lnTo>
                    <a:pt x="0" y="0"/>
                  </a:lnTo>
                  <a:lnTo>
                    <a:pt x="0" y="0"/>
                  </a:lnTo>
                  <a:lnTo>
                    <a:pt x="2" y="0"/>
                  </a:lnTo>
                  <a:lnTo>
                    <a:pt x="4" y="0"/>
                  </a:lnTo>
                  <a:lnTo>
                    <a:pt x="5" y="0"/>
                  </a:lnTo>
                  <a:lnTo>
                    <a:pt x="15" y="8"/>
                  </a:lnTo>
                  <a:lnTo>
                    <a:pt x="23" y="13"/>
                  </a:lnTo>
                  <a:lnTo>
                    <a:pt x="28" y="21"/>
                  </a:lnTo>
                  <a:lnTo>
                    <a:pt x="32" y="27"/>
                  </a:lnTo>
                  <a:lnTo>
                    <a:pt x="36" y="34"/>
                  </a:lnTo>
                  <a:lnTo>
                    <a:pt x="40" y="42"/>
                  </a:lnTo>
                  <a:lnTo>
                    <a:pt x="44" y="51"/>
                  </a:lnTo>
                  <a:lnTo>
                    <a:pt x="47" y="61"/>
                  </a:lnTo>
                  <a:lnTo>
                    <a:pt x="47" y="99"/>
                  </a:lnTo>
                  <a:lnTo>
                    <a:pt x="49" y="103"/>
                  </a:lnTo>
                  <a:lnTo>
                    <a:pt x="51" y="107"/>
                  </a:lnTo>
                  <a:lnTo>
                    <a:pt x="51" y="111"/>
                  </a:lnTo>
                  <a:lnTo>
                    <a:pt x="51" y="114"/>
                  </a:lnTo>
                  <a:lnTo>
                    <a:pt x="51" y="118"/>
                  </a:lnTo>
                  <a:lnTo>
                    <a:pt x="51" y="122"/>
                  </a:lnTo>
                  <a:lnTo>
                    <a:pt x="51" y="126"/>
                  </a:lnTo>
                  <a:lnTo>
                    <a:pt x="51" y="130"/>
                  </a:lnTo>
                  <a:lnTo>
                    <a:pt x="53" y="135"/>
                  </a:lnTo>
                  <a:lnTo>
                    <a:pt x="55" y="141"/>
                  </a:lnTo>
                  <a:lnTo>
                    <a:pt x="59" y="145"/>
                  </a:lnTo>
                  <a:lnTo>
                    <a:pt x="63" y="151"/>
                  </a:lnTo>
                  <a:lnTo>
                    <a:pt x="67" y="154"/>
                  </a:lnTo>
                  <a:lnTo>
                    <a:pt x="70" y="158"/>
                  </a:lnTo>
                  <a:lnTo>
                    <a:pt x="72" y="164"/>
                  </a:lnTo>
                  <a:lnTo>
                    <a:pt x="74" y="170"/>
                  </a:lnTo>
                  <a:lnTo>
                    <a:pt x="72" y="177"/>
                  </a:lnTo>
                  <a:lnTo>
                    <a:pt x="70" y="183"/>
                  </a:lnTo>
                  <a:lnTo>
                    <a:pt x="68" y="189"/>
                  </a:lnTo>
                  <a:lnTo>
                    <a:pt x="65" y="195"/>
                  </a:lnTo>
                  <a:lnTo>
                    <a:pt x="61" y="198"/>
                  </a:lnTo>
                  <a:lnTo>
                    <a:pt x="57" y="204"/>
                  </a:lnTo>
                  <a:lnTo>
                    <a:pt x="55" y="208"/>
                  </a:lnTo>
                  <a:lnTo>
                    <a:pt x="53" y="212"/>
                  </a:lnTo>
                  <a:lnTo>
                    <a:pt x="51" y="219"/>
                  </a:lnTo>
                  <a:lnTo>
                    <a:pt x="51" y="223"/>
                  </a:lnTo>
                  <a:lnTo>
                    <a:pt x="51" y="229"/>
                  </a:lnTo>
                  <a:lnTo>
                    <a:pt x="53" y="235"/>
                  </a:lnTo>
                  <a:lnTo>
                    <a:pt x="53" y="240"/>
                  </a:lnTo>
                  <a:lnTo>
                    <a:pt x="55" y="246"/>
                  </a:lnTo>
                  <a:lnTo>
                    <a:pt x="55" y="252"/>
                  </a:lnTo>
                  <a:lnTo>
                    <a:pt x="55" y="257"/>
                  </a:lnTo>
                  <a:lnTo>
                    <a:pt x="55" y="301"/>
                  </a:lnTo>
                  <a:lnTo>
                    <a:pt x="57" y="311"/>
                  </a:lnTo>
                  <a:lnTo>
                    <a:pt x="59" y="320"/>
                  </a:lnTo>
                  <a:lnTo>
                    <a:pt x="63" y="328"/>
                  </a:lnTo>
                  <a:lnTo>
                    <a:pt x="68" y="334"/>
                  </a:lnTo>
                  <a:lnTo>
                    <a:pt x="72" y="340"/>
                  </a:lnTo>
                  <a:lnTo>
                    <a:pt x="76" y="345"/>
                  </a:lnTo>
                  <a:lnTo>
                    <a:pt x="80" y="351"/>
                  </a:lnTo>
                  <a:lnTo>
                    <a:pt x="80" y="359"/>
                  </a:lnTo>
                  <a:lnTo>
                    <a:pt x="80" y="362"/>
                  </a:lnTo>
                  <a:lnTo>
                    <a:pt x="80" y="364"/>
                  </a:lnTo>
                  <a:lnTo>
                    <a:pt x="78" y="366"/>
                  </a:lnTo>
                  <a:lnTo>
                    <a:pt x="78" y="368"/>
                  </a:lnTo>
                  <a:lnTo>
                    <a:pt x="78" y="370"/>
                  </a:lnTo>
                  <a:lnTo>
                    <a:pt x="78" y="372"/>
                  </a:lnTo>
                  <a:lnTo>
                    <a:pt x="78" y="374"/>
                  </a:lnTo>
                  <a:lnTo>
                    <a:pt x="80" y="376"/>
                  </a:lnTo>
                  <a:lnTo>
                    <a:pt x="78" y="376"/>
                  </a:lnTo>
                  <a:lnTo>
                    <a:pt x="74" y="374"/>
                  </a:lnTo>
                  <a:lnTo>
                    <a:pt x="72" y="372"/>
                  </a:lnTo>
                  <a:lnTo>
                    <a:pt x="68" y="370"/>
                  </a:lnTo>
                  <a:lnTo>
                    <a:pt x="67" y="368"/>
                  </a:lnTo>
                  <a:lnTo>
                    <a:pt x="63" y="366"/>
                  </a:lnTo>
                  <a:lnTo>
                    <a:pt x="61" y="364"/>
                  </a:lnTo>
                  <a:lnTo>
                    <a:pt x="57" y="362"/>
                  </a:lnTo>
                  <a:lnTo>
                    <a:pt x="55" y="364"/>
                  </a:lnTo>
                  <a:lnTo>
                    <a:pt x="53" y="366"/>
                  </a:lnTo>
                  <a:lnTo>
                    <a:pt x="53" y="368"/>
                  </a:lnTo>
                  <a:lnTo>
                    <a:pt x="51" y="370"/>
                  </a:lnTo>
                  <a:lnTo>
                    <a:pt x="51" y="372"/>
                  </a:lnTo>
                  <a:lnTo>
                    <a:pt x="51" y="374"/>
                  </a:lnTo>
                  <a:lnTo>
                    <a:pt x="51" y="376"/>
                  </a:lnTo>
                  <a:lnTo>
                    <a:pt x="51" y="378"/>
                  </a:lnTo>
                  <a:lnTo>
                    <a:pt x="47" y="378"/>
                  </a:lnTo>
                  <a:lnTo>
                    <a:pt x="44" y="376"/>
                  </a:lnTo>
                  <a:lnTo>
                    <a:pt x="42" y="374"/>
                  </a:lnTo>
                  <a:lnTo>
                    <a:pt x="38" y="372"/>
                  </a:lnTo>
                  <a:lnTo>
                    <a:pt x="36" y="368"/>
                  </a:lnTo>
                  <a:lnTo>
                    <a:pt x="34" y="364"/>
                  </a:lnTo>
                  <a:lnTo>
                    <a:pt x="34" y="362"/>
                  </a:lnTo>
                  <a:lnTo>
                    <a:pt x="34" y="359"/>
                  </a:lnTo>
                  <a:lnTo>
                    <a:pt x="34" y="355"/>
                  </a:lnTo>
                  <a:lnTo>
                    <a:pt x="34" y="353"/>
                  </a:lnTo>
                  <a:lnTo>
                    <a:pt x="34" y="351"/>
                  </a:lnTo>
                  <a:lnTo>
                    <a:pt x="36" y="347"/>
                  </a:lnTo>
                  <a:lnTo>
                    <a:pt x="36" y="345"/>
                  </a:lnTo>
                  <a:lnTo>
                    <a:pt x="38" y="343"/>
                  </a:lnTo>
                  <a:lnTo>
                    <a:pt x="38" y="341"/>
                  </a:lnTo>
                  <a:lnTo>
                    <a:pt x="38" y="340"/>
                  </a:lnTo>
                  <a:lnTo>
                    <a:pt x="38" y="336"/>
                  </a:lnTo>
                  <a:lnTo>
                    <a:pt x="36" y="332"/>
                  </a:lnTo>
                  <a:lnTo>
                    <a:pt x="36" y="330"/>
                  </a:lnTo>
                  <a:lnTo>
                    <a:pt x="34" y="328"/>
                  </a:lnTo>
                  <a:lnTo>
                    <a:pt x="32" y="328"/>
                  </a:lnTo>
                  <a:lnTo>
                    <a:pt x="30" y="326"/>
                  </a:lnTo>
                  <a:lnTo>
                    <a:pt x="28" y="324"/>
                  </a:lnTo>
                  <a:lnTo>
                    <a:pt x="26" y="322"/>
                  </a:lnTo>
                  <a:lnTo>
                    <a:pt x="25" y="315"/>
                  </a:lnTo>
                  <a:lnTo>
                    <a:pt x="21" y="307"/>
                  </a:lnTo>
                  <a:lnTo>
                    <a:pt x="19" y="299"/>
                  </a:lnTo>
                  <a:lnTo>
                    <a:pt x="19" y="292"/>
                  </a:lnTo>
                  <a:lnTo>
                    <a:pt x="17" y="282"/>
                  </a:lnTo>
                  <a:lnTo>
                    <a:pt x="17" y="275"/>
                  </a:lnTo>
                  <a:lnTo>
                    <a:pt x="17" y="267"/>
                  </a:lnTo>
                  <a:lnTo>
                    <a:pt x="17" y="259"/>
                  </a:lnTo>
                  <a:lnTo>
                    <a:pt x="17" y="252"/>
                  </a:lnTo>
                  <a:lnTo>
                    <a:pt x="15" y="248"/>
                  </a:lnTo>
                  <a:lnTo>
                    <a:pt x="11" y="242"/>
                  </a:lnTo>
                  <a:lnTo>
                    <a:pt x="9" y="238"/>
                  </a:lnTo>
                  <a:lnTo>
                    <a:pt x="5" y="235"/>
                  </a:lnTo>
                  <a:lnTo>
                    <a:pt x="4" y="231"/>
                  </a:lnTo>
                  <a:lnTo>
                    <a:pt x="2" y="227"/>
                  </a:lnTo>
                  <a:lnTo>
                    <a:pt x="0" y="221"/>
                  </a:lnTo>
                  <a:lnTo>
                    <a:pt x="2" y="221"/>
                  </a:lnTo>
                  <a:lnTo>
                    <a:pt x="4" y="219"/>
                  </a:lnTo>
                  <a:lnTo>
                    <a:pt x="5" y="217"/>
                  </a:lnTo>
                  <a:lnTo>
                    <a:pt x="7" y="214"/>
                  </a:lnTo>
                  <a:lnTo>
                    <a:pt x="9" y="208"/>
                  </a:lnTo>
                  <a:lnTo>
                    <a:pt x="11" y="204"/>
                  </a:lnTo>
                  <a:lnTo>
                    <a:pt x="13" y="198"/>
                  </a:lnTo>
                  <a:lnTo>
                    <a:pt x="15" y="193"/>
                  </a:lnTo>
                  <a:lnTo>
                    <a:pt x="17" y="187"/>
                  </a:lnTo>
                  <a:lnTo>
                    <a:pt x="19" y="181"/>
                  </a:lnTo>
                  <a:lnTo>
                    <a:pt x="21" y="175"/>
                  </a:lnTo>
                  <a:lnTo>
                    <a:pt x="23" y="170"/>
                  </a:lnTo>
                  <a:lnTo>
                    <a:pt x="23" y="166"/>
                  </a:lnTo>
                  <a:lnTo>
                    <a:pt x="25" y="162"/>
                  </a:lnTo>
                  <a:lnTo>
                    <a:pt x="26" y="158"/>
                  </a:lnTo>
                  <a:lnTo>
                    <a:pt x="26" y="156"/>
                  </a:lnTo>
                  <a:lnTo>
                    <a:pt x="26" y="71"/>
                  </a:lnTo>
                  <a:lnTo>
                    <a:pt x="23" y="69"/>
                  </a:lnTo>
                  <a:lnTo>
                    <a:pt x="21" y="67"/>
                  </a:lnTo>
                  <a:lnTo>
                    <a:pt x="19" y="65"/>
                  </a:lnTo>
                  <a:lnTo>
                    <a:pt x="19" y="63"/>
                  </a:lnTo>
                  <a:lnTo>
                    <a:pt x="17" y="61"/>
                  </a:lnTo>
                  <a:lnTo>
                    <a:pt x="15" y="59"/>
                  </a:lnTo>
                  <a:lnTo>
                    <a:pt x="13" y="57"/>
                  </a:lnTo>
                  <a:lnTo>
                    <a:pt x="11" y="57"/>
                  </a:lnTo>
                  <a:close/>
                </a:path>
              </a:pathLst>
            </a:custGeom>
            <a:solidFill>
              <a:schemeClr val="accent2"/>
            </a:solidFill>
            <a:ln w="9525" cmpd="sng">
              <a:solidFill>
                <a:srgbClr val="808080"/>
              </a:solidFill>
              <a:round/>
              <a:headEnd/>
              <a:tailEnd/>
            </a:ln>
          </p:spPr>
          <p:txBody>
            <a:bodyPr/>
            <a:lstStyle/>
            <a:p>
              <a:endParaRPr lang="en-US" dirty="0">
                <a:solidFill>
                  <a:srgbClr val="000000"/>
                </a:solidFill>
                <a:latin typeface="Arial" charset="0"/>
              </a:endParaRPr>
            </a:p>
          </p:txBody>
        </p:sp>
        <p:sp>
          <p:nvSpPr>
            <p:cNvPr id="608517" name="Freeform 261"/>
            <p:cNvSpPr>
              <a:spLocks/>
            </p:cNvSpPr>
            <p:nvPr/>
          </p:nvSpPr>
          <p:spPr bwMode="gray">
            <a:xfrm>
              <a:off x="2993" y="2342"/>
              <a:ext cx="137" cy="133"/>
            </a:xfrm>
            <a:custGeom>
              <a:avLst/>
              <a:gdLst/>
              <a:ahLst/>
              <a:cxnLst>
                <a:cxn ang="0">
                  <a:pos x="181" y="105"/>
                </a:cxn>
                <a:cxn ang="0">
                  <a:pos x="187" y="79"/>
                </a:cxn>
                <a:cxn ang="0">
                  <a:pos x="204" y="61"/>
                </a:cxn>
                <a:cxn ang="0">
                  <a:pos x="225" y="60"/>
                </a:cxn>
                <a:cxn ang="0">
                  <a:pos x="234" y="44"/>
                </a:cxn>
                <a:cxn ang="0">
                  <a:pos x="208" y="44"/>
                </a:cxn>
                <a:cxn ang="0">
                  <a:pos x="175" y="39"/>
                </a:cxn>
                <a:cxn ang="0">
                  <a:pos x="160" y="19"/>
                </a:cxn>
                <a:cxn ang="0">
                  <a:pos x="152" y="0"/>
                </a:cxn>
                <a:cxn ang="0">
                  <a:pos x="141" y="0"/>
                </a:cxn>
                <a:cxn ang="0">
                  <a:pos x="133" y="16"/>
                </a:cxn>
                <a:cxn ang="0">
                  <a:pos x="120" y="21"/>
                </a:cxn>
                <a:cxn ang="0">
                  <a:pos x="110" y="16"/>
                </a:cxn>
                <a:cxn ang="0">
                  <a:pos x="105" y="23"/>
                </a:cxn>
                <a:cxn ang="0">
                  <a:pos x="93" y="25"/>
                </a:cxn>
                <a:cxn ang="0">
                  <a:pos x="82" y="23"/>
                </a:cxn>
                <a:cxn ang="0">
                  <a:pos x="72" y="29"/>
                </a:cxn>
                <a:cxn ang="0">
                  <a:pos x="65" y="33"/>
                </a:cxn>
                <a:cxn ang="0">
                  <a:pos x="57" y="35"/>
                </a:cxn>
                <a:cxn ang="0">
                  <a:pos x="34" y="44"/>
                </a:cxn>
                <a:cxn ang="0">
                  <a:pos x="21" y="56"/>
                </a:cxn>
                <a:cxn ang="0">
                  <a:pos x="19" y="69"/>
                </a:cxn>
                <a:cxn ang="0">
                  <a:pos x="11" y="79"/>
                </a:cxn>
                <a:cxn ang="0">
                  <a:pos x="4" y="86"/>
                </a:cxn>
                <a:cxn ang="0">
                  <a:pos x="2" y="102"/>
                </a:cxn>
                <a:cxn ang="0">
                  <a:pos x="11" y="113"/>
                </a:cxn>
                <a:cxn ang="0">
                  <a:pos x="15" y="136"/>
                </a:cxn>
                <a:cxn ang="0">
                  <a:pos x="4" y="163"/>
                </a:cxn>
                <a:cxn ang="0">
                  <a:pos x="0" y="187"/>
                </a:cxn>
                <a:cxn ang="0">
                  <a:pos x="0" y="203"/>
                </a:cxn>
                <a:cxn ang="0">
                  <a:pos x="5" y="212"/>
                </a:cxn>
                <a:cxn ang="0">
                  <a:pos x="13" y="220"/>
                </a:cxn>
                <a:cxn ang="0">
                  <a:pos x="9" y="229"/>
                </a:cxn>
                <a:cxn ang="0">
                  <a:pos x="9" y="239"/>
                </a:cxn>
                <a:cxn ang="0">
                  <a:pos x="17" y="239"/>
                </a:cxn>
                <a:cxn ang="0">
                  <a:pos x="30" y="222"/>
                </a:cxn>
                <a:cxn ang="0">
                  <a:pos x="49" y="218"/>
                </a:cxn>
                <a:cxn ang="0">
                  <a:pos x="70" y="229"/>
                </a:cxn>
                <a:cxn ang="0">
                  <a:pos x="86" y="235"/>
                </a:cxn>
                <a:cxn ang="0">
                  <a:pos x="93" y="227"/>
                </a:cxn>
                <a:cxn ang="0">
                  <a:pos x="107" y="224"/>
                </a:cxn>
                <a:cxn ang="0">
                  <a:pos x="114" y="227"/>
                </a:cxn>
                <a:cxn ang="0">
                  <a:pos x="122" y="231"/>
                </a:cxn>
                <a:cxn ang="0">
                  <a:pos x="135" y="233"/>
                </a:cxn>
                <a:cxn ang="0">
                  <a:pos x="149" y="218"/>
                </a:cxn>
                <a:cxn ang="0">
                  <a:pos x="110" y="201"/>
                </a:cxn>
                <a:cxn ang="0">
                  <a:pos x="126" y="187"/>
                </a:cxn>
                <a:cxn ang="0">
                  <a:pos x="143" y="172"/>
                </a:cxn>
                <a:cxn ang="0">
                  <a:pos x="150" y="157"/>
                </a:cxn>
                <a:cxn ang="0">
                  <a:pos x="160" y="140"/>
                </a:cxn>
                <a:cxn ang="0">
                  <a:pos x="169" y="123"/>
                </a:cxn>
                <a:cxn ang="0">
                  <a:pos x="179" y="105"/>
                </a:cxn>
              </a:cxnLst>
              <a:rect l="0" t="0" r="r" b="b"/>
              <a:pathLst>
                <a:path w="240" h="243">
                  <a:moveTo>
                    <a:pt x="185" y="111"/>
                  </a:moveTo>
                  <a:lnTo>
                    <a:pt x="185" y="111"/>
                  </a:lnTo>
                  <a:lnTo>
                    <a:pt x="179" y="107"/>
                  </a:lnTo>
                  <a:lnTo>
                    <a:pt x="181" y="105"/>
                  </a:lnTo>
                  <a:lnTo>
                    <a:pt x="183" y="100"/>
                  </a:lnTo>
                  <a:lnTo>
                    <a:pt x="185" y="94"/>
                  </a:lnTo>
                  <a:lnTo>
                    <a:pt x="187" y="86"/>
                  </a:lnTo>
                  <a:lnTo>
                    <a:pt x="187" y="79"/>
                  </a:lnTo>
                  <a:lnTo>
                    <a:pt x="189" y="73"/>
                  </a:lnTo>
                  <a:lnTo>
                    <a:pt x="192" y="67"/>
                  </a:lnTo>
                  <a:lnTo>
                    <a:pt x="198" y="63"/>
                  </a:lnTo>
                  <a:lnTo>
                    <a:pt x="204" y="61"/>
                  </a:lnTo>
                  <a:lnTo>
                    <a:pt x="210" y="61"/>
                  </a:lnTo>
                  <a:lnTo>
                    <a:pt x="215" y="60"/>
                  </a:lnTo>
                  <a:lnTo>
                    <a:pt x="221" y="60"/>
                  </a:lnTo>
                  <a:lnTo>
                    <a:pt x="225" y="60"/>
                  </a:lnTo>
                  <a:lnTo>
                    <a:pt x="231" y="58"/>
                  </a:lnTo>
                  <a:lnTo>
                    <a:pt x="234" y="54"/>
                  </a:lnTo>
                  <a:lnTo>
                    <a:pt x="240" y="50"/>
                  </a:lnTo>
                  <a:lnTo>
                    <a:pt x="234" y="44"/>
                  </a:lnTo>
                  <a:lnTo>
                    <a:pt x="229" y="44"/>
                  </a:lnTo>
                  <a:lnTo>
                    <a:pt x="223" y="42"/>
                  </a:lnTo>
                  <a:lnTo>
                    <a:pt x="215" y="44"/>
                  </a:lnTo>
                  <a:lnTo>
                    <a:pt x="208" y="44"/>
                  </a:lnTo>
                  <a:lnTo>
                    <a:pt x="200" y="44"/>
                  </a:lnTo>
                  <a:lnTo>
                    <a:pt x="190" y="42"/>
                  </a:lnTo>
                  <a:lnTo>
                    <a:pt x="179" y="40"/>
                  </a:lnTo>
                  <a:lnTo>
                    <a:pt x="175" y="39"/>
                  </a:lnTo>
                  <a:lnTo>
                    <a:pt x="171" y="35"/>
                  </a:lnTo>
                  <a:lnTo>
                    <a:pt x="168" y="31"/>
                  </a:lnTo>
                  <a:lnTo>
                    <a:pt x="164" y="25"/>
                  </a:lnTo>
                  <a:lnTo>
                    <a:pt x="160" y="19"/>
                  </a:lnTo>
                  <a:lnTo>
                    <a:pt x="158" y="14"/>
                  </a:lnTo>
                  <a:lnTo>
                    <a:pt x="156" y="6"/>
                  </a:lnTo>
                  <a:lnTo>
                    <a:pt x="154" y="0"/>
                  </a:lnTo>
                  <a:lnTo>
                    <a:pt x="152" y="0"/>
                  </a:lnTo>
                  <a:lnTo>
                    <a:pt x="149" y="0"/>
                  </a:lnTo>
                  <a:lnTo>
                    <a:pt x="147" y="0"/>
                  </a:lnTo>
                  <a:lnTo>
                    <a:pt x="145" y="0"/>
                  </a:lnTo>
                  <a:lnTo>
                    <a:pt x="141" y="0"/>
                  </a:lnTo>
                  <a:lnTo>
                    <a:pt x="139" y="4"/>
                  </a:lnTo>
                  <a:lnTo>
                    <a:pt x="137" y="8"/>
                  </a:lnTo>
                  <a:lnTo>
                    <a:pt x="137" y="12"/>
                  </a:lnTo>
                  <a:lnTo>
                    <a:pt x="133" y="16"/>
                  </a:lnTo>
                  <a:lnTo>
                    <a:pt x="131" y="19"/>
                  </a:lnTo>
                  <a:lnTo>
                    <a:pt x="128" y="21"/>
                  </a:lnTo>
                  <a:lnTo>
                    <a:pt x="124" y="21"/>
                  </a:lnTo>
                  <a:lnTo>
                    <a:pt x="120" y="21"/>
                  </a:lnTo>
                  <a:lnTo>
                    <a:pt x="118" y="19"/>
                  </a:lnTo>
                  <a:lnTo>
                    <a:pt x="114" y="18"/>
                  </a:lnTo>
                  <a:lnTo>
                    <a:pt x="112" y="16"/>
                  </a:lnTo>
                  <a:lnTo>
                    <a:pt x="110" y="16"/>
                  </a:lnTo>
                  <a:lnTo>
                    <a:pt x="110" y="18"/>
                  </a:lnTo>
                  <a:lnTo>
                    <a:pt x="108" y="19"/>
                  </a:lnTo>
                  <a:lnTo>
                    <a:pt x="107" y="21"/>
                  </a:lnTo>
                  <a:lnTo>
                    <a:pt x="105" y="23"/>
                  </a:lnTo>
                  <a:lnTo>
                    <a:pt x="103" y="25"/>
                  </a:lnTo>
                  <a:lnTo>
                    <a:pt x="101" y="25"/>
                  </a:lnTo>
                  <a:lnTo>
                    <a:pt x="97" y="27"/>
                  </a:lnTo>
                  <a:lnTo>
                    <a:pt x="93" y="25"/>
                  </a:lnTo>
                  <a:lnTo>
                    <a:pt x="91" y="23"/>
                  </a:lnTo>
                  <a:lnTo>
                    <a:pt x="89" y="23"/>
                  </a:lnTo>
                  <a:lnTo>
                    <a:pt x="86" y="21"/>
                  </a:lnTo>
                  <a:lnTo>
                    <a:pt x="82" y="23"/>
                  </a:lnTo>
                  <a:lnTo>
                    <a:pt x="80" y="23"/>
                  </a:lnTo>
                  <a:lnTo>
                    <a:pt x="78" y="25"/>
                  </a:lnTo>
                  <a:lnTo>
                    <a:pt x="74" y="27"/>
                  </a:lnTo>
                  <a:lnTo>
                    <a:pt x="72" y="29"/>
                  </a:lnTo>
                  <a:lnTo>
                    <a:pt x="72" y="33"/>
                  </a:lnTo>
                  <a:lnTo>
                    <a:pt x="68" y="33"/>
                  </a:lnTo>
                  <a:lnTo>
                    <a:pt x="66" y="33"/>
                  </a:lnTo>
                  <a:lnTo>
                    <a:pt x="65" y="33"/>
                  </a:lnTo>
                  <a:lnTo>
                    <a:pt x="63" y="35"/>
                  </a:lnTo>
                  <a:lnTo>
                    <a:pt x="61" y="35"/>
                  </a:lnTo>
                  <a:lnTo>
                    <a:pt x="61" y="33"/>
                  </a:lnTo>
                  <a:lnTo>
                    <a:pt x="57" y="35"/>
                  </a:lnTo>
                  <a:lnTo>
                    <a:pt x="53" y="37"/>
                  </a:lnTo>
                  <a:lnTo>
                    <a:pt x="47" y="39"/>
                  </a:lnTo>
                  <a:lnTo>
                    <a:pt x="40" y="40"/>
                  </a:lnTo>
                  <a:lnTo>
                    <a:pt x="34" y="44"/>
                  </a:lnTo>
                  <a:lnTo>
                    <a:pt x="28" y="46"/>
                  </a:lnTo>
                  <a:lnTo>
                    <a:pt x="23" y="48"/>
                  </a:lnTo>
                  <a:lnTo>
                    <a:pt x="21" y="52"/>
                  </a:lnTo>
                  <a:lnTo>
                    <a:pt x="21" y="56"/>
                  </a:lnTo>
                  <a:lnTo>
                    <a:pt x="21" y="58"/>
                  </a:lnTo>
                  <a:lnTo>
                    <a:pt x="19" y="61"/>
                  </a:lnTo>
                  <a:lnTo>
                    <a:pt x="19" y="65"/>
                  </a:lnTo>
                  <a:lnTo>
                    <a:pt x="19" y="69"/>
                  </a:lnTo>
                  <a:lnTo>
                    <a:pt x="17" y="71"/>
                  </a:lnTo>
                  <a:lnTo>
                    <a:pt x="15" y="75"/>
                  </a:lnTo>
                  <a:lnTo>
                    <a:pt x="13" y="77"/>
                  </a:lnTo>
                  <a:lnTo>
                    <a:pt x="11" y="79"/>
                  </a:lnTo>
                  <a:lnTo>
                    <a:pt x="9" y="81"/>
                  </a:lnTo>
                  <a:lnTo>
                    <a:pt x="7" y="81"/>
                  </a:lnTo>
                  <a:lnTo>
                    <a:pt x="5" y="82"/>
                  </a:lnTo>
                  <a:lnTo>
                    <a:pt x="4" y="86"/>
                  </a:lnTo>
                  <a:lnTo>
                    <a:pt x="4" y="88"/>
                  </a:lnTo>
                  <a:lnTo>
                    <a:pt x="2" y="92"/>
                  </a:lnTo>
                  <a:lnTo>
                    <a:pt x="2" y="96"/>
                  </a:lnTo>
                  <a:lnTo>
                    <a:pt x="2" y="102"/>
                  </a:lnTo>
                  <a:lnTo>
                    <a:pt x="4" y="105"/>
                  </a:lnTo>
                  <a:lnTo>
                    <a:pt x="5" y="107"/>
                  </a:lnTo>
                  <a:lnTo>
                    <a:pt x="9" y="111"/>
                  </a:lnTo>
                  <a:lnTo>
                    <a:pt x="11" y="113"/>
                  </a:lnTo>
                  <a:lnTo>
                    <a:pt x="13" y="117"/>
                  </a:lnTo>
                  <a:lnTo>
                    <a:pt x="15" y="123"/>
                  </a:lnTo>
                  <a:lnTo>
                    <a:pt x="15" y="128"/>
                  </a:lnTo>
                  <a:lnTo>
                    <a:pt x="15" y="136"/>
                  </a:lnTo>
                  <a:lnTo>
                    <a:pt x="13" y="143"/>
                  </a:lnTo>
                  <a:lnTo>
                    <a:pt x="9" y="151"/>
                  </a:lnTo>
                  <a:lnTo>
                    <a:pt x="7" y="157"/>
                  </a:lnTo>
                  <a:lnTo>
                    <a:pt x="4" y="163"/>
                  </a:lnTo>
                  <a:lnTo>
                    <a:pt x="2" y="168"/>
                  </a:lnTo>
                  <a:lnTo>
                    <a:pt x="0" y="176"/>
                  </a:lnTo>
                  <a:lnTo>
                    <a:pt x="0" y="185"/>
                  </a:lnTo>
                  <a:lnTo>
                    <a:pt x="0" y="187"/>
                  </a:lnTo>
                  <a:lnTo>
                    <a:pt x="0" y="191"/>
                  </a:lnTo>
                  <a:lnTo>
                    <a:pt x="0" y="195"/>
                  </a:lnTo>
                  <a:lnTo>
                    <a:pt x="0" y="199"/>
                  </a:lnTo>
                  <a:lnTo>
                    <a:pt x="0" y="203"/>
                  </a:lnTo>
                  <a:lnTo>
                    <a:pt x="0" y="206"/>
                  </a:lnTo>
                  <a:lnTo>
                    <a:pt x="2" y="208"/>
                  </a:lnTo>
                  <a:lnTo>
                    <a:pt x="2" y="210"/>
                  </a:lnTo>
                  <a:lnTo>
                    <a:pt x="5" y="212"/>
                  </a:lnTo>
                  <a:lnTo>
                    <a:pt x="9" y="212"/>
                  </a:lnTo>
                  <a:lnTo>
                    <a:pt x="13" y="212"/>
                  </a:lnTo>
                  <a:lnTo>
                    <a:pt x="15" y="216"/>
                  </a:lnTo>
                  <a:lnTo>
                    <a:pt x="13" y="220"/>
                  </a:lnTo>
                  <a:lnTo>
                    <a:pt x="13" y="222"/>
                  </a:lnTo>
                  <a:lnTo>
                    <a:pt x="13" y="226"/>
                  </a:lnTo>
                  <a:lnTo>
                    <a:pt x="11" y="227"/>
                  </a:lnTo>
                  <a:lnTo>
                    <a:pt x="9" y="229"/>
                  </a:lnTo>
                  <a:lnTo>
                    <a:pt x="9" y="231"/>
                  </a:lnTo>
                  <a:lnTo>
                    <a:pt x="9" y="235"/>
                  </a:lnTo>
                  <a:lnTo>
                    <a:pt x="7" y="239"/>
                  </a:lnTo>
                  <a:lnTo>
                    <a:pt x="9" y="239"/>
                  </a:lnTo>
                  <a:lnTo>
                    <a:pt x="9" y="241"/>
                  </a:lnTo>
                  <a:lnTo>
                    <a:pt x="11" y="243"/>
                  </a:lnTo>
                  <a:lnTo>
                    <a:pt x="13" y="243"/>
                  </a:lnTo>
                  <a:lnTo>
                    <a:pt x="17" y="239"/>
                  </a:lnTo>
                  <a:lnTo>
                    <a:pt x="19" y="235"/>
                  </a:lnTo>
                  <a:lnTo>
                    <a:pt x="23" y="231"/>
                  </a:lnTo>
                  <a:lnTo>
                    <a:pt x="26" y="226"/>
                  </a:lnTo>
                  <a:lnTo>
                    <a:pt x="30" y="222"/>
                  </a:lnTo>
                  <a:lnTo>
                    <a:pt x="34" y="220"/>
                  </a:lnTo>
                  <a:lnTo>
                    <a:pt x="38" y="218"/>
                  </a:lnTo>
                  <a:lnTo>
                    <a:pt x="44" y="216"/>
                  </a:lnTo>
                  <a:lnTo>
                    <a:pt x="49" y="218"/>
                  </a:lnTo>
                  <a:lnTo>
                    <a:pt x="53" y="220"/>
                  </a:lnTo>
                  <a:lnTo>
                    <a:pt x="59" y="222"/>
                  </a:lnTo>
                  <a:lnTo>
                    <a:pt x="65" y="226"/>
                  </a:lnTo>
                  <a:lnTo>
                    <a:pt x="70" y="229"/>
                  </a:lnTo>
                  <a:lnTo>
                    <a:pt x="76" y="231"/>
                  </a:lnTo>
                  <a:lnTo>
                    <a:pt x="80" y="233"/>
                  </a:lnTo>
                  <a:lnTo>
                    <a:pt x="84" y="235"/>
                  </a:lnTo>
                  <a:lnTo>
                    <a:pt x="86" y="235"/>
                  </a:lnTo>
                  <a:lnTo>
                    <a:pt x="87" y="233"/>
                  </a:lnTo>
                  <a:lnTo>
                    <a:pt x="89" y="231"/>
                  </a:lnTo>
                  <a:lnTo>
                    <a:pt x="91" y="229"/>
                  </a:lnTo>
                  <a:lnTo>
                    <a:pt x="93" y="227"/>
                  </a:lnTo>
                  <a:lnTo>
                    <a:pt x="97" y="226"/>
                  </a:lnTo>
                  <a:lnTo>
                    <a:pt x="99" y="224"/>
                  </a:lnTo>
                  <a:lnTo>
                    <a:pt x="105" y="224"/>
                  </a:lnTo>
                  <a:lnTo>
                    <a:pt x="107" y="224"/>
                  </a:lnTo>
                  <a:lnTo>
                    <a:pt x="108" y="224"/>
                  </a:lnTo>
                  <a:lnTo>
                    <a:pt x="110" y="226"/>
                  </a:lnTo>
                  <a:lnTo>
                    <a:pt x="112" y="226"/>
                  </a:lnTo>
                  <a:lnTo>
                    <a:pt x="114" y="227"/>
                  </a:lnTo>
                  <a:lnTo>
                    <a:pt x="118" y="227"/>
                  </a:lnTo>
                  <a:lnTo>
                    <a:pt x="120" y="227"/>
                  </a:lnTo>
                  <a:lnTo>
                    <a:pt x="122" y="229"/>
                  </a:lnTo>
                  <a:lnTo>
                    <a:pt x="122" y="231"/>
                  </a:lnTo>
                  <a:lnTo>
                    <a:pt x="126" y="233"/>
                  </a:lnTo>
                  <a:lnTo>
                    <a:pt x="128" y="235"/>
                  </a:lnTo>
                  <a:lnTo>
                    <a:pt x="131" y="237"/>
                  </a:lnTo>
                  <a:lnTo>
                    <a:pt x="135" y="233"/>
                  </a:lnTo>
                  <a:lnTo>
                    <a:pt x="137" y="229"/>
                  </a:lnTo>
                  <a:lnTo>
                    <a:pt x="141" y="226"/>
                  </a:lnTo>
                  <a:lnTo>
                    <a:pt x="147" y="222"/>
                  </a:lnTo>
                  <a:lnTo>
                    <a:pt x="149" y="218"/>
                  </a:lnTo>
                  <a:lnTo>
                    <a:pt x="152" y="212"/>
                  </a:lnTo>
                  <a:lnTo>
                    <a:pt x="156" y="206"/>
                  </a:lnTo>
                  <a:lnTo>
                    <a:pt x="156" y="201"/>
                  </a:lnTo>
                  <a:lnTo>
                    <a:pt x="110" y="201"/>
                  </a:lnTo>
                  <a:lnTo>
                    <a:pt x="112" y="197"/>
                  </a:lnTo>
                  <a:lnTo>
                    <a:pt x="116" y="193"/>
                  </a:lnTo>
                  <a:lnTo>
                    <a:pt x="120" y="189"/>
                  </a:lnTo>
                  <a:lnTo>
                    <a:pt x="126" y="187"/>
                  </a:lnTo>
                  <a:lnTo>
                    <a:pt x="129" y="184"/>
                  </a:lnTo>
                  <a:lnTo>
                    <a:pt x="135" y="182"/>
                  </a:lnTo>
                  <a:lnTo>
                    <a:pt x="139" y="178"/>
                  </a:lnTo>
                  <a:lnTo>
                    <a:pt x="143" y="172"/>
                  </a:lnTo>
                  <a:lnTo>
                    <a:pt x="145" y="168"/>
                  </a:lnTo>
                  <a:lnTo>
                    <a:pt x="147" y="164"/>
                  </a:lnTo>
                  <a:lnTo>
                    <a:pt x="149" y="161"/>
                  </a:lnTo>
                  <a:lnTo>
                    <a:pt x="150" y="157"/>
                  </a:lnTo>
                  <a:lnTo>
                    <a:pt x="152" y="153"/>
                  </a:lnTo>
                  <a:lnTo>
                    <a:pt x="156" y="147"/>
                  </a:lnTo>
                  <a:lnTo>
                    <a:pt x="158" y="143"/>
                  </a:lnTo>
                  <a:lnTo>
                    <a:pt x="160" y="140"/>
                  </a:lnTo>
                  <a:lnTo>
                    <a:pt x="162" y="136"/>
                  </a:lnTo>
                  <a:lnTo>
                    <a:pt x="164" y="132"/>
                  </a:lnTo>
                  <a:lnTo>
                    <a:pt x="166" y="128"/>
                  </a:lnTo>
                  <a:lnTo>
                    <a:pt x="169" y="123"/>
                  </a:lnTo>
                  <a:lnTo>
                    <a:pt x="171" y="119"/>
                  </a:lnTo>
                  <a:lnTo>
                    <a:pt x="175" y="115"/>
                  </a:lnTo>
                  <a:lnTo>
                    <a:pt x="177" y="109"/>
                  </a:lnTo>
                  <a:lnTo>
                    <a:pt x="179" y="105"/>
                  </a:lnTo>
                  <a:lnTo>
                    <a:pt x="185" y="111"/>
                  </a:lnTo>
                  <a:close/>
                </a:path>
              </a:pathLst>
            </a:custGeom>
            <a:solidFill>
              <a:schemeClr val="accent2"/>
            </a:solidFill>
            <a:ln w="9525" cap="flat" cmpd="sng">
              <a:solidFill>
                <a:srgbClr val="808080"/>
              </a:solidFill>
              <a:prstDash val="solid"/>
              <a:round/>
              <a:headEnd type="none" w="med" len="med"/>
              <a:tailEnd type="none" w="med" len="med"/>
            </a:ln>
            <a:effectLst/>
          </p:spPr>
          <p:txBody>
            <a:bodyPr/>
            <a:lstStyle/>
            <a:p>
              <a:endParaRPr lang="en-US" dirty="0">
                <a:solidFill>
                  <a:srgbClr val="000000"/>
                </a:solidFill>
                <a:latin typeface="Arial" charset="0"/>
              </a:endParaRPr>
            </a:p>
          </p:txBody>
        </p:sp>
        <p:sp>
          <p:nvSpPr>
            <p:cNvPr id="608518" name="Rectangle 262"/>
            <p:cNvSpPr>
              <a:spLocks noChangeArrowheads="1"/>
            </p:cNvSpPr>
            <p:nvPr/>
          </p:nvSpPr>
          <p:spPr bwMode="gray">
            <a:xfrm>
              <a:off x="2268" y="1144"/>
              <a:ext cx="136"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19" name="Rectangle 263"/>
            <p:cNvSpPr>
              <a:spLocks noChangeArrowheads="1"/>
            </p:cNvSpPr>
            <p:nvPr/>
          </p:nvSpPr>
          <p:spPr bwMode="gray">
            <a:xfrm>
              <a:off x="1620" y="1088"/>
              <a:ext cx="176"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0" name="Rectangle 264"/>
            <p:cNvSpPr>
              <a:spLocks noChangeArrowheads="1"/>
            </p:cNvSpPr>
            <p:nvPr/>
          </p:nvSpPr>
          <p:spPr bwMode="gray">
            <a:xfrm>
              <a:off x="1324" y="876"/>
              <a:ext cx="216"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1" name="Rectangle 265"/>
            <p:cNvSpPr>
              <a:spLocks noChangeArrowheads="1"/>
            </p:cNvSpPr>
            <p:nvPr/>
          </p:nvSpPr>
          <p:spPr bwMode="gray">
            <a:xfrm>
              <a:off x="988" y="1432"/>
              <a:ext cx="264"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2" name="Rectangle 266"/>
            <p:cNvSpPr>
              <a:spLocks noChangeArrowheads="1"/>
            </p:cNvSpPr>
            <p:nvPr/>
          </p:nvSpPr>
          <p:spPr bwMode="gray">
            <a:xfrm>
              <a:off x="2748" y="1166"/>
              <a:ext cx="144"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3" name="Rectangle 267"/>
            <p:cNvSpPr>
              <a:spLocks noChangeArrowheads="1"/>
            </p:cNvSpPr>
            <p:nvPr/>
          </p:nvSpPr>
          <p:spPr bwMode="gray">
            <a:xfrm>
              <a:off x="2332" y="1632"/>
              <a:ext cx="136"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4" name="Rectangle 268"/>
            <p:cNvSpPr>
              <a:spLocks noChangeArrowheads="1"/>
            </p:cNvSpPr>
            <p:nvPr/>
          </p:nvSpPr>
          <p:spPr bwMode="gray">
            <a:xfrm>
              <a:off x="1948" y="1544"/>
              <a:ext cx="136"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5" name="Rectangle 269"/>
            <p:cNvSpPr>
              <a:spLocks noChangeArrowheads="1"/>
            </p:cNvSpPr>
            <p:nvPr/>
          </p:nvSpPr>
          <p:spPr bwMode="gray">
            <a:xfrm>
              <a:off x="2852" y="1520"/>
              <a:ext cx="184"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6" name="Rectangle 270"/>
            <p:cNvSpPr>
              <a:spLocks noChangeArrowheads="1"/>
            </p:cNvSpPr>
            <p:nvPr/>
          </p:nvSpPr>
          <p:spPr bwMode="gray">
            <a:xfrm>
              <a:off x="2664" y="1804"/>
              <a:ext cx="372" cy="134"/>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7" name="Rectangle 271"/>
            <p:cNvSpPr>
              <a:spLocks noChangeArrowheads="1"/>
            </p:cNvSpPr>
            <p:nvPr/>
          </p:nvSpPr>
          <p:spPr bwMode="gray">
            <a:xfrm>
              <a:off x="1852" y="1880"/>
              <a:ext cx="176"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8" name="Rectangle 272"/>
            <p:cNvSpPr>
              <a:spLocks noChangeArrowheads="1"/>
            </p:cNvSpPr>
            <p:nvPr/>
          </p:nvSpPr>
          <p:spPr bwMode="gray">
            <a:xfrm>
              <a:off x="1484" y="1512"/>
              <a:ext cx="104"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29" name="Rectangle 273"/>
            <p:cNvSpPr>
              <a:spLocks noChangeArrowheads="1"/>
            </p:cNvSpPr>
            <p:nvPr/>
          </p:nvSpPr>
          <p:spPr bwMode="gray">
            <a:xfrm>
              <a:off x="1956" y="2112"/>
              <a:ext cx="264"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0" name="Rectangle 274"/>
            <p:cNvSpPr>
              <a:spLocks noChangeArrowheads="1"/>
            </p:cNvSpPr>
            <p:nvPr/>
          </p:nvSpPr>
          <p:spPr bwMode="gray">
            <a:xfrm>
              <a:off x="3220" y="1936"/>
              <a:ext cx="236"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1" name="Rectangle 275"/>
            <p:cNvSpPr>
              <a:spLocks noChangeArrowheads="1"/>
            </p:cNvSpPr>
            <p:nvPr/>
          </p:nvSpPr>
          <p:spPr bwMode="gray">
            <a:xfrm>
              <a:off x="3572" y="1880"/>
              <a:ext cx="228"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2" name="Rectangle 276"/>
            <p:cNvSpPr>
              <a:spLocks noChangeArrowheads="1"/>
            </p:cNvSpPr>
            <p:nvPr/>
          </p:nvSpPr>
          <p:spPr bwMode="gray">
            <a:xfrm>
              <a:off x="956" y="1832"/>
              <a:ext cx="204"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3" name="Rectangle 277"/>
            <p:cNvSpPr>
              <a:spLocks noChangeArrowheads="1"/>
            </p:cNvSpPr>
            <p:nvPr/>
          </p:nvSpPr>
          <p:spPr bwMode="gray">
            <a:xfrm>
              <a:off x="2572" y="2264"/>
              <a:ext cx="128"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4" name="Rectangle 278"/>
            <p:cNvSpPr>
              <a:spLocks noChangeArrowheads="1"/>
            </p:cNvSpPr>
            <p:nvPr/>
          </p:nvSpPr>
          <p:spPr bwMode="gray">
            <a:xfrm>
              <a:off x="2940" y="2204"/>
              <a:ext cx="208"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5" name="Rectangle 279"/>
            <p:cNvSpPr>
              <a:spLocks noChangeArrowheads="1"/>
            </p:cNvSpPr>
            <p:nvPr/>
          </p:nvSpPr>
          <p:spPr bwMode="gray">
            <a:xfrm>
              <a:off x="1980" y="2352"/>
              <a:ext cx="168"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6" name="Rectangle 280"/>
            <p:cNvSpPr>
              <a:spLocks noChangeArrowheads="1"/>
            </p:cNvSpPr>
            <p:nvPr/>
          </p:nvSpPr>
          <p:spPr bwMode="gray">
            <a:xfrm>
              <a:off x="3184" y="2292"/>
              <a:ext cx="160"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7" name="Rectangle 281"/>
            <p:cNvSpPr>
              <a:spLocks noChangeArrowheads="1"/>
            </p:cNvSpPr>
            <p:nvPr/>
          </p:nvSpPr>
          <p:spPr bwMode="gray">
            <a:xfrm>
              <a:off x="2100" y="2472"/>
              <a:ext cx="180"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8" name="Rectangle 282"/>
            <p:cNvSpPr>
              <a:spLocks noChangeArrowheads="1"/>
            </p:cNvSpPr>
            <p:nvPr/>
          </p:nvSpPr>
          <p:spPr bwMode="gray">
            <a:xfrm>
              <a:off x="2596" y="2400"/>
              <a:ext cx="208"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39" name="Rectangle 283"/>
            <p:cNvSpPr>
              <a:spLocks noChangeArrowheads="1"/>
            </p:cNvSpPr>
            <p:nvPr/>
          </p:nvSpPr>
          <p:spPr bwMode="gray">
            <a:xfrm>
              <a:off x="3020" y="2600"/>
              <a:ext cx="232"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40" name="Rectangle 284"/>
            <p:cNvSpPr>
              <a:spLocks noChangeArrowheads="1"/>
            </p:cNvSpPr>
            <p:nvPr/>
          </p:nvSpPr>
          <p:spPr bwMode="gray">
            <a:xfrm>
              <a:off x="2236" y="2840"/>
              <a:ext cx="176"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41" name="Rectangle 285"/>
            <p:cNvSpPr>
              <a:spLocks noChangeArrowheads="1"/>
            </p:cNvSpPr>
            <p:nvPr/>
          </p:nvSpPr>
          <p:spPr bwMode="gray">
            <a:xfrm>
              <a:off x="2604" y="2960"/>
              <a:ext cx="228"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42" name="Rectangle 286"/>
            <p:cNvSpPr>
              <a:spLocks noChangeArrowheads="1"/>
            </p:cNvSpPr>
            <p:nvPr/>
          </p:nvSpPr>
          <p:spPr bwMode="gray">
            <a:xfrm>
              <a:off x="2596" y="2480"/>
              <a:ext cx="192"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43" name="Rectangle 287"/>
            <p:cNvSpPr>
              <a:spLocks noChangeArrowheads="1"/>
            </p:cNvSpPr>
            <p:nvPr/>
          </p:nvSpPr>
          <p:spPr bwMode="gray">
            <a:xfrm>
              <a:off x="2516" y="3280"/>
              <a:ext cx="248"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44" name="Rectangle 288"/>
            <p:cNvSpPr>
              <a:spLocks noChangeArrowheads="1"/>
            </p:cNvSpPr>
            <p:nvPr/>
          </p:nvSpPr>
          <p:spPr bwMode="gray">
            <a:xfrm>
              <a:off x="2748" y="3152"/>
              <a:ext cx="280"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45" name="Rectangle 289"/>
            <p:cNvSpPr>
              <a:spLocks noChangeArrowheads="1"/>
            </p:cNvSpPr>
            <p:nvPr/>
          </p:nvSpPr>
          <p:spPr bwMode="gray">
            <a:xfrm>
              <a:off x="2220" y="3208"/>
              <a:ext cx="208"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sp>
          <p:nvSpPr>
            <p:cNvPr id="608546" name="Rectangle 290"/>
            <p:cNvSpPr>
              <a:spLocks noChangeArrowheads="1"/>
            </p:cNvSpPr>
            <p:nvPr/>
          </p:nvSpPr>
          <p:spPr bwMode="gray">
            <a:xfrm>
              <a:off x="2472" y="3539"/>
              <a:ext cx="364" cy="67"/>
            </a:xfrm>
            <a:prstGeom prst="rect">
              <a:avLst/>
            </a:prstGeom>
            <a:no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grpSp>
          <p:nvGrpSpPr>
            <p:cNvPr id="10" name="Group 291"/>
            <p:cNvGrpSpPr>
              <a:grpSpLocks/>
            </p:cNvGrpSpPr>
            <p:nvPr/>
          </p:nvGrpSpPr>
          <p:grpSpPr bwMode="auto">
            <a:xfrm>
              <a:off x="266" y="1621"/>
              <a:ext cx="278" cy="294"/>
              <a:chOff x="1944" y="2777"/>
              <a:chExt cx="975" cy="1033"/>
            </a:xfrm>
          </p:grpSpPr>
          <p:sp>
            <p:nvSpPr>
              <p:cNvPr id="608548" name="Freeform 292"/>
              <p:cNvSpPr>
                <a:spLocks/>
              </p:cNvSpPr>
              <p:nvPr/>
            </p:nvSpPr>
            <p:spPr bwMode="auto">
              <a:xfrm>
                <a:off x="2129" y="2990"/>
                <a:ext cx="52" cy="63"/>
              </a:xfrm>
              <a:custGeom>
                <a:avLst/>
                <a:gdLst/>
                <a:ahLst/>
                <a:cxnLst>
                  <a:cxn ang="0">
                    <a:pos x="7" y="0"/>
                  </a:cxn>
                  <a:cxn ang="0">
                    <a:pos x="18" y="16"/>
                  </a:cxn>
                  <a:cxn ang="0">
                    <a:pos x="33" y="28"/>
                  </a:cxn>
                  <a:cxn ang="0">
                    <a:pos x="33" y="45"/>
                  </a:cxn>
                  <a:cxn ang="0">
                    <a:pos x="52" y="63"/>
                  </a:cxn>
                  <a:cxn ang="0">
                    <a:pos x="27" y="48"/>
                  </a:cxn>
                  <a:cxn ang="0">
                    <a:pos x="27" y="33"/>
                  </a:cxn>
                  <a:cxn ang="0">
                    <a:pos x="13" y="19"/>
                  </a:cxn>
                  <a:cxn ang="0">
                    <a:pos x="0" y="9"/>
                  </a:cxn>
                  <a:cxn ang="0">
                    <a:pos x="7" y="0"/>
                  </a:cxn>
                </a:cxnLst>
                <a:rect l="0" t="0" r="r" b="b"/>
                <a:pathLst>
                  <a:path w="52" h="63">
                    <a:moveTo>
                      <a:pt x="7" y="0"/>
                    </a:moveTo>
                    <a:lnTo>
                      <a:pt x="18" y="16"/>
                    </a:lnTo>
                    <a:lnTo>
                      <a:pt x="33" y="28"/>
                    </a:lnTo>
                    <a:lnTo>
                      <a:pt x="33" y="45"/>
                    </a:lnTo>
                    <a:lnTo>
                      <a:pt x="52" y="63"/>
                    </a:lnTo>
                    <a:lnTo>
                      <a:pt x="27" y="48"/>
                    </a:lnTo>
                    <a:lnTo>
                      <a:pt x="27" y="33"/>
                    </a:lnTo>
                    <a:lnTo>
                      <a:pt x="13" y="19"/>
                    </a:lnTo>
                    <a:lnTo>
                      <a:pt x="0" y="9"/>
                    </a:lnTo>
                    <a:lnTo>
                      <a:pt x="7" y="0"/>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grpSp>
            <p:nvGrpSpPr>
              <p:cNvPr id="11" name="Group 293"/>
              <p:cNvGrpSpPr>
                <a:grpSpLocks/>
              </p:cNvGrpSpPr>
              <p:nvPr/>
            </p:nvGrpSpPr>
            <p:grpSpPr bwMode="auto">
              <a:xfrm>
                <a:off x="1944" y="2777"/>
                <a:ext cx="975" cy="1033"/>
                <a:chOff x="1944" y="2777"/>
                <a:chExt cx="975" cy="1033"/>
              </a:xfrm>
            </p:grpSpPr>
            <p:sp>
              <p:nvSpPr>
                <p:cNvPr id="608550" name="Freeform 294"/>
                <p:cNvSpPr>
                  <a:spLocks/>
                </p:cNvSpPr>
                <p:nvPr/>
              </p:nvSpPr>
              <p:spPr bwMode="auto">
                <a:xfrm>
                  <a:off x="1944" y="2777"/>
                  <a:ext cx="168" cy="174"/>
                </a:xfrm>
                <a:custGeom>
                  <a:avLst/>
                  <a:gdLst/>
                  <a:ahLst/>
                  <a:cxnLst>
                    <a:cxn ang="0">
                      <a:pos x="33" y="162"/>
                    </a:cxn>
                    <a:cxn ang="0">
                      <a:pos x="33" y="150"/>
                    </a:cxn>
                    <a:cxn ang="0">
                      <a:pos x="23" y="139"/>
                    </a:cxn>
                    <a:cxn ang="0">
                      <a:pos x="26" y="117"/>
                    </a:cxn>
                    <a:cxn ang="0">
                      <a:pos x="0" y="108"/>
                    </a:cxn>
                    <a:cxn ang="0">
                      <a:pos x="21" y="88"/>
                    </a:cxn>
                    <a:cxn ang="0">
                      <a:pos x="68" y="36"/>
                    </a:cxn>
                    <a:cxn ang="0">
                      <a:pos x="86" y="30"/>
                    </a:cxn>
                    <a:cxn ang="0">
                      <a:pos x="102" y="0"/>
                    </a:cxn>
                    <a:cxn ang="0">
                      <a:pos x="110" y="25"/>
                    </a:cxn>
                    <a:cxn ang="0">
                      <a:pos x="119" y="30"/>
                    </a:cxn>
                    <a:cxn ang="0">
                      <a:pos x="119" y="43"/>
                    </a:cxn>
                    <a:cxn ang="0">
                      <a:pos x="156" y="72"/>
                    </a:cxn>
                    <a:cxn ang="0">
                      <a:pos x="168" y="84"/>
                    </a:cxn>
                    <a:cxn ang="0">
                      <a:pos x="134" y="100"/>
                    </a:cxn>
                    <a:cxn ang="0">
                      <a:pos x="123" y="115"/>
                    </a:cxn>
                    <a:cxn ang="0">
                      <a:pos x="114" y="129"/>
                    </a:cxn>
                    <a:cxn ang="0">
                      <a:pos x="108" y="147"/>
                    </a:cxn>
                    <a:cxn ang="0">
                      <a:pos x="83" y="154"/>
                    </a:cxn>
                    <a:cxn ang="0">
                      <a:pos x="78" y="174"/>
                    </a:cxn>
                    <a:cxn ang="0">
                      <a:pos x="33" y="162"/>
                    </a:cxn>
                  </a:cxnLst>
                  <a:rect l="0" t="0" r="r" b="b"/>
                  <a:pathLst>
                    <a:path w="168" h="174">
                      <a:moveTo>
                        <a:pt x="33" y="162"/>
                      </a:moveTo>
                      <a:lnTo>
                        <a:pt x="33" y="150"/>
                      </a:lnTo>
                      <a:lnTo>
                        <a:pt x="23" y="139"/>
                      </a:lnTo>
                      <a:lnTo>
                        <a:pt x="26" y="117"/>
                      </a:lnTo>
                      <a:lnTo>
                        <a:pt x="0" y="108"/>
                      </a:lnTo>
                      <a:lnTo>
                        <a:pt x="21" y="88"/>
                      </a:lnTo>
                      <a:lnTo>
                        <a:pt x="68" y="36"/>
                      </a:lnTo>
                      <a:lnTo>
                        <a:pt x="86" y="30"/>
                      </a:lnTo>
                      <a:lnTo>
                        <a:pt x="102" y="0"/>
                      </a:lnTo>
                      <a:lnTo>
                        <a:pt x="110" y="25"/>
                      </a:lnTo>
                      <a:lnTo>
                        <a:pt x="119" y="30"/>
                      </a:lnTo>
                      <a:lnTo>
                        <a:pt x="119" y="43"/>
                      </a:lnTo>
                      <a:lnTo>
                        <a:pt x="156" y="72"/>
                      </a:lnTo>
                      <a:lnTo>
                        <a:pt x="168" y="84"/>
                      </a:lnTo>
                      <a:lnTo>
                        <a:pt x="134" y="100"/>
                      </a:lnTo>
                      <a:lnTo>
                        <a:pt x="123" y="115"/>
                      </a:lnTo>
                      <a:lnTo>
                        <a:pt x="114" y="129"/>
                      </a:lnTo>
                      <a:lnTo>
                        <a:pt x="108" y="147"/>
                      </a:lnTo>
                      <a:lnTo>
                        <a:pt x="83" y="154"/>
                      </a:lnTo>
                      <a:lnTo>
                        <a:pt x="78" y="174"/>
                      </a:lnTo>
                      <a:lnTo>
                        <a:pt x="33" y="162"/>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551" name="Freeform 295"/>
                <p:cNvSpPr>
                  <a:spLocks/>
                </p:cNvSpPr>
                <p:nvPr/>
              </p:nvSpPr>
              <p:spPr bwMode="auto">
                <a:xfrm>
                  <a:off x="2049" y="2951"/>
                  <a:ext cx="87" cy="57"/>
                </a:xfrm>
                <a:custGeom>
                  <a:avLst/>
                  <a:gdLst/>
                  <a:ahLst/>
                  <a:cxnLst>
                    <a:cxn ang="0">
                      <a:pos x="0" y="39"/>
                    </a:cxn>
                    <a:cxn ang="0">
                      <a:pos x="6" y="25"/>
                    </a:cxn>
                    <a:cxn ang="0">
                      <a:pos x="20" y="25"/>
                    </a:cxn>
                    <a:cxn ang="0">
                      <a:pos x="29" y="10"/>
                    </a:cxn>
                    <a:cxn ang="0">
                      <a:pos x="45" y="0"/>
                    </a:cxn>
                    <a:cxn ang="0">
                      <a:pos x="65" y="24"/>
                    </a:cxn>
                    <a:cxn ang="0">
                      <a:pos x="87" y="34"/>
                    </a:cxn>
                    <a:cxn ang="0">
                      <a:pos x="68" y="45"/>
                    </a:cxn>
                    <a:cxn ang="0">
                      <a:pos x="59" y="57"/>
                    </a:cxn>
                    <a:cxn ang="0">
                      <a:pos x="33" y="57"/>
                    </a:cxn>
                    <a:cxn ang="0">
                      <a:pos x="14" y="57"/>
                    </a:cxn>
                    <a:cxn ang="0">
                      <a:pos x="0" y="39"/>
                    </a:cxn>
                  </a:cxnLst>
                  <a:rect l="0" t="0" r="r" b="b"/>
                  <a:pathLst>
                    <a:path w="87" h="57">
                      <a:moveTo>
                        <a:pt x="0" y="39"/>
                      </a:moveTo>
                      <a:lnTo>
                        <a:pt x="6" y="25"/>
                      </a:lnTo>
                      <a:lnTo>
                        <a:pt x="20" y="25"/>
                      </a:lnTo>
                      <a:lnTo>
                        <a:pt x="29" y="10"/>
                      </a:lnTo>
                      <a:lnTo>
                        <a:pt x="45" y="0"/>
                      </a:lnTo>
                      <a:lnTo>
                        <a:pt x="65" y="24"/>
                      </a:lnTo>
                      <a:lnTo>
                        <a:pt x="87" y="34"/>
                      </a:lnTo>
                      <a:lnTo>
                        <a:pt x="68" y="45"/>
                      </a:lnTo>
                      <a:lnTo>
                        <a:pt x="59" y="57"/>
                      </a:lnTo>
                      <a:lnTo>
                        <a:pt x="33" y="57"/>
                      </a:lnTo>
                      <a:lnTo>
                        <a:pt x="14" y="57"/>
                      </a:lnTo>
                      <a:lnTo>
                        <a:pt x="0" y="39"/>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552" name="Freeform 296"/>
                <p:cNvSpPr>
                  <a:spLocks/>
                </p:cNvSpPr>
                <p:nvPr/>
              </p:nvSpPr>
              <p:spPr bwMode="auto">
                <a:xfrm>
                  <a:off x="2190" y="3018"/>
                  <a:ext cx="167" cy="81"/>
                </a:xfrm>
                <a:custGeom>
                  <a:avLst/>
                  <a:gdLst/>
                  <a:ahLst/>
                  <a:cxnLst>
                    <a:cxn ang="0">
                      <a:pos x="0" y="23"/>
                    </a:cxn>
                    <a:cxn ang="0">
                      <a:pos x="30" y="0"/>
                    </a:cxn>
                    <a:cxn ang="0">
                      <a:pos x="48" y="12"/>
                    </a:cxn>
                    <a:cxn ang="0">
                      <a:pos x="72" y="27"/>
                    </a:cxn>
                    <a:cxn ang="0">
                      <a:pos x="78" y="50"/>
                    </a:cxn>
                    <a:cxn ang="0">
                      <a:pos x="138" y="50"/>
                    </a:cxn>
                    <a:cxn ang="0">
                      <a:pos x="167" y="56"/>
                    </a:cxn>
                    <a:cxn ang="0">
                      <a:pos x="150" y="66"/>
                    </a:cxn>
                    <a:cxn ang="0">
                      <a:pos x="101" y="60"/>
                    </a:cxn>
                    <a:cxn ang="0">
                      <a:pos x="92" y="66"/>
                    </a:cxn>
                    <a:cxn ang="0">
                      <a:pos x="71" y="57"/>
                    </a:cxn>
                    <a:cxn ang="0">
                      <a:pos x="47" y="81"/>
                    </a:cxn>
                    <a:cxn ang="0">
                      <a:pos x="45" y="47"/>
                    </a:cxn>
                    <a:cxn ang="0">
                      <a:pos x="29" y="47"/>
                    </a:cxn>
                    <a:cxn ang="0">
                      <a:pos x="15" y="48"/>
                    </a:cxn>
                    <a:cxn ang="0">
                      <a:pos x="0" y="23"/>
                    </a:cxn>
                  </a:cxnLst>
                  <a:rect l="0" t="0" r="r" b="b"/>
                  <a:pathLst>
                    <a:path w="167" h="81">
                      <a:moveTo>
                        <a:pt x="0" y="23"/>
                      </a:moveTo>
                      <a:lnTo>
                        <a:pt x="30" y="0"/>
                      </a:lnTo>
                      <a:lnTo>
                        <a:pt x="48" y="12"/>
                      </a:lnTo>
                      <a:lnTo>
                        <a:pt x="72" y="27"/>
                      </a:lnTo>
                      <a:lnTo>
                        <a:pt x="78" y="50"/>
                      </a:lnTo>
                      <a:lnTo>
                        <a:pt x="138" y="50"/>
                      </a:lnTo>
                      <a:lnTo>
                        <a:pt x="167" y="56"/>
                      </a:lnTo>
                      <a:lnTo>
                        <a:pt x="150" y="66"/>
                      </a:lnTo>
                      <a:lnTo>
                        <a:pt x="101" y="60"/>
                      </a:lnTo>
                      <a:lnTo>
                        <a:pt x="92" y="66"/>
                      </a:lnTo>
                      <a:lnTo>
                        <a:pt x="71" y="57"/>
                      </a:lnTo>
                      <a:lnTo>
                        <a:pt x="47" y="81"/>
                      </a:lnTo>
                      <a:lnTo>
                        <a:pt x="45" y="47"/>
                      </a:lnTo>
                      <a:lnTo>
                        <a:pt x="29" y="47"/>
                      </a:lnTo>
                      <a:lnTo>
                        <a:pt x="15" y="48"/>
                      </a:lnTo>
                      <a:lnTo>
                        <a:pt x="0" y="23"/>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553" name="Freeform 297"/>
                <p:cNvSpPr>
                  <a:spLocks/>
                </p:cNvSpPr>
                <p:nvPr/>
              </p:nvSpPr>
              <p:spPr bwMode="auto">
                <a:xfrm>
                  <a:off x="2796" y="2912"/>
                  <a:ext cx="45" cy="124"/>
                </a:xfrm>
                <a:custGeom>
                  <a:avLst/>
                  <a:gdLst/>
                  <a:ahLst/>
                  <a:cxnLst>
                    <a:cxn ang="0">
                      <a:pos x="42" y="124"/>
                    </a:cxn>
                    <a:cxn ang="0">
                      <a:pos x="17" y="94"/>
                    </a:cxn>
                    <a:cxn ang="0">
                      <a:pos x="3" y="61"/>
                    </a:cxn>
                    <a:cxn ang="0">
                      <a:pos x="0" y="31"/>
                    </a:cxn>
                    <a:cxn ang="0">
                      <a:pos x="3" y="4"/>
                    </a:cxn>
                    <a:cxn ang="0">
                      <a:pos x="29" y="0"/>
                    </a:cxn>
                    <a:cxn ang="0">
                      <a:pos x="35" y="22"/>
                    </a:cxn>
                    <a:cxn ang="0">
                      <a:pos x="45" y="49"/>
                    </a:cxn>
                    <a:cxn ang="0">
                      <a:pos x="38" y="73"/>
                    </a:cxn>
                    <a:cxn ang="0">
                      <a:pos x="42" y="124"/>
                    </a:cxn>
                  </a:cxnLst>
                  <a:rect l="0" t="0" r="r" b="b"/>
                  <a:pathLst>
                    <a:path w="45" h="124">
                      <a:moveTo>
                        <a:pt x="42" y="124"/>
                      </a:moveTo>
                      <a:lnTo>
                        <a:pt x="17" y="94"/>
                      </a:lnTo>
                      <a:lnTo>
                        <a:pt x="3" y="61"/>
                      </a:lnTo>
                      <a:lnTo>
                        <a:pt x="0" y="31"/>
                      </a:lnTo>
                      <a:lnTo>
                        <a:pt x="3" y="4"/>
                      </a:lnTo>
                      <a:lnTo>
                        <a:pt x="29" y="0"/>
                      </a:lnTo>
                      <a:lnTo>
                        <a:pt x="35" y="22"/>
                      </a:lnTo>
                      <a:lnTo>
                        <a:pt x="45" y="49"/>
                      </a:lnTo>
                      <a:lnTo>
                        <a:pt x="38" y="73"/>
                      </a:lnTo>
                      <a:lnTo>
                        <a:pt x="42" y="124"/>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554" name="Freeform 298"/>
                <p:cNvSpPr>
                  <a:spLocks/>
                </p:cNvSpPr>
                <p:nvPr/>
              </p:nvSpPr>
              <p:spPr bwMode="auto">
                <a:xfrm>
                  <a:off x="2783" y="3167"/>
                  <a:ext cx="136" cy="169"/>
                </a:xfrm>
                <a:custGeom>
                  <a:avLst/>
                  <a:gdLst/>
                  <a:ahLst/>
                  <a:cxnLst>
                    <a:cxn ang="0">
                      <a:pos x="0" y="132"/>
                    </a:cxn>
                    <a:cxn ang="0">
                      <a:pos x="10" y="97"/>
                    </a:cxn>
                    <a:cxn ang="0">
                      <a:pos x="18" y="88"/>
                    </a:cxn>
                    <a:cxn ang="0">
                      <a:pos x="18" y="58"/>
                    </a:cxn>
                    <a:cxn ang="0">
                      <a:pos x="16" y="19"/>
                    </a:cxn>
                    <a:cxn ang="0">
                      <a:pos x="24" y="9"/>
                    </a:cxn>
                    <a:cxn ang="0">
                      <a:pos x="36" y="18"/>
                    </a:cxn>
                    <a:cxn ang="0">
                      <a:pos x="63" y="0"/>
                    </a:cxn>
                    <a:cxn ang="0">
                      <a:pos x="96" y="7"/>
                    </a:cxn>
                    <a:cxn ang="0">
                      <a:pos x="87" y="30"/>
                    </a:cxn>
                    <a:cxn ang="0">
                      <a:pos x="124" y="61"/>
                    </a:cxn>
                    <a:cxn ang="0">
                      <a:pos x="136" y="75"/>
                    </a:cxn>
                    <a:cxn ang="0">
                      <a:pos x="117" y="94"/>
                    </a:cxn>
                    <a:cxn ang="0">
                      <a:pos x="117" y="105"/>
                    </a:cxn>
                    <a:cxn ang="0">
                      <a:pos x="96" y="129"/>
                    </a:cxn>
                    <a:cxn ang="0">
                      <a:pos x="97" y="153"/>
                    </a:cxn>
                    <a:cxn ang="0">
                      <a:pos x="73" y="169"/>
                    </a:cxn>
                    <a:cxn ang="0">
                      <a:pos x="34" y="156"/>
                    </a:cxn>
                    <a:cxn ang="0">
                      <a:pos x="0" y="132"/>
                    </a:cxn>
                  </a:cxnLst>
                  <a:rect l="0" t="0" r="r" b="b"/>
                  <a:pathLst>
                    <a:path w="136" h="169">
                      <a:moveTo>
                        <a:pt x="0" y="132"/>
                      </a:moveTo>
                      <a:lnTo>
                        <a:pt x="10" y="97"/>
                      </a:lnTo>
                      <a:lnTo>
                        <a:pt x="18" y="88"/>
                      </a:lnTo>
                      <a:lnTo>
                        <a:pt x="18" y="58"/>
                      </a:lnTo>
                      <a:lnTo>
                        <a:pt x="16" y="19"/>
                      </a:lnTo>
                      <a:lnTo>
                        <a:pt x="24" y="9"/>
                      </a:lnTo>
                      <a:lnTo>
                        <a:pt x="36" y="18"/>
                      </a:lnTo>
                      <a:lnTo>
                        <a:pt x="63" y="0"/>
                      </a:lnTo>
                      <a:lnTo>
                        <a:pt x="96" y="7"/>
                      </a:lnTo>
                      <a:lnTo>
                        <a:pt x="87" y="30"/>
                      </a:lnTo>
                      <a:lnTo>
                        <a:pt x="124" y="61"/>
                      </a:lnTo>
                      <a:lnTo>
                        <a:pt x="136" y="75"/>
                      </a:lnTo>
                      <a:lnTo>
                        <a:pt x="117" y="94"/>
                      </a:lnTo>
                      <a:lnTo>
                        <a:pt x="117" y="105"/>
                      </a:lnTo>
                      <a:lnTo>
                        <a:pt x="96" y="129"/>
                      </a:lnTo>
                      <a:lnTo>
                        <a:pt x="97" y="153"/>
                      </a:lnTo>
                      <a:lnTo>
                        <a:pt x="73" y="169"/>
                      </a:lnTo>
                      <a:lnTo>
                        <a:pt x="34" y="156"/>
                      </a:lnTo>
                      <a:lnTo>
                        <a:pt x="0" y="132"/>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555" name="Freeform 299"/>
                <p:cNvSpPr>
                  <a:spLocks/>
                </p:cNvSpPr>
                <p:nvPr/>
              </p:nvSpPr>
              <p:spPr bwMode="auto">
                <a:xfrm>
                  <a:off x="2183" y="3699"/>
                  <a:ext cx="82" cy="111"/>
                </a:xfrm>
                <a:custGeom>
                  <a:avLst/>
                  <a:gdLst/>
                  <a:ahLst/>
                  <a:cxnLst>
                    <a:cxn ang="0">
                      <a:pos x="0" y="72"/>
                    </a:cxn>
                    <a:cxn ang="0">
                      <a:pos x="7" y="47"/>
                    </a:cxn>
                    <a:cxn ang="0">
                      <a:pos x="7" y="18"/>
                    </a:cxn>
                    <a:cxn ang="0">
                      <a:pos x="31" y="0"/>
                    </a:cxn>
                    <a:cxn ang="0">
                      <a:pos x="64" y="0"/>
                    </a:cxn>
                    <a:cxn ang="0">
                      <a:pos x="76" y="8"/>
                    </a:cxn>
                    <a:cxn ang="0">
                      <a:pos x="76" y="42"/>
                    </a:cxn>
                    <a:cxn ang="0">
                      <a:pos x="82" y="62"/>
                    </a:cxn>
                    <a:cxn ang="0">
                      <a:pos x="78" y="93"/>
                    </a:cxn>
                    <a:cxn ang="0">
                      <a:pos x="48" y="111"/>
                    </a:cxn>
                    <a:cxn ang="0">
                      <a:pos x="0" y="72"/>
                    </a:cxn>
                  </a:cxnLst>
                  <a:rect l="0" t="0" r="r" b="b"/>
                  <a:pathLst>
                    <a:path w="82" h="111">
                      <a:moveTo>
                        <a:pt x="0" y="72"/>
                      </a:moveTo>
                      <a:lnTo>
                        <a:pt x="7" y="47"/>
                      </a:lnTo>
                      <a:lnTo>
                        <a:pt x="7" y="18"/>
                      </a:lnTo>
                      <a:lnTo>
                        <a:pt x="31" y="0"/>
                      </a:lnTo>
                      <a:lnTo>
                        <a:pt x="64" y="0"/>
                      </a:lnTo>
                      <a:lnTo>
                        <a:pt x="76" y="8"/>
                      </a:lnTo>
                      <a:lnTo>
                        <a:pt x="76" y="42"/>
                      </a:lnTo>
                      <a:lnTo>
                        <a:pt x="82" y="62"/>
                      </a:lnTo>
                      <a:lnTo>
                        <a:pt x="78" y="93"/>
                      </a:lnTo>
                      <a:lnTo>
                        <a:pt x="48" y="111"/>
                      </a:lnTo>
                      <a:lnTo>
                        <a:pt x="0" y="72"/>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556" name="Freeform 300"/>
                <p:cNvSpPr>
                  <a:spLocks/>
                </p:cNvSpPr>
                <p:nvPr/>
              </p:nvSpPr>
              <p:spPr bwMode="auto">
                <a:xfrm>
                  <a:off x="2120" y="3777"/>
                  <a:ext cx="21" cy="20"/>
                </a:xfrm>
                <a:custGeom>
                  <a:avLst/>
                  <a:gdLst/>
                  <a:ahLst/>
                  <a:cxnLst>
                    <a:cxn ang="0">
                      <a:pos x="10" y="0"/>
                    </a:cxn>
                    <a:cxn ang="0">
                      <a:pos x="0" y="15"/>
                    </a:cxn>
                    <a:cxn ang="0">
                      <a:pos x="9" y="20"/>
                    </a:cxn>
                    <a:cxn ang="0">
                      <a:pos x="21" y="14"/>
                    </a:cxn>
                    <a:cxn ang="0">
                      <a:pos x="10" y="0"/>
                    </a:cxn>
                  </a:cxnLst>
                  <a:rect l="0" t="0" r="r" b="b"/>
                  <a:pathLst>
                    <a:path w="21" h="20">
                      <a:moveTo>
                        <a:pt x="10" y="0"/>
                      </a:moveTo>
                      <a:lnTo>
                        <a:pt x="0" y="15"/>
                      </a:lnTo>
                      <a:lnTo>
                        <a:pt x="9" y="20"/>
                      </a:lnTo>
                      <a:lnTo>
                        <a:pt x="21" y="14"/>
                      </a:lnTo>
                      <a:lnTo>
                        <a:pt x="10" y="0"/>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557" name="Freeform 301"/>
                <p:cNvSpPr>
                  <a:spLocks/>
                </p:cNvSpPr>
                <p:nvPr/>
              </p:nvSpPr>
              <p:spPr bwMode="auto">
                <a:xfrm>
                  <a:off x="2405" y="3549"/>
                  <a:ext cx="159" cy="221"/>
                </a:xfrm>
                <a:custGeom>
                  <a:avLst/>
                  <a:gdLst/>
                  <a:ahLst/>
                  <a:cxnLst>
                    <a:cxn ang="0">
                      <a:pos x="16" y="0"/>
                    </a:cxn>
                    <a:cxn ang="0">
                      <a:pos x="10" y="21"/>
                    </a:cxn>
                    <a:cxn ang="0">
                      <a:pos x="0" y="32"/>
                    </a:cxn>
                    <a:cxn ang="0">
                      <a:pos x="16" y="54"/>
                    </a:cxn>
                    <a:cxn ang="0">
                      <a:pos x="16" y="86"/>
                    </a:cxn>
                    <a:cxn ang="0">
                      <a:pos x="3" y="108"/>
                    </a:cxn>
                    <a:cxn ang="0">
                      <a:pos x="19" y="137"/>
                    </a:cxn>
                    <a:cxn ang="0">
                      <a:pos x="51" y="168"/>
                    </a:cxn>
                    <a:cxn ang="0">
                      <a:pos x="55" y="204"/>
                    </a:cxn>
                    <a:cxn ang="0">
                      <a:pos x="85" y="204"/>
                    </a:cxn>
                    <a:cxn ang="0">
                      <a:pos x="109" y="221"/>
                    </a:cxn>
                    <a:cxn ang="0">
                      <a:pos x="130" y="216"/>
                    </a:cxn>
                    <a:cxn ang="0">
                      <a:pos x="138" y="185"/>
                    </a:cxn>
                    <a:cxn ang="0">
                      <a:pos x="157" y="179"/>
                    </a:cxn>
                    <a:cxn ang="0">
                      <a:pos x="159" y="137"/>
                    </a:cxn>
                    <a:cxn ang="0">
                      <a:pos x="118" y="105"/>
                    </a:cxn>
                    <a:cxn ang="0">
                      <a:pos x="102" y="74"/>
                    </a:cxn>
                    <a:cxn ang="0">
                      <a:pos x="87" y="74"/>
                    </a:cxn>
                    <a:cxn ang="0">
                      <a:pos x="67" y="51"/>
                    </a:cxn>
                    <a:cxn ang="0">
                      <a:pos x="48" y="29"/>
                    </a:cxn>
                    <a:cxn ang="0">
                      <a:pos x="34" y="35"/>
                    </a:cxn>
                    <a:cxn ang="0">
                      <a:pos x="16" y="0"/>
                    </a:cxn>
                  </a:cxnLst>
                  <a:rect l="0" t="0" r="r" b="b"/>
                  <a:pathLst>
                    <a:path w="159" h="221">
                      <a:moveTo>
                        <a:pt x="16" y="0"/>
                      </a:moveTo>
                      <a:lnTo>
                        <a:pt x="10" y="21"/>
                      </a:lnTo>
                      <a:lnTo>
                        <a:pt x="0" y="32"/>
                      </a:lnTo>
                      <a:lnTo>
                        <a:pt x="16" y="54"/>
                      </a:lnTo>
                      <a:lnTo>
                        <a:pt x="16" y="86"/>
                      </a:lnTo>
                      <a:lnTo>
                        <a:pt x="3" y="108"/>
                      </a:lnTo>
                      <a:lnTo>
                        <a:pt x="19" y="137"/>
                      </a:lnTo>
                      <a:lnTo>
                        <a:pt x="51" y="168"/>
                      </a:lnTo>
                      <a:lnTo>
                        <a:pt x="55" y="204"/>
                      </a:lnTo>
                      <a:lnTo>
                        <a:pt x="85" y="204"/>
                      </a:lnTo>
                      <a:lnTo>
                        <a:pt x="109" y="221"/>
                      </a:lnTo>
                      <a:lnTo>
                        <a:pt x="130" y="216"/>
                      </a:lnTo>
                      <a:lnTo>
                        <a:pt x="138" y="185"/>
                      </a:lnTo>
                      <a:lnTo>
                        <a:pt x="157" y="179"/>
                      </a:lnTo>
                      <a:lnTo>
                        <a:pt x="159" y="137"/>
                      </a:lnTo>
                      <a:lnTo>
                        <a:pt x="118" y="105"/>
                      </a:lnTo>
                      <a:lnTo>
                        <a:pt x="102" y="74"/>
                      </a:lnTo>
                      <a:lnTo>
                        <a:pt x="87" y="74"/>
                      </a:lnTo>
                      <a:lnTo>
                        <a:pt x="67" y="51"/>
                      </a:lnTo>
                      <a:lnTo>
                        <a:pt x="48" y="29"/>
                      </a:lnTo>
                      <a:lnTo>
                        <a:pt x="34" y="35"/>
                      </a:lnTo>
                      <a:lnTo>
                        <a:pt x="16" y="0"/>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sp>
              <p:nvSpPr>
                <p:cNvPr id="608558" name="Freeform 302"/>
                <p:cNvSpPr>
                  <a:spLocks/>
                </p:cNvSpPr>
                <p:nvPr/>
              </p:nvSpPr>
              <p:spPr bwMode="auto">
                <a:xfrm>
                  <a:off x="2607" y="3545"/>
                  <a:ext cx="60" cy="82"/>
                </a:xfrm>
                <a:custGeom>
                  <a:avLst/>
                  <a:gdLst/>
                  <a:ahLst/>
                  <a:cxnLst>
                    <a:cxn ang="0">
                      <a:pos x="14" y="0"/>
                    </a:cxn>
                    <a:cxn ang="0">
                      <a:pos x="2" y="15"/>
                    </a:cxn>
                    <a:cxn ang="0">
                      <a:pos x="12" y="27"/>
                    </a:cxn>
                    <a:cxn ang="0">
                      <a:pos x="8" y="42"/>
                    </a:cxn>
                    <a:cxn ang="0">
                      <a:pos x="20" y="54"/>
                    </a:cxn>
                    <a:cxn ang="0">
                      <a:pos x="0" y="67"/>
                    </a:cxn>
                    <a:cxn ang="0">
                      <a:pos x="29" y="82"/>
                    </a:cxn>
                    <a:cxn ang="0">
                      <a:pos x="48" y="76"/>
                    </a:cxn>
                    <a:cxn ang="0">
                      <a:pos x="60" y="54"/>
                    </a:cxn>
                    <a:cxn ang="0">
                      <a:pos x="60" y="36"/>
                    </a:cxn>
                    <a:cxn ang="0">
                      <a:pos x="48" y="25"/>
                    </a:cxn>
                    <a:cxn ang="0">
                      <a:pos x="39" y="13"/>
                    </a:cxn>
                    <a:cxn ang="0">
                      <a:pos x="39" y="1"/>
                    </a:cxn>
                    <a:cxn ang="0">
                      <a:pos x="27" y="7"/>
                    </a:cxn>
                    <a:cxn ang="0">
                      <a:pos x="14" y="0"/>
                    </a:cxn>
                  </a:cxnLst>
                  <a:rect l="0" t="0" r="r" b="b"/>
                  <a:pathLst>
                    <a:path w="60" h="82">
                      <a:moveTo>
                        <a:pt x="14" y="0"/>
                      </a:moveTo>
                      <a:lnTo>
                        <a:pt x="2" y="15"/>
                      </a:lnTo>
                      <a:lnTo>
                        <a:pt x="12" y="27"/>
                      </a:lnTo>
                      <a:lnTo>
                        <a:pt x="8" y="42"/>
                      </a:lnTo>
                      <a:lnTo>
                        <a:pt x="20" y="54"/>
                      </a:lnTo>
                      <a:lnTo>
                        <a:pt x="0" y="67"/>
                      </a:lnTo>
                      <a:lnTo>
                        <a:pt x="29" y="82"/>
                      </a:lnTo>
                      <a:lnTo>
                        <a:pt x="48" y="76"/>
                      </a:lnTo>
                      <a:lnTo>
                        <a:pt x="60" y="54"/>
                      </a:lnTo>
                      <a:lnTo>
                        <a:pt x="60" y="36"/>
                      </a:lnTo>
                      <a:lnTo>
                        <a:pt x="48" y="25"/>
                      </a:lnTo>
                      <a:lnTo>
                        <a:pt x="39" y="13"/>
                      </a:lnTo>
                      <a:lnTo>
                        <a:pt x="39" y="1"/>
                      </a:lnTo>
                      <a:lnTo>
                        <a:pt x="27" y="7"/>
                      </a:lnTo>
                      <a:lnTo>
                        <a:pt x="14" y="0"/>
                      </a:lnTo>
                      <a:close/>
                    </a:path>
                  </a:pathLst>
                </a:custGeom>
                <a:solidFill>
                  <a:schemeClr val="accent2"/>
                </a:solidFill>
                <a:ln w="9525">
                  <a:solidFill>
                    <a:srgbClr val="808080"/>
                  </a:solidFill>
                  <a:round/>
                  <a:headEnd/>
                  <a:tailEnd/>
                </a:ln>
                <a:effectLst/>
              </p:spPr>
              <p:txBody>
                <a:bodyPr/>
                <a:lstStyle/>
                <a:p>
                  <a:endParaRPr lang="en-US" dirty="0">
                    <a:solidFill>
                      <a:srgbClr val="000000"/>
                    </a:solidFill>
                    <a:latin typeface="Arial" charset="0"/>
                  </a:endParaRPr>
                </a:p>
              </p:txBody>
            </p:sp>
          </p:grpSp>
        </p:grpSp>
        <p:sp>
          <p:nvSpPr>
            <p:cNvPr id="608559" name="Rectangle 303"/>
            <p:cNvSpPr>
              <a:spLocks noChangeArrowheads="1"/>
            </p:cNvSpPr>
            <p:nvPr/>
          </p:nvSpPr>
          <p:spPr bwMode="gray">
            <a:xfrm>
              <a:off x="144" y="1742"/>
              <a:ext cx="0" cy="142"/>
            </a:xfrm>
            <a:prstGeom prst="rect">
              <a:avLst/>
            </a:prstGeom>
            <a:solidFill>
              <a:schemeClr val="accent2"/>
            </a:solidFill>
            <a:ln w="9525">
              <a:noFill/>
              <a:miter lim="800000"/>
              <a:headEnd/>
              <a:tailEnd/>
            </a:ln>
            <a:effectLst/>
          </p:spPr>
          <p:txBody>
            <a:bodyPr wrap="none" lIns="0" tIns="0" rIns="0" bIns="0">
              <a:spAutoFit/>
            </a:bodyPr>
            <a:lstStyle/>
            <a:p>
              <a:pPr defTabSz="912705">
                <a:buClr>
                  <a:srgbClr val="4F2100"/>
                </a:buClr>
              </a:pPr>
              <a:endParaRPr lang="de-DE" sz="700" dirty="0">
                <a:solidFill>
                  <a:srgbClr val="000000"/>
                </a:solidFill>
                <a:latin typeface="Arial" charset="0"/>
              </a:endParaRPr>
            </a:p>
          </p:txBody>
        </p:sp>
        <p:sp>
          <p:nvSpPr>
            <p:cNvPr id="608560" name="Rectangle 304"/>
            <p:cNvSpPr>
              <a:spLocks noChangeArrowheads="1"/>
            </p:cNvSpPr>
            <p:nvPr/>
          </p:nvSpPr>
          <p:spPr bwMode="gray">
            <a:xfrm>
              <a:off x="2852" y="2818"/>
              <a:ext cx="176" cy="67"/>
            </a:xfrm>
            <a:prstGeom prst="rect">
              <a:avLst/>
            </a:prstGeom>
            <a:solidFill>
              <a:schemeClr val="accent2"/>
            </a:solidFill>
            <a:ln w="9525">
              <a:noFill/>
              <a:miter lim="800000"/>
              <a:headEnd/>
              <a:tailEnd/>
            </a:ln>
            <a:effectLst/>
          </p:spPr>
          <p:txBody>
            <a:bodyPr lIns="0" tIns="0" rIns="0" bIns="0"/>
            <a:lstStyle/>
            <a:p>
              <a:pPr defTabSz="912705">
                <a:buClr>
                  <a:srgbClr val="4F2100"/>
                </a:buClr>
              </a:pPr>
              <a:endParaRPr lang="de-DE" sz="700" dirty="0">
                <a:solidFill>
                  <a:srgbClr val="000000"/>
                </a:solidFill>
                <a:latin typeface="Arial" charset="0"/>
              </a:endParaRPr>
            </a:p>
          </p:txBody>
        </p:sp>
      </p:grpSp>
      <p:sp>
        <p:nvSpPr>
          <p:cNvPr id="608561" name="Rectangle 305"/>
          <p:cNvSpPr>
            <a:spLocks noChangeArrowheads="1"/>
          </p:cNvSpPr>
          <p:nvPr/>
        </p:nvSpPr>
        <p:spPr bwMode="gray">
          <a:xfrm>
            <a:off x="992963" y="1080755"/>
            <a:ext cx="1057982" cy="569387"/>
          </a:xfrm>
          <a:prstGeom prst="rect">
            <a:avLst/>
          </a:prstGeom>
          <a:noFill/>
          <a:ln w="9525" algn="ctr">
            <a:noFill/>
            <a:miter lim="800000"/>
            <a:headEnd/>
            <a:tailEnd/>
          </a:ln>
          <a:effectLst/>
        </p:spPr>
        <p:txBody>
          <a:bodyPr wrap="none" lIns="0" tIns="0" rIns="0" bIns="0" anchor="ctr" anchorCtr="1">
            <a:spAutoFit/>
          </a:bodyPr>
          <a:lstStyle/>
          <a:p>
            <a:pPr defTabSz="912705">
              <a:buClr>
                <a:srgbClr val="4F2100"/>
              </a:buClr>
            </a:pPr>
            <a:r>
              <a:rPr lang="en-US" sz="3700" b="1" dirty="0">
                <a:solidFill>
                  <a:srgbClr val="FCB321"/>
                </a:solidFill>
                <a:latin typeface="Arial" charset="0"/>
              </a:rPr>
              <a:t>2008</a:t>
            </a:r>
          </a:p>
        </p:txBody>
      </p:sp>
      <p:sp>
        <p:nvSpPr>
          <p:cNvPr id="608562" name="Rectangle 306"/>
          <p:cNvSpPr>
            <a:spLocks noChangeArrowheads="1"/>
          </p:cNvSpPr>
          <p:nvPr/>
        </p:nvSpPr>
        <p:spPr bwMode="gray">
          <a:xfrm>
            <a:off x="3996147" y="1080755"/>
            <a:ext cx="1057982" cy="569387"/>
          </a:xfrm>
          <a:prstGeom prst="rect">
            <a:avLst/>
          </a:prstGeom>
          <a:noFill/>
          <a:ln w="9525" algn="ctr">
            <a:noFill/>
            <a:miter lim="800000"/>
            <a:headEnd/>
            <a:tailEnd/>
          </a:ln>
          <a:effectLst/>
        </p:spPr>
        <p:txBody>
          <a:bodyPr wrap="none" lIns="0" tIns="0" rIns="0" bIns="0" anchor="ctr" anchorCtr="1">
            <a:spAutoFit/>
          </a:bodyPr>
          <a:lstStyle/>
          <a:p>
            <a:pPr defTabSz="912705">
              <a:buClr>
                <a:srgbClr val="4F2100"/>
              </a:buClr>
            </a:pPr>
            <a:r>
              <a:rPr lang="en-US" sz="3700" b="1" dirty="0">
                <a:solidFill>
                  <a:srgbClr val="FCB321"/>
                </a:solidFill>
                <a:latin typeface="Arial" charset="0"/>
              </a:rPr>
              <a:t>2009</a:t>
            </a:r>
          </a:p>
        </p:txBody>
      </p:sp>
      <p:sp>
        <p:nvSpPr>
          <p:cNvPr id="608563" name="Rectangle 307"/>
          <p:cNvSpPr>
            <a:spLocks noChangeArrowheads="1"/>
          </p:cNvSpPr>
          <p:nvPr/>
        </p:nvSpPr>
        <p:spPr bwMode="gray">
          <a:xfrm>
            <a:off x="7255266" y="1080755"/>
            <a:ext cx="1057982" cy="569387"/>
          </a:xfrm>
          <a:prstGeom prst="rect">
            <a:avLst/>
          </a:prstGeom>
          <a:noFill/>
          <a:ln w="9525" algn="ctr">
            <a:noFill/>
            <a:miter lim="800000"/>
            <a:headEnd/>
            <a:tailEnd/>
          </a:ln>
          <a:effectLst/>
        </p:spPr>
        <p:txBody>
          <a:bodyPr wrap="none" lIns="0" tIns="0" rIns="0" bIns="0" anchor="ctr" anchorCtr="1">
            <a:spAutoFit/>
          </a:bodyPr>
          <a:lstStyle/>
          <a:p>
            <a:pPr defTabSz="912705">
              <a:buClr>
                <a:srgbClr val="4F2100"/>
              </a:buClr>
            </a:pPr>
            <a:r>
              <a:rPr lang="en-US" sz="3700" b="1" dirty="0">
                <a:solidFill>
                  <a:srgbClr val="FCB321"/>
                </a:solidFill>
                <a:latin typeface="Arial" charset="0"/>
              </a:rPr>
              <a:t>2010</a:t>
            </a:r>
          </a:p>
        </p:txBody>
      </p:sp>
      <p:grpSp>
        <p:nvGrpSpPr>
          <p:cNvPr id="12" name="Group 308"/>
          <p:cNvGrpSpPr>
            <a:grpSpLocks/>
          </p:cNvGrpSpPr>
          <p:nvPr/>
        </p:nvGrpSpPr>
        <p:grpSpPr bwMode="auto">
          <a:xfrm>
            <a:off x="3417873" y="1553336"/>
            <a:ext cx="2224041" cy="176552"/>
            <a:chOff x="126" y="3062"/>
            <a:chExt cx="1660" cy="109"/>
          </a:xfrm>
        </p:grpSpPr>
        <p:sp>
          <p:nvSpPr>
            <p:cNvPr id="608565" name="Line 309"/>
            <p:cNvSpPr>
              <a:spLocks noChangeShapeType="1"/>
            </p:cNvSpPr>
            <p:nvPr/>
          </p:nvSpPr>
          <p:spPr bwMode="auto">
            <a:xfrm>
              <a:off x="126" y="3171"/>
              <a:ext cx="1606" cy="0"/>
            </a:xfrm>
            <a:prstGeom prst="line">
              <a:avLst/>
            </a:prstGeom>
            <a:noFill/>
            <a:ln w="76200">
              <a:solidFill>
                <a:schemeClr val="tx2"/>
              </a:solidFill>
              <a:round/>
              <a:headEnd/>
              <a:tailEnd/>
            </a:ln>
            <a:effectLst/>
          </p:spPr>
          <p:txBody>
            <a:bodyPr/>
            <a:lstStyle/>
            <a:p>
              <a:endParaRPr lang="en-US" dirty="0">
                <a:solidFill>
                  <a:srgbClr val="000000"/>
                </a:solidFill>
                <a:latin typeface="Arial" charset="0"/>
              </a:endParaRPr>
            </a:p>
          </p:txBody>
        </p:sp>
        <p:sp>
          <p:nvSpPr>
            <p:cNvPr id="608566" name="AutoShape 310"/>
            <p:cNvSpPr>
              <a:spLocks noChangeArrowheads="1"/>
            </p:cNvSpPr>
            <p:nvPr/>
          </p:nvSpPr>
          <p:spPr bwMode="auto">
            <a:xfrm>
              <a:off x="1575" y="3062"/>
              <a:ext cx="211" cy="109"/>
            </a:xfrm>
            <a:prstGeom prst="rtTriangle">
              <a:avLst/>
            </a:prstGeom>
            <a:solidFill>
              <a:schemeClr val="tx2"/>
            </a:solidFill>
            <a:ln w="76200">
              <a:solidFill>
                <a:schemeClr val="folHlink"/>
              </a:solidFill>
              <a:miter lim="800000"/>
              <a:headEnd/>
              <a:tailEnd/>
            </a:ln>
            <a:effectLst/>
          </p:spPr>
          <p:txBody>
            <a:bodyPr wrap="none" anchor="ctr"/>
            <a:lstStyle/>
            <a:p>
              <a:pPr algn="ctr"/>
              <a:endParaRPr lang="de-DE" dirty="0">
                <a:solidFill>
                  <a:srgbClr val="4F2100"/>
                </a:solidFill>
                <a:latin typeface="Arial" charset="0"/>
              </a:endParaRPr>
            </a:p>
          </p:txBody>
        </p:sp>
      </p:grpSp>
      <p:grpSp>
        <p:nvGrpSpPr>
          <p:cNvPr id="13" name="Group 311"/>
          <p:cNvGrpSpPr>
            <a:grpSpLocks/>
          </p:cNvGrpSpPr>
          <p:nvPr/>
        </p:nvGrpSpPr>
        <p:grpSpPr bwMode="auto">
          <a:xfrm>
            <a:off x="6558736" y="1553336"/>
            <a:ext cx="2224040" cy="176552"/>
            <a:chOff x="126" y="3062"/>
            <a:chExt cx="1660" cy="109"/>
          </a:xfrm>
        </p:grpSpPr>
        <p:sp>
          <p:nvSpPr>
            <p:cNvPr id="608568" name="Line 312"/>
            <p:cNvSpPr>
              <a:spLocks noChangeShapeType="1"/>
            </p:cNvSpPr>
            <p:nvPr/>
          </p:nvSpPr>
          <p:spPr bwMode="auto">
            <a:xfrm>
              <a:off x="126" y="3171"/>
              <a:ext cx="1606" cy="0"/>
            </a:xfrm>
            <a:prstGeom prst="line">
              <a:avLst/>
            </a:prstGeom>
            <a:noFill/>
            <a:ln w="76200">
              <a:solidFill>
                <a:schemeClr val="tx2"/>
              </a:solidFill>
              <a:round/>
              <a:headEnd/>
              <a:tailEnd/>
            </a:ln>
            <a:effectLst/>
          </p:spPr>
          <p:txBody>
            <a:bodyPr/>
            <a:lstStyle/>
            <a:p>
              <a:endParaRPr lang="en-US" dirty="0">
                <a:solidFill>
                  <a:srgbClr val="000000"/>
                </a:solidFill>
                <a:latin typeface="Arial" charset="0"/>
              </a:endParaRPr>
            </a:p>
          </p:txBody>
        </p:sp>
        <p:sp>
          <p:nvSpPr>
            <p:cNvPr id="608569" name="AutoShape 313"/>
            <p:cNvSpPr>
              <a:spLocks noChangeArrowheads="1"/>
            </p:cNvSpPr>
            <p:nvPr/>
          </p:nvSpPr>
          <p:spPr bwMode="auto">
            <a:xfrm>
              <a:off x="1575" y="3062"/>
              <a:ext cx="211" cy="109"/>
            </a:xfrm>
            <a:prstGeom prst="rtTriangle">
              <a:avLst/>
            </a:prstGeom>
            <a:solidFill>
              <a:schemeClr val="tx2"/>
            </a:solidFill>
            <a:ln w="76200">
              <a:solidFill>
                <a:schemeClr val="folHlink"/>
              </a:solidFill>
              <a:miter lim="800000"/>
              <a:headEnd/>
              <a:tailEnd/>
            </a:ln>
            <a:effectLst/>
          </p:spPr>
          <p:txBody>
            <a:bodyPr wrap="none" anchor="ctr"/>
            <a:lstStyle/>
            <a:p>
              <a:pPr algn="ctr"/>
              <a:endParaRPr lang="de-DE" dirty="0">
                <a:solidFill>
                  <a:srgbClr val="4F2100"/>
                </a:solidFill>
                <a:latin typeface="Arial" charset="0"/>
              </a:endParaRPr>
            </a:p>
          </p:txBody>
        </p:sp>
      </p:gr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xeEkhhPWCEqR08WlA4ynyg"/>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01.xml><?xml version="1.0" encoding="utf-8"?>
<p:tagLst xmlns:a="http://schemas.openxmlformats.org/drawingml/2006/main" xmlns:r="http://schemas.openxmlformats.org/officeDocument/2006/relationships" xmlns:p="http://schemas.openxmlformats.org/presentationml/2006/main">
  <p:tag name="NAME" val="MoonShape"/>
</p:tagLst>
</file>

<file path=ppt/tags/tag10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03.xml><?xml version="1.0" encoding="utf-8"?>
<p:tagLst xmlns:a="http://schemas.openxmlformats.org/drawingml/2006/main" xmlns:r="http://schemas.openxmlformats.org/officeDocument/2006/relationships" xmlns:p="http://schemas.openxmlformats.org/presentationml/2006/main">
  <p:tag name="NAME" val="MoonShape"/>
</p:tagLst>
</file>

<file path=ppt/tags/tag104.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5.xml><?xml version="1.0" encoding="utf-8"?>
<p:tagLst xmlns:a="http://schemas.openxmlformats.org/drawingml/2006/main" xmlns:r="http://schemas.openxmlformats.org/officeDocument/2006/relationships" xmlns:p="http://schemas.openxmlformats.org/presentationml/2006/main">
  <p:tag name="NAME" val="MoonShape"/>
</p:tagLst>
</file>

<file path=ppt/tags/tag10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7.xml><?xml version="1.0" encoding="utf-8"?>
<p:tagLst xmlns:a="http://schemas.openxmlformats.org/drawingml/2006/main" xmlns:r="http://schemas.openxmlformats.org/officeDocument/2006/relationships" xmlns:p="http://schemas.openxmlformats.org/presentationml/2006/main">
  <p:tag name="NAME" val="MoonShape"/>
</p:tagLst>
</file>

<file path=ppt/tags/tag10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k40JSta2U64i3xBKWYS0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TawEt3.0C.Qeff4OnST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Wdsm2gk6L0W164NLFi6PO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KY0dHjMrgUy4.lRfsyg0L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1A4ZTdNNn0Oz1E7K2cICP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ajvpxyTClkCwXTJhWuArn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5XVmPoHIYkqlQU1iok.NQ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lHt6fgNfEkGj8NFee2MuH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9chM_KRzRUuJk7w9bA9MB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Pt7_rREbUkSRKTrtHrWAh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6hC0IpuKlUqfmV0M59fue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wuxdtzADkkO4Vr6aokyNp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O4BjSkhyN0qTcXJU5X5SB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olpmaevVIEqjNgHU9b3U3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e7sCnjQM00KJJdPZTVjfN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0wUzGG26SEizWQf4BDbe0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4sZ9ga9IpEmdigrTrOF6I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PaJycB6OTUazBVGyi7czR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W3HojGq8gkuQxr_ziGjkV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EGqB.HR3USCX8FkrZ_vo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EdwMqLu7.kOt3cLuRE8eVA"/>
</p:tagLst>
</file>

<file path=ppt/tags/tag13.xml><?xml version="1.0" encoding="utf-8"?>
<p:tagLst xmlns:a="http://schemas.openxmlformats.org/drawingml/2006/main" xmlns:r="http://schemas.openxmlformats.org/officeDocument/2006/relationships" xmlns:p="http://schemas.openxmlformats.org/presentationml/2006/main">
  <p:tag name="NAME" val="Moon"/>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wClPHOkrs0iL0pa_Q7CE7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v0LvXsI8k6r0H2PlmHKR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mdZ6F5taQUWQJ4zOkZkVO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WgDS_hCixEKUs9butBdD_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qb8buIwg7U.KnnLw00yOG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1CmRQlzUnkqiVm0OP7ML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ALbt0XZPYkCeZWJh2yp7q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YRF062FjVEaWMjb7N4vhl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ls7r7fYG3UCwD1o_Y4HLE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GX8sFm08ukOx_Q16Y1CVpg"/>
</p:tagLst>
</file>

<file path=ppt/tags/tag14.xml><?xml version="1.0" encoding="utf-8"?>
<p:tagLst xmlns:a="http://schemas.openxmlformats.org/drawingml/2006/main" xmlns:r="http://schemas.openxmlformats.org/officeDocument/2006/relationships" xmlns:p="http://schemas.openxmlformats.org/presentationml/2006/main">
  <p:tag name="NAME" val="Moon"/>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DMS42mzqqEOL.feVJWDN2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TB.GAzLLnEeTtqaPyXoRf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gxWI2FbtM0mrwuSvMWCFo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r7fxGUqdskqA8jVj2QPWV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_Hq708SFpUGguKLeUjujE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vnTFWzOBikCXIJ3wHIuga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AWSMXPLm40WyZ18QhCSA3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Hd6q1GKo8UmOkI7rsGw87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OVyhCfLn20uVA94i_9QQs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KEGNoON.W0GzfilBEMGc0g"/>
</p:tagLst>
</file>

<file path=ppt/tags/tag15.xml><?xml version="1.0" encoding="utf-8"?>
<p:tagLst xmlns:a="http://schemas.openxmlformats.org/drawingml/2006/main" xmlns:r="http://schemas.openxmlformats.org/officeDocument/2006/relationships" xmlns:p="http://schemas.openxmlformats.org/presentationml/2006/main">
  <p:tag name="NAME" val="Moon"/>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TYOyKX5sMECckc6BY_ML0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sSqvHr0QeE6KplT38NTfU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2TQoBWet3UyQINyEPRGCh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HbXGMlbZwkyeMsJmiiGRv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8T8d2vfIPUGe0JVPZNw.m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0K7oXnpe0kyAF1nJTbM9Z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kqBuK0hhQE2xlXIjOjyat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3xXl1CaoTEudCWO8x5AiK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OAswT_BuTka22.i9h0kJe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_b3i0AUnGE6H7oiegeU7gA"/>
</p:tagLst>
</file>

<file path=ppt/tags/tag16.xml><?xml version="1.0" encoding="utf-8"?>
<p:tagLst xmlns:a="http://schemas.openxmlformats.org/drawingml/2006/main" xmlns:r="http://schemas.openxmlformats.org/officeDocument/2006/relationships" xmlns:p="http://schemas.openxmlformats.org/presentationml/2006/main">
  <p:tag name="NAME" val="Moon"/>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UvBu3ZkiR0iZoKUAmIDUB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4ljoztt880ysAOjOqx_pb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f7lzTjlZgkKK0py8VoZoX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Zuk7ilInlEGZHAaXAh3S8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jbJGEwsq8U6Su0Pukvn7R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TeoWLrcdoUaHTLx_iaHjng"/>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beJ.x8.cSkeXUezaYuE2d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w4NYb2fKik.F9FSmNG9tv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rtl1E1aBSE6aT4DpFKPG7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nlL6DjkoQkOqYTutl9714A"/>
</p:tagLst>
</file>

<file path=ppt/tags/tag17.xml><?xml version="1.0" encoding="utf-8"?>
<p:tagLst xmlns:a="http://schemas.openxmlformats.org/drawingml/2006/main" xmlns:r="http://schemas.openxmlformats.org/officeDocument/2006/relationships" xmlns:p="http://schemas.openxmlformats.org/presentationml/2006/main">
  <p:tag name="NAME" val="Moon"/>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N7Z6J8qywkCVq3Uin.lpv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Wu1kH5HzIEqC9z1AqNLda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E6iP6CiFEu6sBzEf2kef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EP7Ds.8nkSGiuZJ1Duni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KYOyo2h0NU6esxakT5yck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zx5otwfZ9UyCXBZie_kGj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Yy.cLLMZ2UqBwzyRu8Qid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GeVcRkAnrUiFKrRfUFwfS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CCDNUEZHJkWqbxt0APHfU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6LbuzRRwL027SiT5iPI.QA"/>
</p:tagLst>
</file>

<file path=ppt/tags/tag18.xml><?xml version="1.0" encoding="utf-8"?>
<p:tagLst xmlns:a="http://schemas.openxmlformats.org/drawingml/2006/main" xmlns:r="http://schemas.openxmlformats.org/officeDocument/2006/relationships" xmlns:p="http://schemas.openxmlformats.org/presentationml/2006/main">
  <p:tag name="NAME" val="MoonShap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EtN.6DtEsEWdjwuro5npX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SwluddqflUaq8KIERLwBP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FhyhCEvXeU2sLkD_6xZaX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KsGnr9of.EyMSDT53Q9IV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nw3qQxTpEGjMhSzKCcEJ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60rtzvXWQUuqUZBk_qYzP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MdPBvV_L00mzxUOuGTTK8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TwU6t9e24E2Oy5Lb0kgS5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342yYFfL60qdADnluRLcH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mG0.JJQNVUeLprm2H4fz2A"/>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eRqIf6r.ykOq8oxd_UWCb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N5g3L0MA7kiT6d4k.Bztj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EcT6qbr_wUOoDPQtGjSWG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TPLcjy295kuZmk2BVsHKm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ns8puIK1o0ijKxoUHLYwM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5qcUTO5y0yQw71ZXVQ4S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RAW3AF_lXkGzHMqBNc6tT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dSIIOOkzckmDatLlwwPdD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zpuP.JhMO0OJ5pTukbg8H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r7ifZmnIUew1Hbzxok4O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WykIuYu4v0OStn0NzwdLdQ"/>
</p:tagLst>
</file>

<file path=ppt/tags/tag20.xml><?xml version="1.0" encoding="utf-8"?>
<p:tagLst xmlns:a="http://schemas.openxmlformats.org/drawingml/2006/main" xmlns:r="http://schemas.openxmlformats.org/officeDocument/2006/relationships" xmlns:p="http://schemas.openxmlformats.org/presentationml/2006/main">
  <p:tag name="NAME" val="MoonShap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0ZRT_ioTiUu6ee92gdxHA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md1S7C9Z2EeiD15yBF371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DOKiDx2A9EO7YWCet_87Z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PU5W9T94tUqk1jl_3jQo4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IzGwBUvLIEmfMVFtT5rhL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DMVGpDaHeUizYCn02xlKk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WXniEs3RjkWJldki2tusB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APkQRBb8RE2FJXkHrJsro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wMToI2liZU25h6wfekL_1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agY0tcvpp0CKpZhPxaO6iw"/>
</p:tagLst>
</file>

<file path=ppt/tags/tag2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NoBQ6.N.PEegmrk1q0rcm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gCVzJ2iYbE.el4A..9bbL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GfNDrJo52U.kGM53_y34P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AoHMK0OA0eDyeoLB8r4N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a2qZbzbxiUWcxOGMnwTmQ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94OFML0L1kCBTclDyBggc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GCQGxikcgEKzjPZb.wfgwA"/>
  <p:tag name="RESIZE" val="Yes"/>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fYk.PPd_keQUj8pONkI8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68cGksICqUWZpRv2b4RBq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FbSt4EZPUeJZtAkCxZ.7A"/>
</p:tagLst>
</file>

<file path=ppt/tags/tag22.xml><?xml version="1.0" encoding="utf-8"?>
<p:tagLst xmlns:a="http://schemas.openxmlformats.org/drawingml/2006/main" xmlns:r="http://schemas.openxmlformats.org/officeDocument/2006/relationships" xmlns:p="http://schemas.openxmlformats.org/presentationml/2006/main">
  <p:tag name="NAME" val="MoonShap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d0vOGyaXU0OJtOd1mUXSY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kbYOPOtJB06epVYLLNaoY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RAu4wMB74kSoqa8VDkcDV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n9AvblELy0yscjkCXEcA6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2LajMZ_DoESdO9U5wirWu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Efy5b8CjH0.JD3WHkq9VZQ"/>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5QKMSmDTJEaoutybf83DZ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DVKAQUPndUqBl2xI4ALA0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kIXmAoHRkC3Z5NMxCr0c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zGz67xOnR0SbGAaNm0KzXQ"/>
</p:tagLst>
</file>

<file path=ppt/tags/tag2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aUYZz5Cv9EmtKIQVIt9Hd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GyZo71eJEy1TGIrtLUtU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HCoq1VGXkeF8Bwfqr8AG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QilDwk55K0Ki3S2Au.2JQ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yJ.yahgDzUG6iMdXKkKVg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zHjQSgHODUWc0dk8bw7Lb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CeskoSkPM0e1XeV7tn9nN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IVXCPYW.OE6tVnmuBonNY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Rsgk3y1L9Eenoc1euf1Mm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eYvXjxyiPUCSSwh96XnQWw"/>
</p:tagLst>
</file>

<file path=ppt/tags/tag24.xml><?xml version="1.0" encoding="utf-8"?>
<p:tagLst xmlns:a="http://schemas.openxmlformats.org/drawingml/2006/main" xmlns:r="http://schemas.openxmlformats.org/officeDocument/2006/relationships" xmlns:p="http://schemas.openxmlformats.org/presentationml/2006/main">
  <p:tag name="NAME" val="MoonShap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W9CI2D.b02I0ZqLdwW7_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XdwnMn2L.E2r6QMSzKcnZ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NSY1N0rmekiQBt..pDOvw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wY6Bh7l3cEK8ALH0AmNR5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a0n_n1tfB02SEMD4g.0Jx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a5ZIFUfHKEWGOA3aliJWJ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zIPh4pRgYEaFVqqazcP3p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iDaHmdFWrE2uvfTtg_LF4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bx7FM0LbdkG9V3NzOV0hR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n7dTQrM9i0qb_HdFCsxqTg"/>
</p:tagLst>
</file>

<file path=ppt/tags/tag2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BWJ2ohWpM0.o271sWH3JNQ"/>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mOX.qyDYgk6jyC5gPPEJKg"/>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N4UPKrxH5keOW5kqsyrTq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eC4QS_9SMkSF34JuzZdBU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IZ_YXvbtrkeG6IaDPuFRa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rSmRr6KYVUy6zg07Hlw8V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jmwb4gltT0CRwxgApyBLz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bn0vItKrrU.rwx9dNSmVr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mm7TZQJUDEyx3T5RW9cPaQ"/>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yRJ0TuTJ90WWh106Cl_62A"/>
</p:tagLst>
</file>

<file path=ppt/tags/tag26.xml><?xml version="1.0" encoding="utf-8"?>
<p:tagLst xmlns:a="http://schemas.openxmlformats.org/drawingml/2006/main" xmlns:r="http://schemas.openxmlformats.org/officeDocument/2006/relationships" xmlns:p="http://schemas.openxmlformats.org/presentationml/2006/main">
  <p:tag name="NAME" val="MoonShap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mqYQvhLWk.mpI0vdP0lqQ"/>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q0bojDzZmkyEs6mBxSfRG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X7Lg93rQLkmJ8tM0Io9Et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AvybXWq9RE.eqOewmCdGc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4wbTm8tdU0i5VeMPCw2lc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lYavXcmzl0inCHzA7PYUC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pvdSqtmC0SlBE28Ecy_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RK.7LBF6CEOequjhQxs2j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sme7BK9Yrkiuxw1WnDZ0u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ojsTuVKfDEu9hqBga6Upig"/>
</p:tagLst>
</file>

<file path=ppt/tags/tag2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g8VNSiDveEKdUDbmboQQm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cP.Z4Z1WsE6Q4KIBz9H3d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LdAHHM1zYUC.FYPrCtj.R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c7qy5ozNOEGzmRyBjEoG8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klVYKMsrfk6dgCuJI8BWzw"/>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oifDiqWX9USu3Zqzru74k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fM7x7lUEM0SliZYpTc.VW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NgvOWGxhvkGBEiHO9vFq.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9gKIbYJ.TUydmb8E5ICVg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EXvgvy6eAECwZZO_F5kfV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WESo9JF6ykyelp0R7Vtsp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lHb3vM._70CeZ3vt88p0V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CqdAwHTyKkm.EthU3W4Pc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5dpm5P330kGsAChv.IKSc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88OXnfSgcEyYEbIaCB7zf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4neRNXhjtEWTTAFqF4DKM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_3_y1Q68GkWv7Id6D8bXOA"/>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Oml29hqlDUWzmlt1iskT3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53omXhdFa0S3TSqWhyhVR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vULCycNisEGdhbirpu37J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ykIuYu4v0OStn0NzwdLd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R_0BQLY_fEqwN.oFDyxbp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lK69bPdTIkquGvlDb3V5c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nx9v0.G4dUSl7wYlmve5p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XEJmr4dQxkCb00hogRlAs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90MtvGE2MUW8GiTwtcgpZ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obcarWm.QkOPEty670zIo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TVPPseMuzEaOySuglgZ_r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S2iMcx6.u0m8HTkEXJIZ8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7HNaLUd2XEu9F.h6lQvuh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UIVca4Ee0U6K_xdxCTjlX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FMi4GpZ2i0akoQTC.87Eo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Mi4GpZ2i0akoQTC.87Eo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50fkj.OBb0S60Z86V5_whQ"/>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HPWn.1R5zU.sMhJDPkKYx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B1uapZlGke3zbzu4exnVQ"/>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KgO8LeDg.0q3RY6Mv8qgAg"/>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w9KLiKVymk.Cm5bYcSSqjQ"/>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i6vyt7AtdEeUeWhl6oJOpQ"/>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w.zpfabVGEOMZtMeISZfs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XcOAYFe_02Vj_laGc3QI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0p9rDhZTvES8gGz09lF7Y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cmkyPjyhck27WDa2upvfS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SwV60fx0FEmcZr8HrZi2Q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j4pHvaD6O06.q6Yl.gFxq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VWUu5L3yA0OjHNtmHsc3R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rFxv5PIlmkasLBfL63QKZ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IYN7R0sOdkGrgQ1iENgAo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nEGrmElsPkW6W9xOqEqQf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VwxW6QJH_0GdLGbcqZ2mi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m3DdWS9sXkys_PKWSNZZX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AJScOYvfUueXDW_jPm86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2JQvLaraEUOAZwq.Ufdq4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cB3GfRjOY0GDlf3YGWfAt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5lTB8TTEPUKEeqhi1dLAH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dm0w7aGGBkmL4LJUt6vDE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YK0.GH5fWUifLoxv2REhVg"/>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stQKWAMsl0eh60lTbO0tjg"/>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ophxxSvXgk6sMJTjI8zE_A"/>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sOCoyeqCvUmtmZy7_eMNv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JORnfFlwJUmn0HwD7WdSw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Vrm4i3JPA0SPpQDws6PTw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tnfJRqd3lkOKOSmqwWf9p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5fa9MeVs7kOCZFPX6GGiF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7PbUgISaqE2NaVvu8O5ha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4ArPTPO5US8Z9JW_y6xZA"/>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gIPozaNU0UCjVngcKM4nB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HRNus3kJA0iXkCc9m8THlw"/>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_rqiGf9SXUetkhNUies2Ng"/>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A74alJ_mREKrcVB0zqzNu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Bo_8Aft_J0eGsF.sQ3YRG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uv_7mX_6nEmgAkrJ9kAqr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5E9EV9egTk2Q3IEYL37BUw"/>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GoEnYsDURkK4TKZgMCaOP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Yrn3KJyznkSRnhZS2dFfm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87WjGvIm9kurX0gNtaF1M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o2s5s6Tl0u_yMHm2x0Zc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YldeMQg4MkmdhkWUAljb3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H_WWwgHGxkOd2fZ3WJxxj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TDGbBUIdV0ubzZ1iiglCu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hFzDqQSYvkG.GNYtgeV2_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6ywosgYdCEuFT2NUzvLwV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9p0KdsDCJ0.PzieWrnIdt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HfQZhqp14Ueo0GrIdaYx8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zi7rCr9WV0iSG85l2Yt14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l9__MbwFxESEPiiscxVjR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o.leq_6JEuDQemS0NMzmA"/>
</p:tagLst>
</file>

<file path=ppt/tags/tag35.xml><?xml version="1.0" encoding="utf-8"?>
<p:tagLst xmlns:a="http://schemas.openxmlformats.org/drawingml/2006/main" xmlns:r="http://schemas.openxmlformats.org/officeDocument/2006/relationships" xmlns:p="http://schemas.openxmlformats.org/presentationml/2006/main">
  <p:tag name="RESIZE" val="Yes"/>
  <p:tag name="THINKCELLSHAPEDONOTDELETE" val="pNurV3hIXVEGExHceDP0Nf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q6oDip0bt0OgldcY2U3Bp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NqmxYqnsUuCPGSSd2Vb2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5YYZp0K83Eeeol2lo1Dny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LF3EUbGIkieBvxTdqni9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0pWgU7CPW0mCg_H.oeLIr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JvlWwgk9NEWbPzcH8GYQ6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QPQShodIEKUXiEGBBywW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HnDg07h_2EyImo_Bfyg.M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KBypccrqFkew7_coWaaow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WE5fDtZwrUeGlAg2tIyhX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qPLPEBjAEG00Kvpmuf_rw"/>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PGD5jUygj0euyVBuNcawNw"/>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l4p_ySvT0qQ4bm0vzLY5Q"/>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fgmo4dyP3EC39dJcGwtcM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B46fDiFVyUqZRNrHUHm5Nw"/>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v64.yonT6E6gOSAWdCG3t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IcYR81Ob50u5u620SSVFL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mdC6PKM2n0GMbBr40avIh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oKiyfsoGjUeoSB6yUL0pSQ"/>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lKxjyj1jTEi9n48czrRZrg"/>
  <p:tag name="RESIZE" val="Yes"/>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1UM_O98hXkm_x2d3HiCq0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xeEkhhPWCEqR08WlA4ynyg"/>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Se3RoS89Ak22ySR8gdP4f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qCLcB6thjECFd3NdjmLDw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YZ6cR0LHt0.P_q9__y65KQ"/>
  <p:tag name="RESIZE" val="Yes"/>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RESIZE" val="Yes"/>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ZUs2NiwGR0KWPHpx5wgX8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osb2IX13EyK9pmy77z9p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ZUs2NiwGR0KWPHpx5wgX8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HIuASqOf9k.ztWnIfsF12g"/>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11Al9Ek0UWat.s3HHtZ1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qk40JSta2U64i3xBKWYS0g"/>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KXFcNfkjZ0a7bQcdYzYWcA"/>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GGco_TnbE0e5B1OTKST_t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f7K_pWqUa0eqMfdJlTGWL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XNFloirAQUmx4biN9Zbjh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KfewmGhW_U6XSwFOD9LDX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Blk6WuZXEEeSgi1laa4VWQ"/>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zaeBm3mdp0qTpa1amJX4zw"/>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EsHnwJq_f0.0PPgk2CXFN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hApEP3rJyEWy9PTZy6D1j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WIlIpU0k6E6bqg601CtW_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6hC0IpuKlUqfmV0M59fueA"/>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Kk.qZYflgEivmr1dfyKH3Q"/>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gCgg7TIj5kCx9kkhBuK41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apG0fScQfE.lq9kjJRmZLg"/>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axkEm15utkiGB0cIOysBV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ybAIZbrj8UCVFYyABbRKL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QB6L3R_ZVkO8vyStIBgcYw"/>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2PZY8G9bgUWnH2OHoMv7yA"/>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9fjCNgOkFEWdtWi_jsCGW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fpuYZIaouU6gaJkrfnf.0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2q_Ay7nvoUyRy2WUOhlBL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wV60fx0FEmcZr8HrZi2QA"/>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hWPytwwr4kOjggnPTwjZqA"/>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Jn3JO2BeTEiCUoIcKp8us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ltycuY9bjEek4_Hrb5NOv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tEgNyscLRUOGnG08s52wR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pxZaxI7DTXUClg_qFToSs9Q"/>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pEfNPNSDxrkSbvHKpZ3BSz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wEMpeEk.nUmYBiYBK6vRv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p6t77GUlrSEWzkSHZ3v3rk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mpUh_5L0u0SOXy9hxdVZi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c5MSl.q.LkeZsILnHHOi_g"/>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6VnkZCd5bEeXQmKSw.zrtQ"/>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yGMM0A2eC0Suh60dVy78n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p8B2hYgicnE2nYzJsHXNZR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09aF7CROLE6v4W1h0fbVtA"/>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pIDOktKMeak.zL8i0bRkhAg"/>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Qdzp0DtiZUWv2PvfAvew8Q"/>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BTuKE3UQ10CQkOhYiVUY5Q"/>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WVXkBapg8kS8qp8hV5MXH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p9rpnF4EYJU.Ut8gcUkoFO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qZ_8LusVfkaRcMDPwpFm1g"/>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8sdsTLAXQk6audj0CXRo1Q"/>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5_tVvFTOC0Ci6mjIUnoC.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p265tMQWfpE.p_s2lUqT.i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pMEWB7R7yfUKqFp0Y_4UKOA"/>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tIHT.qHagESM2prrvNGlJ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pHSJ4RHWFTEioN4.lXY_fk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aUWoawf780mdl62Mo18F2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UMitdvis6EuoT0FbZTysBg"/>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9z.hRfk8NEeOaZICNwvNYw"/>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tFA9A81uNk.L72CfDxCczg"/>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pdjyOnkVAhUyxsxVbJNBcrA"/>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YGQBI20A8E.Lk0FsZNJ1D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pv7JQ6evoHkaAyHId38K.f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FZKlmvCyZ0yFWejjbuN37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CjecAFm2Dka9X4a30OWGu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L1m9XECV00mAlthIG_Kff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FtO6HM9RZEyzHEUtPpUV4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uzToy9wpyUaEhDg3OK2gGg"/>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vPjZ4pI_hE6nSpANbb_Vng"/>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p0ZxDzTlnOEGrJvy42b7bY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xngeD8hmkku1sMBPDmuX1Q"/>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xvqPc3JsNUOBOcJwtekQYQ"/>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pY1bmjbGcqk.OWmzwqmghHA"/>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pjO4yCX.t3ECpbjR7v51b6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e4c98Wmm6UaEEcYhRiOrUg"/>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pR2xzer0xuUObPTG3VyeIv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KpO8URm9s0KGjBxQwxm9a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MOul5RyhI0eyWpgcBIbBOA"/>
</p:tagLst>
</file>

<file path=ppt/tags/tag45.xml><?xml version="1.0" encoding="utf-8"?>
<p:tagLst xmlns:a="http://schemas.openxmlformats.org/drawingml/2006/main" xmlns:r="http://schemas.openxmlformats.org/officeDocument/2006/relationships" xmlns:p="http://schemas.openxmlformats.org/presentationml/2006/main">
  <p:tag name="NAME" val="MoonShap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rjOosTmlUCvD17FXGzJ8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oO2CTR2_3ESJmn0FGq83u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psIgUqvtd7UaHerGjLPxemQ"/>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hRGzOpt970WWPo.gA8QR3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pf2..LZyYZUSphZomVlpfyw"/>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svKgnmycpkuhcYcqOBCoE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686f.iPx302afrFoLsMUYg"/>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IZXsEJmmhU6Lv2ta93anwg"/>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p8AYS8W5Y0EuQKog6Pkkz6Q"/>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gZt2pMYMF02Nds6wp9EjNg"/>
</p:tagLst>
</file>

<file path=ppt/tags/tag4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vTClm2C0gEKNbsoKpWP3hQ"/>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TzVKm6RRPEa0OMBEwTaiq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picYDLVnJdkOyAU3qsDh_ZQ"/>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pORf_oKxyFkupWAJxUDmlcg"/>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mDvNl4XZnU6dETWk4unQO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pC7qGMUUJzEyeiUa2fogwz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zSvRYZuse0axtdEo3qTUL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DEs.1sEWa0Sly.9bj3LGSA"/>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ryLJ_WhXnkuZi2tgpTJU7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pswMw6Zns1UKRPooupqDgFw"/>
</p:tagLst>
</file>

<file path=ppt/tags/tag47.xml><?xml version="1.0" encoding="utf-8"?>
<p:tagLst xmlns:a="http://schemas.openxmlformats.org/drawingml/2006/main" xmlns:r="http://schemas.openxmlformats.org/officeDocument/2006/relationships" xmlns:p="http://schemas.openxmlformats.org/presentationml/2006/main">
  <p:tag name="NAME" val="MoonShape"/>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Qp86uqlqNEeU0Grmsep2MA"/>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O1nV3aSf5EG7juFF_S8X4g"/>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7ZA4LemUYE2FM5USQ9l9R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lHzKRBXc_0i9pRngI_pDp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pW8TyfK_suU6LuEExe7ScHQ"/>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KxXMn9oFLE2lppJkgzsukA"/>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pkZCa4Nl48ka5MADl5tssQQ"/>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VVkH1t0f0kOrX8Pl7exV.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GjStAbkosEm2qkUIcxY.9w"/>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ra_fk2GVIUGwnl_T6X1IJA"/>
</p:tagLst>
</file>

<file path=ppt/tags/tag4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pOlFTPZrGn0ePOC4SbHjWz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1BWLTsZc.k2eoDcNOZn.zQ"/>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Q7ZzhTzj00ygyikhZU.5GQ"/>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Q7ZzhTzj00ygyikhZU.5GQ"/>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pQ7ZzhTzj00ygyikhZU.5G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pQ7ZzhTzj00ygyikhZU.5GQ"/>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Q7ZzhTzj00ygyikhZU.5G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pQ7ZzhTzj00ygyikhZU.5GQ"/>
</p:tagLst>
</file>

<file path=ppt/tags/tag49.xml><?xml version="1.0" encoding="utf-8"?>
<p:tagLst xmlns:a="http://schemas.openxmlformats.org/drawingml/2006/main" xmlns:r="http://schemas.openxmlformats.org/officeDocument/2006/relationships" xmlns:p="http://schemas.openxmlformats.org/presentationml/2006/main">
  <p:tag name="NAME" val="MoonShap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lTB8TTEPUKEeqhi1dLAHw"/>
</p:tagLst>
</file>

<file path=ppt/tags/tag5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51.xml><?xml version="1.0" encoding="utf-8"?>
<p:tagLst xmlns:a="http://schemas.openxmlformats.org/drawingml/2006/main" xmlns:r="http://schemas.openxmlformats.org/officeDocument/2006/relationships" xmlns:p="http://schemas.openxmlformats.org/presentationml/2006/main">
  <p:tag name="NAME" val="MoonShape"/>
</p:tagLst>
</file>

<file path=ppt/tags/tag5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Shape"/>
</p:tagLst>
</file>

<file path=ppt/tags/tag5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WykIuYu4v0OStn0NzwdLd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Mi4GpZ2i0akoQTC.87Eo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wV60fx0FEmcZr8HrZi2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5lTB8TTEPUKEeqhi1dLAH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t4ArPTPO5US8Z9JW_y6xZ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t4ArPTPO5US8Z9JW_y6x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yo2s5s6Tl0u_yMHm2x0ZcA"/>
</p:tagLst>
</file>

<file path=ppt/tags/tag62.xml><?xml version="1.0" encoding="utf-8"?>
<p:tagLst xmlns:a="http://schemas.openxmlformats.org/drawingml/2006/main" xmlns:r="http://schemas.openxmlformats.org/officeDocument/2006/relationships" xmlns:p="http://schemas.openxmlformats.org/presentationml/2006/main">
  <p:tag name="RESIZE" val="Yes"/>
  <p:tag name="THINKCELLSHAPEDONOTDELETE" val="pNurV3hIXVEGExHceDP0Nf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VqPLPEBjAEG00Kvpmuf_r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eEkhhPWCEqR08WlA4yny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k40JSta2U64i3xBKWYS0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6hC0IpuKlUqfmV0M59fueA"/>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
</p:tagLst>
</file>

<file path=ppt/tags/tag69.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yo2s5s6Tl0u_yMHm2x0ZcA"/>
</p:tagLst>
</file>

<file path=ppt/tags/tag70.xml><?xml version="1.0" encoding="utf-8"?>
<p:tagLst xmlns:a="http://schemas.openxmlformats.org/drawingml/2006/main" xmlns:r="http://schemas.openxmlformats.org/officeDocument/2006/relationships" xmlns:p="http://schemas.openxmlformats.org/presentationml/2006/main">
  <p:tag name="NAME" val="Moon"/>
</p:tagLst>
</file>

<file path=ppt/tags/tag71.xml><?xml version="1.0" encoding="utf-8"?>
<p:tagLst xmlns:a="http://schemas.openxmlformats.org/drawingml/2006/main" xmlns:r="http://schemas.openxmlformats.org/officeDocument/2006/relationships" xmlns:p="http://schemas.openxmlformats.org/presentationml/2006/main">
  <p:tag name="NAME" val="Moon"/>
</p:tagLst>
</file>

<file path=ppt/tags/tag72.xml><?xml version="1.0" encoding="utf-8"?>
<p:tagLst xmlns:a="http://schemas.openxmlformats.org/drawingml/2006/main" xmlns:r="http://schemas.openxmlformats.org/officeDocument/2006/relationships" xmlns:p="http://schemas.openxmlformats.org/presentationml/2006/main">
  <p:tag name="NAME" val="MoonShape"/>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4.xml><?xml version="1.0" encoding="utf-8"?>
<p:tagLst xmlns:a="http://schemas.openxmlformats.org/drawingml/2006/main" xmlns:r="http://schemas.openxmlformats.org/officeDocument/2006/relationships" xmlns:p="http://schemas.openxmlformats.org/presentationml/2006/main">
  <p:tag name="NAME" val="MoonShape"/>
</p:tagLst>
</file>

<file path=ppt/tags/tag7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76.xml><?xml version="1.0" encoding="utf-8"?>
<p:tagLst xmlns:a="http://schemas.openxmlformats.org/drawingml/2006/main" xmlns:r="http://schemas.openxmlformats.org/officeDocument/2006/relationships" xmlns:p="http://schemas.openxmlformats.org/presentationml/2006/main">
  <p:tag name="NAME" val="MoonShape"/>
</p:tagLst>
</file>

<file path=ppt/tags/tag77.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78.xml><?xml version="1.0" encoding="utf-8"?>
<p:tagLst xmlns:a="http://schemas.openxmlformats.org/drawingml/2006/main" xmlns:r="http://schemas.openxmlformats.org/officeDocument/2006/relationships" xmlns:p="http://schemas.openxmlformats.org/presentationml/2006/main">
  <p:tag name="NAME" val="MoonShape"/>
</p:tagLst>
</file>

<file path=ppt/tags/tag7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8.xml><?xml version="1.0" encoding="utf-8"?>
<p:tagLst xmlns:a="http://schemas.openxmlformats.org/drawingml/2006/main" xmlns:r="http://schemas.openxmlformats.org/officeDocument/2006/relationships" xmlns:p="http://schemas.openxmlformats.org/presentationml/2006/main">
  <p:tag name="RESIZE" val="Yes"/>
  <p:tag name="THINKCELLSHAPEDONOTDELETE" val="pNurV3hIXVEGExHceDP0NfQ"/>
</p:tagLst>
</file>

<file path=ppt/tags/tag80.xml><?xml version="1.0" encoding="utf-8"?>
<p:tagLst xmlns:a="http://schemas.openxmlformats.org/drawingml/2006/main" xmlns:r="http://schemas.openxmlformats.org/officeDocument/2006/relationships" xmlns:p="http://schemas.openxmlformats.org/presentationml/2006/main">
  <p:tag name="NAME" val="MoonShape"/>
</p:tagLst>
</file>

<file path=ppt/tags/tag8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WykIuYu4v0OStn0NzwdL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FMi4GpZ2i0akoQTC.87Eo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SwV60fx0FEmcZr8HrZi2Q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5lTB8TTEPUKEeqhi1dLAH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t4ArPTPO5US8Z9JW_y6xZ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yo2s5s6Tl0u_yMHm2x0ZcA"/>
</p:tagLst>
</file>

<file path=ppt/tags/tag89.xml><?xml version="1.0" encoding="utf-8"?>
<p:tagLst xmlns:a="http://schemas.openxmlformats.org/drawingml/2006/main" xmlns:r="http://schemas.openxmlformats.org/officeDocument/2006/relationships" xmlns:p="http://schemas.openxmlformats.org/presentationml/2006/main">
  <p:tag name="RESIZE" val="Yes"/>
  <p:tag name="THINKCELLSHAPEDONOTDELETE" val="pNurV3hIXVEGExHceDP0Nf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VqPLPEBjAEG00Kvpmuf_r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qPLPEBjAEG00Kvpmuf_r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xeEkhhPWCEqR08WlA4yny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qk40JSta2U64i3xBKWYS0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6hC0IpuKlUqfmV0M59fueA"/>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
</p:tagLst>
</file>

<file path=ppt/tags/tag97.xml><?xml version="1.0" encoding="utf-8"?>
<p:tagLst xmlns:a="http://schemas.openxmlformats.org/drawingml/2006/main" xmlns:r="http://schemas.openxmlformats.org/officeDocument/2006/relationships" xmlns:p="http://schemas.openxmlformats.org/presentationml/2006/main">
  <p:tag name="NAME" val="Moon"/>
</p:tagLst>
</file>

<file path=ppt/tags/tag98.xml><?xml version="1.0" encoding="utf-8"?>
<p:tagLst xmlns:a="http://schemas.openxmlformats.org/drawingml/2006/main" xmlns:r="http://schemas.openxmlformats.org/officeDocument/2006/relationships" xmlns:p="http://schemas.openxmlformats.org/presentationml/2006/main">
  <p:tag name="NAME" val="Moon"/>
</p:tagLst>
</file>

<file path=ppt/tags/tag99.xml><?xml version="1.0" encoding="utf-8"?>
<p:tagLst xmlns:a="http://schemas.openxmlformats.org/drawingml/2006/main" xmlns:r="http://schemas.openxmlformats.org/officeDocument/2006/relationships" xmlns:p="http://schemas.openxmlformats.org/presentationml/2006/main">
  <p:tag name="NAME" val="MoonShap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_rels/theme15.xml.rels><?xml version="1.0" encoding="UTF-8" standalone="yes"?>
<Relationships xmlns="http://schemas.openxmlformats.org/package/2006/relationships"><Relationship Id="rId1" Type="http://schemas.openxmlformats.org/officeDocument/2006/relationships/image" Target="../media/image9.jpeg"/></Relationships>
</file>

<file path=ppt/theme/theme1.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10.xml><?xml version="1.0" encoding="utf-8"?>
<a:theme xmlns:a="http://schemas.openxmlformats.org/drawingml/2006/main" name="1_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헤드라인M"/>
        <a:ea typeface="HY헤드라인M"/>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spDef>
    <a:ln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1.xml><?xml version="1.0" encoding="utf-8"?>
<a:theme xmlns:a="http://schemas.openxmlformats.org/drawingml/2006/main" name="3_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헤드라인M"/>
        <a:ea typeface="HY헤드라인M"/>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spDef>
    <a:ln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2.xml><?xml version="1.0" encoding="utf-8"?>
<a:theme xmlns:a="http://schemas.openxmlformats.org/drawingml/2006/main" name="4_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헤드라인M"/>
        <a:ea typeface="HY헤드라인M"/>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spDef>
    <a:ln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3.xml><?xml version="1.0" encoding="utf-8"?>
<a:theme xmlns:a="http://schemas.openxmlformats.org/drawingml/2006/main" name="5_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헤드라인M"/>
        <a:ea typeface="HY헤드라인M"/>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spDef>
    <a:ln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4.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15.xml><?xml version="1.0" encoding="utf-8"?>
<a:theme xmlns:a="http://schemas.openxmlformats.org/drawingml/2006/main" name="Waveform">
  <a:themeElements>
    <a:clrScheme name="Waveform">
      <a:dk1>
        <a:sysClr val="windowText" lastClr="000000"/>
      </a:dk1>
      <a:lt1>
        <a:sysClr val="window" lastClr="FFFFFF"/>
      </a:lt1>
      <a:dk2>
        <a:srgbClr val="073E87"/>
      </a:dk2>
      <a:lt2>
        <a:srgbClr val="C6E7FC"/>
      </a:lt2>
      <a:accent1>
        <a:srgbClr val="31B6FD"/>
      </a:accent1>
      <a:accent2>
        <a:srgbClr val="4584D3"/>
      </a:accent2>
      <a:accent3>
        <a:srgbClr val="5BD078"/>
      </a:accent3>
      <a:accent4>
        <a:srgbClr val="A5D028"/>
      </a:accent4>
      <a:accent5>
        <a:srgbClr val="F5C040"/>
      </a:accent5>
      <a:accent6>
        <a:srgbClr val="05E0DB"/>
      </a:accent6>
      <a:hlink>
        <a:srgbClr val="0080FF"/>
      </a:hlink>
      <a:folHlink>
        <a:srgbClr val="5EAEFF"/>
      </a:folHlink>
    </a:clrScheme>
    <a:fontScheme name="Waveform">
      <a:majorFont>
        <a:latin typeface="Candara"/>
        <a:ea typeface=""/>
        <a:cs typeface=""/>
        <a:font script="Jpan" typeface="HGP明朝E"/>
        <a:font script="Hang" typeface="HY그래픽M"/>
        <a:font script="Hans" typeface="华文新魏"/>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ndara"/>
        <a:ea typeface=""/>
        <a:cs typeface=""/>
        <a:font script="Jpan" typeface="HGP明朝E"/>
        <a:font script="Hang" typeface="HY그래픽M"/>
        <a:font script="Hans" typeface="华文楷体"/>
        <a:font script="Hant" typeface="標楷體"/>
        <a:font script="Arab" typeface="Arial"/>
        <a:font script="Hebr" typeface="Arial"/>
        <a:font script="Thai" typeface="Kodchiang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Waveform">
      <a:fillStyleLst>
        <a:solidFill>
          <a:schemeClr val="phClr"/>
        </a:solidFill>
        <a:gradFill rotWithShape="1">
          <a:gsLst>
            <a:gs pos="0">
              <a:schemeClr val="phClr">
                <a:tint val="0"/>
              </a:schemeClr>
            </a:gs>
            <a:gs pos="44000">
              <a:schemeClr val="phClr">
                <a:tint val="60000"/>
                <a:satMod val="120000"/>
              </a:schemeClr>
            </a:gs>
            <a:gs pos="100000">
              <a:schemeClr val="phClr">
                <a:tint val="90000"/>
                <a:alpha val="100000"/>
                <a:lumMod val="90000"/>
              </a:schemeClr>
            </a:gs>
          </a:gsLst>
          <a:lin ang="5400000" scaled="0"/>
        </a:gradFill>
        <a:gradFill rotWithShape="1">
          <a:gsLst>
            <a:gs pos="0">
              <a:schemeClr val="phClr">
                <a:tint val="96000"/>
                <a:satMod val="120000"/>
                <a:lumMod val="120000"/>
              </a:schemeClr>
            </a:gs>
            <a:gs pos="100000">
              <a:schemeClr val="phClr">
                <a:shade val="89000"/>
                <a:lumMod val="90000"/>
              </a:schemeClr>
            </a:gs>
          </a:gsLst>
          <a:lin ang="5400000" scaled="0"/>
        </a:gradFill>
      </a:fillStyleLst>
      <a:lnStyleLst>
        <a:ln w="9525" cap="flat" cmpd="sng" algn="ctr">
          <a:solidFill>
            <a:schemeClr val="phClr"/>
          </a:solidFill>
          <a:prstDash val="solid"/>
        </a:ln>
        <a:ln w="15875" cap="flat" cmpd="sng" algn="ctr">
          <a:solidFill>
            <a:schemeClr val="phClr">
              <a:shade val="75000"/>
              <a:lumMod val="80000"/>
            </a:schemeClr>
          </a:solidFill>
          <a:prstDash val="solid"/>
        </a:ln>
        <a:ln w="25400" cap="flat" cmpd="sng" algn="ctr">
          <a:solidFill>
            <a:schemeClr val="phClr"/>
          </a:solidFill>
          <a:prstDash val="solid"/>
        </a:ln>
      </a:lnStyleLst>
      <a:effectStyleLst>
        <a:effectStyle>
          <a:effectLst/>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prstMaterial="flat">
            <a:bevelT w="12700" h="12700"/>
          </a:sp3d>
        </a:effectStyle>
        <a:effectStyle>
          <a:effectLst>
            <a:outerShdw blurRad="50800" dist="25400" dir="5400000" rotWithShape="0">
              <a:srgbClr val="000000">
                <a:alpha val="38000"/>
              </a:srgbClr>
            </a:outerShdw>
          </a:effectLst>
          <a:scene3d>
            <a:camera prst="orthographicFront">
              <a:rot lat="0" lon="0" rev="0"/>
            </a:camera>
            <a:lightRig rig="flat" dir="tl">
              <a:rot lat="0" lon="0" rev="6360000"/>
            </a:lightRig>
          </a:scene3d>
          <a:sp3d contourW="19050" prstMaterial="flat">
            <a:bevelT w="63500" h="63500"/>
            <a:contourClr>
              <a:schemeClr val="phClr">
                <a:shade val="25000"/>
                <a:satMod val="180000"/>
              </a:schemeClr>
            </a:contourClr>
          </a:sp3d>
        </a:effectStyle>
      </a:effectStyleLst>
      <a:bgFillStyleLst>
        <a:solidFill>
          <a:schemeClr val="phClr"/>
        </a:solidFill>
        <a:gradFill rotWithShape="1">
          <a:gsLst>
            <a:gs pos="40000">
              <a:schemeClr val="phClr">
                <a:tint val="94000"/>
                <a:shade val="94000"/>
                <a:alpha val="100000"/>
                <a:satMod val="114000"/>
                <a:lumMod val="114000"/>
              </a:schemeClr>
            </a:gs>
            <a:gs pos="74000">
              <a:schemeClr val="phClr">
                <a:tint val="94000"/>
                <a:shade val="94000"/>
                <a:satMod val="128000"/>
                <a:lumMod val="100000"/>
              </a:schemeClr>
            </a:gs>
            <a:gs pos="100000">
              <a:schemeClr val="phClr">
                <a:tint val="98000"/>
                <a:shade val="100000"/>
                <a:hueMod val="98000"/>
                <a:satMod val="100000"/>
                <a:lumMod val="74000"/>
              </a:schemeClr>
            </a:gs>
          </a:gsLst>
          <a:path path="circle">
            <a:fillToRect l="20000" t="-40000" r="20000" b="140000"/>
          </a:path>
        </a:gradFill>
        <a:blipFill rotWithShape="1">
          <a:blip xmlns:r="http://schemas.openxmlformats.org/officeDocument/2006/relationships" r:embed="rId1">
            <a:duotone>
              <a:schemeClr val="phClr">
                <a:tint val="96000"/>
                <a:satMod val="130000"/>
                <a:lumMod val="50000"/>
              </a:schemeClr>
              <a:schemeClr val="phClr">
                <a:tint val="96000"/>
                <a:satMod val="114000"/>
                <a:lumMod val="114000"/>
              </a:schemeClr>
            </a:duotone>
          </a:blip>
          <a:stretch/>
        </a:blipFill>
      </a:bgFillStyleLst>
    </a:fmtScheme>
  </a:themeElements>
  <a:objectDefaults/>
  <a:extraClrSchemeLst/>
</a:theme>
</file>

<file path=ppt/theme/theme16.xml><?xml version="1.0" encoding="utf-8"?>
<a:theme xmlns:a="http://schemas.openxmlformats.org/drawingml/2006/main" name="9_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헤드라인M"/>
        <a:ea typeface="HY헤드라인M"/>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spDef>
    <a:ln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7.xml><?xml version="1.0" encoding="utf-8"?>
<a:theme xmlns:a="http://schemas.openxmlformats.org/drawingml/2006/main" name="Stream">
  <a:themeElements>
    <a:clrScheme name="Stream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Stream">
      <a:majorFont>
        <a:latin typeface="Garamond"/>
        <a:ea typeface=""/>
        <a:cs typeface="Arial"/>
      </a:majorFont>
      <a:minorFont>
        <a:latin typeface="Garamond"/>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609600" marR="0" indent="-609600" algn="l" defTabSz="914400" rtl="0" eaLnBrk="1" fontAlgn="base" latinLnBrk="0" hangingPunct="1">
          <a:lnSpc>
            <a:spcPct val="80000"/>
          </a:lnSpc>
          <a:spcBef>
            <a:spcPct val="20000"/>
          </a:spcBef>
          <a:spcAft>
            <a:spcPct val="0"/>
          </a:spcAft>
          <a:buClrTx/>
          <a:buSzTx/>
          <a:buFontTx/>
          <a:buAutoNum type="arabicPeriod"/>
          <a:tabLst/>
          <a:defRPr kumimoji="0" lang="ar-SA" sz="2400" b="0" i="0" u="none" strike="noStrike" cap="none" normalizeH="0" baseline="0" smtClean="0">
            <a:ln>
              <a:noFill/>
            </a:ln>
            <a:solidFill>
              <a:schemeClr val="accent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609600" marR="0" indent="-609600" algn="l" defTabSz="914400" rtl="0" eaLnBrk="1" fontAlgn="base" latinLnBrk="0" hangingPunct="1">
          <a:lnSpc>
            <a:spcPct val="80000"/>
          </a:lnSpc>
          <a:spcBef>
            <a:spcPct val="20000"/>
          </a:spcBef>
          <a:spcAft>
            <a:spcPct val="0"/>
          </a:spcAft>
          <a:buClrTx/>
          <a:buSzTx/>
          <a:buFontTx/>
          <a:buAutoNum type="arabicPeriod"/>
          <a:tabLst/>
          <a:defRPr kumimoji="0" lang="ar-SA" sz="2400" b="0" i="0" u="none" strike="noStrike" cap="none" normalizeH="0" baseline="0" smtClean="0">
            <a:ln>
              <a:noFill/>
            </a:ln>
            <a:solidFill>
              <a:schemeClr val="accent2"/>
            </a:solidFill>
            <a:effectLst/>
            <a:latin typeface="Arial" charset="0"/>
            <a:cs typeface="Arial" charset="0"/>
          </a:defRPr>
        </a:defPPr>
      </a:lstStyle>
    </a:lnDef>
  </a:objectDefaults>
  <a:extraClrSchemeLst>
    <a:extraClrScheme>
      <a:clrScheme name="Stream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Stream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Stream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Stream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Stream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Stream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Stream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Stream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Stream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18.xml><?xml version="1.0" encoding="utf-8"?>
<a:theme xmlns:a="http://schemas.openxmlformats.org/drawingml/2006/main" name="6_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헤드라인M"/>
        <a:ea typeface="HY헤드라인M"/>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spDef>
    <a:ln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19.xml><?xml version="1.0" encoding="utf-8"?>
<a:theme xmlns:a="http://schemas.openxmlformats.org/drawingml/2006/main" name="FF_WHO021">
  <a:themeElements>
    <a:clrScheme name="FF_WHO021 2">
      <a:dk1>
        <a:srgbClr val="000000"/>
      </a:dk1>
      <a:lt1>
        <a:srgbClr val="FFFFFF"/>
      </a:lt1>
      <a:dk2>
        <a:srgbClr val="4F2100"/>
      </a:dk2>
      <a:lt2>
        <a:srgbClr val="FFFFFF"/>
      </a:lt2>
      <a:accent1>
        <a:srgbClr val="FFFFFF"/>
      </a:accent1>
      <a:accent2>
        <a:srgbClr val="FCD074"/>
      </a:accent2>
      <a:accent3>
        <a:srgbClr val="FFFFFF"/>
      </a:accent3>
      <a:accent4>
        <a:srgbClr val="000000"/>
      </a:accent4>
      <a:accent5>
        <a:srgbClr val="FFFFFF"/>
      </a:accent5>
      <a:accent6>
        <a:srgbClr val="E4BC68"/>
      </a:accent6>
      <a:hlink>
        <a:srgbClr val="FCB321"/>
      </a:hlink>
      <a:folHlink>
        <a:srgbClr val="4F2100"/>
      </a:folHlink>
    </a:clrScheme>
    <a:fontScheme name="FF_WHO0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FF_WHO021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F_WHO021 2">
        <a:dk1>
          <a:srgbClr val="000000"/>
        </a:dk1>
        <a:lt1>
          <a:srgbClr val="FFFFFF"/>
        </a:lt1>
        <a:dk2>
          <a:srgbClr val="4F2100"/>
        </a:dk2>
        <a:lt2>
          <a:srgbClr val="FFFFFF"/>
        </a:lt2>
        <a:accent1>
          <a:srgbClr val="FFFFFF"/>
        </a:accent1>
        <a:accent2>
          <a:srgbClr val="FCD074"/>
        </a:accent2>
        <a:accent3>
          <a:srgbClr val="FFFFFF"/>
        </a:accent3>
        <a:accent4>
          <a:srgbClr val="000000"/>
        </a:accent4>
        <a:accent5>
          <a:srgbClr val="FFFFFF"/>
        </a:accent5>
        <a:accent6>
          <a:srgbClr val="E4BC68"/>
        </a:accent6>
        <a:hlink>
          <a:srgbClr val="FCB321"/>
        </a:hlink>
        <a:folHlink>
          <a:srgbClr val="4F21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7_Default Design">
  <a:themeElements>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Default Design">
      <a:majorFont>
        <a:latin typeface="Times New Roman"/>
        <a:ea typeface=""/>
        <a:cs typeface=""/>
      </a:majorFont>
      <a:minorFont>
        <a:latin typeface="Times New Roman"/>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0.xml><?xml version="1.0" encoding="utf-8"?>
<a:theme xmlns:a="http://schemas.openxmlformats.org/drawingml/2006/main" name="1_FF_WHO021">
  <a:themeElements>
    <a:clrScheme name="FF_WHO021 2">
      <a:dk1>
        <a:srgbClr val="000000"/>
      </a:dk1>
      <a:lt1>
        <a:srgbClr val="FFFFFF"/>
      </a:lt1>
      <a:dk2>
        <a:srgbClr val="4F2100"/>
      </a:dk2>
      <a:lt2>
        <a:srgbClr val="FFFFFF"/>
      </a:lt2>
      <a:accent1>
        <a:srgbClr val="FFFFFF"/>
      </a:accent1>
      <a:accent2>
        <a:srgbClr val="FCD074"/>
      </a:accent2>
      <a:accent3>
        <a:srgbClr val="FFFFFF"/>
      </a:accent3>
      <a:accent4>
        <a:srgbClr val="000000"/>
      </a:accent4>
      <a:accent5>
        <a:srgbClr val="FFFFFF"/>
      </a:accent5>
      <a:accent6>
        <a:srgbClr val="E4BC68"/>
      </a:accent6>
      <a:hlink>
        <a:srgbClr val="FCB321"/>
      </a:hlink>
      <a:folHlink>
        <a:srgbClr val="4F2100"/>
      </a:folHlink>
    </a:clrScheme>
    <a:fontScheme name="FF_WHO0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FF_WHO021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F_WHO021 2">
        <a:dk1>
          <a:srgbClr val="000000"/>
        </a:dk1>
        <a:lt1>
          <a:srgbClr val="FFFFFF"/>
        </a:lt1>
        <a:dk2>
          <a:srgbClr val="4F2100"/>
        </a:dk2>
        <a:lt2>
          <a:srgbClr val="FFFFFF"/>
        </a:lt2>
        <a:accent1>
          <a:srgbClr val="FFFFFF"/>
        </a:accent1>
        <a:accent2>
          <a:srgbClr val="FCD074"/>
        </a:accent2>
        <a:accent3>
          <a:srgbClr val="FFFFFF"/>
        </a:accent3>
        <a:accent4>
          <a:srgbClr val="000000"/>
        </a:accent4>
        <a:accent5>
          <a:srgbClr val="FFFFFF"/>
        </a:accent5>
        <a:accent6>
          <a:srgbClr val="E4BC68"/>
        </a:accent6>
        <a:hlink>
          <a:srgbClr val="FCB321"/>
        </a:hlink>
        <a:folHlink>
          <a:srgbClr val="4F2100"/>
        </a:folHlink>
      </a:clrScheme>
      <a:clrMap bg1="lt1" tx1="dk1" bg2="lt2" tx2="dk2" accent1="accent1" accent2="accent2" accent3="accent3" accent4="accent4" accent5="accent5" accent6="accent6" hlink="hlink" folHlink="folHlink"/>
    </a:extraClrScheme>
  </a:extraClrSchemeLst>
</a:theme>
</file>

<file path=ppt/theme/theme21.xml><?xml version="1.0" encoding="utf-8"?>
<a:theme xmlns:a="http://schemas.openxmlformats.org/drawingml/2006/main" name="3_FF_WHO021">
  <a:themeElements>
    <a:clrScheme name="FF_WHO021 2">
      <a:dk1>
        <a:srgbClr val="000000"/>
      </a:dk1>
      <a:lt1>
        <a:srgbClr val="FFFFFF"/>
      </a:lt1>
      <a:dk2>
        <a:srgbClr val="4F2100"/>
      </a:dk2>
      <a:lt2>
        <a:srgbClr val="FFFFFF"/>
      </a:lt2>
      <a:accent1>
        <a:srgbClr val="FFFFFF"/>
      </a:accent1>
      <a:accent2>
        <a:srgbClr val="FCD074"/>
      </a:accent2>
      <a:accent3>
        <a:srgbClr val="FFFFFF"/>
      </a:accent3>
      <a:accent4>
        <a:srgbClr val="000000"/>
      </a:accent4>
      <a:accent5>
        <a:srgbClr val="FFFFFF"/>
      </a:accent5>
      <a:accent6>
        <a:srgbClr val="E4BC68"/>
      </a:accent6>
      <a:hlink>
        <a:srgbClr val="FCB321"/>
      </a:hlink>
      <a:folHlink>
        <a:srgbClr val="4F2100"/>
      </a:folHlink>
    </a:clrScheme>
    <a:fontScheme name="FF_WHO0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FF_WHO021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F_WHO021 2">
        <a:dk1>
          <a:srgbClr val="000000"/>
        </a:dk1>
        <a:lt1>
          <a:srgbClr val="FFFFFF"/>
        </a:lt1>
        <a:dk2>
          <a:srgbClr val="4F2100"/>
        </a:dk2>
        <a:lt2>
          <a:srgbClr val="FFFFFF"/>
        </a:lt2>
        <a:accent1>
          <a:srgbClr val="FFFFFF"/>
        </a:accent1>
        <a:accent2>
          <a:srgbClr val="FCD074"/>
        </a:accent2>
        <a:accent3>
          <a:srgbClr val="FFFFFF"/>
        </a:accent3>
        <a:accent4>
          <a:srgbClr val="000000"/>
        </a:accent4>
        <a:accent5>
          <a:srgbClr val="FFFFFF"/>
        </a:accent5>
        <a:accent6>
          <a:srgbClr val="E4BC68"/>
        </a:accent6>
        <a:hlink>
          <a:srgbClr val="FCB321"/>
        </a:hlink>
        <a:folHlink>
          <a:srgbClr val="4F2100"/>
        </a:folHlink>
      </a:clrScheme>
      <a:clrMap bg1="lt1" tx1="dk1" bg2="lt2" tx2="dk2" accent1="accent1" accent2="accent2" accent3="accent3" accent4="accent4" accent5="accent5" accent6="accent6" hlink="hlink" folHlink="folHlink"/>
    </a:extraClrScheme>
  </a:extraClrSchemeLst>
</a:theme>
</file>

<file path=ppt/theme/theme22.xml><?xml version="1.0" encoding="utf-8"?>
<a:theme xmlns:a="http://schemas.openxmlformats.org/drawingml/2006/main" name="2_FF_WHO021">
  <a:themeElements>
    <a:clrScheme name="FF_WHO021 2">
      <a:dk1>
        <a:srgbClr val="000000"/>
      </a:dk1>
      <a:lt1>
        <a:srgbClr val="FFFFFF"/>
      </a:lt1>
      <a:dk2>
        <a:srgbClr val="4F2100"/>
      </a:dk2>
      <a:lt2>
        <a:srgbClr val="FFFFFF"/>
      </a:lt2>
      <a:accent1>
        <a:srgbClr val="FFFFFF"/>
      </a:accent1>
      <a:accent2>
        <a:srgbClr val="FCD074"/>
      </a:accent2>
      <a:accent3>
        <a:srgbClr val="FFFFFF"/>
      </a:accent3>
      <a:accent4>
        <a:srgbClr val="000000"/>
      </a:accent4>
      <a:accent5>
        <a:srgbClr val="FFFFFF"/>
      </a:accent5>
      <a:accent6>
        <a:srgbClr val="E4BC68"/>
      </a:accent6>
      <a:hlink>
        <a:srgbClr val="FCB321"/>
      </a:hlink>
      <a:folHlink>
        <a:srgbClr val="4F2100"/>
      </a:folHlink>
    </a:clrScheme>
    <a:fontScheme name="FF_WHO02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2"/>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600" b="0" i="0" u="none" strike="noStrike" cap="none" normalizeH="0" baseline="0" smtClean="0">
            <a:ln>
              <a:noFill/>
            </a:ln>
            <a:solidFill>
              <a:schemeClr val="tx1"/>
            </a:solidFill>
            <a:effectLst/>
            <a:latin typeface="Arial" charset="0"/>
          </a:defRPr>
        </a:defPPr>
      </a:lstStyle>
    </a:lnDef>
  </a:objectDefaults>
  <a:extraClrSchemeLst>
    <a:extraClrScheme>
      <a:clrScheme name="FF_WHO021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F_WHO021 2">
        <a:dk1>
          <a:srgbClr val="000000"/>
        </a:dk1>
        <a:lt1>
          <a:srgbClr val="FFFFFF"/>
        </a:lt1>
        <a:dk2>
          <a:srgbClr val="4F2100"/>
        </a:dk2>
        <a:lt2>
          <a:srgbClr val="FFFFFF"/>
        </a:lt2>
        <a:accent1>
          <a:srgbClr val="FFFFFF"/>
        </a:accent1>
        <a:accent2>
          <a:srgbClr val="FCD074"/>
        </a:accent2>
        <a:accent3>
          <a:srgbClr val="FFFFFF"/>
        </a:accent3>
        <a:accent4>
          <a:srgbClr val="000000"/>
        </a:accent4>
        <a:accent5>
          <a:srgbClr val="FFFFFF"/>
        </a:accent5>
        <a:accent6>
          <a:srgbClr val="E4BC68"/>
        </a:accent6>
        <a:hlink>
          <a:srgbClr val="FCB321"/>
        </a:hlink>
        <a:folHlink>
          <a:srgbClr val="4F2100"/>
        </a:folHlink>
      </a:clrScheme>
      <a:clrMap bg1="lt1" tx1="dk1" bg2="lt2" tx2="dk2" accent1="accent1" accent2="accent2" accent3="accent3" accent4="accent4" accent5="accent5" accent6="accent6" hlink="hlink" folHlink="folHlink"/>
    </a:extraClrScheme>
  </a:extraClrSchemeLst>
</a:theme>
</file>

<file path=ppt/theme/theme23.xml><?xml version="1.0" encoding="utf-8"?>
<a:theme xmlns:a="http://schemas.openxmlformats.org/drawingml/2006/main" name="1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Microsoft Sans Serif"/>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4.xml><?xml version="1.0" encoding="utf-8"?>
<a:theme xmlns:a="http://schemas.openxmlformats.org/drawingml/2006/main" name="2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Microsoft Sans Serif"/>
        <a:ea typeface=""/>
        <a:cs typeface=""/>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Blank SCA style">
  <a:themeElements>
    <a:clrScheme name="">
      <a:dk1>
        <a:srgbClr val="000000"/>
      </a:dk1>
      <a:lt1>
        <a:srgbClr val="FFFFFF"/>
      </a:lt1>
      <a:dk2>
        <a:srgbClr val="003366"/>
      </a:dk2>
      <a:lt2>
        <a:srgbClr val="969696"/>
      </a:lt2>
      <a:accent1>
        <a:srgbClr val="003366"/>
      </a:accent1>
      <a:accent2>
        <a:srgbClr val="7498C0"/>
      </a:accent2>
      <a:accent3>
        <a:srgbClr val="FFFFFF"/>
      </a:accent3>
      <a:accent4>
        <a:srgbClr val="000000"/>
      </a:accent4>
      <a:accent5>
        <a:srgbClr val="AAADB8"/>
      </a:accent5>
      <a:accent6>
        <a:srgbClr val="6889AE"/>
      </a:accent6>
      <a:hlink>
        <a:srgbClr val="A7BD3B"/>
      </a:hlink>
      <a:folHlink>
        <a:srgbClr val="CA3B1E"/>
      </a:folHlink>
    </a:clrScheme>
    <a:fontScheme name="Blank SCA styl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000" b="0" i="0" u="none" strike="noStrike" cap="none" normalizeH="0" baseline="0" smtClean="0">
            <a:ln>
              <a:noFill/>
            </a:ln>
            <a:solidFill>
              <a:schemeClr val="tx1"/>
            </a:solidFill>
            <a:effectLst/>
            <a:latin typeface="Arial" charset="0"/>
          </a:defRPr>
        </a:defPPr>
      </a:lstStyle>
    </a:lnDef>
  </a:objectDefaults>
  <a:extraClrSchemeLst>
    <a:extraClrScheme>
      <a:clrScheme name="Blank SCA styl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Blank SCA styl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Blank SCA styl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Blank SCA styl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Blank SCA styl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Blank SCA styl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Blank SCA styl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헤드라인M"/>
        <a:ea typeface="HY헤드라인M"/>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spDef>
    <a:ln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609600" marR="0" indent="-609600" algn="l" defTabSz="914400" rtl="0" eaLnBrk="1" fontAlgn="base" latinLnBrk="0" hangingPunct="1">
          <a:lnSpc>
            <a:spcPct val="80000"/>
          </a:lnSpc>
          <a:spcBef>
            <a:spcPct val="20000"/>
          </a:spcBef>
          <a:spcAft>
            <a:spcPct val="0"/>
          </a:spcAft>
          <a:buClrTx/>
          <a:buSzTx/>
          <a:buFontTx/>
          <a:buAutoNum type="arabicPeriod"/>
          <a:tabLst/>
          <a:defRPr kumimoji="0" lang="x-none" sz="2400" b="0" i="0" u="none" strike="noStrike" cap="none" normalizeH="0" baseline="0" smtClean="0">
            <a:ln>
              <a:noFill/>
            </a:ln>
            <a:solidFill>
              <a:schemeClr val="accent2"/>
            </a:solidFill>
            <a:effectLst/>
            <a:latin typeface="Arial" charset="0"/>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609600" marR="0" indent="-609600" algn="l" defTabSz="914400" rtl="0" eaLnBrk="1" fontAlgn="base" latinLnBrk="0" hangingPunct="1">
          <a:lnSpc>
            <a:spcPct val="80000"/>
          </a:lnSpc>
          <a:spcBef>
            <a:spcPct val="20000"/>
          </a:spcBef>
          <a:spcAft>
            <a:spcPct val="0"/>
          </a:spcAft>
          <a:buClrTx/>
          <a:buSzTx/>
          <a:buFontTx/>
          <a:buAutoNum type="arabicPeriod"/>
          <a:tabLst/>
          <a:defRPr kumimoji="0" lang="x-none" sz="2400" b="0" i="0" u="none" strike="noStrike" cap="none" normalizeH="0" baseline="0" smtClean="0">
            <a:ln>
              <a:noFill/>
            </a:ln>
            <a:solidFill>
              <a:schemeClr val="accent2"/>
            </a:solidFill>
            <a:effectLst/>
            <a:latin typeface="Arial" charset="0"/>
            <a:cs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기본 디자인">
  <a:themeElements>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기본 디자인">
      <a:majorFont>
        <a:latin typeface="HY헤드라인M"/>
        <a:ea typeface="HY헤드라인M"/>
        <a:cs typeface=""/>
      </a:majorFont>
      <a:minorFont>
        <a:latin typeface="굴림"/>
        <a:ea typeface="굴림"/>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spDef>
    <a:lnDef>
      <a:spPr bwMode="auto">
        <a:xfrm>
          <a:off x="0" y="0"/>
          <a:ext cx="1" cy="1"/>
        </a:xfrm>
        <a:custGeom>
          <a:avLst/>
          <a:gdLst/>
          <a:ahLst/>
          <a:cxnLst/>
          <a:rect l="0" t="0" r="0" b="0"/>
          <a:pathLst/>
        </a:custGeom>
        <a:solidFill>
          <a:srgbClr val="FFFF00"/>
        </a:solidFill>
        <a:ln w="9525" cap="flat" cmpd="sng" algn="ctr">
          <a:solidFill>
            <a:srgbClr val="000000"/>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1" fontAlgn="base" latinLnBrk="1" hangingPunct="1">
          <a:lnSpc>
            <a:spcPct val="100000"/>
          </a:lnSpc>
          <a:spcBef>
            <a:spcPct val="0"/>
          </a:spcBef>
          <a:spcAft>
            <a:spcPct val="0"/>
          </a:spcAft>
          <a:buClrTx/>
          <a:buSzTx/>
          <a:buFontTx/>
          <a:buNone/>
          <a:tabLst/>
          <a:defRPr kumimoji="1" lang="ko-KR" altLang="en-US" sz="1800" b="0" i="0" u="none" strike="noStrike" cap="none" normalizeH="0" baseline="0" smtClean="0">
            <a:ln>
              <a:noFill/>
            </a:ln>
            <a:solidFill>
              <a:schemeClr val="tx1"/>
            </a:solidFill>
            <a:effectLst/>
            <a:latin typeface="굴림" pitchFamily="50" charset="-127"/>
            <a:ea typeface="굴림" pitchFamily="50" charset="-127"/>
          </a:defRPr>
        </a:defPPr>
      </a:lstStyle>
    </a:lnDef>
  </a:objectDefaults>
  <a:extraClrSchemeLst>
    <a:extraClrScheme>
      <a:clrScheme name="기본 디자인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기본 디자인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기본 디자인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기본 디자인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기본 디자인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기본 디자인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기본 디자인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기본 디자인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기본 디자인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기본 디자인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기본 디자인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기본 디자인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ISRN Master">
  <a:themeElements>
    <a:clrScheme name="">
      <a:dk1>
        <a:srgbClr val="000000"/>
      </a:dk1>
      <a:lt1>
        <a:srgbClr val="5145EB"/>
      </a:lt1>
      <a:dk2>
        <a:srgbClr val="000000"/>
      </a:dk2>
      <a:lt2>
        <a:srgbClr val="808080"/>
      </a:lt2>
      <a:accent1>
        <a:srgbClr val="00CC99"/>
      </a:accent1>
      <a:accent2>
        <a:srgbClr val="3333CC"/>
      </a:accent2>
      <a:accent3>
        <a:srgbClr val="B3B0F3"/>
      </a:accent3>
      <a:accent4>
        <a:srgbClr val="000000"/>
      </a:accent4>
      <a:accent5>
        <a:srgbClr val="AAE2CA"/>
      </a:accent5>
      <a:accent6>
        <a:srgbClr val="2D2DB9"/>
      </a:accent6>
      <a:hlink>
        <a:srgbClr val="CCCCFF"/>
      </a:hlink>
      <a:folHlink>
        <a:srgbClr val="B2B2B2"/>
      </a:folHlink>
    </a:clrScheme>
    <a:fontScheme name="ISRN Master">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Lucida Sans"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Lucida Sans" pitchFamily="34" charset="0"/>
          </a:defRPr>
        </a:defPPr>
      </a:lstStyle>
    </a:lnDef>
  </a:objectDefaults>
  <a:extraClrSchemeLst>
    <a:extraClrScheme>
      <a:clrScheme name="ISRN Master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ISRN Master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ISRN Master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ISRN Master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ISRN Master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ISRN Master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ISRN Master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Oriel</Template>
  <TotalTime>0</TotalTime>
  <Words>2453</Words>
  <Application>Microsoft Office PowerPoint</Application>
  <PresentationFormat>On-screen Show (4:3)</PresentationFormat>
  <Paragraphs>612</Paragraphs>
  <Slides>58</Slides>
  <Notes>17</Notes>
  <HiddenSlides>0</HiddenSlides>
  <MMClips>0</MMClips>
  <ScaleCrop>false</ScaleCrop>
  <HeadingPairs>
    <vt:vector size="8" baseType="variant">
      <vt:variant>
        <vt:lpstr>Fonts Used</vt:lpstr>
      </vt:variant>
      <vt:variant>
        <vt:i4>30</vt:i4>
      </vt:variant>
      <vt:variant>
        <vt:lpstr>Theme</vt:lpstr>
      </vt:variant>
      <vt:variant>
        <vt:i4>24</vt:i4>
      </vt:variant>
      <vt:variant>
        <vt:lpstr>Embedded OLE Servers</vt:lpstr>
      </vt:variant>
      <vt:variant>
        <vt:i4>3</vt:i4>
      </vt:variant>
      <vt:variant>
        <vt:lpstr>Slide Titles</vt:lpstr>
      </vt:variant>
      <vt:variant>
        <vt:i4>58</vt:i4>
      </vt:variant>
    </vt:vector>
  </HeadingPairs>
  <TitlesOfParts>
    <vt:vector size="115" baseType="lpstr">
      <vt:lpstr>Gulim</vt:lpstr>
      <vt:lpstr>Gulim</vt:lpstr>
      <vt:lpstr>Malgun Gothic</vt:lpstr>
      <vt:lpstr>Malgun Gothic</vt:lpstr>
      <vt:lpstr>MS PGothic</vt:lpstr>
      <vt:lpstr>MS PGothic</vt:lpstr>
      <vt:lpstr>Arabic Transparent</vt:lpstr>
      <vt:lpstr>Arial</vt:lpstr>
      <vt:lpstr>Arial Black</vt:lpstr>
      <vt:lpstr>Arial Narrow</vt:lpstr>
      <vt:lpstr>Calibri</vt:lpstr>
      <vt:lpstr>Candara</vt:lpstr>
      <vt:lpstr>Franklin Gothic Book</vt:lpstr>
      <vt:lpstr>Franklin Gothic Medium</vt:lpstr>
      <vt:lpstr>Garamond</vt:lpstr>
      <vt:lpstr>Georgia</vt:lpstr>
      <vt:lpstr>HY견고딕</vt:lpstr>
      <vt:lpstr>HY중고딕</vt:lpstr>
      <vt:lpstr>HY헤드라인M</vt:lpstr>
      <vt:lpstr>Microsoft Sans Serif</vt:lpstr>
      <vt:lpstr>Perpetua</vt:lpstr>
      <vt:lpstr>Symbol</vt:lpstr>
      <vt:lpstr>Tahoma</vt:lpstr>
      <vt:lpstr>Times</vt:lpstr>
      <vt:lpstr>Times New Roman</vt:lpstr>
      <vt:lpstr>Trebuchet MS</vt:lpstr>
      <vt:lpstr>Verdana</vt:lpstr>
      <vt:lpstr>Wingdings</vt:lpstr>
      <vt:lpstr>Wingdings 2</vt:lpstr>
      <vt:lpstr>ヒラギノ角ゴ Pro W3</vt:lpstr>
      <vt:lpstr>Equity</vt:lpstr>
      <vt:lpstr>7_Default Design</vt:lpstr>
      <vt:lpstr>Blank SCA style</vt:lpstr>
      <vt:lpstr>기본 디자인</vt:lpstr>
      <vt:lpstr>Office Theme</vt:lpstr>
      <vt:lpstr>Default Design</vt:lpstr>
      <vt:lpstr>2_기본 디자인</vt:lpstr>
      <vt:lpstr>ISRN Master</vt:lpstr>
      <vt:lpstr>1_Office Theme</vt:lpstr>
      <vt:lpstr>1_기본 디자인</vt:lpstr>
      <vt:lpstr>3_기본 디자인</vt:lpstr>
      <vt:lpstr>4_기본 디자인</vt:lpstr>
      <vt:lpstr>5_기본 디자인</vt:lpstr>
      <vt:lpstr>2_Office Theme</vt:lpstr>
      <vt:lpstr>Waveform</vt:lpstr>
      <vt:lpstr>9_기본 디자인</vt:lpstr>
      <vt:lpstr>Stream</vt:lpstr>
      <vt:lpstr>6_기본 디자인</vt:lpstr>
      <vt:lpstr>FF_WHO021</vt:lpstr>
      <vt:lpstr>1_FF_WHO021</vt:lpstr>
      <vt:lpstr>3_FF_WHO021</vt:lpstr>
      <vt:lpstr>2_FF_WHO021</vt:lpstr>
      <vt:lpstr>1_Default Design</vt:lpstr>
      <vt:lpstr>2_Default Design</vt:lpstr>
      <vt:lpstr>Image</vt:lpstr>
      <vt:lpstr>think-cell Slide</vt:lpstr>
      <vt:lpstr>Chart</vt:lpstr>
      <vt:lpstr>PowerPoint Presentation</vt:lpstr>
      <vt:lpstr>IP policy and Competition Policy  Tensions and complementarities  A New Multi-Layer Initiative  Innova-All (Mobtakeron)</vt:lpstr>
      <vt:lpstr>PowerPoint Presentation</vt:lpstr>
      <vt:lpstr>“4P’s” Concept</vt:lpstr>
      <vt:lpstr>PowerPoint Presentation</vt:lpstr>
      <vt:lpstr>Strategic business plan adopted</vt:lpstr>
      <vt:lpstr>Mapping of African research output reveals that several "hot spots" or “competency centers” exist today</vt:lpstr>
      <vt:lpstr>In addition, some African centers show patent activity in the biomedical areas</vt:lpstr>
      <vt:lpstr>Evolution of ANDI</vt:lpstr>
      <vt:lpstr>PowerPoint Presentation</vt:lpstr>
      <vt:lpstr>PowerPoint Presentation</vt:lpstr>
      <vt:lpstr>PowerPoint Presentation</vt:lpstr>
      <vt:lpstr>PowerPoint Presentation</vt:lpstr>
      <vt:lpstr>PowerPoint Presentation</vt:lpstr>
      <vt:lpstr>PowerPoint Presentation</vt:lpstr>
      <vt:lpstr>EgPO ISA and IPEA</vt:lpstr>
      <vt:lpstr>PowerPoint Presentation</vt:lpstr>
      <vt:lpstr>PowerPoint Presentation</vt:lpstr>
      <vt:lpstr>Innovations</vt:lpstr>
      <vt:lpstr>Innovation in Industry </vt:lpstr>
      <vt:lpstr>Innovation types </vt:lpstr>
      <vt:lpstr>PowerPoint Presentation</vt:lpstr>
      <vt:lpstr>National System of Innovation</vt:lpstr>
      <vt:lpstr>Components of Innovation</vt:lpstr>
      <vt:lpstr>VISUALIZING EXISTING AND EMERGING RESEARCH CLUSTERS </vt:lpstr>
      <vt:lpstr>CREATING THE MAP  </vt:lpstr>
      <vt:lpstr>Research Performance Visualizer Development Partner</vt:lpstr>
      <vt:lpstr>  Cairo University has 58 competencies based on 2005-09 data</vt:lpstr>
      <vt:lpstr>Get detailed information for each competency 2 - Top researchers</vt:lpstr>
      <vt:lpstr>Get detailed information for each competency 3 - Top institutions</vt:lpstr>
      <vt:lpstr>Research Strengths: DC #1 General Chemistry, Drug Discovery, Organic Chemistry, Analytical Chemistry</vt:lpstr>
      <vt:lpstr>Research Strengths: DC #7 Plant Science, Applied Microbiology and Biotechnology,  Drug Discovery</vt:lpstr>
      <vt:lpstr>Collaboration: Computer Science</vt:lpstr>
      <vt:lpstr>PowerPoint Presentation</vt:lpstr>
      <vt:lpstr>Targets of Mobtakron Initiative</vt:lpstr>
      <vt:lpstr>PowerPoint Presentation</vt:lpstr>
      <vt:lpstr>PowerPoint Presentation</vt:lpstr>
      <vt:lpstr>Community “Grassroots” Innovation TOKTOK  </vt:lpstr>
      <vt:lpstr>Provided Services  </vt:lpstr>
      <vt:lpstr>STEM School Innovation   “FAB-LAB”</vt:lpstr>
      <vt:lpstr>PowerPoint Presentation</vt:lpstr>
      <vt:lpstr>PowerPoint Presentation</vt:lpstr>
      <vt:lpstr>PowerPoint Presentation</vt:lpstr>
      <vt:lpstr>PowerPoint Presentation</vt:lpstr>
      <vt:lpstr>Egypt-GLORIAD Link</vt:lpstr>
      <vt:lpstr>Academy Innovation Center  for Entrepreneur “AICE”</vt:lpstr>
      <vt:lpstr>وزارة البحث العلمي أكاديمية البحث العلمي والتكنولوجيا</vt:lpstr>
      <vt:lpstr>PowerPoint Presentation</vt:lpstr>
      <vt:lpstr>PowerPoint Presentation</vt:lpstr>
      <vt:lpstr>PowerPoint Presentation</vt:lpstr>
      <vt:lpstr>PowerPoint Presentation</vt:lpstr>
      <vt:lpstr>PowerPoint Presentation</vt:lpstr>
      <vt:lpstr>PowerPoint Presentation</vt:lpstr>
      <vt:lpstr>The EGNC Building</vt:lpstr>
      <vt:lpstr> Research</vt:lpstr>
      <vt:lpstr>Industry Research Alliance (IRA)</vt:lpstr>
      <vt:lpstr>Thank You</vt:lpstr>
      <vt:lpstr>PowerPoint Presentation</vt:lpstr>
    </vt:vector>
  </TitlesOfParts>
  <Company>Microsof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nowledge Based SMSe In Egypt A New Initiative By ASRT.</dc:title>
  <dc:creator>user</dc:creator>
  <cp:lastModifiedBy>W8EDU_97</cp:lastModifiedBy>
  <cp:revision>154</cp:revision>
  <dcterms:created xsi:type="dcterms:W3CDTF">2012-09-14T12:05:23Z</dcterms:created>
  <dcterms:modified xsi:type="dcterms:W3CDTF">2013-05-05T23:45:40Z</dcterms:modified>
</cp:coreProperties>
</file>